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4.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5.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7.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8.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35" r:id="rId3"/>
    <p:sldMasterId id="2147483762" r:id="rId4"/>
    <p:sldMasterId id="2147483796" r:id="rId5"/>
    <p:sldMasterId id="2147483830" r:id="rId6"/>
    <p:sldMasterId id="2147483908" r:id="rId7"/>
    <p:sldMasterId id="2147483926" r:id="rId8"/>
    <p:sldMasterId id="2147483948" r:id="rId9"/>
  </p:sldMasterIdLst>
  <p:notesMasterIdLst>
    <p:notesMasterId r:id="rId17"/>
  </p:notesMasterIdLst>
  <p:sldIdLst>
    <p:sldId id="291" r:id="rId10"/>
    <p:sldId id="267" r:id="rId11"/>
    <p:sldId id="284" r:id="rId12"/>
    <p:sldId id="297" r:id="rId13"/>
    <p:sldId id="299" r:id="rId14"/>
    <p:sldId id="272" r:id="rId15"/>
    <p:sldId id="294" r:id="rId16"/>
  </p:sldIdLst>
  <p:sldSz cx="12192000" cy="6858000"/>
  <p:notesSz cx="6858000" cy="9144000"/>
  <p:defaultText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700FF"/>
    <a:srgbClr val="CB9BFF"/>
    <a:srgbClr val="B069FF"/>
    <a:srgbClr val="101828"/>
    <a:srgbClr val="49009A"/>
    <a:srgbClr val="272F3D"/>
    <a:srgbClr val="FF5519"/>
    <a:srgbClr val="DAB9FF"/>
    <a:srgbClr val="207398"/>
    <a:srgbClr val="1A5E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828" autoAdjust="0"/>
    <p:restoredTop sz="93473" autoAdjust="0"/>
  </p:normalViewPr>
  <p:slideViewPr>
    <p:cSldViewPr>
      <p:cViewPr varScale="1">
        <p:scale>
          <a:sx n="103" d="100"/>
          <a:sy n="103" d="100"/>
        </p:scale>
        <p:origin x="1380" y="72"/>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87" d="100"/>
          <a:sy n="87" d="100"/>
        </p:scale>
        <p:origin x="954" y="102"/>
      </p:cViewPr>
      <p:guideLst/>
    </p:cSldViewPr>
  </p:notesViewPr>
  <p:gridSpacing cx="45000" cy="450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5" Type="http://schemas.openxmlformats.org/officeDocument/2006/relationships/slideMaster" Target="slideMasters/slideMaster5.xml"/><Relationship Id="rId15" Type="http://schemas.openxmlformats.org/officeDocument/2006/relationships/slide" Target="slides/slide6.xml"/><Relationship Id="rId10" Type="http://schemas.openxmlformats.org/officeDocument/2006/relationships/slide" Target="slides/slide1.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____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Лист1!$B$1</c:f>
              <c:strCache>
                <c:ptCount val="1"/>
                <c:pt idx="0">
                  <c:v>2015</c:v>
                </c:pt>
              </c:strCache>
            </c:strRef>
          </c:tx>
          <c:spPr>
            <a:gradFill>
              <a:gsLst>
                <a:gs pos="0">
                  <a:srgbClr val="7700FF"/>
                </a:gs>
                <a:gs pos="54000">
                  <a:srgbClr val="7700FF"/>
                </a:gs>
                <a:gs pos="99000">
                  <a:srgbClr val="49009A"/>
                </a:gs>
              </a:gsLst>
              <a:lin ang="5400000" scaled="1"/>
            </a:gradFill>
            <a:ln>
              <a:noFill/>
            </a:ln>
            <a:effectLst/>
          </c:spPr>
          <c:invertIfNegative val="0"/>
          <c:dPt>
            <c:idx val="0"/>
            <c:invertIfNegative val="0"/>
            <c:bubble3D val="0"/>
            <c:spPr>
              <a:solidFill>
                <a:srgbClr val="7700FF"/>
              </a:solidFill>
              <a:ln>
                <a:noFill/>
              </a:ln>
              <a:effectLst/>
            </c:spPr>
            <c:extLst>
              <c:ext xmlns:c16="http://schemas.microsoft.com/office/drawing/2014/chart" uri="{C3380CC4-5D6E-409C-BE32-E72D297353CC}">
                <c16:uniqueId val="{00000000-0B4B-4566-BBDD-0955619F9E7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B$2</c:f>
              <c:numCache>
                <c:formatCode>General</c:formatCode>
                <c:ptCount val="1"/>
                <c:pt idx="0">
                  <c:v>1060.53</c:v>
                </c:pt>
              </c:numCache>
            </c:numRef>
          </c:val>
          <c:extLst>
            <c:ext xmlns:c16="http://schemas.microsoft.com/office/drawing/2014/chart" uri="{C3380CC4-5D6E-409C-BE32-E72D297353CC}">
              <c16:uniqueId val="{00000000-2DD9-4895-A77C-C58F0022E9BC}"/>
            </c:ext>
          </c:extLst>
        </c:ser>
        <c:ser>
          <c:idx val="1"/>
          <c:order val="1"/>
          <c:tx>
            <c:strRef>
              <c:f>Лист1!$C$1</c:f>
              <c:strCache>
                <c:ptCount val="1"/>
                <c:pt idx="0">
                  <c:v>2016</c:v>
                </c:pt>
              </c:strCache>
            </c:strRef>
          </c:tx>
          <c:spPr>
            <a:solidFill>
              <a:srgbClr val="77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C$2</c:f>
              <c:numCache>
                <c:formatCode>General</c:formatCode>
                <c:ptCount val="1"/>
                <c:pt idx="0">
                  <c:v>1139.51</c:v>
                </c:pt>
              </c:numCache>
            </c:numRef>
          </c:val>
          <c:extLst>
            <c:ext xmlns:c16="http://schemas.microsoft.com/office/drawing/2014/chart" uri="{C3380CC4-5D6E-409C-BE32-E72D297353CC}">
              <c16:uniqueId val="{00000001-2DD9-4895-A77C-C58F0022E9BC}"/>
            </c:ext>
          </c:extLst>
        </c:ser>
        <c:ser>
          <c:idx val="2"/>
          <c:order val="2"/>
          <c:tx>
            <c:strRef>
              <c:f>Лист1!$D$1</c:f>
              <c:strCache>
                <c:ptCount val="1"/>
                <c:pt idx="0">
                  <c:v>2017</c:v>
                </c:pt>
              </c:strCache>
            </c:strRef>
          </c:tx>
          <c:spPr>
            <a:solidFill>
              <a:srgbClr val="77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D$2</c:f>
              <c:numCache>
                <c:formatCode>General</c:formatCode>
                <c:ptCount val="1"/>
                <c:pt idx="0">
                  <c:v>1272.03</c:v>
                </c:pt>
              </c:numCache>
            </c:numRef>
          </c:val>
          <c:extLst>
            <c:ext xmlns:c16="http://schemas.microsoft.com/office/drawing/2014/chart" uri="{C3380CC4-5D6E-409C-BE32-E72D297353CC}">
              <c16:uniqueId val="{00000002-2DD9-4895-A77C-C58F0022E9BC}"/>
            </c:ext>
          </c:extLst>
        </c:ser>
        <c:ser>
          <c:idx val="3"/>
          <c:order val="3"/>
          <c:tx>
            <c:strRef>
              <c:f>Лист1!$E$1</c:f>
              <c:strCache>
                <c:ptCount val="1"/>
                <c:pt idx="0">
                  <c:v>2018</c:v>
                </c:pt>
              </c:strCache>
            </c:strRef>
          </c:tx>
          <c:spPr>
            <a:solidFill>
              <a:srgbClr val="77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E$2</c:f>
              <c:numCache>
                <c:formatCode>General</c:formatCode>
                <c:ptCount val="1"/>
                <c:pt idx="0">
                  <c:v>1419.05</c:v>
                </c:pt>
              </c:numCache>
            </c:numRef>
          </c:val>
          <c:extLst>
            <c:ext xmlns:c16="http://schemas.microsoft.com/office/drawing/2014/chart" uri="{C3380CC4-5D6E-409C-BE32-E72D297353CC}">
              <c16:uniqueId val="{00000003-2DD9-4895-A77C-C58F0022E9BC}"/>
            </c:ext>
          </c:extLst>
        </c:ser>
        <c:ser>
          <c:idx val="4"/>
          <c:order val="4"/>
          <c:tx>
            <c:strRef>
              <c:f>Лист1!$F$1</c:f>
              <c:strCache>
                <c:ptCount val="1"/>
                <c:pt idx="0">
                  <c:v>2019</c:v>
                </c:pt>
              </c:strCache>
            </c:strRef>
          </c:tx>
          <c:spPr>
            <a:solidFill>
              <a:srgbClr val="77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F$2</c:f>
              <c:numCache>
                <c:formatCode>General</c:formatCode>
                <c:ptCount val="1"/>
                <c:pt idx="0">
                  <c:v>1565.17</c:v>
                </c:pt>
              </c:numCache>
            </c:numRef>
          </c:val>
          <c:extLst>
            <c:ext xmlns:c16="http://schemas.microsoft.com/office/drawing/2014/chart" uri="{C3380CC4-5D6E-409C-BE32-E72D297353CC}">
              <c16:uniqueId val="{00000004-2DD9-4895-A77C-C58F0022E9BC}"/>
            </c:ext>
          </c:extLst>
        </c:ser>
        <c:ser>
          <c:idx val="5"/>
          <c:order val="5"/>
          <c:tx>
            <c:strRef>
              <c:f>Лист1!$G$1</c:f>
              <c:strCache>
                <c:ptCount val="1"/>
                <c:pt idx="0">
                  <c:v>2020</c:v>
                </c:pt>
              </c:strCache>
            </c:strRef>
          </c:tx>
          <c:spPr>
            <a:solidFill>
              <a:srgbClr val="77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G$2</c:f>
              <c:numCache>
                <c:formatCode>General</c:formatCode>
                <c:ptCount val="1"/>
                <c:pt idx="0">
                  <c:v>1778.97</c:v>
                </c:pt>
              </c:numCache>
            </c:numRef>
          </c:val>
          <c:extLst>
            <c:ext xmlns:c16="http://schemas.microsoft.com/office/drawing/2014/chart" uri="{C3380CC4-5D6E-409C-BE32-E72D297353CC}">
              <c16:uniqueId val="{00000005-2DD9-4895-A77C-C58F0022E9BC}"/>
            </c:ext>
          </c:extLst>
        </c:ser>
        <c:ser>
          <c:idx val="6"/>
          <c:order val="6"/>
          <c:tx>
            <c:strRef>
              <c:f>Лист1!$H$1</c:f>
              <c:strCache>
                <c:ptCount val="1"/>
                <c:pt idx="0">
                  <c:v>2021</c:v>
                </c:pt>
              </c:strCache>
            </c:strRef>
          </c:tx>
          <c:spPr>
            <a:solidFill>
              <a:srgbClr val="77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H$2</c:f>
              <c:numCache>
                <c:formatCode>General</c:formatCode>
                <c:ptCount val="1"/>
                <c:pt idx="0">
                  <c:v>2220</c:v>
                </c:pt>
              </c:numCache>
            </c:numRef>
          </c:val>
          <c:extLst>
            <c:ext xmlns:c16="http://schemas.microsoft.com/office/drawing/2014/chart" uri="{C3380CC4-5D6E-409C-BE32-E72D297353CC}">
              <c16:uniqueId val="{00000006-2DD9-4895-A77C-C58F0022E9BC}"/>
            </c:ext>
          </c:extLst>
        </c:ser>
        <c:ser>
          <c:idx val="7"/>
          <c:order val="7"/>
          <c:tx>
            <c:strRef>
              <c:f>Лист1!$I$1</c:f>
              <c:strCache>
                <c:ptCount val="1"/>
                <c:pt idx="0">
                  <c:v>2022</c:v>
                </c:pt>
              </c:strCache>
            </c:strRef>
          </c:tx>
          <c:spPr>
            <a:solidFill>
              <a:srgbClr val="7700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c:f>
              <c:numCache>
                <c:formatCode>General</c:formatCode>
                <c:ptCount val="1"/>
              </c:numCache>
            </c:numRef>
          </c:cat>
          <c:val>
            <c:numRef>
              <c:f>Лист1!$I$2</c:f>
              <c:numCache>
                <c:formatCode>General</c:formatCode>
                <c:ptCount val="1"/>
                <c:pt idx="0">
                  <c:v>1776</c:v>
                </c:pt>
              </c:numCache>
            </c:numRef>
          </c:val>
          <c:extLst>
            <c:ext xmlns:c16="http://schemas.microsoft.com/office/drawing/2014/chart" uri="{C3380CC4-5D6E-409C-BE32-E72D297353CC}">
              <c16:uniqueId val="{00000007-2DD9-4895-A77C-C58F0022E9BC}"/>
            </c:ext>
          </c:extLst>
        </c:ser>
        <c:dLbls>
          <c:showLegendKey val="0"/>
          <c:showVal val="0"/>
          <c:showCatName val="0"/>
          <c:showSerName val="0"/>
          <c:showPercent val="0"/>
          <c:showBubbleSize val="0"/>
        </c:dLbls>
        <c:gapWidth val="1"/>
        <c:overlap val="-100"/>
        <c:axId val="1342363552"/>
        <c:axId val="1342364800"/>
      </c:barChart>
      <c:catAx>
        <c:axId val="1342363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342364800"/>
        <c:crosses val="autoZero"/>
        <c:auto val="1"/>
        <c:lblAlgn val="ctr"/>
        <c:lblOffset val="100"/>
        <c:noMultiLvlLbl val="0"/>
      </c:catAx>
      <c:valAx>
        <c:axId val="1342364800"/>
        <c:scaling>
          <c:orientation val="minMax"/>
        </c:scaling>
        <c:delete val="1"/>
        <c:axPos val="l"/>
        <c:numFmt formatCode="General" sourceLinked="1"/>
        <c:majorTickMark val="none"/>
        <c:minorTickMark val="none"/>
        <c:tickLblPos val="nextTo"/>
        <c:crossAx val="1342363552"/>
        <c:crosses val="autoZero"/>
        <c:crossBetween val="between"/>
      </c:valAx>
      <c:spPr>
        <a:noFill/>
        <a:ln>
          <a:solidFill>
            <a:schemeClr val="bg1"/>
          </a:solidFill>
        </a:ln>
        <a:effectLst/>
      </c:spPr>
    </c:plotArea>
    <c:plotVisOnly val="1"/>
    <c:dispBlanksAs val="gap"/>
    <c:showDLblsOverMax val="0"/>
  </c:chart>
  <c:spPr>
    <a:noFill/>
    <a:ln>
      <a:noFill/>
    </a:ln>
    <a:effectLst/>
  </c:spPr>
  <c:txPr>
    <a:bodyPr/>
    <a:lstStyle/>
    <a:p>
      <a:pPr>
        <a:defRPr/>
      </a:pPr>
      <a:endParaRPr lang="ru-RU"/>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55618</cdr:x>
      <cdr:y>0.16656</cdr:y>
    </cdr:from>
    <cdr:to>
      <cdr:x>0.56717</cdr:x>
      <cdr:y>0.23146</cdr:y>
    </cdr:to>
    <cdr:sp macro="" textlink="">
      <cdr:nvSpPr>
        <cdr:cNvPr id="3" name="Стрелка вниз 2"/>
        <cdr:cNvSpPr/>
      </cdr:nvSpPr>
      <cdr:spPr>
        <a:xfrm xmlns:a="http://schemas.openxmlformats.org/drawingml/2006/main">
          <a:off x="5466693" y="567516"/>
          <a:ext cx="108000" cy="221144"/>
        </a:xfrm>
        <a:prstGeom xmlns:a="http://schemas.openxmlformats.org/drawingml/2006/main" prst="downArrow">
          <a:avLst/>
        </a:prstGeom>
        <a:solidFill xmlns:a="http://schemas.openxmlformats.org/drawingml/2006/main">
          <a:schemeClr val="accent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ru-RU"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8E6642-0902-4DA4-884A-516CBF8D154E}" type="datetimeFigureOut">
              <a:rPr lang="ru-RU" smtClean="0"/>
              <a:t>28.11.2022</a:t>
            </a:fld>
            <a:endParaRPr lang="ru-RU" dirty="0"/>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EA2CF3-86C2-4036-9789-278E20E00BAB}" type="slidenum">
              <a:rPr lang="ru-RU" smtClean="0"/>
              <a:t>‹#›</a:t>
            </a:fld>
            <a:endParaRPr lang="ru-RU" dirty="0"/>
          </a:p>
        </p:txBody>
      </p:sp>
    </p:spTree>
    <p:extLst>
      <p:ext uri="{BB962C8B-B14F-4D97-AF65-F5344CB8AC3E}">
        <p14:creationId xmlns:p14="http://schemas.microsoft.com/office/powerpoint/2010/main" val="2857199207"/>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549275"/>
            <a:ext cx="6648450" cy="3740150"/>
          </a:xfrm>
        </p:spPr>
      </p:sp>
      <p:sp>
        <p:nvSpPr>
          <p:cNvPr id="3" name="Notes Placeholder 2"/>
          <p:cNvSpPr>
            <a:spLocks noGrp="1"/>
          </p:cNvSpPr>
          <p:nvPr>
            <p:ph type="body" idx="1"/>
          </p:nvPr>
        </p:nvSpPr>
        <p:spPr>
          <a:xfrm>
            <a:off x="574896" y="5499465"/>
            <a:ext cx="6049780" cy="246221"/>
          </a:xfr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36930" rtl="0" eaLnBrk="1" fontAlgn="auto" latinLnBrk="0" hangingPunct="1">
              <a:lnSpc>
                <a:spcPct val="100000"/>
              </a:lnSpc>
              <a:spcBef>
                <a:spcPts val="0"/>
              </a:spcBef>
              <a:spcAft>
                <a:spcPts val="0"/>
              </a:spcAft>
              <a:buClrTx/>
              <a:buSzTx/>
              <a:buFontTx/>
              <a:buNone/>
              <a:tabLst/>
              <a:defRPr/>
            </a:pPr>
            <a:fld id="{3C3A632B-FBDE-46D4-BF6F-6D14421E6342}" type="slidenum">
              <a:rPr kumimoji="0" lang="en-US" sz="1200" b="0" i="0" u="none" strike="noStrike" kern="1200" cap="none" spc="0" normalizeH="0" baseline="0" noProof="0" smtClean="0">
                <a:ln>
                  <a:noFill/>
                </a:ln>
                <a:solidFill>
                  <a:prstClr val="black"/>
                </a:solidFill>
                <a:effectLst/>
                <a:uLnTx/>
                <a:uFillTx/>
                <a:latin typeface="Rostelecom Basis" panose="020B0503030604040103" pitchFamily="34" charset="0"/>
                <a:ea typeface="+mn-ea"/>
                <a:cs typeface="+mn-cs"/>
              </a:rPr>
              <a:pPr marL="0" marR="0" lvl="0" indent="0" algn="r" defTabSz="103693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Rostelecom Basis" panose="020B0503030604040103" pitchFamily="34" charset="0"/>
              <a:ea typeface="+mn-ea"/>
              <a:cs typeface="+mn-cs"/>
            </a:endParaRPr>
          </a:p>
        </p:txBody>
      </p:sp>
    </p:spTree>
    <p:extLst>
      <p:ext uri="{BB962C8B-B14F-4D97-AF65-F5344CB8AC3E}">
        <p14:creationId xmlns:p14="http://schemas.microsoft.com/office/powerpoint/2010/main" val="1972707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0825" y="549275"/>
            <a:ext cx="6648450" cy="3740150"/>
          </a:xfrm>
        </p:spPr>
      </p:sp>
      <p:sp>
        <p:nvSpPr>
          <p:cNvPr id="3" name="Notes Placeholder 2"/>
          <p:cNvSpPr>
            <a:spLocks noGrp="1"/>
          </p:cNvSpPr>
          <p:nvPr>
            <p:ph type="body" idx="1"/>
          </p:nvPr>
        </p:nvSpPr>
        <p:spPr>
          <a:xfrm>
            <a:off x="574896" y="5499465"/>
            <a:ext cx="6049780" cy="246221"/>
          </a:xfr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036930" rtl="0" eaLnBrk="1" fontAlgn="auto" latinLnBrk="0" hangingPunct="1">
              <a:lnSpc>
                <a:spcPct val="100000"/>
              </a:lnSpc>
              <a:spcBef>
                <a:spcPts val="0"/>
              </a:spcBef>
              <a:spcAft>
                <a:spcPts val="0"/>
              </a:spcAft>
              <a:buClrTx/>
              <a:buSzTx/>
              <a:buFontTx/>
              <a:buNone/>
              <a:tabLst/>
              <a:defRPr/>
            </a:pPr>
            <a:fld id="{3C3A632B-FBDE-46D4-BF6F-6D14421E6342}" type="slidenum">
              <a:rPr kumimoji="0" lang="en-US" sz="1200" b="0" i="0" u="none" strike="noStrike" kern="1200" cap="none" spc="0" normalizeH="0" baseline="0" noProof="0" smtClean="0">
                <a:ln>
                  <a:noFill/>
                </a:ln>
                <a:solidFill>
                  <a:prstClr val="black"/>
                </a:solidFill>
                <a:effectLst/>
                <a:uLnTx/>
                <a:uFillTx/>
                <a:latin typeface="Rostelecom Basis" panose="020B0503030604040103" pitchFamily="34" charset="0"/>
                <a:ea typeface="+mn-ea"/>
                <a:cs typeface="+mn-cs"/>
              </a:rPr>
              <a:pPr marL="0" marR="0" lvl="0" indent="0" algn="r" defTabSz="103693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Rostelecom Basis" panose="020B0503030604040103" pitchFamily="34" charset="0"/>
              <a:ea typeface="+mn-ea"/>
              <a:cs typeface="+mn-cs"/>
            </a:endParaRPr>
          </a:p>
        </p:txBody>
      </p:sp>
    </p:spTree>
    <p:extLst>
      <p:ext uri="{BB962C8B-B14F-4D97-AF65-F5344CB8AC3E}">
        <p14:creationId xmlns:p14="http://schemas.microsoft.com/office/powerpoint/2010/main" val="5377203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2.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40.svg"/><Relationship Id="rId4" Type="http://schemas.openxmlformats.org/officeDocument/2006/relationships/image" Target="../media/image2.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5.png"/></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 Id="rId5" Type="http://schemas.openxmlformats.org/officeDocument/2006/relationships/image" Target="../media/image5.svg"/><Relationship Id="rId4" Type="http://schemas.openxmlformats.org/officeDocument/2006/relationships/image" Target="../media/image5.png"/></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 Id="rId5" Type="http://schemas.openxmlformats.org/officeDocument/2006/relationships/image" Target="../media/image5.svg"/><Relationship Id="rId4" Type="http://schemas.openxmlformats.org/officeDocument/2006/relationships/image" Target="../media/image5.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7.xml"/><Relationship Id="rId5" Type="http://schemas.openxmlformats.org/officeDocument/2006/relationships/image" Target="../media/image5.svg"/><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emf"/><Relationship Id="rId1" Type="http://schemas.openxmlformats.org/officeDocument/2006/relationships/slideMaster" Target="../slideMasters/slideMaster7.xml"/><Relationship Id="rId4" Type="http://schemas.openxmlformats.org/officeDocument/2006/relationships/image" Target="../media/image7.svg"/></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3.png"/><Relationship Id="rId1" Type="http://schemas.openxmlformats.org/officeDocument/2006/relationships/slideMaster" Target="../slideMasters/slideMaster8.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9.xml"/><Relationship Id="rId5" Type="http://schemas.openxmlformats.org/officeDocument/2006/relationships/image" Target="NULL"/><Relationship Id="rId4" Type="http://schemas.openxmlformats.org/officeDocument/2006/relationships/image" Target="../media/image2.png"/></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3" Type="http://schemas.openxmlformats.org/officeDocument/2006/relationships/hyperlink" Target="mailto:pr@rt.ru" TargetMode="External"/><Relationship Id="rId2" Type="http://schemas.openxmlformats.org/officeDocument/2006/relationships/hyperlink" Target="mailto:rostelecom@rt.ru" TargetMode="External"/><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0" y="3602037"/>
            <a:ext cx="9144000" cy="1655763"/>
          </a:xfrm>
        </p:spPr>
        <p:txBody>
          <a:bodyPr/>
          <a:lstStyle>
            <a:lvl1pPr marL="0" indent="0" algn="ctr">
              <a:buNone/>
              <a:defRPr sz="2400"/>
            </a:lvl1pPr>
            <a:lvl2pPr marL="457187" indent="0" algn="ctr">
              <a:buNone/>
              <a:defRPr sz="2000"/>
            </a:lvl2pPr>
            <a:lvl3pPr marL="914377" indent="0" algn="ctr">
              <a:buNone/>
              <a:defRPr sz="1801"/>
            </a:lvl3pPr>
            <a:lvl4pPr marL="1371566" indent="0" algn="ctr">
              <a:buNone/>
              <a:defRPr sz="1600"/>
            </a:lvl4pPr>
            <a:lvl5pPr marL="1828756" indent="0" algn="ctr">
              <a:buNone/>
              <a:defRPr sz="1600"/>
            </a:lvl5pPr>
            <a:lvl6pPr marL="2285943" indent="0" algn="ctr">
              <a:buNone/>
              <a:defRPr sz="1600"/>
            </a:lvl6pPr>
            <a:lvl7pPr marL="2743133" indent="0" algn="ctr">
              <a:buNone/>
              <a:defRPr sz="1600"/>
            </a:lvl7pPr>
            <a:lvl8pPr marL="3200320" indent="0" algn="ctr">
              <a:buNone/>
              <a:defRPr sz="1600"/>
            </a:lvl8pPr>
            <a:lvl9pPr marL="3657507"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21956066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452038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КЦ_3">
    <p:bg>
      <p:bgPr>
        <a:solidFill>
          <a:srgbClr val="3F4653"/>
        </a:solidFill>
        <a:effectLst/>
      </p:bgPr>
    </p:bg>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7" y="419101"/>
            <a:ext cx="9366011" cy="521276"/>
          </a:xfrm>
          <a:prstGeom prst="rect">
            <a:avLst/>
          </a:prstGeom>
        </p:spPr>
        <p:txBody>
          <a:bodyPr lIns="0" tIns="0" rIns="0" bIns="0"/>
          <a:lstStyle>
            <a:lvl1pPr>
              <a:lnSpc>
                <a:spcPts val="3703"/>
              </a:lnSpc>
              <a:defRPr sz="3527">
                <a:solidFill>
                  <a:schemeClr val="bg1"/>
                </a:solidFill>
              </a:defRPr>
            </a:lvl1pPr>
          </a:lstStyle>
          <a:p>
            <a:r>
              <a:rPr lang="ru-RU" dirty="0"/>
              <a:t>Команда</a:t>
            </a:r>
          </a:p>
        </p:txBody>
      </p:sp>
      <p:sp>
        <p:nvSpPr>
          <p:cNvPr id="37" name="Рисунок 48">
            <a:extLst>
              <a:ext uri="{FF2B5EF4-FFF2-40B4-BE49-F238E27FC236}">
                <a16:creationId xmlns:a16="http://schemas.microsoft.com/office/drawing/2014/main" id="{BDEF2D22-3686-498C-9A8D-7C8674C4DE97}"/>
              </a:ext>
            </a:extLst>
          </p:cNvPr>
          <p:cNvSpPr>
            <a:spLocks noGrp="1"/>
          </p:cNvSpPr>
          <p:nvPr>
            <p:ph type="pic" sz="quarter" idx="94"/>
          </p:nvPr>
        </p:nvSpPr>
        <p:spPr>
          <a:xfrm>
            <a:off x="405841" y="192517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38" name="Текст 4">
            <a:extLst>
              <a:ext uri="{FF2B5EF4-FFF2-40B4-BE49-F238E27FC236}">
                <a16:creationId xmlns:a16="http://schemas.microsoft.com/office/drawing/2014/main" id="{57291F5B-E3A8-40BB-A7F3-EC785374A93A}"/>
              </a:ext>
            </a:extLst>
          </p:cNvPr>
          <p:cNvSpPr>
            <a:spLocks noGrp="1"/>
          </p:cNvSpPr>
          <p:nvPr>
            <p:ph type="body" sz="quarter" idx="95" hasCustomPrompt="1"/>
          </p:nvPr>
        </p:nvSpPr>
        <p:spPr>
          <a:xfrm>
            <a:off x="1533753" y="1898013"/>
            <a:ext cx="274296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39" name="Текст 14">
            <a:extLst>
              <a:ext uri="{FF2B5EF4-FFF2-40B4-BE49-F238E27FC236}">
                <a16:creationId xmlns:a16="http://schemas.microsoft.com/office/drawing/2014/main" id="{42C83861-35BF-4500-9180-FAA84A620FC7}"/>
              </a:ext>
            </a:extLst>
          </p:cNvPr>
          <p:cNvSpPr>
            <a:spLocks noGrp="1"/>
          </p:cNvSpPr>
          <p:nvPr>
            <p:ph type="body" sz="quarter" idx="96" hasCustomPrompt="1"/>
          </p:nvPr>
        </p:nvSpPr>
        <p:spPr>
          <a:xfrm>
            <a:off x="1533753" y="2202027"/>
            <a:ext cx="274296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0" name="Рисунок 48">
            <a:extLst>
              <a:ext uri="{FF2B5EF4-FFF2-40B4-BE49-F238E27FC236}">
                <a16:creationId xmlns:a16="http://schemas.microsoft.com/office/drawing/2014/main" id="{1B842BF3-8088-486F-B7A2-5DC54AD48DF7}"/>
              </a:ext>
            </a:extLst>
          </p:cNvPr>
          <p:cNvSpPr>
            <a:spLocks noGrp="1"/>
          </p:cNvSpPr>
          <p:nvPr>
            <p:ph type="pic" sz="quarter" idx="97"/>
          </p:nvPr>
        </p:nvSpPr>
        <p:spPr>
          <a:xfrm>
            <a:off x="405841" y="3886760"/>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1" name="Текст 4">
            <a:extLst>
              <a:ext uri="{FF2B5EF4-FFF2-40B4-BE49-F238E27FC236}">
                <a16:creationId xmlns:a16="http://schemas.microsoft.com/office/drawing/2014/main" id="{9C5BC014-5508-4329-9A93-DBBCF44F7B05}"/>
              </a:ext>
            </a:extLst>
          </p:cNvPr>
          <p:cNvSpPr>
            <a:spLocks noGrp="1"/>
          </p:cNvSpPr>
          <p:nvPr>
            <p:ph type="body" sz="quarter" idx="98" hasCustomPrompt="1"/>
          </p:nvPr>
        </p:nvSpPr>
        <p:spPr>
          <a:xfrm>
            <a:off x="1533753" y="3859598"/>
            <a:ext cx="274296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2" name="Текст 14">
            <a:extLst>
              <a:ext uri="{FF2B5EF4-FFF2-40B4-BE49-F238E27FC236}">
                <a16:creationId xmlns:a16="http://schemas.microsoft.com/office/drawing/2014/main" id="{FF9C33AD-7B7E-47A9-AAE7-66D23F519E07}"/>
              </a:ext>
            </a:extLst>
          </p:cNvPr>
          <p:cNvSpPr>
            <a:spLocks noGrp="1"/>
          </p:cNvSpPr>
          <p:nvPr>
            <p:ph type="body" sz="quarter" idx="99" hasCustomPrompt="1"/>
          </p:nvPr>
        </p:nvSpPr>
        <p:spPr>
          <a:xfrm>
            <a:off x="1533753" y="4163617"/>
            <a:ext cx="274296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3" name="Рисунок 48">
            <a:extLst>
              <a:ext uri="{FF2B5EF4-FFF2-40B4-BE49-F238E27FC236}">
                <a16:creationId xmlns:a16="http://schemas.microsoft.com/office/drawing/2014/main" id="{47359FF0-D1DE-40B6-AE9D-E7493F3BCDAC}"/>
              </a:ext>
            </a:extLst>
          </p:cNvPr>
          <p:cNvSpPr>
            <a:spLocks noGrp="1"/>
          </p:cNvSpPr>
          <p:nvPr>
            <p:ph type="pic" sz="quarter" idx="100"/>
          </p:nvPr>
        </p:nvSpPr>
        <p:spPr>
          <a:xfrm>
            <a:off x="5984325" y="192517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5" name="Текст 4">
            <a:extLst>
              <a:ext uri="{FF2B5EF4-FFF2-40B4-BE49-F238E27FC236}">
                <a16:creationId xmlns:a16="http://schemas.microsoft.com/office/drawing/2014/main" id="{E7ED6666-73D6-4F5C-8449-9993DFC4CEAE}"/>
              </a:ext>
            </a:extLst>
          </p:cNvPr>
          <p:cNvSpPr>
            <a:spLocks noGrp="1"/>
          </p:cNvSpPr>
          <p:nvPr>
            <p:ph type="body" sz="quarter" idx="101" hasCustomPrompt="1"/>
          </p:nvPr>
        </p:nvSpPr>
        <p:spPr>
          <a:xfrm>
            <a:off x="7112238" y="1898013"/>
            <a:ext cx="274296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6" name="Текст 14">
            <a:extLst>
              <a:ext uri="{FF2B5EF4-FFF2-40B4-BE49-F238E27FC236}">
                <a16:creationId xmlns:a16="http://schemas.microsoft.com/office/drawing/2014/main" id="{DF32D8C4-B1AD-4AD5-A022-702D6AF37F97}"/>
              </a:ext>
            </a:extLst>
          </p:cNvPr>
          <p:cNvSpPr>
            <a:spLocks noGrp="1"/>
          </p:cNvSpPr>
          <p:nvPr>
            <p:ph type="body" sz="quarter" idx="102" hasCustomPrompt="1"/>
          </p:nvPr>
        </p:nvSpPr>
        <p:spPr>
          <a:xfrm>
            <a:off x="7112238" y="2202027"/>
            <a:ext cx="274296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Tree>
    <p:extLst>
      <p:ext uri="{BB962C8B-B14F-4D97-AF65-F5344CB8AC3E}">
        <p14:creationId xmlns:p14="http://schemas.microsoft.com/office/powerpoint/2010/main" val="1008532887"/>
      </p:ext>
    </p:extLst>
  </p:cSld>
  <p:clrMapOvr>
    <a:masterClrMapping/>
  </p:clrMapOvr>
  <p:extLst mod="1">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КЦ_4">
    <p:bg>
      <p:bgPr>
        <a:solidFill>
          <a:srgbClr val="3F4653"/>
        </a:solidFill>
        <a:effectLst/>
      </p:bgPr>
    </p:bg>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7" y="419101"/>
            <a:ext cx="9366011" cy="521276"/>
          </a:xfrm>
          <a:prstGeom prst="rect">
            <a:avLst/>
          </a:prstGeom>
        </p:spPr>
        <p:txBody>
          <a:bodyPr lIns="0" tIns="0" rIns="0" bIns="0"/>
          <a:lstStyle>
            <a:lvl1pPr>
              <a:lnSpc>
                <a:spcPts val="3703"/>
              </a:lnSpc>
              <a:defRPr sz="3527">
                <a:solidFill>
                  <a:schemeClr val="bg1"/>
                </a:solidFill>
              </a:defRPr>
            </a:lvl1pPr>
          </a:lstStyle>
          <a:p>
            <a:r>
              <a:rPr lang="ru-RU" dirty="0"/>
              <a:t>Команда</a:t>
            </a:r>
          </a:p>
        </p:txBody>
      </p:sp>
      <p:sp>
        <p:nvSpPr>
          <p:cNvPr id="37" name="Рисунок 48">
            <a:extLst>
              <a:ext uri="{FF2B5EF4-FFF2-40B4-BE49-F238E27FC236}">
                <a16:creationId xmlns:a16="http://schemas.microsoft.com/office/drawing/2014/main" id="{BDEF2D22-3686-498C-9A8D-7C8674C4DE97}"/>
              </a:ext>
            </a:extLst>
          </p:cNvPr>
          <p:cNvSpPr>
            <a:spLocks noGrp="1"/>
          </p:cNvSpPr>
          <p:nvPr>
            <p:ph type="pic" sz="quarter" idx="94"/>
          </p:nvPr>
        </p:nvSpPr>
        <p:spPr>
          <a:xfrm>
            <a:off x="405841" y="192517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38" name="Текст 4">
            <a:extLst>
              <a:ext uri="{FF2B5EF4-FFF2-40B4-BE49-F238E27FC236}">
                <a16:creationId xmlns:a16="http://schemas.microsoft.com/office/drawing/2014/main" id="{57291F5B-E3A8-40BB-A7F3-EC785374A93A}"/>
              </a:ext>
            </a:extLst>
          </p:cNvPr>
          <p:cNvSpPr>
            <a:spLocks noGrp="1"/>
          </p:cNvSpPr>
          <p:nvPr>
            <p:ph type="body" sz="quarter" idx="95" hasCustomPrompt="1"/>
          </p:nvPr>
        </p:nvSpPr>
        <p:spPr>
          <a:xfrm>
            <a:off x="1533753" y="1898013"/>
            <a:ext cx="274296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39" name="Текст 14">
            <a:extLst>
              <a:ext uri="{FF2B5EF4-FFF2-40B4-BE49-F238E27FC236}">
                <a16:creationId xmlns:a16="http://schemas.microsoft.com/office/drawing/2014/main" id="{42C83861-35BF-4500-9180-FAA84A620FC7}"/>
              </a:ext>
            </a:extLst>
          </p:cNvPr>
          <p:cNvSpPr>
            <a:spLocks noGrp="1"/>
          </p:cNvSpPr>
          <p:nvPr>
            <p:ph type="body" sz="quarter" idx="96" hasCustomPrompt="1"/>
          </p:nvPr>
        </p:nvSpPr>
        <p:spPr>
          <a:xfrm>
            <a:off x="1533753" y="2202027"/>
            <a:ext cx="274296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0" name="Рисунок 48">
            <a:extLst>
              <a:ext uri="{FF2B5EF4-FFF2-40B4-BE49-F238E27FC236}">
                <a16:creationId xmlns:a16="http://schemas.microsoft.com/office/drawing/2014/main" id="{1B842BF3-8088-486F-B7A2-5DC54AD48DF7}"/>
              </a:ext>
            </a:extLst>
          </p:cNvPr>
          <p:cNvSpPr>
            <a:spLocks noGrp="1"/>
          </p:cNvSpPr>
          <p:nvPr>
            <p:ph type="pic" sz="quarter" idx="97"/>
          </p:nvPr>
        </p:nvSpPr>
        <p:spPr>
          <a:xfrm>
            <a:off x="405841" y="3886760"/>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1" name="Текст 4">
            <a:extLst>
              <a:ext uri="{FF2B5EF4-FFF2-40B4-BE49-F238E27FC236}">
                <a16:creationId xmlns:a16="http://schemas.microsoft.com/office/drawing/2014/main" id="{9C5BC014-5508-4329-9A93-DBBCF44F7B05}"/>
              </a:ext>
            </a:extLst>
          </p:cNvPr>
          <p:cNvSpPr>
            <a:spLocks noGrp="1"/>
          </p:cNvSpPr>
          <p:nvPr>
            <p:ph type="body" sz="quarter" idx="98" hasCustomPrompt="1"/>
          </p:nvPr>
        </p:nvSpPr>
        <p:spPr>
          <a:xfrm>
            <a:off x="1533753" y="3859598"/>
            <a:ext cx="274296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2" name="Текст 14">
            <a:extLst>
              <a:ext uri="{FF2B5EF4-FFF2-40B4-BE49-F238E27FC236}">
                <a16:creationId xmlns:a16="http://schemas.microsoft.com/office/drawing/2014/main" id="{FF9C33AD-7B7E-47A9-AAE7-66D23F519E07}"/>
              </a:ext>
            </a:extLst>
          </p:cNvPr>
          <p:cNvSpPr>
            <a:spLocks noGrp="1"/>
          </p:cNvSpPr>
          <p:nvPr>
            <p:ph type="body" sz="quarter" idx="99" hasCustomPrompt="1"/>
          </p:nvPr>
        </p:nvSpPr>
        <p:spPr>
          <a:xfrm>
            <a:off x="1533753" y="4163617"/>
            <a:ext cx="274296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3" name="Рисунок 48">
            <a:extLst>
              <a:ext uri="{FF2B5EF4-FFF2-40B4-BE49-F238E27FC236}">
                <a16:creationId xmlns:a16="http://schemas.microsoft.com/office/drawing/2014/main" id="{47359FF0-D1DE-40B6-AE9D-E7493F3BCDAC}"/>
              </a:ext>
            </a:extLst>
          </p:cNvPr>
          <p:cNvSpPr>
            <a:spLocks noGrp="1"/>
          </p:cNvSpPr>
          <p:nvPr>
            <p:ph type="pic" sz="quarter" idx="100"/>
          </p:nvPr>
        </p:nvSpPr>
        <p:spPr>
          <a:xfrm>
            <a:off x="5984325" y="192517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5" name="Текст 4">
            <a:extLst>
              <a:ext uri="{FF2B5EF4-FFF2-40B4-BE49-F238E27FC236}">
                <a16:creationId xmlns:a16="http://schemas.microsoft.com/office/drawing/2014/main" id="{E7ED6666-73D6-4F5C-8449-9993DFC4CEAE}"/>
              </a:ext>
            </a:extLst>
          </p:cNvPr>
          <p:cNvSpPr>
            <a:spLocks noGrp="1"/>
          </p:cNvSpPr>
          <p:nvPr>
            <p:ph type="body" sz="quarter" idx="101" hasCustomPrompt="1"/>
          </p:nvPr>
        </p:nvSpPr>
        <p:spPr>
          <a:xfrm>
            <a:off x="7112238" y="1898013"/>
            <a:ext cx="274296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6" name="Текст 14">
            <a:extLst>
              <a:ext uri="{FF2B5EF4-FFF2-40B4-BE49-F238E27FC236}">
                <a16:creationId xmlns:a16="http://schemas.microsoft.com/office/drawing/2014/main" id="{DF32D8C4-B1AD-4AD5-A022-702D6AF37F97}"/>
              </a:ext>
            </a:extLst>
          </p:cNvPr>
          <p:cNvSpPr>
            <a:spLocks noGrp="1"/>
          </p:cNvSpPr>
          <p:nvPr>
            <p:ph type="body" sz="quarter" idx="102" hasCustomPrompt="1"/>
          </p:nvPr>
        </p:nvSpPr>
        <p:spPr>
          <a:xfrm>
            <a:off x="7112238" y="2202027"/>
            <a:ext cx="274296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7" name="Рисунок 48">
            <a:extLst>
              <a:ext uri="{FF2B5EF4-FFF2-40B4-BE49-F238E27FC236}">
                <a16:creationId xmlns:a16="http://schemas.microsoft.com/office/drawing/2014/main" id="{AC044DB6-81CE-4F01-9D9E-C7943F7781DB}"/>
              </a:ext>
            </a:extLst>
          </p:cNvPr>
          <p:cNvSpPr>
            <a:spLocks noGrp="1"/>
          </p:cNvSpPr>
          <p:nvPr>
            <p:ph type="pic" sz="quarter" idx="103"/>
          </p:nvPr>
        </p:nvSpPr>
        <p:spPr>
          <a:xfrm>
            <a:off x="5984325" y="3886760"/>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54" name="Текст 4">
            <a:extLst>
              <a:ext uri="{FF2B5EF4-FFF2-40B4-BE49-F238E27FC236}">
                <a16:creationId xmlns:a16="http://schemas.microsoft.com/office/drawing/2014/main" id="{0E00D19C-EC6B-499E-A6AB-B77B4092A9EB}"/>
              </a:ext>
            </a:extLst>
          </p:cNvPr>
          <p:cNvSpPr>
            <a:spLocks noGrp="1"/>
          </p:cNvSpPr>
          <p:nvPr>
            <p:ph type="body" sz="quarter" idx="104" hasCustomPrompt="1"/>
          </p:nvPr>
        </p:nvSpPr>
        <p:spPr>
          <a:xfrm>
            <a:off x="7112238" y="3859598"/>
            <a:ext cx="274296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60" name="Текст 14">
            <a:extLst>
              <a:ext uri="{FF2B5EF4-FFF2-40B4-BE49-F238E27FC236}">
                <a16:creationId xmlns:a16="http://schemas.microsoft.com/office/drawing/2014/main" id="{8686DE69-9A25-4A66-9D41-69B2996DD835}"/>
              </a:ext>
            </a:extLst>
          </p:cNvPr>
          <p:cNvSpPr>
            <a:spLocks noGrp="1"/>
          </p:cNvSpPr>
          <p:nvPr>
            <p:ph type="body" sz="quarter" idx="105" hasCustomPrompt="1"/>
          </p:nvPr>
        </p:nvSpPr>
        <p:spPr>
          <a:xfrm>
            <a:off x="7112238" y="4163617"/>
            <a:ext cx="274296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Tree>
    <p:extLst>
      <p:ext uri="{BB962C8B-B14F-4D97-AF65-F5344CB8AC3E}">
        <p14:creationId xmlns:p14="http://schemas.microsoft.com/office/powerpoint/2010/main" val="2775858308"/>
      </p:ext>
    </p:extLst>
  </p:cSld>
  <p:clrMapOvr>
    <a:masterClrMapping/>
  </p:clrMapOvr>
  <p:extLst mod="1">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КЦ_6">
    <p:bg>
      <p:bgPr>
        <a:solidFill>
          <a:srgbClr val="3F4653"/>
        </a:solidFill>
        <a:effectLst/>
      </p:bgPr>
    </p:bg>
    <p:spTree>
      <p:nvGrpSpPr>
        <p:cNvPr id="1" name=""/>
        <p:cNvGrpSpPr/>
        <p:nvPr/>
      </p:nvGrpSpPr>
      <p:grpSpPr>
        <a:xfrm>
          <a:off x="0" y="0"/>
          <a:ext cx="0" cy="0"/>
          <a:chOff x="0" y="0"/>
          <a:chExt cx="0" cy="0"/>
        </a:xfrm>
      </p:grpSpPr>
      <p:sp>
        <p:nvSpPr>
          <p:cNvPr id="49" name="Рисунок 48">
            <a:extLst>
              <a:ext uri="{FF2B5EF4-FFF2-40B4-BE49-F238E27FC236}">
                <a16:creationId xmlns:a16="http://schemas.microsoft.com/office/drawing/2014/main" id="{8204241A-44FE-4B6C-8F9B-579F1BE8CAB8}"/>
              </a:ext>
            </a:extLst>
          </p:cNvPr>
          <p:cNvSpPr>
            <a:spLocks noGrp="1"/>
          </p:cNvSpPr>
          <p:nvPr>
            <p:ph type="pic" sz="quarter" idx="87"/>
          </p:nvPr>
        </p:nvSpPr>
        <p:spPr>
          <a:xfrm>
            <a:off x="405841" y="170103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7" y="419101"/>
            <a:ext cx="9366011" cy="521276"/>
          </a:xfrm>
          <a:prstGeom prst="rect">
            <a:avLst/>
          </a:prstGeom>
        </p:spPr>
        <p:txBody>
          <a:bodyPr lIns="0" tIns="0" rIns="0" bIns="0"/>
          <a:lstStyle>
            <a:lvl1pPr>
              <a:lnSpc>
                <a:spcPts val="3703"/>
              </a:lnSpc>
              <a:defRPr sz="3527">
                <a:solidFill>
                  <a:schemeClr val="bg1"/>
                </a:solidFill>
              </a:defRPr>
            </a:lvl1pPr>
          </a:lstStyle>
          <a:p>
            <a:r>
              <a:rPr lang="ru-RU" dirty="0"/>
              <a:t>Команда</a:t>
            </a:r>
          </a:p>
        </p:txBody>
      </p:sp>
      <p:sp>
        <p:nvSpPr>
          <p:cNvPr id="48" name="Текст 4">
            <a:extLst>
              <a:ext uri="{FF2B5EF4-FFF2-40B4-BE49-F238E27FC236}">
                <a16:creationId xmlns:a16="http://schemas.microsoft.com/office/drawing/2014/main" id="{23590824-C7C3-4C13-9121-739028514756}"/>
              </a:ext>
            </a:extLst>
          </p:cNvPr>
          <p:cNvSpPr>
            <a:spLocks noGrp="1"/>
          </p:cNvSpPr>
          <p:nvPr>
            <p:ph type="body" sz="quarter" idx="19" hasCustomPrompt="1"/>
          </p:nvPr>
        </p:nvSpPr>
        <p:spPr>
          <a:xfrm>
            <a:off x="1533753" y="1673875"/>
            <a:ext cx="251485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4" name="Текст 14">
            <a:extLst>
              <a:ext uri="{FF2B5EF4-FFF2-40B4-BE49-F238E27FC236}">
                <a16:creationId xmlns:a16="http://schemas.microsoft.com/office/drawing/2014/main" id="{D81FBD9C-8D07-4C09-925C-8F25D7AAC0A3}"/>
              </a:ext>
            </a:extLst>
          </p:cNvPr>
          <p:cNvSpPr>
            <a:spLocks noGrp="1"/>
          </p:cNvSpPr>
          <p:nvPr>
            <p:ph type="body" sz="quarter" idx="61" hasCustomPrompt="1"/>
          </p:nvPr>
        </p:nvSpPr>
        <p:spPr>
          <a:xfrm>
            <a:off x="1533753" y="1977891"/>
            <a:ext cx="251485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37" name="Рисунок 48">
            <a:extLst>
              <a:ext uri="{FF2B5EF4-FFF2-40B4-BE49-F238E27FC236}">
                <a16:creationId xmlns:a16="http://schemas.microsoft.com/office/drawing/2014/main" id="{BDEF2D22-3686-498C-9A8D-7C8674C4DE97}"/>
              </a:ext>
            </a:extLst>
          </p:cNvPr>
          <p:cNvSpPr>
            <a:spLocks noGrp="1"/>
          </p:cNvSpPr>
          <p:nvPr>
            <p:ph type="pic" sz="quarter" idx="94"/>
          </p:nvPr>
        </p:nvSpPr>
        <p:spPr>
          <a:xfrm>
            <a:off x="405841" y="318947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38" name="Текст 4">
            <a:extLst>
              <a:ext uri="{FF2B5EF4-FFF2-40B4-BE49-F238E27FC236}">
                <a16:creationId xmlns:a16="http://schemas.microsoft.com/office/drawing/2014/main" id="{57291F5B-E3A8-40BB-A7F3-EC785374A93A}"/>
              </a:ext>
            </a:extLst>
          </p:cNvPr>
          <p:cNvSpPr>
            <a:spLocks noGrp="1"/>
          </p:cNvSpPr>
          <p:nvPr>
            <p:ph type="body" sz="quarter" idx="95" hasCustomPrompt="1"/>
          </p:nvPr>
        </p:nvSpPr>
        <p:spPr>
          <a:xfrm>
            <a:off x="1533753" y="3162317"/>
            <a:ext cx="251485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39" name="Текст 14">
            <a:extLst>
              <a:ext uri="{FF2B5EF4-FFF2-40B4-BE49-F238E27FC236}">
                <a16:creationId xmlns:a16="http://schemas.microsoft.com/office/drawing/2014/main" id="{42C83861-35BF-4500-9180-FAA84A620FC7}"/>
              </a:ext>
            </a:extLst>
          </p:cNvPr>
          <p:cNvSpPr>
            <a:spLocks noGrp="1"/>
          </p:cNvSpPr>
          <p:nvPr>
            <p:ph type="body" sz="quarter" idx="96" hasCustomPrompt="1"/>
          </p:nvPr>
        </p:nvSpPr>
        <p:spPr>
          <a:xfrm>
            <a:off x="1533753" y="3466328"/>
            <a:ext cx="251485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0" name="Рисунок 48">
            <a:extLst>
              <a:ext uri="{FF2B5EF4-FFF2-40B4-BE49-F238E27FC236}">
                <a16:creationId xmlns:a16="http://schemas.microsoft.com/office/drawing/2014/main" id="{1B842BF3-8088-486F-B7A2-5DC54AD48DF7}"/>
              </a:ext>
            </a:extLst>
          </p:cNvPr>
          <p:cNvSpPr>
            <a:spLocks noGrp="1"/>
          </p:cNvSpPr>
          <p:nvPr>
            <p:ph type="pic" sz="quarter" idx="97"/>
          </p:nvPr>
        </p:nvSpPr>
        <p:spPr>
          <a:xfrm>
            <a:off x="405841" y="469204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1" name="Текст 4">
            <a:extLst>
              <a:ext uri="{FF2B5EF4-FFF2-40B4-BE49-F238E27FC236}">
                <a16:creationId xmlns:a16="http://schemas.microsoft.com/office/drawing/2014/main" id="{9C5BC014-5508-4329-9A93-DBBCF44F7B05}"/>
              </a:ext>
            </a:extLst>
          </p:cNvPr>
          <p:cNvSpPr>
            <a:spLocks noGrp="1"/>
          </p:cNvSpPr>
          <p:nvPr>
            <p:ph type="body" sz="quarter" idx="98" hasCustomPrompt="1"/>
          </p:nvPr>
        </p:nvSpPr>
        <p:spPr>
          <a:xfrm>
            <a:off x="1533753" y="4664884"/>
            <a:ext cx="251485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2" name="Текст 14">
            <a:extLst>
              <a:ext uri="{FF2B5EF4-FFF2-40B4-BE49-F238E27FC236}">
                <a16:creationId xmlns:a16="http://schemas.microsoft.com/office/drawing/2014/main" id="{FF9C33AD-7B7E-47A9-AAE7-66D23F519E07}"/>
              </a:ext>
            </a:extLst>
          </p:cNvPr>
          <p:cNvSpPr>
            <a:spLocks noGrp="1"/>
          </p:cNvSpPr>
          <p:nvPr>
            <p:ph type="body" sz="quarter" idx="99" hasCustomPrompt="1"/>
          </p:nvPr>
        </p:nvSpPr>
        <p:spPr>
          <a:xfrm>
            <a:off x="1533753" y="4968898"/>
            <a:ext cx="251485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3" name="Рисунок 48">
            <a:extLst>
              <a:ext uri="{FF2B5EF4-FFF2-40B4-BE49-F238E27FC236}">
                <a16:creationId xmlns:a16="http://schemas.microsoft.com/office/drawing/2014/main" id="{47359FF0-D1DE-40B6-AE9D-E7493F3BCDAC}"/>
              </a:ext>
            </a:extLst>
          </p:cNvPr>
          <p:cNvSpPr>
            <a:spLocks noGrp="1"/>
          </p:cNvSpPr>
          <p:nvPr>
            <p:ph type="pic" sz="quarter" idx="100"/>
          </p:nvPr>
        </p:nvSpPr>
        <p:spPr>
          <a:xfrm>
            <a:off x="4292301" y="318947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5" name="Текст 4">
            <a:extLst>
              <a:ext uri="{FF2B5EF4-FFF2-40B4-BE49-F238E27FC236}">
                <a16:creationId xmlns:a16="http://schemas.microsoft.com/office/drawing/2014/main" id="{E7ED6666-73D6-4F5C-8449-9993DFC4CEAE}"/>
              </a:ext>
            </a:extLst>
          </p:cNvPr>
          <p:cNvSpPr>
            <a:spLocks noGrp="1"/>
          </p:cNvSpPr>
          <p:nvPr>
            <p:ph type="body" sz="quarter" idx="101" hasCustomPrompt="1"/>
          </p:nvPr>
        </p:nvSpPr>
        <p:spPr>
          <a:xfrm>
            <a:off x="5428610" y="3162317"/>
            <a:ext cx="251485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6" name="Текст 14">
            <a:extLst>
              <a:ext uri="{FF2B5EF4-FFF2-40B4-BE49-F238E27FC236}">
                <a16:creationId xmlns:a16="http://schemas.microsoft.com/office/drawing/2014/main" id="{DF32D8C4-B1AD-4AD5-A022-702D6AF37F97}"/>
              </a:ext>
            </a:extLst>
          </p:cNvPr>
          <p:cNvSpPr>
            <a:spLocks noGrp="1"/>
          </p:cNvSpPr>
          <p:nvPr>
            <p:ph type="body" sz="quarter" idx="102" hasCustomPrompt="1"/>
          </p:nvPr>
        </p:nvSpPr>
        <p:spPr>
          <a:xfrm>
            <a:off x="5428610" y="3466328"/>
            <a:ext cx="251485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7" name="Рисунок 48">
            <a:extLst>
              <a:ext uri="{FF2B5EF4-FFF2-40B4-BE49-F238E27FC236}">
                <a16:creationId xmlns:a16="http://schemas.microsoft.com/office/drawing/2014/main" id="{AC044DB6-81CE-4F01-9D9E-C7943F7781DB}"/>
              </a:ext>
            </a:extLst>
          </p:cNvPr>
          <p:cNvSpPr>
            <a:spLocks noGrp="1"/>
          </p:cNvSpPr>
          <p:nvPr>
            <p:ph type="pic" sz="quarter" idx="103"/>
          </p:nvPr>
        </p:nvSpPr>
        <p:spPr>
          <a:xfrm>
            <a:off x="4292301" y="469204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54" name="Текст 4">
            <a:extLst>
              <a:ext uri="{FF2B5EF4-FFF2-40B4-BE49-F238E27FC236}">
                <a16:creationId xmlns:a16="http://schemas.microsoft.com/office/drawing/2014/main" id="{0E00D19C-EC6B-499E-A6AB-B77B4092A9EB}"/>
              </a:ext>
            </a:extLst>
          </p:cNvPr>
          <p:cNvSpPr>
            <a:spLocks noGrp="1"/>
          </p:cNvSpPr>
          <p:nvPr>
            <p:ph type="body" sz="quarter" idx="104" hasCustomPrompt="1"/>
          </p:nvPr>
        </p:nvSpPr>
        <p:spPr>
          <a:xfrm>
            <a:off x="5428610" y="4664884"/>
            <a:ext cx="251485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60" name="Текст 14">
            <a:extLst>
              <a:ext uri="{FF2B5EF4-FFF2-40B4-BE49-F238E27FC236}">
                <a16:creationId xmlns:a16="http://schemas.microsoft.com/office/drawing/2014/main" id="{8686DE69-9A25-4A66-9D41-69B2996DD835}"/>
              </a:ext>
            </a:extLst>
          </p:cNvPr>
          <p:cNvSpPr>
            <a:spLocks noGrp="1"/>
          </p:cNvSpPr>
          <p:nvPr>
            <p:ph type="body" sz="quarter" idx="105" hasCustomPrompt="1"/>
          </p:nvPr>
        </p:nvSpPr>
        <p:spPr>
          <a:xfrm>
            <a:off x="5428610" y="4968898"/>
            <a:ext cx="251485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Tree>
    <p:extLst>
      <p:ext uri="{BB962C8B-B14F-4D97-AF65-F5344CB8AC3E}">
        <p14:creationId xmlns:p14="http://schemas.microsoft.com/office/powerpoint/2010/main" val="1822174430"/>
      </p:ext>
    </p:extLst>
  </p:cSld>
  <p:clrMapOvr>
    <a:masterClrMapping/>
  </p:clrMapOvr>
  <p:extLst mod="1">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КЦ_9">
    <p:bg>
      <p:bgPr>
        <a:solidFill>
          <a:srgbClr val="3F4653"/>
        </a:solidFill>
        <a:effectLst/>
      </p:bgPr>
    </p:bg>
    <p:spTree>
      <p:nvGrpSpPr>
        <p:cNvPr id="1" name=""/>
        <p:cNvGrpSpPr/>
        <p:nvPr/>
      </p:nvGrpSpPr>
      <p:grpSpPr>
        <a:xfrm>
          <a:off x="0" y="0"/>
          <a:ext cx="0" cy="0"/>
          <a:chOff x="0" y="0"/>
          <a:chExt cx="0" cy="0"/>
        </a:xfrm>
      </p:grpSpPr>
      <p:sp>
        <p:nvSpPr>
          <p:cNvPr id="49" name="Рисунок 48">
            <a:extLst>
              <a:ext uri="{FF2B5EF4-FFF2-40B4-BE49-F238E27FC236}">
                <a16:creationId xmlns:a16="http://schemas.microsoft.com/office/drawing/2014/main" id="{8204241A-44FE-4B6C-8F9B-579F1BE8CAB8}"/>
              </a:ext>
            </a:extLst>
          </p:cNvPr>
          <p:cNvSpPr>
            <a:spLocks noGrp="1"/>
          </p:cNvSpPr>
          <p:nvPr>
            <p:ph type="pic" sz="quarter" idx="87"/>
          </p:nvPr>
        </p:nvSpPr>
        <p:spPr>
          <a:xfrm>
            <a:off x="405841" y="170103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7" y="419101"/>
            <a:ext cx="9366011" cy="521276"/>
          </a:xfrm>
          <a:prstGeom prst="rect">
            <a:avLst/>
          </a:prstGeom>
        </p:spPr>
        <p:txBody>
          <a:bodyPr lIns="0" tIns="0" rIns="0" bIns="0"/>
          <a:lstStyle>
            <a:lvl1pPr>
              <a:lnSpc>
                <a:spcPts val="3703"/>
              </a:lnSpc>
              <a:defRPr sz="3527">
                <a:solidFill>
                  <a:schemeClr val="bg1"/>
                </a:solidFill>
              </a:defRPr>
            </a:lvl1pPr>
          </a:lstStyle>
          <a:p>
            <a:r>
              <a:rPr lang="ru-RU" dirty="0"/>
              <a:t>Команда</a:t>
            </a:r>
          </a:p>
        </p:txBody>
      </p:sp>
      <p:sp>
        <p:nvSpPr>
          <p:cNvPr id="48" name="Текст 4">
            <a:extLst>
              <a:ext uri="{FF2B5EF4-FFF2-40B4-BE49-F238E27FC236}">
                <a16:creationId xmlns:a16="http://schemas.microsoft.com/office/drawing/2014/main" id="{23590824-C7C3-4C13-9121-739028514756}"/>
              </a:ext>
            </a:extLst>
          </p:cNvPr>
          <p:cNvSpPr>
            <a:spLocks noGrp="1"/>
          </p:cNvSpPr>
          <p:nvPr>
            <p:ph type="body" sz="quarter" idx="19" hasCustomPrompt="1"/>
          </p:nvPr>
        </p:nvSpPr>
        <p:spPr>
          <a:xfrm>
            <a:off x="1533754" y="1673875"/>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4" name="Текст 14">
            <a:extLst>
              <a:ext uri="{FF2B5EF4-FFF2-40B4-BE49-F238E27FC236}">
                <a16:creationId xmlns:a16="http://schemas.microsoft.com/office/drawing/2014/main" id="{D81FBD9C-8D07-4C09-925C-8F25D7AAC0A3}"/>
              </a:ext>
            </a:extLst>
          </p:cNvPr>
          <p:cNvSpPr>
            <a:spLocks noGrp="1"/>
          </p:cNvSpPr>
          <p:nvPr>
            <p:ph type="body" sz="quarter" idx="61" hasCustomPrompt="1"/>
          </p:nvPr>
        </p:nvSpPr>
        <p:spPr>
          <a:xfrm>
            <a:off x="1533754" y="1977891"/>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37" name="Рисунок 48">
            <a:extLst>
              <a:ext uri="{FF2B5EF4-FFF2-40B4-BE49-F238E27FC236}">
                <a16:creationId xmlns:a16="http://schemas.microsoft.com/office/drawing/2014/main" id="{BDEF2D22-3686-498C-9A8D-7C8674C4DE97}"/>
              </a:ext>
            </a:extLst>
          </p:cNvPr>
          <p:cNvSpPr>
            <a:spLocks noGrp="1"/>
          </p:cNvSpPr>
          <p:nvPr>
            <p:ph type="pic" sz="quarter" idx="94"/>
          </p:nvPr>
        </p:nvSpPr>
        <p:spPr>
          <a:xfrm>
            <a:off x="405841" y="318947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38" name="Текст 4">
            <a:extLst>
              <a:ext uri="{FF2B5EF4-FFF2-40B4-BE49-F238E27FC236}">
                <a16:creationId xmlns:a16="http://schemas.microsoft.com/office/drawing/2014/main" id="{57291F5B-E3A8-40BB-A7F3-EC785374A93A}"/>
              </a:ext>
            </a:extLst>
          </p:cNvPr>
          <p:cNvSpPr>
            <a:spLocks noGrp="1"/>
          </p:cNvSpPr>
          <p:nvPr>
            <p:ph type="body" sz="quarter" idx="95" hasCustomPrompt="1"/>
          </p:nvPr>
        </p:nvSpPr>
        <p:spPr>
          <a:xfrm>
            <a:off x="1533754" y="3162317"/>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39" name="Текст 14">
            <a:extLst>
              <a:ext uri="{FF2B5EF4-FFF2-40B4-BE49-F238E27FC236}">
                <a16:creationId xmlns:a16="http://schemas.microsoft.com/office/drawing/2014/main" id="{42C83861-35BF-4500-9180-FAA84A620FC7}"/>
              </a:ext>
            </a:extLst>
          </p:cNvPr>
          <p:cNvSpPr>
            <a:spLocks noGrp="1"/>
          </p:cNvSpPr>
          <p:nvPr>
            <p:ph type="body" sz="quarter" idx="96" hasCustomPrompt="1"/>
          </p:nvPr>
        </p:nvSpPr>
        <p:spPr>
          <a:xfrm>
            <a:off x="1533754" y="3466328"/>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0" name="Рисунок 48">
            <a:extLst>
              <a:ext uri="{FF2B5EF4-FFF2-40B4-BE49-F238E27FC236}">
                <a16:creationId xmlns:a16="http://schemas.microsoft.com/office/drawing/2014/main" id="{1B842BF3-8088-486F-B7A2-5DC54AD48DF7}"/>
              </a:ext>
            </a:extLst>
          </p:cNvPr>
          <p:cNvSpPr>
            <a:spLocks noGrp="1"/>
          </p:cNvSpPr>
          <p:nvPr>
            <p:ph type="pic" sz="quarter" idx="97"/>
          </p:nvPr>
        </p:nvSpPr>
        <p:spPr>
          <a:xfrm>
            <a:off x="405841" y="469204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1" name="Текст 4">
            <a:extLst>
              <a:ext uri="{FF2B5EF4-FFF2-40B4-BE49-F238E27FC236}">
                <a16:creationId xmlns:a16="http://schemas.microsoft.com/office/drawing/2014/main" id="{9C5BC014-5508-4329-9A93-DBBCF44F7B05}"/>
              </a:ext>
            </a:extLst>
          </p:cNvPr>
          <p:cNvSpPr>
            <a:spLocks noGrp="1"/>
          </p:cNvSpPr>
          <p:nvPr>
            <p:ph type="body" sz="quarter" idx="98" hasCustomPrompt="1"/>
          </p:nvPr>
        </p:nvSpPr>
        <p:spPr>
          <a:xfrm>
            <a:off x="1533754" y="4664884"/>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2" name="Текст 14">
            <a:extLst>
              <a:ext uri="{FF2B5EF4-FFF2-40B4-BE49-F238E27FC236}">
                <a16:creationId xmlns:a16="http://schemas.microsoft.com/office/drawing/2014/main" id="{FF9C33AD-7B7E-47A9-AAE7-66D23F519E07}"/>
              </a:ext>
            </a:extLst>
          </p:cNvPr>
          <p:cNvSpPr>
            <a:spLocks noGrp="1"/>
          </p:cNvSpPr>
          <p:nvPr>
            <p:ph type="body" sz="quarter" idx="99" hasCustomPrompt="1"/>
          </p:nvPr>
        </p:nvSpPr>
        <p:spPr>
          <a:xfrm>
            <a:off x="1533754" y="4968898"/>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3" name="Рисунок 48">
            <a:extLst>
              <a:ext uri="{FF2B5EF4-FFF2-40B4-BE49-F238E27FC236}">
                <a16:creationId xmlns:a16="http://schemas.microsoft.com/office/drawing/2014/main" id="{47359FF0-D1DE-40B6-AE9D-E7493F3BCDAC}"/>
              </a:ext>
            </a:extLst>
          </p:cNvPr>
          <p:cNvSpPr>
            <a:spLocks noGrp="1"/>
          </p:cNvSpPr>
          <p:nvPr>
            <p:ph type="pic" sz="quarter" idx="100"/>
          </p:nvPr>
        </p:nvSpPr>
        <p:spPr>
          <a:xfrm>
            <a:off x="4292301" y="318947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5" name="Текст 4">
            <a:extLst>
              <a:ext uri="{FF2B5EF4-FFF2-40B4-BE49-F238E27FC236}">
                <a16:creationId xmlns:a16="http://schemas.microsoft.com/office/drawing/2014/main" id="{E7ED6666-73D6-4F5C-8449-9993DFC4CEAE}"/>
              </a:ext>
            </a:extLst>
          </p:cNvPr>
          <p:cNvSpPr>
            <a:spLocks noGrp="1"/>
          </p:cNvSpPr>
          <p:nvPr>
            <p:ph type="body" sz="quarter" idx="101" hasCustomPrompt="1"/>
          </p:nvPr>
        </p:nvSpPr>
        <p:spPr>
          <a:xfrm>
            <a:off x="5428610" y="3162317"/>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6" name="Текст 14">
            <a:extLst>
              <a:ext uri="{FF2B5EF4-FFF2-40B4-BE49-F238E27FC236}">
                <a16:creationId xmlns:a16="http://schemas.microsoft.com/office/drawing/2014/main" id="{DF32D8C4-B1AD-4AD5-A022-702D6AF37F97}"/>
              </a:ext>
            </a:extLst>
          </p:cNvPr>
          <p:cNvSpPr>
            <a:spLocks noGrp="1"/>
          </p:cNvSpPr>
          <p:nvPr>
            <p:ph type="body" sz="quarter" idx="102" hasCustomPrompt="1"/>
          </p:nvPr>
        </p:nvSpPr>
        <p:spPr>
          <a:xfrm>
            <a:off x="5428610" y="3466328"/>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7" name="Рисунок 48">
            <a:extLst>
              <a:ext uri="{FF2B5EF4-FFF2-40B4-BE49-F238E27FC236}">
                <a16:creationId xmlns:a16="http://schemas.microsoft.com/office/drawing/2014/main" id="{AC044DB6-81CE-4F01-9D9E-C7943F7781DB}"/>
              </a:ext>
            </a:extLst>
          </p:cNvPr>
          <p:cNvSpPr>
            <a:spLocks noGrp="1"/>
          </p:cNvSpPr>
          <p:nvPr>
            <p:ph type="pic" sz="quarter" idx="103"/>
          </p:nvPr>
        </p:nvSpPr>
        <p:spPr>
          <a:xfrm>
            <a:off x="4292301" y="469204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54" name="Текст 4">
            <a:extLst>
              <a:ext uri="{FF2B5EF4-FFF2-40B4-BE49-F238E27FC236}">
                <a16:creationId xmlns:a16="http://schemas.microsoft.com/office/drawing/2014/main" id="{0E00D19C-EC6B-499E-A6AB-B77B4092A9EB}"/>
              </a:ext>
            </a:extLst>
          </p:cNvPr>
          <p:cNvSpPr>
            <a:spLocks noGrp="1"/>
          </p:cNvSpPr>
          <p:nvPr>
            <p:ph type="body" sz="quarter" idx="104" hasCustomPrompt="1"/>
          </p:nvPr>
        </p:nvSpPr>
        <p:spPr>
          <a:xfrm>
            <a:off x="5428610" y="4664884"/>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60" name="Текст 14">
            <a:extLst>
              <a:ext uri="{FF2B5EF4-FFF2-40B4-BE49-F238E27FC236}">
                <a16:creationId xmlns:a16="http://schemas.microsoft.com/office/drawing/2014/main" id="{8686DE69-9A25-4A66-9D41-69B2996DD835}"/>
              </a:ext>
            </a:extLst>
          </p:cNvPr>
          <p:cNvSpPr>
            <a:spLocks noGrp="1"/>
          </p:cNvSpPr>
          <p:nvPr>
            <p:ph type="body" sz="quarter" idx="105" hasCustomPrompt="1"/>
          </p:nvPr>
        </p:nvSpPr>
        <p:spPr>
          <a:xfrm>
            <a:off x="5428610" y="4968898"/>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18" name="Рисунок 48">
            <a:extLst>
              <a:ext uri="{FF2B5EF4-FFF2-40B4-BE49-F238E27FC236}">
                <a16:creationId xmlns:a16="http://schemas.microsoft.com/office/drawing/2014/main" id="{484AE2CE-15B4-4267-B8E9-2A678E57A520}"/>
              </a:ext>
            </a:extLst>
          </p:cNvPr>
          <p:cNvSpPr>
            <a:spLocks noGrp="1"/>
          </p:cNvSpPr>
          <p:nvPr>
            <p:ph type="pic" sz="quarter" idx="106"/>
          </p:nvPr>
        </p:nvSpPr>
        <p:spPr>
          <a:xfrm>
            <a:off x="4292301" y="170103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19" name="Текст 4">
            <a:extLst>
              <a:ext uri="{FF2B5EF4-FFF2-40B4-BE49-F238E27FC236}">
                <a16:creationId xmlns:a16="http://schemas.microsoft.com/office/drawing/2014/main" id="{C3A609AD-7E26-4459-8E26-2B9470799B06}"/>
              </a:ext>
            </a:extLst>
          </p:cNvPr>
          <p:cNvSpPr>
            <a:spLocks noGrp="1"/>
          </p:cNvSpPr>
          <p:nvPr>
            <p:ph type="body" sz="quarter" idx="107" hasCustomPrompt="1"/>
          </p:nvPr>
        </p:nvSpPr>
        <p:spPr>
          <a:xfrm>
            <a:off x="5420213" y="1673875"/>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20" name="Текст 14">
            <a:extLst>
              <a:ext uri="{FF2B5EF4-FFF2-40B4-BE49-F238E27FC236}">
                <a16:creationId xmlns:a16="http://schemas.microsoft.com/office/drawing/2014/main" id="{B1CD2507-0384-4605-9354-2AD74BC7166A}"/>
              </a:ext>
            </a:extLst>
          </p:cNvPr>
          <p:cNvSpPr>
            <a:spLocks noGrp="1"/>
          </p:cNvSpPr>
          <p:nvPr>
            <p:ph type="body" sz="quarter" idx="108" hasCustomPrompt="1"/>
          </p:nvPr>
        </p:nvSpPr>
        <p:spPr>
          <a:xfrm>
            <a:off x="5420213" y="1977891"/>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21" name="Рисунок 48">
            <a:extLst>
              <a:ext uri="{FF2B5EF4-FFF2-40B4-BE49-F238E27FC236}">
                <a16:creationId xmlns:a16="http://schemas.microsoft.com/office/drawing/2014/main" id="{BAC20487-80C3-40F4-9232-ECC623D44802}"/>
              </a:ext>
            </a:extLst>
          </p:cNvPr>
          <p:cNvSpPr>
            <a:spLocks noGrp="1"/>
          </p:cNvSpPr>
          <p:nvPr>
            <p:ph type="pic" sz="quarter" idx="109"/>
          </p:nvPr>
        </p:nvSpPr>
        <p:spPr>
          <a:xfrm>
            <a:off x="8134349" y="318947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22" name="Текст 4">
            <a:extLst>
              <a:ext uri="{FF2B5EF4-FFF2-40B4-BE49-F238E27FC236}">
                <a16:creationId xmlns:a16="http://schemas.microsoft.com/office/drawing/2014/main" id="{C252B0DC-CADC-4C91-B0D5-30CAEE4C58B8}"/>
              </a:ext>
            </a:extLst>
          </p:cNvPr>
          <p:cNvSpPr>
            <a:spLocks noGrp="1"/>
          </p:cNvSpPr>
          <p:nvPr>
            <p:ph type="body" sz="quarter" idx="110" hasCustomPrompt="1"/>
          </p:nvPr>
        </p:nvSpPr>
        <p:spPr>
          <a:xfrm>
            <a:off x="9270659" y="3162317"/>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23" name="Текст 14">
            <a:extLst>
              <a:ext uri="{FF2B5EF4-FFF2-40B4-BE49-F238E27FC236}">
                <a16:creationId xmlns:a16="http://schemas.microsoft.com/office/drawing/2014/main" id="{C7EB2E65-33B6-4F79-95C5-45178D147AB4}"/>
              </a:ext>
            </a:extLst>
          </p:cNvPr>
          <p:cNvSpPr>
            <a:spLocks noGrp="1"/>
          </p:cNvSpPr>
          <p:nvPr>
            <p:ph type="body" sz="quarter" idx="111" hasCustomPrompt="1"/>
          </p:nvPr>
        </p:nvSpPr>
        <p:spPr>
          <a:xfrm>
            <a:off x="9270659" y="3466328"/>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24" name="Рисунок 48">
            <a:extLst>
              <a:ext uri="{FF2B5EF4-FFF2-40B4-BE49-F238E27FC236}">
                <a16:creationId xmlns:a16="http://schemas.microsoft.com/office/drawing/2014/main" id="{A1541549-ED6F-492E-882F-A3316BC57B40}"/>
              </a:ext>
            </a:extLst>
          </p:cNvPr>
          <p:cNvSpPr>
            <a:spLocks noGrp="1"/>
          </p:cNvSpPr>
          <p:nvPr>
            <p:ph type="pic" sz="quarter" idx="112"/>
          </p:nvPr>
        </p:nvSpPr>
        <p:spPr>
          <a:xfrm>
            <a:off x="8134349" y="4692041"/>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25" name="Текст 4">
            <a:extLst>
              <a:ext uri="{FF2B5EF4-FFF2-40B4-BE49-F238E27FC236}">
                <a16:creationId xmlns:a16="http://schemas.microsoft.com/office/drawing/2014/main" id="{2786BF2D-5F67-4238-8249-B3CB5A707A92}"/>
              </a:ext>
            </a:extLst>
          </p:cNvPr>
          <p:cNvSpPr>
            <a:spLocks noGrp="1"/>
          </p:cNvSpPr>
          <p:nvPr>
            <p:ph type="body" sz="quarter" idx="113" hasCustomPrompt="1"/>
          </p:nvPr>
        </p:nvSpPr>
        <p:spPr>
          <a:xfrm>
            <a:off x="9270659" y="4664884"/>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26" name="Текст 14">
            <a:extLst>
              <a:ext uri="{FF2B5EF4-FFF2-40B4-BE49-F238E27FC236}">
                <a16:creationId xmlns:a16="http://schemas.microsoft.com/office/drawing/2014/main" id="{7D9A18DD-AEEE-4312-AB82-8579C1EED886}"/>
              </a:ext>
            </a:extLst>
          </p:cNvPr>
          <p:cNvSpPr>
            <a:spLocks noGrp="1"/>
          </p:cNvSpPr>
          <p:nvPr>
            <p:ph type="body" sz="quarter" idx="114" hasCustomPrompt="1"/>
          </p:nvPr>
        </p:nvSpPr>
        <p:spPr>
          <a:xfrm>
            <a:off x="9270659" y="4968898"/>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27" name="Рисунок 48">
            <a:extLst>
              <a:ext uri="{FF2B5EF4-FFF2-40B4-BE49-F238E27FC236}">
                <a16:creationId xmlns:a16="http://schemas.microsoft.com/office/drawing/2014/main" id="{AB75BDDC-B5A2-42FE-9AE7-6FE78186548B}"/>
              </a:ext>
            </a:extLst>
          </p:cNvPr>
          <p:cNvSpPr>
            <a:spLocks noGrp="1"/>
          </p:cNvSpPr>
          <p:nvPr>
            <p:ph type="pic" sz="quarter" idx="115"/>
          </p:nvPr>
        </p:nvSpPr>
        <p:spPr>
          <a:xfrm>
            <a:off x="8134349" y="1701035"/>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28" name="Текст 4">
            <a:extLst>
              <a:ext uri="{FF2B5EF4-FFF2-40B4-BE49-F238E27FC236}">
                <a16:creationId xmlns:a16="http://schemas.microsoft.com/office/drawing/2014/main" id="{E754730E-BF59-4543-BAB3-00ABF4432494}"/>
              </a:ext>
            </a:extLst>
          </p:cNvPr>
          <p:cNvSpPr>
            <a:spLocks noGrp="1"/>
          </p:cNvSpPr>
          <p:nvPr>
            <p:ph type="body" sz="quarter" idx="116" hasCustomPrompt="1"/>
          </p:nvPr>
        </p:nvSpPr>
        <p:spPr>
          <a:xfrm>
            <a:off x="9262262" y="1673875"/>
            <a:ext cx="2523903"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29" name="Текст 14">
            <a:extLst>
              <a:ext uri="{FF2B5EF4-FFF2-40B4-BE49-F238E27FC236}">
                <a16:creationId xmlns:a16="http://schemas.microsoft.com/office/drawing/2014/main" id="{071ACC4F-365B-4DB1-9229-579175A34749}"/>
              </a:ext>
            </a:extLst>
          </p:cNvPr>
          <p:cNvSpPr>
            <a:spLocks noGrp="1"/>
          </p:cNvSpPr>
          <p:nvPr>
            <p:ph type="body" sz="quarter" idx="117" hasCustomPrompt="1"/>
          </p:nvPr>
        </p:nvSpPr>
        <p:spPr>
          <a:xfrm>
            <a:off x="9262262" y="1977891"/>
            <a:ext cx="2523903"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Tree>
    <p:extLst>
      <p:ext uri="{BB962C8B-B14F-4D97-AF65-F5344CB8AC3E}">
        <p14:creationId xmlns:p14="http://schemas.microsoft.com/office/powerpoint/2010/main" val="3448047842"/>
      </p:ext>
    </p:extLst>
  </p:cSld>
  <p:clrMapOvr>
    <a:masterClrMapping/>
  </p:clrMapOvr>
  <p:extLst mod="1">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Последний">
    <p:spTree>
      <p:nvGrpSpPr>
        <p:cNvPr id="1" name=""/>
        <p:cNvGrpSpPr/>
        <p:nvPr/>
      </p:nvGrpSpPr>
      <p:grpSpPr>
        <a:xfrm>
          <a:off x="0" y="0"/>
          <a:ext cx="0" cy="0"/>
          <a:chOff x="0" y="0"/>
          <a:chExt cx="0" cy="0"/>
        </a:xfrm>
      </p:grpSpPr>
      <p:sp>
        <p:nvSpPr>
          <p:cNvPr id="6" name="Текст 4">
            <a:extLst>
              <a:ext uri="{FF2B5EF4-FFF2-40B4-BE49-F238E27FC236}">
                <a16:creationId xmlns:a16="http://schemas.microsoft.com/office/drawing/2014/main" id="{C501FE79-70EC-4AC1-96B5-91D2AD0BC038}"/>
              </a:ext>
            </a:extLst>
          </p:cNvPr>
          <p:cNvSpPr>
            <a:spLocks noGrp="1"/>
          </p:cNvSpPr>
          <p:nvPr>
            <p:ph type="body" sz="quarter" idx="19" hasCustomPrompt="1"/>
          </p:nvPr>
        </p:nvSpPr>
        <p:spPr>
          <a:xfrm>
            <a:off x="417517" y="4679858"/>
            <a:ext cx="6122833" cy="486055"/>
          </a:xfrm>
          <a:prstGeom prst="rect">
            <a:avLst/>
          </a:prstGeom>
        </p:spPr>
        <p:txBody>
          <a:bodyPr lIns="0" tIns="0" rIns="0" bIns="0"/>
          <a:lstStyle>
            <a:lvl1pPr>
              <a:lnSpc>
                <a:spcPct val="100000"/>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30" name="Текст 4">
            <a:extLst>
              <a:ext uri="{FF2B5EF4-FFF2-40B4-BE49-F238E27FC236}">
                <a16:creationId xmlns:a16="http://schemas.microsoft.com/office/drawing/2014/main" id="{D3C12843-01DD-4290-83A2-5A4C97140B95}"/>
              </a:ext>
            </a:extLst>
          </p:cNvPr>
          <p:cNvSpPr>
            <a:spLocks noGrp="1"/>
          </p:cNvSpPr>
          <p:nvPr>
            <p:ph type="body" sz="quarter" idx="20" hasCustomPrompt="1"/>
          </p:nvPr>
        </p:nvSpPr>
        <p:spPr>
          <a:xfrm>
            <a:off x="417517" y="5266769"/>
            <a:ext cx="6122833" cy="904875"/>
          </a:xfrm>
          <a:prstGeom prst="rect">
            <a:avLst/>
          </a:prstGeom>
        </p:spPr>
        <p:txBody>
          <a:bodyPr lIns="0" tIns="0" rIns="0" bIns="0"/>
          <a:lstStyle>
            <a:lvl1pPr>
              <a:lnSpc>
                <a:spcPct val="100000"/>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34" name="Текст 22">
            <a:extLst>
              <a:ext uri="{FF2B5EF4-FFF2-40B4-BE49-F238E27FC236}">
                <a16:creationId xmlns:a16="http://schemas.microsoft.com/office/drawing/2014/main" id="{3C4609A3-4467-4771-A7F8-7B68348E96AE}"/>
              </a:ext>
            </a:extLst>
          </p:cNvPr>
          <p:cNvSpPr>
            <a:spLocks noGrp="1"/>
          </p:cNvSpPr>
          <p:nvPr>
            <p:ph type="body" sz="quarter" idx="14" hasCustomPrompt="1"/>
          </p:nvPr>
        </p:nvSpPr>
        <p:spPr>
          <a:xfrm>
            <a:off x="417517" y="2481064"/>
            <a:ext cx="3575900" cy="595627"/>
          </a:xfrm>
          <a:prstGeom prst="rect">
            <a:avLst/>
          </a:prstGeom>
          <a:solidFill>
            <a:schemeClr val="accent3"/>
          </a:solidFill>
        </p:spPr>
        <p:txBody>
          <a:bodyPr wrap="none" lIns="108000" tIns="36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35" name="Текст 22">
            <a:extLst>
              <a:ext uri="{FF2B5EF4-FFF2-40B4-BE49-F238E27FC236}">
                <a16:creationId xmlns:a16="http://schemas.microsoft.com/office/drawing/2014/main" id="{E7CD1E27-BA0B-41DE-849D-1E0EC4B7628A}"/>
              </a:ext>
            </a:extLst>
          </p:cNvPr>
          <p:cNvSpPr>
            <a:spLocks noGrp="1"/>
          </p:cNvSpPr>
          <p:nvPr>
            <p:ph type="body" sz="quarter" idx="22" hasCustomPrompt="1"/>
          </p:nvPr>
        </p:nvSpPr>
        <p:spPr>
          <a:xfrm>
            <a:off x="417515" y="3076190"/>
            <a:ext cx="3883677" cy="547159"/>
          </a:xfrm>
          <a:prstGeom prst="rect">
            <a:avLst/>
          </a:prstGeom>
          <a:solidFill>
            <a:schemeClr val="accent3"/>
          </a:solidFill>
        </p:spPr>
        <p:txBody>
          <a:bodyPr wrap="none" lIns="108000" tIns="0" rIns="108000" bIns="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55" name="Рисунок 25">
            <a:extLst>
              <a:ext uri="{FF2B5EF4-FFF2-40B4-BE49-F238E27FC236}">
                <a16:creationId xmlns:a16="http://schemas.microsoft.com/office/drawing/2014/main" id="{2ECE5280-56A2-45D2-849F-BA8F35A5A6C6}"/>
              </a:ext>
            </a:extLst>
          </p:cNvPr>
          <p:cNvGrpSpPr/>
          <p:nvPr userDrawn="1"/>
        </p:nvGrpSpPr>
        <p:grpSpPr>
          <a:xfrm>
            <a:off x="419833" y="417146"/>
            <a:ext cx="2645659" cy="753911"/>
            <a:chOff x="-233" y="1916027"/>
            <a:chExt cx="13832096" cy="3938000"/>
          </a:xfrm>
        </p:grpSpPr>
        <p:sp>
          <p:nvSpPr>
            <p:cNvPr id="56" name="Полилиния: фигура 55">
              <a:extLst>
                <a:ext uri="{FF2B5EF4-FFF2-40B4-BE49-F238E27FC236}">
                  <a16:creationId xmlns:a16="http://schemas.microsoft.com/office/drawing/2014/main" id="{C7813D87-B7F4-4FE9-B70E-5C5DEAED3760}"/>
                </a:ext>
              </a:extLst>
            </p:cNvPr>
            <p:cNvSpPr/>
            <p:nvPr/>
          </p:nvSpPr>
          <p:spPr>
            <a:xfrm>
              <a:off x="2798114" y="2521151"/>
              <a:ext cx="11033748" cy="3332876"/>
            </a:xfrm>
            <a:custGeom>
              <a:avLst/>
              <a:gdLst>
                <a:gd name="connsiteX0" fmla="*/ 8186381 w 11033748"/>
                <a:gd name="connsiteY0" fmla="*/ 869378 h 3332876"/>
                <a:gd name="connsiteX1" fmla="*/ 8655469 w 11033748"/>
                <a:gd name="connsiteY1" fmla="*/ 1402575 h 3332876"/>
                <a:gd name="connsiteX2" fmla="*/ 8350562 w 11033748"/>
                <a:gd name="connsiteY2" fmla="*/ 1402575 h 3332876"/>
                <a:gd name="connsiteX3" fmla="*/ 7987800 w 11033748"/>
                <a:gd name="connsiteY3" fmla="*/ 991341 h 3332876"/>
                <a:gd name="connsiteX4" fmla="*/ 7987800 w 11033748"/>
                <a:gd name="connsiteY4" fmla="*/ 1402575 h 3332876"/>
                <a:gd name="connsiteX5" fmla="*/ 7735274 w 11033748"/>
                <a:gd name="connsiteY5" fmla="*/ 1402575 h 3332876"/>
                <a:gd name="connsiteX6" fmla="*/ 7735274 w 11033748"/>
                <a:gd name="connsiteY6" fmla="*/ 408889 h 3332876"/>
                <a:gd name="connsiteX7" fmla="*/ 7987800 w 11033748"/>
                <a:gd name="connsiteY7" fmla="*/ 408889 h 3332876"/>
                <a:gd name="connsiteX8" fmla="*/ 7987800 w 11033748"/>
                <a:gd name="connsiteY8" fmla="*/ 769306 h 3332876"/>
                <a:gd name="connsiteX9" fmla="*/ 8344307 w 11033748"/>
                <a:gd name="connsiteY9" fmla="*/ 408889 h 3332876"/>
                <a:gd name="connsiteX10" fmla="*/ 8642960 w 11033748"/>
                <a:gd name="connsiteY10" fmla="*/ 408889 h 3332876"/>
                <a:gd name="connsiteX11" fmla="*/ 8186381 w 11033748"/>
                <a:gd name="connsiteY11" fmla="*/ 869378 h 3332876"/>
                <a:gd name="connsiteX12" fmla="*/ 629361 w 11033748"/>
                <a:gd name="connsiteY12" fmla="*/ 677052 h 3332876"/>
                <a:gd name="connsiteX13" fmla="*/ 898305 w 11033748"/>
                <a:gd name="connsiteY13" fmla="*/ 456580 h 3332876"/>
                <a:gd name="connsiteX14" fmla="*/ 629361 w 11033748"/>
                <a:gd name="connsiteY14" fmla="*/ 236108 h 3332876"/>
                <a:gd name="connsiteX15" fmla="*/ 264253 w 11033748"/>
                <a:gd name="connsiteY15" fmla="*/ 236108 h 3332876"/>
                <a:gd name="connsiteX16" fmla="*/ 264253 w 11033748"/>
                <a:gd name="connsiteY16" fmla="*/ 677052 h 3332876"/>
                <a:gd name="connsiteX17" fmla="*/ 629361 w 11033748"/>
                <a:gd name="connsiteY17" fmla="*/ 677052 h 3332876"/>
                <a:gd name="connsiteX18" fmla="*/ 637179 w 11033748"/>
                <a:gd name="connsiteY18" fmla="*/ 0 h 3332876"/>
                <a:gd name="connsiteX19" fmla="*/ 1162558 w 11033748"/>
                <a:gd name="connsiteY19" fmla="*/ 456580 h 3332876"/>
                <a:gd name="connsiteX20" fmla="*/ 637179 w 11033748"/>
                <a:gd name="connsiteY20" fmla="*/ 913941 h 3332876"/>
                <a:gd name="connsiteX21" fmla="*/ 264253 w 11033748"/>
                <a:gd name="connsiteY21" fmla="*/ 913941 h 3332876"/>
                <a:gd name="connsiteX22" fmla="*/ 264253 w 11033748"/>
                <a:gd name="connsiteY22" fmla="*/ 1403357 h 3332876"/>
                <a:gd name="connsiteX23" fmla="*/ 0 w 11033748"/>
                <a:gd name="connsiteY23" fmla="*/ 1403357 h 3332876"/>
                <a:gd name="connsiteX24" fmla="*/ 0 w 11033748"/>
                <a:gd name="connsiteY24" fmla="*/ 0 h 3332876"/>
                <a:gd name="connsiteX25" fmla="*/ 637179 w 11033748"/>
                <a:gd name="connsiteY25" fmla="*/ 0 h 3332876"/>
                <a:gd name="connsiteX26" fmla="*/ 1759083 w 11033748"/>
                <a:gd name="connsiteY26" fmla="*/ 1194613 h 3332876"/>
                <a:gd name="connsiteX27" fmla="*/ 2046009 w 11033748"/>
                <a:gd name="connsiteY27" fmla="*/ 906123 h 3332876"/>
                <a:gd name="connsiteX28" fmla="*/ 1759083 w 11033748"/>
                <a:gd name="connsiteY28" fmla="*/ 617634 h 3332876"/>
                <a:gd name="connsiteX29" fmla="*/ 1472157 w 11033748"/>
                <a:gd name="connsiteY29" fmla="*/ 906123 h 3332876"/>
                <a:gd name="connsiteX30" fmla="*/ 1759083 w 11033748"/>
                <a:gd name="connsiteY30" fmla="*/ 1194613 h 3332876"/>
                <a:gd name="connsiteX31" fmla="*/ 1759083 w 11033748"/>
                <a:gd name="connsiteY31" fmla="*/ 380744 h 3332876"/>
                <a:gd name="connsiteX32" fmla="*/ 2302444 w 11033748"/>
                <a:gd name="connsiteY32" fmla="*/ 906123 h 3332876"/>
                <a:gd name="connsiteX33" fmla="*/ 1759083 w 11033748"/>
                <a:gd name="connsiteY33" fmla="*/ 1431503 h 3332876"/>
                <a:gd name="connsiteX34" fmla="*/ 1215722 w 11033748"/>
                <a:gd name="connsiteY34" fmla="*/ 906123 h 3332876"/>
                <a:gd name="connsiteX35" fmla="*/ 1759083 w 11033748"/>
                <a:gd name="connsiteY35" fmla="*/ 380744 h 3332876"/>
                <a:gd name="connsiteX36" fmla="*/ 2947441 w 11033748"/>
                <a:gd name="connsiteY36" fmla="*/ 1194613 h 3332876"/>
                <a:gd name="connsiteX37" fmla="*/ 2683188 w 11033748"/>
                <a:gd name="connsiteY37" fmla="*/ 906123 h 3332876"/>
                <a:gd name="connsiteX38" fmla="*/ 2947441 w 11033748"/>
                <a:gd name="connsiteY38" fmla="*/ 617634 h 3332876"/>
                <a:gd name="connsiteX39" fmla="*/ 3178077 w 11033748"/>
                <a:gd name="connsiteY39" fmla="*/ 753669 h 3332876"/>
                <a:gd name="connsiteX40" fmla="*/ 3394639 w 11033748"/>
                <a:gd name="connsiteY40" fmla="*/ 629361 h 3332876"/>
                <a:gd name="connsiteX41" fmla="*/ 2949787 w 11033748"/>
                <a:gd name="connsiteY41" fmla="*/ 380744 h 3332876"/>
                <a:gd name="connsiteX42" fmla="*/ 2426753 w 11033748"/>
                <a:gd name="connsiteY42" fmla="*/ 906123 h 3332876"/>
                <a:gd name="connsiteX43" fmla="*/ 2949787 w 11033748"/>
                <a:gd name="connsiteY43" fmla="*/ 1431503 h 3332876"/>
                <a:gd name="connsiteX44" fmla="*/ 3404803 w 11033748"/>
                <a:gd name="connsiteY44" fmla="*/ 1164904 h 3332876"/>
                <a:gd name="connsiteX45" fmla="*/ 3196058 w 11033748"/>
                <a:gd name="connsiteY45" fmla="*/ 1050759 h 3332876"/>
                <a:gd name="connsiteX46" fmla="*/ 2947441 w 11033748"/>
                <a:gd name="connsiteY46" fmla="*/ 1194613 h 3332876"/>
                <a:gd name="connsiteX47" fmla="*/ 5636102 w 11033748"/>
                <a:gd name="connsiteY47" fmla="*/ 971796 h 3332876"/>
                <a:gd name="connsiteX48" fmla="*/ 5541502 w 11033748"/>
                <a:gd name="connsiteY48" fmla="*/ 1157868 h 3332876"/>
                <a:gd name="connsiteX49" fmla="*/ 5464884 w 11033748"/>
                <a:gd name="connsiteY49" fmla="*/ 1147704 h 3332876"/>
                <a:gd name="connsiteX50" fmla="*/ 5466448 w 11033748"/>
                <a:gd name="connsiteY50" fmla="*/ 1404921 h 3332876"/>
                <a:gd name="connsiteX51" fmla="*/ 5556356 w 11033748"/>
                <a:gd name="connsiteY51" fmla="*/ 1414303 h 3332876"/>
                <a:gd name="connsiteX52" fmla="*/ 5870646 w 11033748"/>
                <a:gd name="connsiteY52" fmla="*/ 981177 h 3332876"/>
                <a:gd name="connsiteX53" fmla="*/ 5894882 w 11033748"/>
                <a:gd name="connsiteY53" fmla="*/ 634052 h 3332876"/>
                <a:gd name="connsiteX54" fmla="*/ 6179463 w 11033748"/>
                <a:gd name="connsiteY54" fmla="*/ 634052 h 3332876"/>
                <a:gd name="connsiteX55" fmla="*/ 6179463 w 11033748"/>
                <a:gd name="connsiteY55" fmla="*/ 1399448 h 3332876"/>
                <a:gd name="connsiteX56" fmla="*/ 6431989 w 11033748"/>
                <a:gd name="connsiteY56" fmla="*/ 1399448 h 3332876"/>
                <a:gd name="connsiteX57" fmla="*/ 6431989 w 11033748"/>
                <a:gd name="connsiteY57" fmla="*/ 408889 h 3332876"/>
                <a:gd name="connsiteX58" fmla="*/ 5678319 w 11033748"/>
                <a:gd name="connsiteY58" fmla="*/ 408889 h 3332876"/>
                <a:gd name="connsiteX59" fmla="*/ 5636102 w 11033748"/>
                <a:gd name="connsiteY59" fmla="*/ 971796 h 3332876"/>
                <a:gd name="connsiteX60" fmla="*/ 5170922 w 11033748"/>
                <a:gd name="connsiteY60" fmla="*/ 773215 h 3332876"/>
                <a:gd name="connsiteX61" fmla="*/ 4912141 w 11033748"/>
                <a:gd name="connsiteY61" fmla="*/ 573070 h 3332876"/>
                <a:gd name="connsiteX62" fmla="*/ 4643197 w 11033748"/>
                <a:gd name="connsiteY62" fmla="*/ 773215 h 3332876"/>
                <a:gd name="connsiteX63" fmla="*/ 5170922 w 11033748"/>
                <a:gd name="connsiteY63" fmla="*/ 773215 h 3332876"/>
                <a:gd name="connsiteX64" fmla="*/ 4919960 w 11033748"/>
                <a:gd name="connsiteY64" fmla="*/ 380744 h 3332876"/>
                <a:gd name="connsiteX65" fmla="*/ 5404684 w 11033748"/>
                <a:gd name="connsiteY65" fmla="*/ 877978 h 3332876"/>
                <a:gd name="connsiteX66" fmla="*/ 5404684 w 11033748"/>
                <a:gd name="connsiteY66" fmla="*/ 966323 h 3332876"/>
                <a:gd name="connsiteX67" fmla="*/ 4639288 w 11033748"/>
                <a:gd name="connsiteY67" fmla="*/ 966323 h 3332876"/>
                <a:gd name="connsiteX68" fmla="*/ 4912141 w 11033748"/>
                <a:gd name="connsiteY68" fmla="*/ 1214940 h 3332876"/>
                <a:gd name="connsiteX69" fmla="*/ 5164667 w 11033748"/>
                <a:gd name="connsiteY69" fmla="*/ 1078904 h 3332876"/>
                <a:gd name="connsiteX70" fmla="*/ 5364812 w 11033748"/>
                <a:gd name="connsiteY70" fmla="*/ 1178977 h 3332876"/>
                <a:gd name="connsiteX71" fmla="*/ 4907450 w 11033748"/>
                <a:gd name="connsiteY71" fmla="*/ 1431503 h 3332876"/>
                <a:gd name="connsiteX72" fmla="*/ 4396144 w 11033748"/>
                <a:gd name="connsiteY72" fmla="*/ 906123 h 3332876"/>
                <a:gd name="connsiteX73" fmla="*/ 4919960 w 11033748"/>
                <a:gd name="connsiteY73" fmla="*/ 380744 h 3332876"/>
                <a:gd name="connsiteX74" fmla="*/ 7346712 w 11033748"/>
                <a:gd name="connsiteY74" fmla="*/ 773215 h 3332876"/>
                <a:gd name="connsiteX75" fmla="*/ 7087931 w 11033748"/>
                <a:gd name="connsiteY75" fmla="*/ 573070 h 3332876"/>
                <a:gd name="connsiteX76" fmla="*/ 6818987 w 11033748"/>
                <a:gd name="connsiteY76" fmla="*/ 773215 h 3332876"/>
                <a:gd name="connsiteX77" fmla="*/ 7346712 w 11033748"/>
                <a:gd name="connsiteY77" fmla="*/ 773215 h 3332876"/>
                <a:gd name="connsiteX78" fmla="*/ 7096531 w 11033748"/>
                <a:gd name="connsiteY78" fmla="*/ 380744 h 3332876"/>
                <a:gd name="connsiteX79" fmla="*/ 7581256 w 11033748"/>
                <a:gd name="connsiteY79" fmla="*/ 877978 h 3332876"/>
                <a:gd name="connsiteX80" fmla="*/ 7581256 w 11033748"/>
                <a:gd name="connsiteY80" fmla="*/ 966323 h 3332876"/>
                <a:gd name="connsiteX81" fmla="*/ 6815859 w 11033748"/>
                <a:gd name="connsiteY81" fmla="*/ 966323 h 3332876"/>
                <a:gd name="connsiteX82" fmla="*/ 7088713 w 11033748"/>
                <a:gd name="connsiteY82" fmla="*/ 1214940 h 3332876"/>
                <a:gd name="connsiteX83" fmla="*/ 7341239 w 11033748"/>
                <a:gd name="connsiteY83" fmla="*/ 1078904 h 3332876"/>
                <a:gd name="connsiteX84" fmla="*/ 7541384 w 11033748"/>
                <a:gd name="connsiteY84" fmla="*/ 1178977 h 3332876"/>
                <a:gd name="connsiteX85" fmla="*/ 7084022 w 11033748"/>
                <a:gd name="connsiteY85" fmla="*/ 1431503 h 3332876"/>
                <a:gd name="connsiteX86" fmla="*/ 6572715 w 11033748"/>
                <a:gd name="connsiteY86" fmla="*/ 906123 h 3332876"/>
                <a:gd name="connsiteX87" fmla="*/ 7096531 w 11033748"/>
                <a:gd name="connsiteY87" fmla="*/ 380744 h 3332876"/>
                <a:gd name="connsiteX88" fmla="*/ 3482984 w 11033748"/>
                <a:gd name="connsiteY88" fmla="*/ 629361 h 3332876"/>
                <a:gd name="connsiteX89" fmla="*/ 3779292 w 11033748"/>
                <a:gd name="connsiteY89" fmla="*/ 629361 h 3332876"/>
                <a:gd name="connsiteX90" fmla="*/ 3779292 w 11033748"/>
                <a:gd name="connsiteY90" fmla="*/ 1403357 h 3332876"/>
                <a:gd name="connsiteX91" fmla="*/ 4031818 w 11033748"/>
                <a:gd name="connsiteY91" fmla="*/ 1403357 h 3332876"/>
                <a:gd name="connsiteX92" fmla="*/ 4031818 w 11033748"/>
                <a:gd name="connsiteY92" fmla="*/ 629361 h 3332876"/>
                <a:gd name="connsiteX93" fmla="*/ 4328126 w 11033748"/>
                <a:gd name="connsiteY93" fmla="*/ 629361 h 3332876"/>
                <a:gd name="connsiteX94" fmla="*/ 4328126 w 11033748"/>
                <a:gd name="connsiteY94" fmla="*/ 408889 h 3332876"/>
                <a:gd name="connsiteX95" fmla="*/ 3482984 w 11033748"/>
                <a:gd name="connsiteY95" fmla="*/ 408889 h 3332876"/>
                <a:gd name="connsiteX96" fmla="*/ 3482984 w 11033748"/>
                <a:gd name="connsiteY96" fmla="*/ 629361 h 3332876"/>
                <a:gd name="connsiteX97" fmla="*/ 9156612 w 11033748"/>
                <a:gd name="connsiteY97" fmla="*/ 1194613 h 3332876"/>
                <a:gd name="connsiteX98" fmla="*/ 9443539 w 11033748"/>
                <a:gd name="connsiteY98" fmla="*/ 906123 h 3332876"/>
                <a:gd name="connsiteX99" fmla="*/ 9156612 w 11033748"/>
                <a:gd name="connsiteY99" fmla="*/ 617634 h 3332876"/>
                <a:gd name="connsiteX100" fmla="*/ 8869687 w 11033748"/>
                <a:gd name="connsiteY100" fmla="*/ 906123 h 3332876"/>
                <a:gd name="connsiteX101" fmla="*/ 9156612 w 11033748"/>
                <a:gd name="connsiteY101" fmla="*/ 1194613 h 3332876"/>
                <a:gd name="connsiteX102" fmla="*/ 9156612 w 11033748"/>
                <a:gd name="connsiteY102" fmla="*/ 380744 h 3332876"/>
                <a:gd name="connsiteX103" fmla="*/ 9699973 w 11033748"/>
                <a:gd name="connsiteY103" fmla="*/ 906123 h 3332876"/>
                <a:gd name="connsiteX104" fmla="*/ 9156612 w 11033748"/>
                <a:gd name="connsiteY104" fmla="*/ 1431503 h 3332876"/>
                <a:gd name="connsiteX105" fmla="*/ 8613251 w 11033748"/>
                <a:gd name="connsiteY105" fmla="*/ 906123 h 3332876"/>
                <a:gd name="connsiteX106" fmla="*/ 9156612 w 11033748"/>
                <a:gd name="connsiteY106" fmla="*/ 380744 h 3332876"/>
                <a:gd name="connsiteX107" fmla="*/ 10704605 w 11033748"/>
                <a:gd name="connsiteY107" fmla="*/ 408889 h 3332876"/>
                <a:gd name="connsiteX108" fmla="*/ 10430188 w 11033748"/>
                <a:gd name="connsiteY108" fmla="*/ 1105486 h 3332876"/>
                <a:gd name="connsiteX109" fmla="*/ 10155772 w 11033748"/>
                <a:gd name="connsiteY109" fmla="*/ 408889 h 3332876"/>
                <a:gd name="connsiteX110" fmla="*/ 9825845 w 11033748"/>
                <a:gd name="connsiteY110" fmla="*/ 408889 h 3332876"/>
                <a:gd name="connsiteX111" fmla="*/ 9825845 w 11033748"/>
                <a:gd name="connsiteY111" fmla="*/ 1401012 h 3332876"/>
                <a:gd name="connsiteX112" fmla="*/ 10065863 w 11033748"/>
                <a:gd name="connsiteY112" fmla="*/ 1401012 h 3332876"/>
                <a:gd name="connsiteX113" fmla="*/ 10065863 w 11033748"/>
                <a:gd name="connsiteY113" fmla="*/ 772433 h 3332876"/>
                <a:gd name="connsiteX114" fmla="*/ 10331680 w 11033748"/>
                <a:gd name="connsiteY114" fmla="*/ 1401012 h 3332876"/>
                <a:gd name="connsiteX115" fmla="*/ 10527915 w 11033748"/>
                <a:gd name="connsiteY115" fmla="*/ 1401012 h 3332876"/>
                <a:gd name="connsiteX116" fmla="*/ 10793732 w 11033748"/>
                <a:gd name="connsiteY116" fmla="*/ 772433 h 3332876"/>
                <a:gd name="connsiteX117" fmla="*/ 10793732 w 11033748"/>
                <a:gd name="connsiteY117" fmla="*/ 1401012 h 3332876"/>
                <a:gd name="connsiteX118" fmla="*/ 11033749 w 11033748"/>
                <a:gd name="connsiteY118" fmla="*/ 1401012 h 3332876"/>
                <a:gd name="connsiteX119" fmla="*/ 11033749 w 11033748"/>
                <a:gd name="connsiteY119" fmla="*/ 408889 h 3332876"/>
                <a:gd name="connsiteX120" fmla="*/ 10704605 w 11033748"/>
                <a:gd name="connsiteY120" fmla="*/ 408889 h 3332876"/>
                <a:gd name="connsiteX121" fmla="*/ 264253 w 11033748"/>
                <a:gd name="connsiteY121" fmla="*/ 3067841 h 3332876"/>
                <a:gd name="connsiteX122" fmla="*/ 264253 w 11033748"/>
                <a:gd name="connsiteY122" fmla="*/ 2666770 h 3332876"/>
                <a:gd name="connsiteX123" fmla="*/ 570725 w 11033748"/>
                <a:gd name="connsiteY123" fmla="*/ 2666770 h 3332876"/>
                <a:gd name="connsiteX124" fmla="*/ 819342 w 11033748"/>
                <a:gd name="connsiteY124" fmla="*/ 2866915 h 3332876"/>
                <a:gd name="connsiteX125" fmla="*/ 570725 w 11033748"/>
                <a:gd name="connsiteY125" fmla="*/ 3067059 h 3332876"/>
                <a:gd name="connsiteX126" fmla="*/ 264253 w 11033748"/>
                <a:gd name="connsiteY126" fmla="*/ 3067059 h 3332876"/>
                <a:gd name="connsiteX127" fmla="*/ 0 w 11033748"/>
                <a:gd name="connsiteY127" fmla="*/ 3304731 h 3332876"/>
                <a:gd name="connsiteX128" fmla="*/ 591052 w 11033748"/>
                <a:gd name="connsiteY128" fmla="*/ 3304731 h 3332876"/>
                <a:gd name="connsiteX129" fmla="*/ 1084377 w 11033748"/>
                <a:gd name="connsiteY129" fmla="*/ 2867696 h 3332876"/>
                <a:gd name="connsiteX130" fmla="*/ 591052 w 11033748"/>
                <a:gd name="connsiteY130" fmla="*/ 2434571 h 3332876"/>
                <a:gd name="connsiteX131" fmla="*/ 264253 w 11033748"/>
                <a:gd name="connsiteY131" fmla="*/ 2434571 h 3332876"/>
                <a:gd name="connsiteX132" fmla="*/ 264253 w 11033748"/>
                <a:gd name="connsiteY132" fmla="*/ 2133572 h 3332876"/>
                <a:gd name="connsiteX133" fmla="*/ 983523 w 11033748"/>
                <a:gd name="connsiteY133" fmla="*/ 2133572 h 3332876"/>
                <a:gd name="connsiteX134" fmla="*/ 983523 w 11033748"/>
                <a:gd name="connsiteY134" fmla="*/ 1901373 h 3332876"/>
                <a:gd name="connsiteX135" fmla="*/ 0 w 11033748"/>
                <a:gd name="connsiteY135" fmla="*/ 1901373 h 3332876"/>
                <a:gd name="connsiteX136" fmla="*/ 0 w 11033748"/>
                <a:gd name="connsiteY136" fmla="*/ 3304731 h 3332876"/>
                <a:gd name="connsiteX137" fmla="*/ 1243085 w 11033748"/>
                <a:gd name="connsiteY137" fmla="*/ 3304731 h 3332876"/>
                <a:gd name="connsiteX138" fmla="*/ 1503430 w 11033748"/>
                <a:gd name="connsiteY138" fmla="*/ 3304731 h 3332876"/>
                <a:gd name="connsiteX139" fmla="*/ 1936555 w 11033748"/>
                <a:gd name="connsiteY139" fmla="*/ 2649570 h 3332876"/>
                <a:gd name="connsiteX140" fmla="*/ 1936555 w 11033748"/>
                <a:gd name="connsiteY140" fmla="*/ 3304731 h 3332876"/>
                <a:gd name="connsiteX141" fmla="*/ 2177354 w 11033748"/>
                <a:gd name="connsiteY141" fmla="*/ 3304731 h 3332876"/>
                <a:gd name="connsiteX142" fmla="*/ 2177354 w 11033748"/>
                <a:gd name="connsiteY142" fmla="*/ 2310262 h 3332876"/>
                <a:gd name="connsiteX143" fmla="*/ 1917009 w 11033748"/>
                <a:gd name="connsiteY143" fmla="*/ 2310262 h 3332876"/>
                <a:gd name="connsiteX144" fmla="*/ 1483884 w 11033748"/>
                <a:gd name="connsiteY144" fmla="*/ 2965423 h 3332876"/>
                <a:gd name="connsiteX145" fmla="*/ 1483884 w 11033748"/>
                <a:gd name="connsiteY145" fmla="*/ 2310262 h 3332876"/>
                <a:gd name="connsiteX146" fmla="*/ 1243085 w 11033748"/>
                <a:gd name="connsiteY146" fmla="*/ 2310262 h 3332876"/>
                <a:gd name="connsiteX147" fmla="*/ 1243085 w 11033748"/>
                <a:gd name="connsiteY147" fmla="*/ 3304731 h 3332876"/>
                <a:gd name="connsiteX148" fmla="*/ 3183549 w 11033748"/>
                <a:gd name="connsiteY148" fmla="*/ 3015459 h 3332876"/>
                <a:gd name="connsiteX149" fmla="*/ 2974805 w 11033748"/>
                <a:gd name="connsiteY149" fmla="*/ 2778569 h 3332876"/>
                <a:gd name="connsiteX150" fmla="*/ 3142895 w 11033748"/>
                <a:gd name="connsiteY150" fmla="*/ 2547934 h 3332876"/>
                <a:gd name="connsiteX151" fmla="*/ 2772315 w 11033748"/>
                <a:gd name="connsiteY151" fmla="*/ 2281335 h 3332876"/>
                <a:gd name="connsiteX152" fmla="*/ 2377498 w 11033748"/>
                <a:gd name="connsiteY152" fmla="*/ 2572170 h 3332876"/>
                <a:gd name="connsiteX153" fmla="*/ 2397825 w 11033748"/>
                <a:gd name="connsiteY153" fmla="*/ 2672243 h 3332876"/>
                <a:gd name="connsiteX154" fmla="*/ 2612043 w 11033748"/>
                <a:gd name="connsiteY154" fmla="*/ 2600316 h 3332876"/>
                <a:gd name="connsiteX155" fmla="*/ 2605788 w 11033748"/>
                <a:gd name="connsiteY155" fmla="*/ 2564352 h 3332876"/>
                <a:gd name="connsiteX156" fmla="*/ 2769969 w 11033748"/>
                <a:gd name="connsiteY156" fmla="*/ 2478353 h 3332876"/>
                <a:gd name="connsiteX157" fmla="*/ 2908351 w 11033748"/>
                <a:gd name="connsiteY157" fmla="*/ 2578425 h 3332876"/>
                <a:gd name="connsiteX158" fmla="*/ 2754333 w 11033748"/>
                <a:gd name="connsiteY158" fmla="*/ 2686315 h 3332876"/>
                <a:gd name="connsiteX159" fmla="*/ 2678497 w 11033748"/>
                <a:gd name="connsiteY159" fmla="*/ 2686315 h 3332876"/>
                <a:gd name="connsiteX160" fmla="*/ 2678497 w 11033748"/>
                <a:gd name="connsiteY160" fmla="*/ 2886460 h 3332876"/>
                <a:gd name="connsiteX161" fmla="*/ 2760587 w 11033748"/>
                <a:gd name="connsiteY161" fmla="*/ 2886460 h 3332876"/>
                <a:gd name="connsiteX162" fmla="*/ 2938841 w 11033748"/>
                <a:gd name="connsiteY162" fmla="*/ 3004514 h 3332876"/>
                <a:gd name="connsiteX163" fmla="*/ 2748079 w 11033748"/>
                <a:gd name="connsiteY163" fmla="*/ 3135077 h 3332876"/>
                <a:gd name="connsiteX164" fmla="*/ 2579988 w 11033748"/>
                <a:gd name="connsiteY164" fmla="*/ 3008423 h 3332876"/>
                <a:gd name="connsiteX165" fmla="*/ 2590152 w 11033748"/>
                <a:gd name="connsiteY165" fmla="*/ 2958387 h 3332876"/>
                <a:gd name="connsiteX166" fmla="*/ 2377498 w 11033748"/>
                <a:gd name="connsiteY166" fmla="*/ 2890369 h 3332876"/>
                <a:gd name="connsiteX167" fmla="*/ 2353262 w 11033748"/>
                <a:gd name="connsiteY167" fmla="*/ 3010768 h 3332876"/>
                <a:gd name="connsiteX168" fmla="*/ 2748079 w 11033748"/>
                <a:gd name="connsiteY168" fmla="*/ 3331312 h 3332876"/>
                <a:gd name="connsiteX169" fmla="*/ 3183549 w 11033748"/>
                <a:gd name="connsiteY169" fmla="*/ 3015459 h 3332876"/>
                <a:gd name="connsiteX170" fmla="*/ 3354767 w 11033748"/>
                <a:gd name="connsiteY170" fmla="*/ 3304731 h 3332876"/>
                <a:gd name="connsiteX171" fmla="*/ 3607293 w 11033748"/>
                <a:gd name="connsiteY171" fmla="*/ 3304731 h 3332876"/>
                <a:gd name="connsiteX172" fmla="*/ 3607293 w 11033748"/>
                <a:gd name="connsiteY172" fmla="*/ 2902096 h 3332876"/>
                <a:gd name="connsiteX173" fmla="*/ 4020091 w 11033748"/>
                <a:gd name="connsiteY173" fmla="*/ 2902096 h 3332876"/>
                <a:gd name="connsiteX174" fmla="*/ 4020091 w 11033748"/>
                <a:gd name="connsiteY174" fmla="*/ 3304731 h 3332876"/>
                <a:gd name="connsiteX175" fmla="*/ 4272617 w 11033748"/>
                <a:gd name="connsiteY175" fmla="*/ 3304731 h 3332876"/>
                <a:gd name="connsiteX176" fmla="*/ 4272617 w 11033748"/>
                <a:gd name="connsiteY176" fmla="*/ 2310262 h 3332876"/>
                <a:gd name="connsiteX177" fmla="*/ 4020091 w 11033748"/>
                <a:gd name="connsiteY177" fmla="*/ 2310262 h 3332876"/>
                <a:gd name="connsiteX178" fmla="*/ 4020091 w 11033748"/>
                <a:gd name="connsiteY178" fmla="*/ 2680843 h 3332876"/>
                <a:gd name="connsiteX179" fmla="*/ 3607293 w 11033748"/>
                <a:gd name="connsiteY179" fmla="*/ 2680843 h 3332876"/>
                <a:gd name="connsiteX180" fmla="*/ 3607293 w 11033748"/>
                <a:gd name="connsiteY180" fmla="*/ 2310262 h 3332876"/>
                <a:gd name="connsiteX181" fmla="*/ 3354767 w 11033748"/>
                <a:gd name="connsiteY181" fmla="*/ 2310262 h 3332876"/>
                <a:gd name="connsiteX182" fmla="*/ 3354767 w 11033748"/>
                <a:gd name="connsiteY182" fmla="*/ 3304731 h 3332876"/>
                <a:gd name="connsiteX183" fmla="*/ 4663524 w 11033748"/>
                <a:gd name="connsiteY183" fmla="*/ 2675370 h 3332876"/>
                <a:gd name="connsiteX184" fmla="*/ 4932468 w 11033748"/>
                <a:gd name="connsiteY184" fmla="*/ 2475225 h 3332876"/>
                <a:gd name="connsiteX185" fmla="*/ 5191249 w 11033748"/>
                <a:gd name="connsiteY185" fmla="*/ 2675370 h 3332876"/>
                <a:gd name="connsiteX186" fmla="*/ 4663524 w 11033748"/>
                <a:gd name="connsiteY186" fmla="*/ 2675370 h 3332876"/>
                <a:gd name="connsiteX187" fmla="*/ 4931687 w 11033748"/>
                <a:gd name="connsiteY187" fmla="*/ 3116313 h 3332876"/>
                <a:gd name="connsiteX188" fmla="*/ 4658833 w 11033748"/>
                <a:gd name="connsiteY188" fmla="*/ 2867696 h 3332876"/>
                <a:gd name="connsiteX189" fmla="*/ 5424230 w 11033748"/>
                <a:gd name="connsiteY189" fmla="*/ 2867696 h 3332876"/>
                <a:gd name="connsiteX190" fmla="*/ 5424230 w 11033748"/>
                <a:gd name="connsiteY190" fmla="*/ 2779351 h 3332876"/>
                <a:gd name="connsiteX191" fmla="*/ 4939505 w 11033748"/>
                <a:gd name="connsiteY191" fmla="*/ 2282117 h 3332876"/>
                <a:gd name="connsiteX192" fmla="*/ 4416471 w 11033748"/>
                <a:gd name="connsiteY192" fmla="*/ 2807497 h 3332876"/>
                <a:gd name="connsiteX193" fmla="*/ 4927778 w 11033748"/>
                <a:gd name="connsiteY193" fmla="*/ 3332876 h 3332876"/>
                <a:gd name="connsiteX194" fmla="*/ 5384357 w 11033748"/>
                <a:gd name="connsiteY194" fmla="*/ 3080350 h 3332876"/>
                <a:gd name="connsiteX195" fmla="*/ 5184213 w 11033748"/>
                <a:gd name="connsiteY195" fmla="*/ 2980278 h 3332876"/>
                <a:gd name="connsiteX196" fmla="*/ 4931687 w 11033748"/>
                <a:gd name="connsiteY196" fmla="*/ 3116313 h 3332876"/>
                <a:gd name="connsiteX197" fmla="*/ 6084081 w 11033748"/>
                <a:gd name="connsiteY197" fmla="*/ 3332094 h 3332876"/>
                <a:gd name="connsiteX198" fmla="*/ 6539098 w 11033748"/>
                <a:gd name="connsiteY198" fmla="*/ 3065495 h 3332876"/>
                <a:gd name="connsiteX199" fmla="*/ 6330353 w 11033748"/>
                <a:gd name="connsiteY199" fmla="*/ 2951350 h 3332876"/>
                <a:gd name="connsiteX200" fmla="*/ 6081736 w 11033748"/>
                <a:gd name="connsiteY200" fmla="*/ 3095986 h 3332876"/>
                <a:gd name="connsiteX201" fmla="*/ 5817483 w 11033748"/>
                <a:gd name="connsiteY201" fmla="*/ 2807497 h 3332876"/>
                <a:gd name="connsiteX202" fmla="*/ 6081736 w 11033748"/>
                <a:gd name="connsiteY202" fmla="*/ 2519007 h 3332876"/>
                <a:gd name="connsiteX203" fmla="*/ 6312372 w 11033748"/>
                <a:gd name="connsiteY203" fmla="*/ 2655043 h 3332876"/>
                <a:gd name="connsiteX204" fmla="*/ 6528934 w 11033748"/>
                <a:gd name="connsiteY204" fmla="*/ 2530734 h 3332876"/>
                <a:gd name="connsiteX205" fmla="*/ 6084081 w 11033748"/>
                <a:gd name="connsiteY205" fmla="*/ 2282117 h 3332876"/>
                <a:gd name="connsiteX206" fmla="*/ 5561047 w 11033748"/>
                <a:gd name="connsiteY206" fmla="*/ 2807497 h 3332876"/>
                <a:gd name="connsiteX207" fmla="*/ 6084081 w 11033748"/>
                <a:gd name="connsiteY207" fmla="*/ 3332094 h 333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1033748" h="3332876">
                  <a:moveTo>
                    <a:pt x="8186381" y="869378"/>
                  </a:moveTo>
                  <a:lnTo>
                    <a:pt x="8655469" y="1402575"/>
                  </a:lnTo>
                  <a:lnTo>
                    <a:pt x="8350562" y="1402575"/>
                  </a:lnTo>
                  <a:lnTo>
                    <a:pt x="7987800" y="991341"/>
                  </a:lnTo>
                  <a:lnTo>
                    <a:pt x="7987800" y="1402575"/>
                  </a:lnTo>
                  <a:lnTo>
                    <a:pt x="7735274" y="1402575"/>
                  </a:lnTo>
                  <a:lnTo>
                    <a:pt x="7735274" y="408889"/>
                  </a:lnTo>
                  <a:lnTo>
                    <a:pt x="7987800" y="408889"/>
                  </a:lnTo>
                  <a:lnTo>
                    <a:pt x="7987800" y="769306"/>
                  </a:lnTo>
                  <a:lnTo>
                    <a:pt x="8344307" y="408889"/>
                  </a:lnTo>
                  <a:lnTo>
                    <a:pt x="8642960" y="408889"/>
                  </a:lnTo>
                  <a:lnTo>
                    <a:pt x="8186381" y="869378"/>
                  </a:lnTo>
                  <a:close/>
                  <a:moveTo>
                    <a:pt x="629361" y="677052"/>
                  </a:moveTo>
                  <a:cubicBezTo>
                    <a:pt x="813869" y="677052"/>
                    <a:pt x="898305" y="588706"/>
                    <a:pt x="898305" y="456580"/>
                  </a:cubicBezTo>
                  <a:cubicBezTo>
                    <a:pt x="898305" y="324453"/>
                    <a:pt x="813869" y="236108"/>
                    <a:pt x="629361" y="236108"/>
                  </a:cubicBezTo>
                  <a:lnTo>
                    <a:pt x="264253" y="236108"/>
                  </a:lnTo>
                  <a:lnTo>
                    <a:pt x="264253" y="677052"/>
                  </a:lnTo>
                  <a:lnTo>
                    <a:pt x="629361" y="677052"/>
                  </a:lnTo>
                  <a:moveTo>
                    <a:pt x="637179" y="0"/>
                  </a:moveTo>
                  <a:cubicBezTo>
                    <a:pt x="953814" y="0"/>
                    <a:pt x="1162558" y="162617"/>
                    <a:pt x="1162558" y="456580"/>
                  </a:cubicBezTo>
                  <a:cubicBezTo>
                    <a:pt x="1162558" y="751324"/>
                    <a:pt x="953814" y="913941"/>
                    <a:pt x="637179" y="913941"/>
                  </a:cubicBezTo>
                  <a:lnTo>
                    <a:pt x="264253" y="913941"/>
                  </a:lnTo>
                  <a:lnTo>
                    <a:pt x="264253" y="1403357"/>
                  </a:lnTo>
                  <a:lnTo>
                    <a:pt x="0" y="1403357"/>
                  </a:lnTo>
                  <a:lnTo>
                    <a:pt x="0" y="0"/>
                  </a:lnTo>
                  <a:lnTo>
                    <a:pt x="637179" y="0"/>
                  </a:lnTo>
                  <a:moveTo>
                    <a:pt x="1759083" y="1194613"/>
                  </a:moveTo>
                  <a:cubicBezTo>
                    <a:pt x="1907628" y="1194613"/>
                    <a:pt x="2046009" y="1088286"/>
                    <a:pt x="2046009" y="906123"/>
                  </a:cubicBezTo>
                  <a:cubicBezTo>
                    <a:pt x="2046009" y="723960"/>
                    <a:pt x="1907628" y="617634"/>
                    <a:pt x="1759083" y="617634"/>
                  </a:cubicBezTo>
                  <a:cubicBezTo>
                    <a:pt x="1610538" y="617634"/>
                    <a:pt x="1472157" y="723960"/>
                    <a:pt x="1472157" y="906123"/>
                  </a:cubicBezTo>
                  <a:cubicBezTo>
                    <a:pt x="1472939" y="1088286"/>
                    <a:pt x="1611320" y="1194613"/>
                    <a:pt x="1759083" y="1194613"/>
                  </a:cubicBezTo>
                  <a:moveTo>
                    <a:pt x="1759083" y="380744"/>
                  </a:moveTo>
                  <a:cubicBezTo>
                    <a:pt x="2031936" y="380744"/>
                    <a:pt x="2302444" y="557434"/>
                    <a:pt x="2302444" y="906123"/>
                  </a:cubicBezTo>
                  <a:cubicBezTo>
                    <a:pt x="2302444" y="1254813"/>
                    <a:pt x="2031936" y="1431503"/>
                    <a:pt x="1759083" y="1431503"/>
                  </a:cubicBezTo>
                  <a:cubicBezTo>
                    <a:pt x="1486230" y="1431503"/>
                    <a:pt x="1215722" y="1254813"/>
                    <a:pt x="1215722" y="906123"/>
                  </a:cubicBezTo>
                  <a:cubicBezTo>
                    <a:pt x="1216504" y="556652"/>
                    <a:pt x="1487011" y="380744"/>
                    <a:pt x="1759083" y="380744"/>
                  </a:cubicBezTo>
                  <a:moveTo>
                    <a:pt x="2947441" y="1194613"/>
                  </a:moveTo>
                  <a:cubicBezTo>
                    <a:pt x="2794988" y="1194613"/>
                    <a:pt x="2683188" y="1084377"/>
                    <a:pt x="2683188" y="906123"/>
                  </a:cubicBezTo>
                  <a:cubicBezTo>
                    <a:pt x="2683188" y="729433"/>
                    <a:pt x="2799678" y="617634"/>
                    <a:pt x="2947441" y="617634"/>
                  </a:cubicBezTo>
                  <a:cubicBezTo>
                    <a:pt x="3037350" y="617634"/>
                    <a:pt x="3115531" y="659852"/>
                    <a:pt x="3178077" y="753669"/>
                  </a:cubicBezTo>
                  <a:lnTo>
                    <a:pt x="3394639" y="629361"/>
                  </a:lnTo>
                  <a:cubicBezTo>
                    <a:pt x="3322712" y="475343"/>
                    <a:pt x="3166349" y="380744"/>
                    <a:pt x="2949787" y="380744"/>
                  </a:cubicBezTo>
                  <a:cubicBezTo>
                    <a:pt x="2667551" y="380744"/>
                    <a:pt x="2426753" y="589488"/>
                    <a:pt x="2426753" y="906123"/>
                  </a:cubicBezTo>
                  <a:cubicBezTo>
                    <a:pt x="2426753" y="1222758"/>
                    <a:pt x="2655043" y="1431503"/>
                    <a:pt x="2949787" y="1431503"/>
                  </a:cubicBezTo>
                  <a:cubicBezTo>
                    <a:pt x="3162440" y="1431503"/>
                    <a:pt x="3304730" y="1335340"/>
                    <a:pt x="3404803" y="1164904"/>
                  </a:cubicBezTo>
                  <a:lnTo>
                    <a:pt x="3196058" y="1050759"/>
                  </a:lnTo>
                  <a:cubicBezTo>
                    <a:pt x="3135858" y="1134413"/>
                    <a:pt x="3071750" y="1194613"/>
                    <a:pt x="2947441" y="1194613"/>
                  </a:cubicBezTo>
                  <a:moveTo>
                    <a:pt x="5636102" y="971796"/>
                  </a:moveTo>
                  <a:cubicBezTo>
                    <a:pt x="5624375" y="1124250"/>
                    <a:pt x="5593884" y="1157868"/>
                    <a:pt x="5541502" y="1157868"/>
                  </a:cubicBezTo>
                  <a:cubicBezTo>
                    <a:pt x="5505538" y="1157868"/>
                    <a:pt x="5489120" y="1153959"/>
                    <a:pt x="5464884" y="1147704"/>
                  </a:cubicBezTo>
                  <a:lnTo>
                    <a:pt x="5466448" y="1404921"/>
                  </a:lnTo>
                  <a:cubicBezTo>
                    <a:pt x="5466448" y="1404921"/>
                    <a:pt x="5497720" y="1414303"/>
                    <a:pt x="5556356" y="1414303"/>
                  </a:cubicBezTo>
                  <a:cubicBezTo>
                    <a:pt x="5770574" y="1414303"/>
                    <a:pt x="5851101" y="1275922"/>
                    <a:pt x="5870646" y="981177"/>
                  </a:cubicBezTo>
                  <a:lnTo>
                    <a:pt x="5894882" y="634052"/>
                  </a:lnTo>
                  <a:lnTo>
                    <a:pt x="6179463" y="634052"/>
                  </a:lnTo>
                  <a:lnTo>
                    <a:pt x="6179463" y="1399448"/>
                  </a:lnTo>
                  <a:lnTo>
                    <a:pt x="6431989" y="1399448"/>
                  </a:lnTo>
                  <a:lnTo>
                    <a:pt x="6431989" y="408889"/>
                  </a:lnTo>
                  <a:lnTo>
                    <a:pt x="5678319" y="408889"/>
                  </a:lnTo>
                  <a:lnTo>
                    <a:pt x="5636102" y="971796"/>
                  </a:lnTo>
                  <a:close/>
                  <a:moveTo>
                    <a:pt x="5170922" y="773215"/>
                  </a:moveTo>
                  <a:cubicBezTo>
                    <a:pt x="5146686" y="648906"/>
                    <a:pt x="5052868" y="573070"/>
                    <a:pt x="4912141" y="573070"/>
                  </a:cubicBezTo>
                  <a:cubicBezTo>
                    <a:pt x="4780015" y="573070"/>
                    <a:pt x="4679942" y="661415"/>
                    <a:pt x="4643197" y="773215"/>
                  </a:cubicBezTo>
                  <a:lnTo>
                    <a:pt x="5170922" y="773215"/>
                  </a:lnTo>
                  <a:close/>
                  <a:moveTo>
                    <a:pt x="4919960" y="380744"/>
                  </a:moveTo>
                  <a:cubicBezTo>
                    <a:pt x="5204540" y="380744"/>
                    <a:pt x="5404684" y="587143"/>
                    <a:pt x="5404684" y="877978"/>
                  </a:cubicBezTo>
                  <a:lnTo>
                    <a:pt x="5404684" y="966323"/>
                  </a:lnTo>
                  <a:lnTo>
                    <a:pt x="4639288" y="966323"/>
                  </a:lnTo>
                  <a:cubicBezTo>
                    <a:pt x="4654924" y="1118777"/>
                    <a:pt x="4763597" y="1214940"/>
                    <a:pt x="4912141" y="1214940"/>
                  </a:cubicBezTo>
                  <a:cubicBezTo>
                    <a:pt x="5046614" y="1214940"/>
                    <a:pt x="5102904" y="1157086"/>
                    <a:pt x="5164667" y="1078904"/>
                  </a:cubicBezTo>
                  <a:lnTo>
                    <a:pt x="5364812" y="1178977"/>
                  </a:lnTo>
                  <a:cubicBezTo>
                    <a:pt x="5264740" y="1349412"/>
                    <a:pt x="5126358" y="1431503"/>
                    <a:pt x="4907450" y="1431503"/>
                  </a:cubicBezTo>
                  <a:cubicBezTo>
                    <a:pt x="4630688" y="1431503"/>
                    <a:pt x="4396144" y="1221195"/>
                    <a:pt x="4396144" y="906123"/>
                  </a:cubicBezTo>
                  <a:cubicBezTo>
                    <a:pt x="4396144" y="591052"/>
                    <a:pt x="4631470" y="380744"/>
                    <a:pt x="4919960" y="380744"/>
                  </a:cubicBezTo>
                  <a:moveTo>
                    <a:pt x="7346712" y="773215"/>
                  </a:moveTo>
                  <a:cubicBezTo>
                    <a:pt x="7322476" y="648906"/>
                    <a:pt x="7228658" y="573070"/>
                    <a:pt x="7087931" y="573070"/>
                  </a:cubicBezTo>
                  <a:cubicBezTo>
                    <a:pt x="6955804" y="573070"/>
                    <a:pt x="6855733" y="661415"/>
                    <a:pt x="6818987" y="773215"/>
                  </a:cubicBezTo>
                  <a:lnTo>
                    <a:pt x="7346712" y="773215"/>
                  </a:lnTo>
                  <a:close/>
                  <a:moveTo>
                    <a:pt x="7096531" y="380744"/>
                  </a:moveTo>
                  <a:cubicBezTo>
                    <a:pt x="7381112" y="380744"/>
                    <a:pt x="7581256" y="587143"/>
                    <a:pt x="7581256" y="877978"/>
                  </a:cubicBezTo>
                  <a:lnTo>
                    <a:pt x="7581256" y="966323"/>
                  </a:lnTo>
                  <a:lnTo>
                    <a:pt x="6815859" y="966323"/>
                  </a:lnTo>
                  <a:cubicBezTo>
                    <a:pt x="6831496" y="1118777"/>
                    <a:pt x="6940168" y="1214940"/>
                    <a:pt x="7088713" y="1214940"/>
                  </a:cubicBezTo>
                  <a:cubicBezTo>
                    <a:pt x="7223186" y="1214940"/>
                    <a:pt x="7279476" y="1157086"/>
                    <a:pt x="7341239" y="1078904"/>
                  </a:cubicBezTo>
                  <a:lnTo>
                    <a:pt x="7541384" y="1178977"/>
                  </a:lnTo>
                  <a:cubicBezTo>
                    <a:pt x="7441311" y="1349412"/>
                    <a:pt x="7302930" y="1431503"/>
                    <a:pt x="7084022" y="1431503"/>
                  </a:cubicBezTo>
                  <a:cubicBezTo>
                    <a:pt x="6807260" y="1431503"/>
                    <a:pt x="6572715" y="1221195"/>
                    <a:pt x="6572715" y="906123"/>
                  </a:cubicBezTo>
                  <a:cubicBezTo>
                    <a:pt x="6572715" y="591052"/>
                    <a:pt x="6808041" y="380744"/>
                    <a:pt x="7096531" y="380744"/>
                  </a:cubicBezTo>
                  <a:moveTo>
                    <a:pt x="3482984" y="629361"/>
                  </a:moveTo>
                  <a:lnTo>
                    <a:pt x="3779292" y="629361"/>
                  </a:lnTo>
                  <a:lnTo>
                    <a:pt x="3779292" y="1403357"/>
                  </a:lnTo>
                  <a:lnTo>
                    <a:pt x="4031818" y="1403357"/>
                  </a:lnTo>
                  <a:lnTo>
                    <a:pt x="4031818" y="629361"/>
                  </a:lnTo>
                  <a:lnTo>
                    <a:pt x="4328126" y="629361"/>
                  </a:lnTo>
                  <a:lnTo>
                    <a:pt x="4328126" y="408889"/>
                  </a:lnTo>
                  <a:lnTo>
                    <a:pt x="3482984" y="408889"/>
                  </a:lnTo>
                  <a:lnTo>
                    <a:pt x="3482984" y="629361"/>
                  </a:lnTo>
                  <a:close/>
                  <a:moveTo>
                    <a:pt x="9156612" y="1194613"/>
                  </a:moveTo>
                  <a:cubicBezTo>
                    <a:pt x="9305157" y="1194613"/>
                    <a:pt x="9443539" y="1088286"/>
                    <a:pt x="9443539" y="906123"/>
                  </a:cubicBezTo>
                  <a:cubicBezTo>
                    <a:pt x="9443539" y="723960"/>
                    <a:pt x="9305157" y="617634"/>
                    <a:pt x="9156612" y="617634"/>
                  </a:cubicBezTo>
                  <a:cubicBezTo>
                    <a:pt x="9008067" y="617634"/>
                    <a:pt x="8869687" y="723960"/>
                    <a:pt x="8869687" y="906123"/>
                  </a:cubicBezTo>
                  <a:cubicBezTo>
                    <a:pt x="8869687" y="1088286"/>
                    <a:pt x="9008067" y="1194613"/>
                    <a:pt x="9156612" y="1194613"/>
                  </a:cubicBezTo>
                  <a:moveTo>
                    <a:pt x="9156612" y="380744"/>
                  </a:moveTo>
                  <a:cubicBezTo>
                    <a:pt x="9429466" y="380744"/>
                    <a:pt x="9699973" y="557434"/>
                    <a:pt x="9699973" y="906123"/>
                  </a:cubicBezTo>
                  <a:cubicBezTo>
                    <a:pt x="9699973" y="1254813"/>
                    <a:pt x="9429466" y="1431503"/>
                    <a:pt x="9156612" y="1431503"/>
                  </a:cubicBezTo>
                  <a:cubicBezTo>
                    <a:pt x="8883759" y="1431503"/>
                    <a:pt x="8613251" y="1254813"/>
                    <a:pt x="8613251" y="906123"/>
                  </a:cubicBezTo>
                  <a:cubicBezTo>
                    <a:pt x="8613251" y="557434"/>
                    <a:pt x="8883759" y="380744"/>
                    <a:pt x="9156612" y="380744"/>
                  </a:cubicBezTo>
                  <a:moveTo>
                    <a:pt x="10704605" y="408889"/>
                  </a:moveTo>
                  <a:lnTo>
                    <a:pt x="10430188" y="1105486"/>
                  </a:lnTo>
                  <a:lnTo>
                    <a:pt x="10155772" y="408889"/>
                  </a:lnTo>
                  <a:lnTo>
                    <a:pt x="9825845" y="408889"/>
                  </a:lnTo>
                  <a:lnTo>
                    <a:pt x="9825845" y="1401012"/>
                  </a:lnTo>
                  <a:lnTo>
                    <a:pt x="10065863" y="1401012"/>
                  </a:lnTo>
                  <a:lnTo>
                    <a:pt x="10065863" y="772433"/>
                  </a:lnTo>
                  <a:lnTo>
                    <a:pt x="10331680" y="1401012"/>
                  </a:lnTo>
                  <a:lnTo>
                    <a:pt x="10527915" y="1401012"/>
                  </a:lnTo>
                  <a:lnTo>
                    <a:pt x="10793732" y="772433"/>
                  </a:lnTo>
                  <a:lnTo>
                    <a:pt x="10793732" y="1401012"/>
                  </a:lnTo>
                  <a:lnTo>
                    <a:pt x="11033749" y="1401012"/>
                  </a:lnTo>
                  <a:lnTo>
                    <a:pt x="11033749" y="408889"/>
                  </a:lnTo>
                  <a:lnTo>
                    <a:pt x="10704605" y="408889"/>
                  </a:lnTo>
                  <a:close/>
                  <a:moveTo>
                    <a:pt x="264253" y="3067841"/>
                  </a:moveTo>
                  <a:lnTo>
                    <a:pt x="264253" y="2666770"/>
                  </a:lnTo>
                  <a:lnTo>
                    <a:pt x="570725" y="2666770"/>
                  </a:lnTo>
                  <a:cubicBezTo>
                    <a:pt x="741160" y="2666770"/>
                    <a:pt x="819342" y="2742606"/>
                    <a:pt x="819342" y="2866915"/>
                  </a:cubicBezTo>
                  <a:cubicBezTo>
                    <a:pt x="819342" y="2991223"/>
                    <a:pt x="741160" y="3067059"/>
                    <a:pt x="570725" y="3067059"/>
                  </a:cubicBezTo>
                  <a:lnTo>
                    <a:pt x="264253" y="3067059"/>
                  </a:lnTo>
                  <a:close/>
                  <a:moveTo>
                    <a:pt x="0" y="3304731"/>
                  </a:moveTo>
                  <a:lnTo>
                    <a:pt x="591052" y="3304731"/>
                  </a:lnTo>
                  <a:cubicBezTo>
                    <a:pt x="877978" y="3304731"/>
                    <a:pt x="1084377" y="3142113"/>
                    <a:pt x="1084377" y="2867696"/>
                  </a:cubicBezTo>
                  <a:cubicBezTo>
                    <a:pt x="1084377" y="2593279"/>
                    <a:pt x="877978" y="2434571"/>
                    <a:pt x="591052" y="2434571"/>
                  </a:cubicBezTo>
                  <a:lnTo>
                    <a:pt x="264253" y="2434571"/>
                  </a:lnTo>
                  <a:lnTo>
                    <a:pt x="264253" y="2133572"/>
                  </a:lnTo>
                  <a:lnTo>
                    <a:pt x="983523" y="2133572"/>
                  </a:lnTo>
                  <a:lnTo>
                    <a:pt x="983523" y="1901373"/>
                  </a:lnTo>
                  <a:lnTo>
                    <a:pt x="0" y="1901373"/>
                  </a:lnTo>
                  <a:lnTo>
                    <a:pt x="0" y="3304731"/>
                  </a:lnTo>
                  <a:close/>
                  <a:moveTo>
                    <a:pt x="1243085" y="3304731"/>
                  </a:moveTo>
                  <a:lnTo>
                    <a:pt x="1503430" y="3304731"/>
                  </a:lnTo>
                  <a:lnTo>
                    <a:pt x="1936555" y="2649570"/>
                  </a:lnTo>
                  <a:lnTo>
                    <a:pt x="1936555" y="3304731"/>
                  </a:lnTo>
                  <a:lnTo>
                    <a:pt x="2177354" y="3304731"/>
                  </a:lnTo>
                  <a:lnTo>
                    <a:pt x="2177354" y="2310262"/>
                  </a:lnTo>
                  <a:lnTo>
                    <a:pt x="1917009" y="2310262"/>
                  </a:lnTo>
                  <a:lnTo>
                    <a:pt x="1483884" y="2965423"/>
                  </a:lnTo>
                  <a:lnTo>
                    <a:pt x="1483884" y="2310262"/>
                  </a:lnTo>
                  <a:lnTo>
                    <a:pt x="1243085" y="2310262"/>
                  </a:lnTo>
                  <a:lnTo>
                    <a:pt x="1243085" y="3304731"/>
                  </a:lnTo>
                  <a:close/>
                  <a:moveTo>
                    <a:pt x="3183549" y="3015459"/>
                  </a:moveTo>
                  <a:cubicBezTo>
                    <a:pt x="3183549" y="2888805"/>
                    <a:pt x="3097549" y="2812969"/>
                    <a:pt x="2974805" y="2778569"/>
                  </a:cubicBezTo>
                  <a:cubicBezTo>
                    <a:pt x="3077222" y="2738697"/>
                    <a:pt x="3142895" y="2665988"/>
                    <a:pt x="3142895" y="2547934"/>
                  </a:cubicBezTo>
                  <a:cubicBezTo>
                    <a:pt x="3142895" y="2395480"/>
                    <a:pt x="3030314" y="2281335"/>
                    <a:pt x="2772315" y="2281335"/>
                  </a:cubicBezTo>
                  <a:cubicBezTo>
                    <a:pt x="2519789" y="2281335"/>
                    <a:pt x="2377498" y="2413462"/>
                    <a:pt x="2377498" y="2572170"/>
                  </a:cubicBezTo>
                  <a:cubicBezTo>
                    <a:pt x="2377498" y="2610479"/>
                    <a:pt x="2385316" y="2640188"/>
                    <a:pt x="2397825" y="2672243"/>
                  </a:cubicBezTo>
                  <a:lnTo>
                    <a:pt x="2612043" y="2600316"/>
                  </a:lnTo>
                  <a:cubicBezTo>
                    <a:pt x="2608134" y="2590152"/>
                    <a:pt x="2605788" y="2579989"/>
                    <a:pt x="2605788" y="2564352"/>
                  </a:cubicBezTo>
                  <a:cubicBezTo>
                    <a:pt x="2605788" y="2515880"/>
                    <a:pt x="2669897" y="2478353"/>
                    <a:pt x="2769969" y="2478353"/>
                  </a:cubicBezTo>
                  <a:cubicBezTo>
                    <a:pt x="2863787" y="2478353"/>
                    <a:pt x="2908351" y="2518225"/>
                    <a:pt x="2908351" y="2578425"/>
                  </a:cubicBezTo>
                  <a:cubicBezTo>
                    <a:pt x="2908351" y="2642534"/>
                    <a:pt x="2862223" y="2686315"/>
                    <a:pt x="2754333" y="2686315"/>
                  </a:cubicBezTo>
                  <a:lnTo>
                    <a:pt x="2678497" y="2686315"/>
                  </a:lnTo>
                  <a:lnTo>
                    <a:pt x="2678497" y="2886460"/>
                  </a:lnTo>
                  <a:lnTo>
                    <a:pt x="2760587" y="2886460"/>
                  </a:lnTo>
                  <a:cubicBezTo>
                    <a:pt x="2873169" y="2886460"/>
                    <a:pt x="2938841" y="2930242"/>
                    <a:pt x="2938841" y="3004514"/>
                  </a:cubicBezTo>
                  <a:cubicBezTo>
                    <a:pt x="2938841" y="3080350"/>
                    <a:pt x="2870823" y="3135077"/>
                    <a:pt x="2748079" y="3135077"/>
                  </a:cubicBezTo>
                  <a:cubicBezTo>
                    <a:pt x="2663642" y="3135077"/>
                    <a:pt x="2579988" y="3091295"/>
                    <a:pt x="2579988" y="3008423"/>
                  </a:cubicBezTo>
                  <a:cubicBezTo>
                    <a:pt x="2579988" y="2988096"/>
                    <a:pt x="2583898" y="2972460"/>
                    <a:pt x="2590152" y="2958387"/>
                  </a:cubicBezTo>
                  <a:lnTo>
                    <a:pt x="2377498" y="2890369"/>
                  </a:lnTo>
                  <a:cubicBezTo>
                    <a:pt x="2365771" y="2916169"/>
                    <a:pt x="2353262" y="2964641"/>
                    <a:pt x="2353262" y="3010768"/>
                  </a:cubicBezTo>
                  <a:cubicBezTo>
                    <a:pt x="2353262" y="3192931"/>
                    <a:pt x="2491643" y="3331312"/>
                    <a:pt x="2748079" y="3331312"/>
                  </a:cubicBezTo>
                  <a:cubicBezTo>
                    <a:pt x="3029532" y="3332094"/>
                    <a:pt x="3183549" y="3203877"/>
                    <a:pt x="3183549" y="3015459"/>
                  </a:cubicBezTo>
                  <a:moveTo>
                    <a:pt x="3354767" y="3304731"/>
                  </a:moveTo>
                  <a:lnTo>
                    <a:pt x="3607293" y="3304731"/>
                  </a:lnTo>
                  <a:lnTo>
                    <a:pt x="3607293" y="2902096"/>
                  </a:lnTo>
                  <a:lnTo>
                    <a:pt x="4020091" y="2902096"/>
                  </a:lnTo>
                  <a:lnTo>
                    <a:pt x="4020091" y="3304731"/>
                  </a:lnTo>
                  <a:lnTo>
                    <a:pt x="4272617" y="3304731"/>
                  </a:lnTo>
                  <a:lnTo>
                    <a:pt x="4272617" y="2310262"/>
                  </a:lnTo>
                  <a:lnTo>
                    <a:pt x="4020091" y="2310262"/>
                  </a:lnTo>
                  <a:lnTo>
                    <a:pt x="4020091" y="2680843"/>
                  </a:lnTo>
                  <a:lnTo>
                    <a:pt x="3607293" y="2680843"/>
                  </a:lnTo>
                  <a:lnTo>
                    <a:pt x="3607293" y="2310262"/>
                  </a:lnTo>
                  <a:lnTo>
                    <a:pt x="3354767" y="2310262"/>
                  </a:lnTo>
                  <a:lnTo>
                    <a:pt x="3354767" y="3304731"/>
                  </a:lnTo>
                  <a:close/>
                  <a:moveTo>
                    <a:pt x="4663524" y="2675370"/>
                  </a:moveTo>
                  <a:cubicBezTo>
                    <a:pt x="4699488" y="2562789"/>
                    <a:pt x="4799560" y="2475225"/>
                    <a:pt x="4932468" y="2475225"/>
                  </a:cubicBezTo>
                  <a:cubicBezTo>
                    <a:pt x="5072413" y="2475225"/>
                    <a:pt x="5167013" y="2551062"/>
                    <a:pt x="5191249" y="2675370"/>
                  </a:cubicBezTo>
                  <a:lnTo>
                    <a:pt x="4663524" y="2675370"/>
                  </a:lnTo>
                  <a:moveTo>
                    <a:pt x="4931687" y="3116313"/>
                  </a:moveTo>
                  <a:cubicBezTo>
                    <a:pt x="4783142" y="3116313"/>
                    <a:pt x="4675252" y="3020150"/>
                    <a:pt x="4658833" y="2867696"/>
                  </a:cubicBezTo>
                  <a:lnTo>
                    <a:pt x="5424230" y="2867696"/>
                  </a:lnTo>
                  <a:lnTo>
                    <a:pt x="5424230" y="2779351"/>
                  </a:lnTo>
                  <a:cubicBezTo>
                    <a:pt x="5424230" y="2488516"/>
                    <a:pt x="5224085" y="2282117"/>
                    <a:pt x="4939505" y="2282117"/>
                  </a:cubicBezTo>
                  <a:cubicBezTo>
                    <a:pt x="4651015" y="2282117"/>
                    <a:pt x="4416471" y="2492425"/>
                    <a:pt x="4416471" y="2807497"/>
                  </a:cubicBezTo>
                  <a:cubicBezTo>
                    <a:pt x="4416471" y="3122568"/>
                    <a:pt x="4651015" y="3332876"/>
                    <a:pt x="4927778" y="3332876"/>
                  </a:cubicBezTo>
                  <a:cubicBezTo>
                    <a:pt x="5145904" y="3332876"/>
                    <a:pt x="5284285" y="3250786"/>
                    <a:pt x="5384357" y="3080350"/>
                  </a:cubicBezTo>
                  <a:lnTo>
                    <a:pt x="5184213" y="2980278"/>
                  </a:lnTo>
                  <a:cubicBezTo>
                    <a:pt x="5122449" y="3057677"/>
                    <a:pt x="5066159" y="3116313"/>
                    <a:pt x="4931687" y="3116313"/>
                  </a:cubicBezTo>
                  <a:moveTo>
                    <a:pt x="6084081" y="3332094"/>
                  </a:moveTo>
                  <a:cubicBezTo>
                    <a:pt x="6296735" y="3332094"/>
                    <a:pt x="6439025" y="3235931"/>
                    <a:pt x="6539098" y="3065495"/>
                  </a:cubicBezTo>
                  <a:lnTo>
                    <a:pt x="6330353" y="2951350"/>
                  </a:lnTo>
                  <a:cubicBezTo>
                    <a:pt x="6270153" y="3035787"/>
                    <a:pt x="6206044" y="3095986"/>
                    <a:pt x="6081736" y="3095986"/>
                  </a:cubicBezTo>
                  <a:cubicBezTo>
                    <a:pt x="5929282" y="3095986"/>
                    <a:pt x="5817483" y="2985750"/>
                    <a:pt x="5817483" y="2807497"/>
                  </a:cubicBezTo>
                  <a:cubicBezTo>
                    <a:pt x="5817483" y="2630806"/>
                    <a:pt x="5933973" y="2519007"/>
                    <a:pt x="6081736" y="2519007"/>
                  </a:cubicBezTo>
                  <a:cubicBezTo>
                    <a:pt x="6171645" y="2519007"/>
                    <a:pt x="6249826" y="2561225"/>
                    <a:pt x="6312372" y="2655043"/>
                  </a:cubicBezTo>
                  <a:lnTo>
                    <a:pt x="6528934" y="2530734"/>
                  </a:lnTo>
                  <a:cubicBezTo>
                    <a:pt x="6457007" y="2376717"/>
                    <a:pt x="6300644" y="2282117"/>
                    <a:pt x="6084081" y="2282117"/>
                  </a:cubicBezTo>
                  <a:cubicBezTo>
                    <a:pt x="5801846" y="2282117"/>
                    <a:pt x="5561047" y="2490862"/>
                    <a:pt x="5561047" y="2807497"/>
                  </a:cubicBezTo>
                  <a:cubicBezTo>
                    <a:pt x="5561047" y="3124132"/>
                    <a:pt x="5789337" y="3332094"/>
                    <a:pt x="6084081" y="3332094"/>
                  </a:cubicBezTo>
                </a:path>
              </a:pathLst>
            </a:custGeom>
            <a:solidFill>
              <a:srgbClr val="101828"/>
            </a:solidFill>
            <a:ln w="7818" cap="flat">
              <a:noFill/>
              <a:prstDash val="solid"/>
              <a:miter/>
            </a:ln>
          </p:spPr>
          <p:txBody>
            <a:bodyPr rtlCol="0" anchor="ctr"/>
            <a:lstStyle/>
            <a:p>
              <a:endParaRPr lang="ru-RU" sz="1587" dirty="0"/>
            </a:p>
          </p:txBody>
        </p:sp>
        <p:grpSp>
          <p:nvGrpSpPr>
            <p:cNvPr id="57" name="Рисунок 25">
              <a:extLst>
                <a:ext uri="{FF2B5EF4-FFF2-40B4-BE49-F238E27FC236}">
                  <a16:creationId xmlns:a16="http://schemas.microsoft.com/office/drawing/2014/main" id="{6BAE49C5-5421-469E-8FB8-A702A2C42CE0}"/>
                </a:ext>
              </a:extLst>
            </p:cNvPr>
            <p:cNvGrpSpPr/>
            <p:nvPr/>
          </p:nvGrpSpPr>
          <p:grpSpPr>
            <a:xfrm>
              <a:off x="-233" y="1916027"/>
              <a:ext cx="2345677" cy="3909073"/>
              <a:chOff x="-233" y="1916027"/>
              <a:chExt cx="2345677" cy="3909073"/>
            </a:xfrm>
          </p:grpSpPr>
          <p:sp>
            <p:nvSpPr>
              <p:cNvPr id="58" name="Полилиния: фигура 57">
                <a:extLst>
                  <a:ext uri="{FF2B5EF4-FFF2-40B4-BE49-F238E27FC236}">
                    <a16:creationId xmlns:a16="http://schemas.microsoft.com/office/drawing/2014/main" id="{AC2FD533-58A0-4B15-AEFC-F7D09AEB5C82}"/>
                  </a:ext>
                </a:extLst>
              </p:cNvPr>
              <p:cNvSpPr/>
              <p:nvPr/>
            </p:nvSpPr>
            <p:spPr>
              <a:xfrm>
                <a:off x="88345" y="4800141"/>
                <a:ext cx="1777846" cy="1024959"/>
              </a:xfrm>
              <a:custGeom>
                <a:avLst/>
                <a:gdLst>
                  <a:gd name="connsiteX0" fmla="*/ 1777846 w 1777846"/>
                  <a:gd name="connsiteY0" fmla="*/ 1024959 h 1024959"/>
                  <a:gd name="connsiteX1" fmla="*/ 182945 w 1777846"/>
                  <a:gd name="connsiteY1" fmla="*/ 1024959 h 1024959"/>
                  <a:gd name="connsiteX2" fmla="*/ 0 w 1777846"/>
                  <a:gd name="connsiteY2" fmla="*/ 831851 h 1024959"/>
                  <a:gd name="connsiteX3" fmla="*/ 56291 w 1777846"/>
                  <a:gd name="connsiteY3" fmla="*/ 695815 h 1024959"/>
                  <a:gd name="connsiteX4" fmla="*/ 752106 w 1777846"/>
                  <a:gd name="connsiteY4" fmla="*/ 0 h 1024959"/>
                  <a:gd name="connsiteX5" fmla="*/ 1777846 w 1777846"/>
                  <a:gd name="connsiteY5" fmla="*/ 1024959 h 10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7846" h="1024959">
                    <a:moveTo>
                      <a:pt x="1777846" y="1024959"/>
                    </a:moveTo>
                    <a:lnTo>
                      <a:pt x="182945" y="1024959"/>
                    </a:lnTo>
                    <a:cubicBezTo>
                      <a:pt x="68018" y="1024959"/>
                      <a:pt x="0" y="921759"/>
                      <a:pt x="0" y="831851"/>
                    </a:cubicBezTo>
                    <a:cubicBezTo>
                      <a:pt x="0" y="778688"/>
                      <a:pt x="21891" y="730215"/>
                      <a:pt x="56291" y="695815"/>
                    </a:cubicBezTo>
                    <a:lnTo>
                      <a:pt x="752106" y="0"/>
                    </a:lnTo>
                    <a:lnTo>
                      <a:pt x="1777846" y="1024959"/>
                    </a:lnTo>
                    <a:close/>
                  </a:path>
                </a:pathLst>
              </a:custGeom>
              <a:solidFill>
                <a:srgbClr val="FF4F12"/>
              </a:solidFill>
              <a:ln w="7818" cap="flat">
                <a:noFill/>
                <a:prstDash val="solid"/>
                <a:miter/>
              </a:ln>
            </p:spPr>
            <p:txBody>
              <a:bodyPr rtlCol="0" anchor="ctr"/>
              <a:lstStyle/>
              <a:p>
                <a:endParaRPr lang="ru-RU" sz="1587" dirty="0"/>
              </a:p>
            </p:txBody>
          </p:sp>
          <p:sp>
            <p:nvSpPr>
              <p:cNvPr id="59" name="Полилиния: фигура 58">
                <a:extLst>
                  <a:ext uri="{FF2B5EF4-FFF2-40B4-BE49-F238E27FC236}">
                    <a16:creationId xmlns:a16="http://schemas.microsoft.com/office/drawing/2014/main" id="{DD79F9A0-2CFF-48F6-8D23-EB575DEA174D}"/>
                  </a:ext>
                </a:extLst>
              </p:cNvPr>
              <p:cNvSpPr/>
              <p:nvPr/>
            </p:nvSpPr>
            <p:spPr>
              <a:xfrm>
                <a:off x="-233" y="1916027"/>
                <a:ext cx="2345677" cy="3909073"/>
              </a:xfrm>
              <a:custGeom>
                <a:avLst/>
                <a:gdLst>
                  <a:gd name="connsiteX0" fmla="*/ 271523 w 2345677"/>
                  <a:gd name="connsiteY0" fmla="*/ 3909074 h 3909073"/>
                  <a:gd name="connsiteX1" fmla="*/ 234 w 2345677"/>
                  <a:gd name="connsiteY1" fmla="*/ 3621366 h 3909073"/>
                  <a:gd name="connsiteX2" fmla="*/ 234 w 2345677"/>
                  <a:gd name="connsiteY2" fmla="*/ 1476848 h 3909073"/>
                  <a:gd name="connsiteX3" fmla="*/ 192560 w 2345677"/>
                  <a:gd name="connsiteY3" fmla="*/ 776342 h 3909073"/>
                  <a:gd name="connsiteX4" fmla="*/ 968902 w 2345677"/>
                  <a:gd name="connsiteY4" fmla="*/ 0 h 3909073"/>
                  <a:gd name="connsiteX5" fmla="*/ 2345678 w 2345677"/>
                  <a:gd name="connsiteY5" fmla="*/ 1379121 h 3909073"/>
                  <a:gd name="connsiteX6" fmla="*/ 144869 w 2345677"/>
                  <a:gd name="connsiteY6" fmla="*/ 3579930 h 3909073"/>
                  <a:gd name="connsiteX7" fmla="*/ 88579 w 2345677"/>
                  <a:gd name="connsiteY7" fmla="*/ 3715965 h 3909073"/>
                  <a:gd name="connsiteX8" fmla="*/ 271523 w 2345677"/>
                  <a:gd name="connsiteY8" fmla="*/ 3909074 h 39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677" h="3909073">
                    <a:moveTo>
                      <a:pt x="271523" y="3909074"/>
                    </a:moveTo>
                    <a:cubicBezTo>
                      <a:pt x="151124" y="3909074"/>
                      <a:pt x="234" y="3812910"/>
                      <a:pt x="234" y="3621366"/>
                    </a:cubicBezTo>
                    <a:lnTo>
                      <a:pt x="234" y="1476848"/>
                    </a:lnTo>
                    <a:cubicBezTo>
                      <a:pt x="234" y="1186795"/>
                      <a:pt x="-14621" y="983523"/>
                      <a:pt x="192560" y="776342"/>
                    </a:cubicBezTo>
                    <a:lnTo>
                      <a:pt x="968902" y="0"/>
                    </a:lnTo>
                    <a:lnTo>
                      <a:pt x="2345678" y="1379121"/>
                    </a:lnTo>
                    <a:lnTo>
                      <a:pt x="144869" y="3579930"/>
                    </a:lnTo>
                    <a:cubicBezTo>
                      <a:pt x="109688" y="3615111"/>
                      <a:pt x="88579" y="3662802"/>
                      <a:pt x="88579" y="3715965"/>
                    </a:cubicBezTo>
                    <a:cubicBezTo>
                      <a:pt x="88579" y="3805874"/>
                      <a:pt x="156597" y="3909074"/>
                      <a:pt x="271523" y="3909074"/>
                    </a:cubicBezTo>
                    <a:close/>
                  </a:path>
                </a:pathLst>
              </a:custGeom>
              <a:solidFill>
                <a:srgbClr val="7B939B"/>
              </a:solidFill>
              <a:ln w="7818" cap="flat">
                <a:noFill/>
                <a:prstDash val="solid"/>
                <a:miter/>
              </a:ln>
            </p:spPr>
            <p:txBody>
              <a:bodyPr rtlCol="0" anchor="ctr"/>
              <a:lstStyle/>
              <a:p>
                <a:endParaRPr lang="ru-RU" sz="1587" dirty="0"/>
              </a:p>
            </p:txBody>
          </p:sp>
        </p:grpSp>
      </p:grpSp>
      <p:grpSp>
        <p:nvGrpSpPr>
          <p:cNvPr id="60" name="Рисунок 37">
            <a:extLst>
              <a:ext uri="{FF2B5EF4-FFF2-40B4-BE49-F238E27FC236}">
                <a16:creationId xmlns:a16="http://schemas.microsoft.com/office/drawing/2014/main" id="{7002D36D-4514-4A0A-8726-2809B9366EB3}"/>
              </a:ext>
            </a:extLst>
          </p:cNvPr>
          <p:cNvGrpSpPr/>
          <p:nvPr userDrawn="1"/>
        </p:nvGrpSpPr>
        <p:grpSpPr>
          <a:xfrm>
            <a:off x="8137797" y="3577890"/>
            <a:ext cx="4053600" cy="3281919"/>
            <a:chOff x="9231313" y="4054942"/>
            <a:chExt cx="4598303" cy="3719507"/>
          </a:xfrm>
        </p:grpSpPr>
        <p:sp>
          <p:nvSpPr>
            <p:cNvPr id="61" name="Полилиния: фигура 60">
              <a:extLst>
                <a:ext uri="{FF2B5EF4-FFF2-40B4-BE49-F238E27FC236}">
                  <a16:creationId xmlns:a16="http://schemas.microsoft.com/office/drawing/2014/main" id="{2D5145C0-93E7-45D4-BE74-37346E8C1349}"/>
                </a:ext>
              </a:extLst>
            </p:cNvPr>
            <p:cNvSpPr/>
            <p:nvPr/>
          </p:nvSpPr>
          <p:spPr>
            <a:xfrm>
              <a:off x="9231313" y="4279082"/>
              <a:ext cx="4598303" cy="3495367"/>
            </a:xfrm>
            <a:custGeom>
              <a:avLst/>
              <a:gdLst>
                <a:gd name="connsiteX0" fmla="*/ 4598304 w 4598303"/>
                <a:gd name="connsiteY0" fmla="*/ 0 h 3495367"/>
                <a:gd name="connsiteX1" fmla="*/ 3593087 w 4598303"/>
                <a:gd name="connsiteY1" fmla="*/ 1534818 h 3495367"/>
                <a:gd name="connsiteX2" fmla="*/ 2779893 w 4598303"/>
                <a:gd name="connsiteY2" fmla="*/ 2152572 h 3495367"/>
                <a:gd name="connsiteX3" fmla="*/ 2290610 w 4598303"/>
                <a:gd name="connsiteY3" fmla="*/ 2391064 h 3495367"/>
                <a:gd name="connsiteX4" fmla="*/ 0 w 4598303"/>
                <a:gd name="connsiteY4" fmla="*/ 3495367 h 3495367"/>
                <a:gd name="connsiteX5" fmla="*/ 0 w 4598303"/>
                <a:gd name="connsiteY5" fmla="*/ 3495367 h 3495367"/>
                <a:gd name="connsiteX6" fmla="*/ 4598304 w 4598303"/>
                <a:gd name="connsiteY6" fmla="*/ 3495367 h 3495367"/>
                <a:gd name="connsiteX7" fmla="*/ 4598304 w 4598303"/>
                <a:gd name="connsiteY7" fmla="*/ 0 h 349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8303" h="3495367">
                  <a:moveTo>
                    <a:pt x="4598304" y="0"/>
                  </a:moveTo>
                  <a:cubicBezTo>
                    <a:pt x="4307194" y="720941"/>
                    <a:pt x="3920415" y="1215008"/>
                    <a:pt x="3593087" y="1534818"/>
                  </a:cubicBezTo>
                  <a:cubicBezTo>
                    <a:pt x="3333411" y="1789027"/>
                    <a:pt x="3119521" y="1949615"/>
                    <a:pt x="2779893" y="2152572"/>
                  </a:cubicBezTo>
                  <a:cubicBezTo>
                    <a:pt x="2635705" y="2239359"/>
                    <a:pt x="2449149" y="2314528"/>
                    <a:pt x="2290610" y="2391064"/>
                  </a:cubicBezTo>
                  <a:lnTo>
                    <a:pt x="0" y="3495367"/>
                  </a:lnTo>
                  <a:lnTo>
                    <a:pt x="0" y="3495367"/>
                  </a:lnTo>
                  <a:lnTo>
                    <a:pt x="4598304" y="3495367"/>
                  </a:lnTo>
                  <a:lnTo>
                    <a:pt x="4598304" y="0"/>
                  </a:lnTo>
                  <a:close/>
                </a:path>
              </a:pathLst>
            </a:custGeom>
            <a:solidFill>
              <a:schemeClr val="tx2"/>
            </a:solidFill>
            <a:ln w="6822" cap="flat">
              <a:noFill/>
              <a:prstDash val="solid"/>
              <a:miter/>
            </a:ln>
          </p:spPr>
          <p:txBody>
            <a:bodyPr rtlCol="0" anchor="ctr"/>
            <a:lstStyle/>
            <a:p>
              <a:endParaRPr lang="ru-RU" sz="1587" dirty="0"/>
            </a:p>
          </p:txBody>
        </p:sp>
        <p:grpSp>
          <p:nvGrpSpPr>
            <p:cNvPr id="62" name="Рисунок 37">
              <a:extLst>
                <a:ext uri="{FF2B5EF4-FFF2-40B4-BE49-F238E27FC236}">
                  <a16:creationId xmlns:a16="http://schemas.microsoft.com/office/drawing/2014/main" id="{7F270617-DDD3-4B44-9453-6359195FDFEA}"/>
                </a:ext>
              </a:extLst>
            </p:cNvPr>
            <p:cNvGrpSpPr/>
            <p:nvPr/>
          </p:nvGrpSpPr>
          <p:grpSpPr>
            <a:xfrm>
              <a:off x="11334683" y="6787000"/>
              <a:ext cx="2053485" cy="554201"/>
              <a:chOff x="11334683" y="6787000"/>
              <a:chExt cx="2053485" cy="554201"/>
            </a:xfrm>
            <a:solidFill>
              <a:srgbClr val="FFFFFF"/>
            </a:solidFill>
          </p:grpSpPr>
          <p:sp>
            <p:nvSpPr>
              <p:cNvPr id="64" name="Полилиния: фигура 63">
                <a:extLst>
                  <a:ext uri="{FF2B5EF4-FFF2-40B4-BE49-F238E27FC236}">
                    <a16:creationId xmlns:a16="http://schemas.microsoft.com/office/drawing/2014/main" id="{A36D86A3-6925-46B5-8C52-73519550DB1B}"/>
                  </a:ext>
                </a:extLst>
              </p:cNvPr>
              <p:cNvSpPr/>
              <p:nvPr/>
            </p:nvSpPr>
            <p:spPr>
              <a:xfrm>
                <a:off x="11781598" y="6787000"/>
                <a:ext cx="162638" cy="211840"/>
              </a:xfrm>
              <a:custGeom>
                <a:avLst/>
                <a:gdLst>
                  <a:gd name="connsiteX0" fmla="*/ 64919 w 162638"/>
                  <a:gd name="connsiteY0" fmla="*/ 30068 h 211840"/>
                  <a:gd name="connsiteX1" fmla="*/ 0 w 162638"/>
                  <a:gd name="connsiteY1" fmla="*/ 30068 h 211840"/>
                  <a:gd name="connsiteX2" fmla="*/ 0 w 162638"/>
                  <a:gd name="connsiteY2" fmla="*/ 0 h 211840"/>
                  <a:gd name="connsiteX3" fmla="*/ 162639 w 162638"/>
                  <a:gd name="connsiteY3" fmla="*/ 0 h 211840"/>
                  <a:gd name="connsiteX4" fmla="*/ 162639 w 162638"/>
                  <a:gd name="connsiteY4" fmla="*/ 30068 h 211840"/>
                  <a:gd name="connsiteX5" fmla="*/ 97720 w 162638"/>
                  <a:gd name="connsiteY5" fmla="*/ 30068 h 211840"/>
                  <a:gd name="connsiteX6" fmla="*/ 97720 w 162638"/>
                  <a:gd name="connsiteY6" fmla="*/ 211840 h 211840"/>
                  <a:gd name="connsiteX7" fmla="*/ 64919 w 162638"/>
                  <a:gd name="connsiteY7" fmla="*/ 211840 h 211840"/>
                  <a:gd name="connsiteX8" fmla="*/ 64919 w 162638"/>
                  <a:gd name="connsiteY8" fmla="*/ 30068 h 21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38" h="211840">
                    <a:moveTo>
                      <a:pt x="64919" y="30068"/>
                    </a:moveTo>
                    <a:lnTo>
                      <a:pt x="0" y="30068"/>
                    </a:lnTo>
                    <a:lnTo>
                      <a:pt x="0" y="0"/>
                    </a:lnTo>
                    <a:lnTo>
                      <a:pt x="162639" y="0"/>
                    </a:lnTo>
                    <a:lnTo>
                      <a:pt x="162639" y="30068"/>
                    </a:lnTo>
                    <a:lnTo>
                      <a:pt x="97720" y="30068"/>
                    </a:lnTo>
                    <a:lnTo>
                      <a:pt x="97720" y="211840"/>
                    </a:lnTo>
                    <a:lnTo>
                      <a:pt x="64919" y="211840"/>
                    </a:lnTo>
                    <a:lnTo>
                      <a:pt x="64919" y="30068"/>
                    </a:lnTo>
                    <a:close/>
                  </a:path>
                </a:pathLst>
              </a:custGeom>
              <a:solidFill>
                <a:srgbClr val="FFFFFF"/>
              </a:solidFill>
              <a:ln w="6822" cap="flat">
                <a:noFill/>
                <a:prstDash val="solid"/>
                <a:miter/>
              </a:ln>
            </p:spPr>
            <p:txBody>
              <a:bodyPr rtlCol="0" anchor="ctr"/>
              <a:lstStyle/>
              <a:p>
                <a:endParaRPr lang="ru-RU" sz="1587" dirty="0"/>
              </a:p>
            </p:txBody>
          </p:sp>
          <p:sp>
            <p:nvSpPr>
              <p:cNvPr id="65" name="Полилиния: фигура 64">
                <a:extLst>
                  <a:ext uri="{FF2B5EF4-FFF2-40B4-BE49-F238E27FC236}">
                    <a16:creationId xmlns:a16="http://schemas.microsoft.com/office/drawing/2014/main" id="{A7797D96-E37C-4849-835F-77749CCC3172}"/>
                  </a:ext>
                </a:extLst>
              </p:cNvPr>
              <p:cNvSpPr/>
              <p:nvPr/>
            </p:nvSpPr>
            <p:spPr>
              <a:xfrm>
                <a:off x="11933303" y="6844402"/>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3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8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3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3"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8" y="86103"/>
                    </a:lnTo>
                    <a:cubicBezTo>
                      <a:pt x="32118" y="112754"/>
                      <a:pt x="49885" y="131204"/>
                      <a:pt x="76536" y="131204"/>
                    </a:cubicBezTo>
                    <a:close/>
                    <a:moveTo>
                      <a:pt x="30751" y="61502"/>
                    </a:moveTo>
                    <a:lnTo>
                      <a:pt x="119587" y="61502"/>
                    </a:lnTo>
                    <a:cubicBezTo>
                      <a:pt x="116854" y="38268"/>
                      <a:pt x="99087" y="24601"/>
                      <a:pt x="75853" y="24601"/>
                    </a:cubicBezTo>
                    <a:cubicBezTo>
                      <a:pt x="53302" y="24601"/>
                      <a:pt x="36218"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66" name="Полилиния: фигура 65">
                <a:extLst>
                  <a:ext uri="{FF2B5EF4-FFF2-40B4-BE49-F238E27FC236}">
                    <a16:creationId xmlns:a16="http://schemas.microsoft.com/office/drawing/2014/main" id="{389A4579-1509-4BDE-AB75-B72A64FE422E}"/>
                  </a:ext>
                </a:extLst>
              </p:cNvPr>
              <p:cNvSpPr/>
              <p:nvPr/>
            </p:nvSpPr>
            <p:spPr>
              <a:xfrm>
                <a:off x="12089791" y="6848502"/>
                <a:ext cx="142821" cy="150338"/>
              </a:xfrm>
              <a:custGeom>
                <a:avLst/>
                <a:gdLst>
                  <a:gd name="connsiteX0" fmla="*/ 100453 w 142821"/>
                  <a:gd name="connsiteY0" fmla="*/ 0 h 150338"/>
                  <a:gd name="connsiteX1" fmla="*/ 135988 w 142821"/>
                  <a:gd name="connsiteY1" fmla="*/ 0 h 150338"/>
                  <a:gd name="connsiteX2" fmla="*/ 90203 w 142821"/>
                  <a:gd name="connsiteY2" fmla="*/ 69702 h 150338"/>
                  <a:gd name="connsiteX3" fmla="*/ 142822 w 142821"/>
                  <a:gd name="connsiteY3" fmla="*/ 150338 h 150338"/>
                  <a:gd name="connsiteX4" fmla="*/ 106604 w 142821"/>
                  <a:gd name="connsiteY4" fmla="*/ 150338 h 150338"/>
                  <a:gd name="connsiteX5" fmla="*/ 71752 w 142821"/>
                  <a:gd name="connsiteY5" fmla="*/ 94987 h 150338"/>
                  <a:gd name="connsiteX6" fmla="*/ 36218 w 142821"/>
                  <a:gd name="connsiteY6" fmla="*/ 150338 h 150338"/>
                  <a:gd name="connsiteX7" fmla="*/ 0 w 142821"/>
                  <a:gd name="connsiteY7" fmla="*/ 150338 h 150338"/>
                  <a:gd name="connsiteX8" fmla="*/ 54668 w 142821"/>
                  <a:gd name="connsiteY8" fmla="*/ 71069 h 150338"/>
                  <a:gd name="connsiteX9" fmla="*/ 7517 w 142821"/>
                  <a:gd name="connsiteY9" fmla="*/ 683 h 150338"/>
                  <a:gd name="connsiteX10" fmla="*/ 43052 w 142821"/>
                  <a:gd name="connsiteY10" fmla="*/ 683 h 150338"/>
                  <a:gd name="connsiteX11" fmla="*/ 71752 w 142821"/>
                  <a:gd name="connsiteY11" fmla="*/ 46468 h 150338"/>
                  <a:gd name="connsiteX12" fmla="*/ 100453 w 142821"/>
                  <a:gd name="connsiteY12"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21" h="150338">
                    <a:moveTo>
                      <a:pt x="100453" y="0"/>
                    </a:moveTo>
                    <a:lnTo>
                      <a:pt x="135988" y="0"/>
                    </a:lnTo>
                    <a:lnTo>
                      <a:pt x="90203" y="69702"/>
                    </a:lnTo>
                    <a:lnTo>
                      <a:pt x="142822" y="150338"/>
                    </a:lnTo>
                    <a:lnTo>
                      <a:pt x="106604" y="150338"/>
                    </a:lnTo>
                    <a:lnTo>
                      <a:pt x="71752" y="94987"/>
                    </a:lnTo>
                    <a:lnTo>
                      <a:pt x="36218" y="150338"/>
                    </a:lnTo>
                    <a:lnTo>
                      <a:pt x="0" y="150338"/>
                    </a:lnTo>
                    <a:lnTo>
                      <a:pt x="54668" y="71069"/>
                    </a:lnTo>
                    <a:lnTo>
                      <a:pt x="7517" y="683"/>
                    </a:lnTo>
                    <a:lnTo>
                      <a:pt x="43052" y="683"/>
                    </a:lnTo>
                    <a:lnTo>
                      <a:pt x="71752" y="46468"/>
                    </a:lnTo>
                    <a:lnTo>
                      <a:pt x="100453" y="0"/>
                    </a:lnTo>
                    <a:close/>
                  </a:path>
                </a:pathLst>
              </a:custGeom>
              <a:solidFill>
                <a:srgbClr val="FFFFFF"/>
              </a:solidFill>
              <a:ln w="6822" cap="flat">
                <a:noFill/>
                <a:prstDash val="solid"/>
                <a:miter/>
              </a:ln>
            </p:spPr>
            <p:txBody>
              <a:bodyPr rtlCol="0" anchor="ctr"/>
              <a:lstStyle/>
              <a:p>
                <a:endParaRPr lang="ru-RU" sz="1587" dirty="0"/>
              </a:p>
            </p:txBody>
          </p:sp>
          <p:sp>
            <p:nvSpPr>
              <p:cNvPr id="67" name="Полилиния: фигура 66">
                <a:extLst>
                  <a:ext uri="{FF2B5EF4-FFF2-40B4-BE49-F238E27FC236}">
                    <a16:creationId xmlns:a16="http://schemas.microsoft.com/office/drawing/2014/main" id="{852EE4C9-470B-408E-A945-D88F4D029FC5}"/>
                  </a:ext>
                </a:extLst>
              </p:cNvPr>
              <p:cNvSpPr/>
              <p:nvPr/>
            </p:nvSpPr>
            <p:spPr>
              <a:xfrm>
                <a:off x="12253797" y="6848502"/>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68" name="Полилиния: фигура 67">
                <a:extLst>
                  <a:ext uri="{FF2B5EF4-FFF2-40B4-BE49-F238E27FC236}">
                    <a16:creationId xmlns:a16="http://schemas.microsoft.com/office/drawing/2014/main" id="{491E5637-D758-486A-9777-64B73F6472D7}"/>
                  </a:ext>
                </a:extLst>
              </p:cNvPr>
              <p:cNvSpPr/>
              <p:nvPr/>
            </p:nvSpPr>
            <p:spPr>
              <a:xfrm>
                <a:off x="12416436" y="6844402"/>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1204"/>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1A1A6477-D165-44CB-AEE7-B5FA20CA9BE8}"/>
                  </a:ext>
                </a:extLst>
              </p:cNvPr>
              <p:cNvSpPr/>
              <p:nvPr/>
            </p:nvSpPr>
            <p:spPr>
              <a:xfrm>
                <a:off x="12591375" y="6849869"/>
                <a:ext cx="142137" cy="151705"/>
              </a:xfrm>
              <a:custGeom>
                <a:avLst/>
                <a:gdLst>
                  <a:gd name="connsiteX0" fmla="*/ 0 w 142137"/>
                  <a:gd name="connsiteY0" fmla="*/ 148972 h 151705"/>
                  <a:gd name="connsiteX1" fmla="*/ 0 w 142137"/>
                  <a:gd name="connsiteY1" fmla="*/ 121637 h 151705"/>
                  <a:gd name="connsiteX2" fmla="*/ 10250 w 142137"/>
                  <a:gd name="connsiteY2" fmla="*/ 123688 h 151705"/>
                  <a:gd name="connsiteX3" fmla="*/ 25967 w 142137"/>
                  <a:gd name="connsiteY3" fmla="*/ 88836 h 151705"/>
                  <a:gd name="connsiteX4" fmla="*/ 30751 w 142137"/>
                  <a:gd name="connsiteY4" fmla="*/ 0 h 151705"/>
                  <a:gd name="connsiteX5" fmla="*/ 142138 w 142137"/>
                  <a:gd name="connsiteY5" fmla="*/ 0 h 151705"/>
                  <a:gd name="connsiteX6" fmla="*/ 142138 w 142137"/>
                  <a:gd name="connsiteY6" fmla="*/ 149655 h 151705"/>
                  <a:gd name="connsiteX7" fmla="*/ 111387 w 142137"/>
                  <a:gd name="connsiteY7" fmla="*/ 149655 h 151705"/>
                  <a:gd name="connsiteX8" fmla="*/ 111387 w 142137"/>
                  <a:gd name="connsiteY8" fmla="*/ 28018 h 151705"/>
                  <a:gd name="connsiteX9" fmla="*/ 58085 w 142137"/>
                  <a:gd name="connsiteY9" fmla="*/ 28018 h 151705"/>
                  <a:gd name="connsiteX10" fmla="*/ 54668 w 142137"/>
                  <a:gd name="connsiteY10" fmla="*/ 90203 h 151705"/>
                  <a:gd name="connsiteX11" fmla="*/ 11617 w 142137"/>
                  <a:gd name="connsiteY11" fmla="*/ 151705 h 151705"/>
                  <a:gd name="connsiteX12" fmla="*/ 0 w 142137"/>
                  <a:gd name="connsiteY12" fmla="*/ 148972 h 15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37" h="151705">
                    <a:moveTo>
                      <a:pt x="0" y="148972"/>
                    </a:moveTo>
                    <a:lnTo>
                      <a:pt x="0" y="121637"/>
                    </a:lnTo>
                    <a:cubicBezTo>
                      <a:pt x="0" y="121637"/>
                      <a:pt x="4100" y="123688"/>
                      <a:pt x="10250" y="123688"/>
                    </a:cubicBezTo>
                    <a:cubicBezTo>
                      <a:pt x="19817" y="123688"/>
                      <a:pt x="24601" y="117537"/>
                      <a:pt x="25967" y="88836"/>
                    </a:cubicBezTo>
                    <a:lnTo>
                      <a:pt x="30751" y="0"/>
                    </a:lnTo>
                    <a:lnTo>
                      <a:pt x="142138" y="0"/>
                    </a:lnTo>
                    <a:lnTo>
                      <a:pt x="142138" y="149655"/>
                    </a:lnTo>
                    <a:lnTo>
                      <a:pt x="111387" y="149655"/>
                    </a:lnTo>
                    <a:lnTo>
                      <a:pt x="111387" y="28018"/>
                    </a:lnTo>
                    <a:lnTo>
                      <a:pt x="58085" y="28018"/>
                    </a:lnTo>
                    <a:lnTo>
                      <a:pt x="54668" y="90203"/>
                    </a:lnTo>
                    <a:cubicBezTo>
                      <a:pt x="52618" y="133254"/>
                      <a:pt x="41685" y="151705"/>
                      <a:pt x="11617" y="151705"/>
                    </a:cubicBezTo>
                    <a:cubicBezTo>
                      <a:pt x="6150" y="151022"/>
                      <a:pt x="0" y="148972"/>
                      <a:pt x="0" y="148972"/>
                    </a:cubicBezTo>
                    <a:close/>
                  </a:path>
                </a:pathLst>
              </a:custGeom>
              <a:solidFill>
                <a:srgbClr val="FFFFFF"/>
              </a:solidFill>
              <a:ln w="6822" cap="flat">
                <a:noFill/>
                <a:prstDash val="solid"/>
                <a:miter/>
              </a:ln>
            </p:spPr>
            <p:txBody>
              <a:bodyPr rtlCol="0" anchor="ctr"/>
              <a:lstStyle/>
              <a:p>
                <a:endParaRPr lang="ru-RU" sz="1587" dirty="0"/>
              </a:p>
            </p:txBody>
          </p:sp>
          <p:sp>
            <p:nvSpPr>
              <p:cNvPr id="70" name="Полилиния: фигура 69">
                <a:extLst>
                  <a:ext uri="{FF2B5EF4-FFF2-40B4-BE49-F238E27FC236}">
                    <a16:creationId xmlns:a16="http://schemas.microsoft.com/office/drawing/2014/main" id="{195EB659-399C-4BBC-9BE0-E0F539B5B390}"/>
                  </a:ext>
                </a:extLst>
              </p:cNvPr>
              <p:cNvSpPr/>
              <p:nvPr/>
            </p:nvSpPr>
            <p:spPr>
              <a:xfrm>
                <a:off x="12764264" y="6844402"/>
                <a:ext cx="160597" cy="158538"/>
              </a:xfrm>
              <a:custGeom>
                <a:avLst/>
                <a:gdLst>
                  <a:gd name="connsiteX0" fmla="*/ 80636 w 160597"/>
                  <a:gd name="connsiteY0" fmla="*/ 158539 h 158538"/>
                  <a:gd name="connsiteX1" fmla="*/ 0 w 160597"/>
                  <a:gd name="connsiteY1" fmla="*/ 79269 h 158538"/>
                  <a:gd name="connsiteX2" fmla="*/ 80636 w 160597"/>
                  <a:gd name="connsiteY2" fmla="*/ 0 h 158538"/>
                  <a:gd name="connsiteX3" fmla="*/ 160589 w 160597"/>
                  <a:gd name="connsiteY3" fmla="*/ 79269 h 158538"/>
                  <a:gd name="connsiteX4" fmla="*/ 80636 w 160597"/>
                  <a:gd name="connsiteY4" fmla="*/ 158539 h 158538"/>
                  <a:gd name="connsiteX5" fmla="*/ 129154 w 160597"/>
                  <a:gd name="connsiteY5" fmla="*/ 79269 h 158538"/>
                  <a:gd name="connsiteX6" fmla="*/ 80636 w 160597"/>
                  <a:gd name="connsiteY6" fmla="*/ 28701 h 158538"/>
                  <a:gd name="connsiteX7" fmla="*/ 32118 w 160597"/>
                  <a:gd name="connsiteY7" fmla="*/ 79269 h 158538"/>
                  <a:gd name="connsiteX8" fmla="*/ 80636 w 160597"/>
                  <a:gd name="connsiteY8" fmla="*/ 129838 h 158538"/>
                  <a:gd name="connsiteX9" fmla="*/ 129154 w 160597"/>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97" h="158538">
                    <a:moveTo>
                      <a:pt x="80636" y="158539"/>
                    </a:moveTo>
                    <a:cubicBezTo>
                      <a:pt x="39635" y="158539"/>
                      <a:pt x="0" y="131204"/>
                      <a:pt x="0" y="79269"/>
                    </a:cubicBezTo>
                    <a:cubicBezTo>
                      <a:pt x="0" y="27334"/>
                      <a:pt x="38951" y="0"/>
                      <a:pt x="80636" y="0"/>
                    </a:cubicBezTo>
                    <a:cubicBezTo>
                      <a:pt x="121637" y="0"/>
                      <a:pt x="160589" y="27334"/>
                      <a:pt x="160589" y="79269"/>
                    </a:cubicBezTo>
                    <a:cubicBezTo>
                      <a:pt x="161272" y="131204"/>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71" name="Полилиния: фигура 70">
                <a:extLst>
                  <a:ext uri="{FF2B5EF4-FFF2-40B4-BE49-F238E27FC236}">
                    <a16:creationId xmlns:a16="http://schemas.microsoft.com/office/drawing/2014/main" id="{80ABEFAA-9EF9-4CB2-8598-D2E9A280C97B}"/>
                  </a:ext>
                </a:extLst>
              </p:cNvPr>
              <p:cNvSpPr/>
              <p:nvPr/>
            </p:nvSpPr>
            <p:spPr>
              <a:xfrm>
                <a:off x="12956287" y="6848502"/>
                <a:ext cx="97720" cy="149655"/>
              </a:xfrm>
              <a:custGeom>
                <a:avLst/>
                <a:gdLst>
                  <a:gd name="connsiteX0" fmla="*/ 0 w 97720"/>
                  <a:gd name="connsiteY0" fmla="*/ 0 h 149655"/>
                  <a:gd name="connsiteX1" fmla="*/ 97720 w 97720"/>
                  <a:gd name="connsiteY1" fmla="*/ 0 h 149655"/>
                  <a:gd name="connsiteX2" fmla="*/ 97720 w 97720"/>
                  <a:gd name="connsiteY2" fmla="*/ 28018 h 149655"/>
                  <a:gd name="connsiteX3" fmla="*/ 31435 w 97720"/>
                  <a:gd name="connsiteY3" fmla="*/ 28018 h 149655"/>
                  <a:gd name="connsiteX4" fmla="*/ 31435 w 97720"/>
                  <a:gd name="connsiteY4" fmla="*/ 149655 h 149655"/>
                  <a:gd name="connsiteX5" fmla="*/ 0 w 97720"/>
                  <a:gd name="connsiteY5" fmla="*/ 149655 h 149655"/>
                  <a:gd name="connsiteX6" fmla="*/ 0 w 97720"/>
                  <a:gd name="connsiteY6"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20" h="149655">
                    <a:moveTo>
                      <a:pt x="0" y="0"/>
                    </a:moveTo>
                    <a:lnTo>
                      <a:pt x="97720" y="0"/>
                    </a:lnTo>
                    <a:lnTo>
                      <a:pt x="97720" y="28018"/>
                    </a:lnTo>
                    <a:lnTo>
                      <a:pt x="31435" y="28018"/>
                    </a:lnTo>
                    <a:lnTo>
                      <a:pt x="31435"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2" name="Полилиния: фигура 71">
                <a:extLst>
                  <a:ext uri="{FF2B5EF4-FFF2-40B4-BE49-F238E27FC236}">
                    <a16:creationId xmlns:a16="http://schemas.microsoft.com/office/drawing/2014/main" id="{D3064E76-FD22-4512-B5D8-67A5794A62CB}"/>
                  </a:ext>
                </a:extLst>
              </p:cNvPr>
              <p:cNvSpPr/>
              <p:nvPr/>
            </p:nvSpPr>
            <p:spPr>
              <a:xfrm>
                <a:off x="13079291" y="6848502"/>
                <a:ext cx="134621" cy="150338"/>
              </a:xfrm>
              <a:custGeom>
                <a:avLst/>
                <a:gdLst>
                  <a:gd name="connsiteX0" fmla="*/ 0 w 134621"/>
                  <a:gd name="connsiteY0" fmla="*/ 0 h 150338"/>
                  <a:gd name="connsiteX1" fmla="*/ 30068 w 134621"/>
                  <a:gd name="connsiteY1" fmla="*/ 0 h 150338"/>
                  <a:gd name="connsiteX2" fmla="*/ 30068 w 134621"/>
                  <a:gd name="connsiteY2" fmla="*/ 107970 h 150338"/>
                  <a:gd name="connsiteX3" fmla="*/ 101820 w 134621"/>
                  <a:gd name="connsiteY3" fmla="*/ 0 h 150338"/>
                  <a:gd name="connsiteX4" fmla="*/ 134621 w 134621"/>
                  <a:gd name="connsiteY4" fmla="*/ 0 h 150338"/>
                  <a:gd name="connsiteX5" fmla="*/ 134621 w 134621"/>
                  <a:gd name="connsiteY5" fmla="*/ 149655 h 150338"/>
                  <a:gd name="connsiteX6" fmla="*/ 104554 w 134621"/>
                  <a:gd name="connsiteY6" fmla="*/ 149655 h 150338"/>
                  <a:gd name="connsiteX7" fmla="*/ 104554 w 134621"/>
                  <a:gd name="connsiteY7" fmla="*/ 41685 h 150338"/>
                  <a:gd name="connsiteX8" fmla="*/ 33485 w 134621"/>
                  <a:gd name="connsiteY8" fmla="*/ 150338 h 150338"/>
                  <a:gd name="connsiteX9" fmla="*/ 684 w 134621"/>
                  <a:gd name="connsiteY9" fmla="*/ 150338 h 150338"/>
                  <a:gd name="connsiteX10" fmla="*/ 684 w 134621"/>
                  <a:gd name="connsiteY10"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50338">
                    <a:moveTo>
                      <a:pt x="0" y="0"/>
                    </a:moveTo>
                    <a:lnTo>
                      <a:pt x="30068" y="0"/>
                    </a:lnTo>
                    <a:lnTo>
                      <a:pt x="30068" y="107970"/>
                    </a:lnTo>
                    <a:lnTo>
                      <a:pt x="101820" y="0"/>
                    </a:lnTo>
                    <a:lnTo>
                      <a:pt x="134621" y="0"/>
                    </a:lnTo>
                    <a:lnTo>
                      <a:pt x="134621" y="149655"/>
                    </a:lnTo>
                    <a:lnTo>
                      <a:pt x="104554" y="149655"/>
                    </a:lnTo>
                    <a:lnTo>
                      <a:pt x="104554" y="41685"/>
                    </a:lnTo>
                    <a:lnTo>
                      <a:pt x="33485" y="150338"/>
                    </a:lnTo>
                    <a:lnTo>
                      <a:pt x="684" y="150338"/>
                    </a:lnTo>
                    <a:lnTo>
                      <a:pt x="684" y="0"/>
                    </a:lnTo>
                    <a:close/>
                  </a:path>
                </a:pathLst>
              </a:custGeom>
              <a:solidFill>
                <a:srgbClr val="FFFFFF"/>
              </a:solidFill>
              <a:ln w="6822" cap="flat">
                <a:noFill/>
                <a:prstDash val="solid"/>
                <a:miter/>
              </a:ln>
            </p:spPr>
            <p:txBody>
              <a:bodyPr rtlCol="0" anchor="ctr"/>
              <a:lstStyle/>
              <a:p>
                <a:endParaRPr lang="ru-RU" sz="1587" dirty="0"/>
              </a:p>
            </p:txBody>
          </p:sp>
          <p:sp>
            <p:nvSpPr>
              <p:cNvPr id="73" name="Полилиния: фигура 72">
                <a:extLst>
                  <a:ext uri="{FF2B5EF4-FFF2-40B4-BE49-F238E27FC236}">
                    <a16:creationId xmlns:a16="http://schemas.microsoft.com/office/drawing/2014/main" id="{D4C459EC-6A9B-4B0C-82EB-5799449FEE7A}"/>
                  </a:ext>
                </a:extLst>
              </p:cNvPr>
              <p:cNvSpPr/>
              <p:nvPr/>
            </p:nvSpPr>
            <p:spPr>
              <a:xfrm>
                <a:off x="13253547" y="6848502"/>
                <a:ext cx="134621" cy="149655"/>
              </a:xfrm>
              <a:custGeom>
                <a:avLst/>
                <a:gdLst>
                  <a:gd name="connsiteX0" fmla="*/ 0 w 134621"/>
                  <a:gd name="connsiteY0" fmla="*/ 0 h 149655"/>
                  <a:gd name="connsiteX1" fmla="*/ 30068 w 134621"/>
                  <a:gd name="connsiteY1" fmla="*/ 0 h 149655"/>
                  <a:gd name="connsiteX2" fmla="*/ 30068 w 134621"/>
                  <a:gd name="connsiteY2" fmla="*/ 107970 h 149655"/>
                  <a:gd name="connsiteX3" fmla="*/ 101820 w 134621"/>
                  <a:gd name="connsiteY3" fmla="*/ 0 h 149655"/>
                  <a:gd name="connsiteX4" fmla="*/ 134621 w 134621"/>
                  <a:gd name="connsiteY4" fmla="*/ 0 h 149655"/>
                  <a:gd name="connsiteX5" fmla="*/ 134621 w 134621"/>
                  <a:gd name="connsiteY5" fmla="*/ 149655 h 149655"/>
                  <a:gd name="connsiteX6" fmla="*/ 104554 w 134621"/>
                  <a:gd name="connsiteY6" fmla="*/ 149655 h 149655"/>
                  <a:gd name="connsiteX7" fmla="*/ 104554 w 134621"/>
                  <a:gd name="connsiteY7" fmla="*/ 41685 h 149655"/>
                  <a:gd name="connsiteX8" fmla="*/ 32801 w 134621"/>
                  <a:gd name="connsiteY8" fmla="*/ 149655 h 149655"/>
                  <a:gd name="connsiteX9" fmla="*/ 0 w 134621"/>
                  <a:gd name="connsiteY9" fmla="*/ 149655 h 149655"/>
                  <a:gd name="connsiteX10" fmla="*/ 0 w 134621"/>
                  <a:gd name="connsiteY10"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49655">
                    <a:moveTo>
                      <a:pt x="0" y="0"/>
                    </a:moveTo>
                    <a:lnTo>
                      <a:pt x="30068" y="0"/>
                    </a:lnTo>
                    <a:lnTo>
                      <a:pt x="30068" y="107970"/>
                    </a:lnTo>
                    <a:lnTo>
                      <a:pt x="101820" y="0"/>
                    </a:lnTo>
                    <a:lnTo>
                      <a:pt x="134621" y="0"/>
                    </a:lnTo>
                    <a:lnTo>
                      <a:pt x="134621" y="149655"/>
                    </a:lnTo>
                    <a:lnTo>
                      <a:pt x="104554" y="149655"/>
                    </a:lnTo>
                    <a:lnTo>
                      <a:pt x="104554" y="41685"/>
                    </a:lnTo>
                    <a:lnTo>
                      <a:pt x="32801"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4" name="Полилиния: фигура 73">
                <a:extLst>
                  <a:ext uri="{FF2B5EF4-FFF2-40B4-BE49-F238E27FC236}">
                    <a16:creationId xmlns:a16="http://schemas.microsoft.com/office/drawing/2014/main" id="{E2C596DF-205D-4D1C-9346-57DFB161275D}"/>
                  </a:ext>
                </a:extLst>
              </p:cNvPr>
              <p:cNvSpPr/>
              <p:nvPr/>
            </p:nvSpPr>
            <p:spPr>
              <a:xfrm>
                <a:off x="11334683" y="7186763"/>
                <a:ext cx="123004" cy="149655"/>
              </a:xfrm>
              <a:custGeom>
                <a:avLst/>
                <a:gdLst>
                  <a:gd name="connsiteX0" fmla="*/ 0 w 123004"/>
                  <a:gd name="connsiteY0" fmla="*/ 0 h 149655"/>
                  <a:gd name="connsiteX1" fmla="*/ 67652 w 123004"/>
                  <a:gd name="connsiteY1" fmla="*/ 0 h 149655"/>
                  <a:gd name="connsiteX2" fmla="*/ 117537 w 123004"/>
                  <a:gd name="connsiteY2" fmla="*/ 36901 h 149655"/>
                  <a:gd name="connsiteX3" fmla="*/ 94987 w 123004"/>
                  <a:gd name="connsiteY3" fmla="*/ 70386 h 149655"/>
                  <a:gd name="connsiteX4" fmla="*/ 123004 w 123004"/>
                  <a:gd name="connsiteY4" fmla="*/ 106604 h 149655"/>
                  <a:gd name="connsiteX5" fmla="*/ 69702 w 123004"/>
                  <a:gd name="connsiteY5" fmla="*/ 149655 h 149655"/>
                  <a:gd name="connsiteX6" fmla="*/ 0 w 123004"/>
                  <a:gd name="connsiteY6" fmla="*/ 149655 h 149655"/>
                  <a:gd name="connsiteX7" fmla="*/ 0 w 123004"/>
                  <a:gd name="connsiteY7" fmla="*/ 0 h 149655"/>
                  <a:gd name="connsiteX8" fmla="*/ 66286 w 123004"/>
                  <a:gd name="connsiteY8" fmla="*/ 60135 h 149655"/>
                  <a:gd name="connsiteX9" fmla="*/ 88836 w 123004"/>
                  <a:gd name="connsiteY9" fmla="*/ 42368 h 149655"/>
                  <a:gd name="connsiteX10" fmla="*/ 66969 w 123004"/>
                  <a:gd name="connsiteY10" fmla="*/ 24601 h 149655"/>
                  <a:gd name="connsiteX11" fmla="*/ 31434 w 123004"/>
                  <a:gd name="connsiteY11" fmla="*/ 24601 h 149655"/>
                  <a:gd name="connsiteX12" fmla="*/ 31434 w 123004"/>
                  <a:gd name="connsiteY12" fmla="*/ 60135 h 149655"/>
                  <a:gd name="connsiteX13" fmla="*/ 66286 w 123004"/>
                  <a:gd name="connsiteY13" fmla="*/ 60135 h 149655"/>
                  <a:gd name="connsiteX14" fmla="*/ 68336 w 123004"/>
                  <a:gd name="connsiteY14" fmla="*/ 125738 h 149655"/>
                  <a:gd name="connsiteX15" fmla="*/ 92253 w 123004"/>
                  <a:gd name="connsiteY15" fmla="*/ 105237 h 149655"/>
                  <a:gd name="connsiteX16" fmla="*/ 68336 w 123004"/>
                  <a:gd name="connsiteY16" fmla="*/ 84736 h 149655"/>
                  <a:gd name="connsiteX17" fmla="*/ 31434 w 123004"/>
                  <a:gd name="connsiteY17" fmla="*/ 84736 h 149655"/>
                  <a:gd name="connsiteX18" fmla="*/ 31434 w 123004"/>
                  <a:gd name="connsiteY18" fmla="*/ 126421 h 149655"/>
                  <a:gd name="connsiteX19" fmla="*/ 68336 w 123004"/>
                  <a:gd name="connsiteY19" fmla="*/ 126421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04" h="149655">
                    <a:moveTo>
                      <a:pt x="0" y="0"/>
                    </a:moveTo>
                    <a:lnTo>
                      <a:pt x="67652" y="0"/>
                    </a:lnTo>
                    <a:cubicBezTo>
                      <a:pt x="99770" y="0"/>
                      <a:pt x="117537" y="16401"/>
                      <a:pt x="117537" y="36901"/>
                    </a:cubicBezTo>
                    <a:cubicBezTo>
                      <a:pt x="117537" y="53985"/>
                      <a:pt x="108654" y="64236"/>
                      <a:pt x="94987" y="70386"/>
                    </a:cubicBezTo>
                    <a:cubicBezTo>
                      <a:pt x="110704" y="75169"/>
                      <a:pt x="123004" y="86786"/>
                      <a:pt x="123004" y="106604"/>
                    </a:cubicBezTo>
                    <a:cubicBezTo>
                      <a:pt x="123004" y="131888"/>
                      <a:pt x="101137" y="149655"/>
                      <a:pt x="69702" y="149655"/>
                    </a:cubicBezTo>
                    <a:lnTo>
                      <a:pt x="0" y="149655"/>
                    </a:lnTo>
                    <a:lnTo>
                      <a:pt x="0" y="0"/>
                    </a:lnTo>
                    <a:close/>
                    <a:moveTo>
                      <a:pt x="66286" y="60135"/>
                    </a:moveTo>
                    <a:cubicBezTo>
                      <a:pt x="79953" y="60135"/>
                      <a:pt x="88836" y="54669"/>
                      <a:pt x="88836" y="42368"/>
                    </a:cubicBezTo>
                    <a:cubicBezTo>
                      <a:pt x="88836" y="30068"/>
                      <a:pt x="80636" y="24601"/>
                      <a:pt x="66969" y="24601"/>
                    </a:cubicBezTo>
                    <a:lnTo>
                      <a:pt x="31434" y="24601"/>
                    </a:lnTo>
                    <a:lnTo>
                      <a:pt x="31434" y="60135"/>
                    </a:lnTo>
                    <a:lnTo>
                      <a:pt x="66286" y="60135"/>
                    </a:lnTo>
                    <a:close/>
                    <a:moveTo>
                      <a:pt x="68336" y="125738"/>
                    </a:moveTo>
                    <a:cubicBezTo>
                      <a:pt x="84053" y="125738"/>
                      <a:pt x="92253" y="117537"/>
                      <a:pt x="92253" y="105237"/>
                    </a:cubicBezTo>
                    <a:cubicBezTo>
                      <a:pt x="92253" y="92936"/>
                      <a:pt x="84053" y="84736"/>
                      <a:pt x="68336" y="84736"/>
                    </a:cubicBezTo>
                    <a:lnTo>
                      <a:pt x="31434" y="84736"/>
                    </a:lnTo>
                    <a:lnTo>
                      <a:pt x="31434" y="126421"/>
                    </a:lnTo>
                    <a:lnTo>
                      <a:pt x="68336" y="126421"/>
                    </a:lnTo>
                    <a:close/>
                  </a:path>
                </a:pathLst>
              </a:custGeom>
              <a:solidFill>
                <a:srgbClr val="FFFFFF"/>
              </a:solidFill>
              <a:ln w="6822"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28B79FA1-BDE1-456F-9BDF-DA06B66B7835}"/>
                  </a:ext>
                </a:extLst>
              </p:cNvPr>
              <p:cNvSpPr/>
              <p:nvPr/>
            </p:nvSpPr>
            <p:spPr>
              <a:xfrm>
                <a:off x="1148092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8B55E19F-F13D-43DF-B4C5-1EF31BB3365F}"/>
                  </a:ext>
                </a:extLst>
              </p:cNvPr>
              <p:cNvSpPr/>
              <p:nvPr/>
            </p:nvSpPr>
            <p:spPr>
              <a:xfrm>
                <a:off x="11664744" y="7183346"/>
                <a:ext cx="121637" cy="157855"/>
              </a:xfrm>
              <a:custGeom>
                <a:avLst/>
                <a:gdLst>
                  <a:gd name="connsiteX0" fmla="*/ 121637 w 121637"/>
                  <a:gd name="connsiteY0" fmla="*/ 110020 h 157855"/>
                  <a:gd name="connsiteX1" fmla="*/ 58769 w 121637"/>
                  <a:gd name="connsiteY1" fmla="*/ 157855 h 157855"/>
                  <a:gd name="connsiteX2" fmla="*/ 0 w 121637"/>
                  <a:gd name="connsiteY2" fmla="*/ 110704 h 157855"/>
                  <a:gd name="connsiteX3" fmla="*/ 3417 w 121637"/>
                  <a:gd name="connsiteY3" fmla="*/ 93620 h 157855"/>
                  <a:gd name="connsiteX4" fmla="*/ 29384 w 121637"/>
                  <a:gd name="connsiteY4" fmla="*/ 102503 h 157855"/>
                  <a:gd name="connsiteX5" fmla="*/ 28018 w 121637"/>
                  <a:gd name="connsiteY5" fmla="*/ 110020 h 157855"/>
                  <a:gd name="connsiteX6" fmla="*/ 58769 w 121637"/>
                  <a:gd name="connsiteY6" fmla="*/ 132571 h 157855"/>
                  <a:gd name="connsiteX7" fmla="*/ 91570 w 121637"/>
                  <a:gd name="connsiteY7" fmla="*/ 108654 h 157855"/>
                  <a:gd name="connsiteX8" fmla="*/ 60819 w 121637"/>
                  <a:gd name="connsiteY8" fmla="*/ 87470 h 157855"/>
                  <a:gd name="connsiteX9" fmla="*/ 47152 w 121637"/>
                  <a:gd name="connsiteY9" fmla="*/ 87470 h 157855"/>
                  <a:gd name="connsiteX10" fmla="*/ 47152 w 121637"/>
                  <a:gd name="connsiteY10" fmla="*/ 62869 h 157855"/>
                  <a:gd name="connsiteX11" fmla="*/ 59452 w 121637"/>
                  <a:gd name="connsiteY11" fmla="*/ 62869 h 157855"/>
                  <a:gd name="connsiteX12" fmla="*/ 86103 w 121637"/>
                  <a:gd name="connsiteY12" fmla="*/ 42368 h 157855"/>
                  <a:gd name="connsiteX13" fmla="*/ 60135 w 121637"/>
                  <a:gd name="connsiteY13" fmla="*/ 23917 h 157855"/>
                  <a:gd name="connsiteX14" fmla="*/ 31434 w 121637"/>
                  <a:gd name="connsiteY14" fmla="*/ 40318 h 157855"/>
                  <a:gd name="connsiteX15" fmla="*/ 32118 w 121637"/>
                  <a:gd name="connsiteY15" fmla="*/ 46468 h 157855"/>
                  <a:gd name="connsiteX16" fmla="*/ 6150 w 121637"/>
                  <a:gd name="connsiteY16" fmla="*/ 56035 h 157855"/>
                  <a:gd name="connsiteX17" fmla="*/ 3417 w 121637"/>
                  <a:gd name="connsiteY17" fmla="*/ 41685 h 157855"/>
                  <a:gd name="connsiteX18" fmla="*/ 60819 w 121637"/>
                  <a:gd name="connsiteY18" fmla="*/ 0 h 157855"/>
                  <a:gd name="connsiteX19" fmla="*/ 115487 w 121637"/>
                  <a:gd name="connsiteY19" fmla="*/ 40318 h 157855"/>
                  <a:gd name="connsiteX20" fmla="*/ 90203 w 121637"/>
                  <a:gd name="connsiteY20" fmla="*/ 75169 h 157855"/>
                  <a:gd name="connsiteX21" fmla="*/ 121637 w 121637"/>
                  <a:gd name="connsiteY21" fmla="*/ 110020 h 15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37" h="157855">
                    <a:moveTo>
                      <a:pt x="121637" y="110020"/>
                    </a:moveTo>
                    <a:cubicBezTo>
                      <a:pt x="121637" y="136671"/>
                      <a:pt x="99770" y="157855"/>
                      <a:pt x="58769" y="157855"/>
                    </a:cubicBezTo>
                    <a:cubicBezTo>
                      <a:pt x="21184" y="157855"/>
                      <a:pt x="0" y="138038"/>
                      <a:pt x="0" y="110704"/>
                    </a:cubicBezTo>
                    <a:cubicBezTo>
                      <a:pt x="0" y="103870"/>
                      <a:pt x="2050" y="97037"/>
                      <a:pt x="3417" y="93620"/>
                    </a:cubicBezTo>
                    <a:lnTo>
                      <a:pt x="29384" y="102503"/>
                    </a:lnTo>
                    <a:cubicBezTo>
                      <a:pt x="28701" y="104554"/>
                      <a:pt x="28018" y="107287"/>
                      <a:pt x="28018" y="110020"/>
                    </a:cubicBezTo>
                    <a:cubicBezTo>
                      <a:pt x="28018" y="125054"/>
                      <a:pt x="43051" y="132571"/>
                      <a:pt x="58769" y="132571"/>
                    </a:cubicBezTo>
                    <a:cubicBezTo>
                      <a:pt x="79953" y="132571"/>
                      <a:pt x="91570" y="122321"/>
                      <a:pt x="91570" y="108654"/>
                    </a:cubicBezTo>
                    <a:cubicBezTo>
                      <a:pt x="91570" y="95670"/>
                      <a:pt x="80636" y="87470"/>
                      <a:pt x="60819" y="87470"/>
                    </a:cubicBezTo>
                    <a:lnTo>
                      <a:pt x="47152" y="87470"/>
                    </a:lnTo>
                    <a:lnTo>
                      <a:pt x="47152" y="62869"/>
                    </a:lnTo>
                    <a:lnTo>
                      <a:pt x="59452" y="62869"/>
                    </a:lnTo>
                    <a:cubicBezTo>
                      <a:pt x="77903" y="62869"/>
                      <a:pt x="86103" y="53985"/>
                      <a:pt x="86103" y="42368"/>
                    </a:cubicBezTo>
                    <a:cubicBezTo>
                      <a:pt x="86103" y="31434"/>
                      <a:pt x="77219" y="23917"/>
                      <a:pt x="60135" y="23917"/>
                    </a:cubicBezTo>
                    <a:cubicBezTo>
                      <a:pt x="42368" y="23917"/>
                      <a:pt x="31434" y="31434"/>
                      <a:pt x="31434" y="40318"/>
                    </a:cubicBezTo>
                    <a:cubicBezTo>
                      <a:pt x="31434" y="43735"/>
                      <a:pt x="32118" y="45785"/>
                      <a:pt x="32118" y="46468"/>
                    </a:cubicBezTo>
                    <a:lnTo>
                      <a:pt x="6150" y="56035"/>
                    </a:lnTo>
                    <a:cubicBezTo>
                      <a:pt x="4783" y="53302"/>
                      <a:pt x="3417" y="48518"/>
                      <a:pt x="3417" y="41685"/>
                    </a:cubicBezTo>
                    <a:cubicBezTo>
                      <a:pt x="3417" y="18451"/>
                      <a:pt x="24601" y="0"/>
                      <a:pt x="60819" y="0"/>
                    </a:cubicBezTo>
                    <a:cubicBezTo>
                      <a:pt x="98403" y="0"/>
                      <a:pt x="115487" y="17767"/>
                      <a:pt x="115487" y="40318"/>
                    </a:cubicBezTo>
                    <a:cubicBezTo>
                      <a:pt x="115487" y="57402"/>
                      <a:pt x="105920" y="69019"/>
                      <a:pt x="90203" y="75169"/>
                    </a:cubicBezTo>
                    <a:cubicBezTo>
                      <a:pt x="108654" y="79269"/>
                      <a:pt x="121637" y="90887"/>
                      <a:pt x="121637" y="110020"/>
                    </a:cubicBezTo>
                    <a:close/>
                  </a:path>
                </a:pathLst>
              </a:custGeom>
              <a:solidFill>
                <a:srgbClr val="FFFFFF"/>
              </a:solidFill>
              <a:ln w="6822"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0AB29EFE-E34C-42B7-8314-6B9CBE3BF397}"/>
                  </a:ext>
                </a:extLst>
              </p:cNvPr>
              <p:cNvSpPr/>
              <p:nvPr/>
            </p:nvSpPr>
            <p:spPr>
              <a:xfrm>
                <a:off x="11819182" y="7186763"/>
                <a:ext cx="173572" cy="149655"/>
              </a:xfrm>
              <a:custGeom>
                <a:avLst/>
                <a:gdLst>
                  <a:gd name="connsiteX0" fmla="*/ 0 w 173572"/>
                  <a:gd name="connsiteY0" fmla="*/ 0 h 149655"/>
                  <a:gd name="connsiteX1" fmla="*/ 42368 w 173572"/>
                  <a:gd name="connsiteY1" fmla="*/ 0 h 149655"/>
                  <a:gd name="connsiteX2" fmla="*/ 86786 w 173572"/>
                  <a:gd name="connsiteY2" fmla="*/ 114121 h 149655"/>
                  <a:gd name="connsiteX3" fmla="*/ 131204 w 173572"/>
                  <a:gd name="connsiteY3" fmla="*/ 0 h 149655"/>
                  <a:gd name="connsiteX4" fmla="*/ 173572 w 173572"/>
                  <a:gd name="connsiteY4" fmla="*/ 0 h 149655"/>
                  <a:gd name="connsiteX5" fmla="*/ 173572 w 173572"/>
                  <a:gd name="connsiteY5" fmla="*/ 149655 h 149655"/>
                  <a:gd name="connsiteX6" fmla="*/ 143505 w 173572"/>
                  <a:gd name="connsiteY6" fmla="*/ 149655 h 149655"/>
                  <a:gd name="connsiteX7" fmla="*/ 143505 w 173572"/>
                  <a:gd name="connsiteY7" fmla="*/ 43735 h 149655"/>
                  <a:gd name="connsiteX8" fmla="*/ 100453 w 173572"/>
                  <a:gd name="connsiteY8" fmla="*/ 149655 h 149655"/>
                  <a:gd name="connsiteX9" fmla="*/ 74486 w 173572"/>
                  <a:gd name="connsiteY9" fmla="*/ 149655 h 149655"/>
                  <a:gd name="connsiteX10" fmla="*/ 30751 w 173572"/>
                  <a:gd name="connsiteY10" fmla="*/ 43052 h 149655"/>
                  <a:gd name="connsiteX11" fmla="*/ 30751 w 173572"/>
                  <a:gd name="connsiteY11" fmla="*/ 149655 h 149655"/>
                  <a:gd name="connsiteX12" fmla="*/ 683 w 173572"/>
                  <a:gd name="connsiteY12" fmla="*/ 149655 h 149655"/>
                  <a:gd name="connsiteX13" fmla="*/ 683 w 173572"/>
                  <a:gd name="connsiteY13"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572" h="149655">
                    <a:moveTo>
                      <a:pt x="0" y="0"/>
                    </a:moveTo>
                    <a:lnTo>
                      <a:pt x="42368" y="0"/>
                    </a:lnTo>
                    <a:lnTo>
                      <a:pt x="86786" y="114121"/>
                    </a:lnTo>
                    <a:lnTo>
                      <a:pt x="131204" y="0"/>
                    </a:lnTo>
                    <a:lnTo>
                      <a:pt x="173572" y="0"/>
                    </a:lnTo>
                    <a:lnTo>
                      <a:pt x="173572" y="149655"/>
                    </a:lnTo>
                    <a:lnTo>
                      <a:pt x="143505" y="149655"/>
                    </a:lnTo>
                    <a:lnTo>
                      <a:pt x="143505" y="43735"/>
                    </a:lnTo>
                    <a:lnTo>
                      <a:pt x="100453" y="149655"/>
                    </a:lnTo>
                    <a:lnTo>
                      <a:pt x="74486" y="149655"/>
                    </a:lnTo>
                    <a:lnTo>
                      <a:pt x="30751" y="43052"/>
                    </a:lnTo>
                    <a:lnTo>
                      <a:pt x="30751" y="149655"/>
                    </a:lnTo>
                    <a:lnTo>
                      <a:pt x="683" y="149655"/>
                    </a:lnTo>
                    <a:lnTo>
                      <a:pt x="683" y="0"/>
                    </a:lnTo>
                    <a:close/>
                  </a:path>
                </a:pathLst>
              </a:custGeom>
              <a:solidFill>
                <a:srgbClr val="FFFFFF"/>
              </a:solidFill>
              <a:ln w="6822"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2002871F-D420-4715-9F40-2395C99F7A0E}"/>
                  </a:ext>
                </a:extLst>
              </p:cNvPr>
              <p:cNvSpPr/>
              <p:nvPr/>
            </p:nvSpPr>
            <p:spPr>
              <a:xfrm>
                <a:off x="12022822"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79" name="Полилиния: фигура 78">
                <a:extLst>
                  <a:ext uri="{FF2B5EF4-FFF2-40B4-BE49-F238E27FC236}">
                    <a16:creationId xmlns:a16="http://schemas.microsoft.com/office/drawing/2014/main" id="{7CEEBC8F-BE85-4024-81F7-4DD7176F19E3}"/>
                  </a:ext>
                </a:extLst>
              </p:cNvPr>
              <p:cNvSpPr/>
              <p:nvPr/>
            </p:nvSpPr>
            <p:spPr>
              <a:xfrm>
                <a:off x="12190245" y="7186763"/>
                <a:ext cx="210473" cy="149655"/>
              </a:xfrm>
              <a:custGeom>
                <a:avLst/>
                <a:gdLst>
                  <a:gd name="connsiteX0" fmla="*/ 171522 w 210473"/>
                  <a:gd name="connsiteY0" fmla="*/ 149655 h 149655"/>
                  <a:gd name="connsiteX1" fmla="*/ 120271 w 210473"/>
                  <a:gd name="connsiteY1" fmla="*/ 84053 h 149655"/>
                  <a:gd name="connsiteX2" fmla="*/ 120271 w 210473"/>
                  <a:gd name="connsiteY2" fmla="*/ 149655 h 149655"/>
                  <a:gd name="connsiteX3" fmla="*/ 88836 w 210473"/>
                  <a:gd name="connsiteY3" fmla="*/ 149655 h 149655"/>
                  <a:gd name="connsiteX4" fmla="*/ 88836 w 210473"/>
                  <a:gd name="connsiteY4" fmla="*/ 83370 h 149655"/>
                  <a:gd name="connsiteX5" fmla="*/ 37585 w 210473"/>
                  <a:gd name="connsiteY5" fmla="*/ 149655 h 149655"/>
                  <a:gd name="connsiteX6" fmla="*/ 0 w 210473"/>
                  <a:gd name="connsiteY6" fmla="*/ 149655 h 149655"/>
                  <a:gd name="connsiteX7" fmla="*/ 62869 w 210473"/>
                  <a:gd name="connsiteY7" fmla="*/ 70386 h 149655"/>
                  <a:gd name="connsiteX8" fmla="*/ 1367 w 210473"/>
                  <a:gd name="connsiteY8" fmla="*/ 0 h 149655"/>
                  <a:gd name="connsiteX9" fmla="*/ 41685 w 210473"/>
                  <a:gd name="connsiteY9" fmla="*/ 0 h 149655"/>
                  <a:gd name="connsiteX10" fmla="*/ 89520 w 210473"/>
                  <a:gd name="connsiteY10" fmla="*/ 58085 h 149655"/>
                  <a:gd name="connsiteX11" fmla="*/ 89520 w 210473"/>
                  <a:gd name="connsiteY11" fmla="*/ 0 h 149655"/>
                  <a:gd name="connsiteX12" fmla="*/ 120954 w 210473"/>
                  <a:gd name="connsiteY12" fmla="*/ 0 h 149655"/>
                  <a:gd name="connsiteX13" fmla="*/ 120954 w 210473"/>
                  <a:gd name="connsiteY13" fmla="*/ 58085 h 149655"/>
                  <a:gd name="connsiteX14" fmla="*/ 168789 w 210473"/>
                  <a:gd name="connsiteY14" fmla="*/ 0 h 149655"/>
                  <a:gd name="connsiteX15" fmla="*/ 209107 w 210473"/>
                  <a:gd name="connsiteY15" fmla="*/ 0 h 149655"/>
                  <a:gd name="connsiteX16" fmla="*/ 147605 w 210473"/>
                  <a:gd name="connsiteY16" fmla="*/ 70386 h 149655"/>
                  <a:gd name="connsiteX17" fmla="*/ 210474 w 210473"/>
                  <a:gd name="connsiteY17" fmla="*/ 149655 h 149655"/>
                  <a:gd name="connsiteX18" fmla="*/ 171522 w 210473"/>
                  <a:gd name="connsiteY18" fmla="*/ 149655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473" h="149655">
                    <a:moveTo>
                      <a:pt x="171522" y="149655"/>
                    </a:moveTo>
                    <a:lnTo>
                      <a:pt x="120271" y="84053"/>
                    </a:lnTo>
                    <a:lnTo>
                      <a:pt x="120271" y="149655"/>
                    </a:lnTo>
                    <a:lnTo>
                      <a:pt x="88836" y="149655"/>
                    </a:lnTo>
                    <a:lnTo>
                      <a:pt x="88836" y="83370"/>
                    </a:lnTo>
                    <a:lnTo>
                      <a:pt x="37585" y="149655"/>
                    </a:lnTo>
                    <a:lnTo>
                      <a:pt x="0" y="149655"/>
                    </a:lnTo>
                    <a:lnTo>
                      <a:pt x="62869" y="70386"/>
                    </a:lnTo>
                    <a:lnTo>
                      <a:pt x="1367" y="0"/>
                    </a:lnTo>
                    <a:lnTo>
                      <a:pt x="41685" y="0"/>
                    </a:lnTo>
                    <a:lnTo>
                      <a:pt x="89520" y="58085"/>
                    </a:lnTo>
                    <a:lnTo>
                      <a:pt x="89520" y="0"/>
                    </a:lnTo>
                    <a:lnTo>
                      <a:pt x="120954" y="0"/>
                    </a:lnTo>
                    <a:lnTo>
                      <a:pt x="120954" y="58085"/>
                    </a:lnTo>
                    <a:lnTo>
                      <a:pt x="168789" y="0"/>
                    </a:lnTo>
                    <a:lnTo>
                      <a:pt x="209107" y="0"/>
                    </a:lnTo>
                    <a:lnTo>
                      <a:pt x="147605" y="70386"/>
                    </a:lnTo>
                    <a:lnTo>
                      <a:pt x="210474" y="149655"/>
                    </a:lnTo>
                    <a:lnTo>
                      <a:pt x="171522" y="149655"/>
                    </a:lnTo>
                    <a:close/>
                  </a:path>
                </a:pathLst>
              </a:custGeom>
              <a:solidFill>
                <a:srgbClr val="FFFFFF"/>
              </a:solidFill>
              <a:ln w="6822"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A7E81AC9-F1A0-404D-842B-744D5135738F}"/>
                  </a:ext>
                </a:extLst>
              </p:cNvPr>
              <p:cNvSpPr/>
              <p:nvPr/>
            </p:nvSpPr>
            <p:spPr>
              <a:xfrm>
                <a:off x="12423953" y="7186763"/>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58473F5B-8620-401C-B98F-8D92C6E535F1}"/>
                  </a:ext>
                </a:extLst>
              </p:cNvPr>
              <p:cNvSpPr/>
              <p:nvPr/>
            </p:nvSpPr>
            <p:spPr>
              <a:xfrm>
                <a:off x="1258659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4" y="28701"/>
                      <a:pt x="80636" y="28701"/>
                    </a:cubicBezTo>
                    <a:cubicBezTo>
                      <a:pt x="54668" y="28701"/>
                      <a:pt x="32118" y="48518"/>
                      <a:pt x="32118" y="79269"/>
                    </a:cubicBezTo>
                    <a:cubicBezTo>
                      <a:pt x="32118" y="110020"/>
                      <a:pt x="54668" y="129838"/>
                      <a:pt x="80636" y="129838"/>
                    </a:cubicBezTo>
                    <a:cubicBezTo>
                      <a:pt x="106604"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399491CA-DAD8-41DD-BF85-9F505D304B8D}"/>
                  </a:ext>
                </a:extLst>
              </p:cNvPr>
              <p:cNvSpPr/>
              <p:nvPr/>
            </p:nvSpPr>
            <p:spPr>
              <a:xfrm>
                <a:off x="12769047" y="7182663"/>
                <a:ext cx="144871" cy="158538"/>
              </a:xfrm>
              <a:custGeom>
                <a:avLst/>
                <a:gdLst>
                  <a:gd name="connsiteX0" fmla="*/ 77902 w 144871"/>
                  <a:gd name="connsiteY0" fmla="*/ 158539 h 158538"/>
                  <a:gd name="connsiteX1" fmla="*/ 0 w 144871"/>
                  <a:gd name="connsiteY1" fmla="*/ 79269 h 158538"/>
                  <a:gd name="connsiteX2" fmla="*/ 77902 w 144871"/>
                  <a:gd name="connsiteY2" fmla="*/ 0 h 158538"/>
                  <a:gd name="connsiteX3" fmla="*/ 143505 w 144871"/>
                  <a:gd name="connsiteY3" fmla="*/ 37585 h 158538"/>
                  <a:gd name="connsiteX4" fmla="*/ 117537 w 144871"/>
                  <a:gd name="connsiteY4" fmla="*/ 52618 h 158538"/>
                  <a:gd name="connsiteX5" fmla="*/ 77902 w 144871"/>
                  <a:gd name="connsiteY5" fmla="*/ 28701 h 158538"/>
                  <a:gd name="connsiteX6" fmla="*/ 32118 w 144871"/>
                  <a:gd name="connsiteY6" fmla="*/ 78586 h 158538"/>
                  <a:gd name="connsiteX7" fmla="*/ 77902 w 144871"/>
                  <a:gd name="connsiteY7" fmla="*/ 128471 h 158538"/>
                  <a:gd name="connsiteX8" fmla="*/ 119587 w 144871"/>
                  <a:gd name="connsiteY8" fmla="*/ 104553 h 158538"/>
                  <a:gd name="connsiteX9" fmla="*/ 144872 w 144871"/>
                  <a:gd name="connsiteY9" fmla="*/ 118904 h 158538"/>
                  <a:gd name="connsiteX10" fmla="*/ 77902 w 144871"/>
                  <a:gd name="connsiteY10" fmla="*/ 15853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71" h="158538">
                    <a:moveTo>
                      <a:pt x="77902" y="158539"/>
                    </a:moveTo>
                    <a:cubicBezTo>
                      <a:pt x="33484" y="158539"/>
                      <a:pt x="0" y="126421"/>
                      <a:pt x="0" y="79269"/>
                    </a:cubicBezTo>
                    <a:cubicBezTo>
                      <a:pt x="0" y="32118"/>
                      <a:pt x="36218" y="0"/>
                      <a:pt x="77902" y="0"/>
                    </a:cubicBezTo>
                    <a:cubicBezTo>
                      <a:pt x="110020" y="0"/>
                      <a:pt x="132571" y="14350"/>
                      <a:pt x="143505" y="37585"/>
                    </a:cubicBezTo>
                    <a:lnTo>
                      <a:pt x="117537" y="52618"/>
                    </a:lnTo>
                    <a:cubicBezTo>
                      <a:pt x="107287" y="36218"/>
                      <a:pt x="93620" y="28701"/>
                      <a:pt x="77902" y="28701"/>
                    </a:cubicBezTo>
                    <a:cubicBezTo>
                      <a:pt x="51935" y="28701"/>
                      <a:pt x="32118" y="47835"/>
                      <a:pt x="32118" y="78586"/>
                    </a:cubicBezTo>
                    <a:cubicBezTo>
                      <a:pt x="32118" y="109337"/>
                      <a:pt x="51252" y="128471"/>
                      <a:pt x="77902" y="128471"/>
                    </a:cubicBezTo>
                    <a:cubicBezTo>
                      <a:pt x="98403" y="128471"/>
                      <a:pt x="110020" y="118221"/>
                      <a:pt x="119587" y="104553"/>
                    </a:cubicBezTo>
                    <a:lnTo>
                      <a:pt x="144872" y="118904"/>
                    </a:lnTo>
                    <a:cubicBezTo>
                      <a:pt x="130521" y="143505"/>
                      <a:pt x="109337" y="158539"/>
                      <a:pt x="77902" y="158539"/>
                    </a:cubicBezTo>
                    <a:close/>
                  </a:path>
                </a:pathLst>
              </a:custGeom>
              <a:solidFill>
                <a:srgbClr val="FFFFFF"/>
              </a:solidFill>
              <a:ln w="6822"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29CD8688-3AD0-4D1A-BAF8-724E38096CAD}"/>
                  </a:ext>
                </a:extLst>
              </p:cNvPr>
              <p:cNvSpPr/>
              <p:nvPr/>
            </p:nvSpPr>
            <p:spPr>
              <a:xfrm>
                <a:off x="12933053" y="7186763"/>
                <a:ext cx="125054" cy="149655"/>
              </a:xfrm>
              <a:custGeom>
                <a:avLst/>
                <a:gdLst>
                  <a:gd name="connsiteX0" fmla="*/ 47151 w 125054"/>
                  <a:gd name="connsiteY0" fmla="*/ 28018 h 149655"/>
                  <a:gd name="connsiteX1" fmla="*/ 0 w 125054"/>
                  <a:gd name="connsiteY1" fmla="*/ 28018 h 149655"/>
                  <a:gd name="connsiteX2" fmla="*/ 0 w 125054"/>
                  <a:gd name="connsiteY2" fmla="*/ 0 h 149655"/>
                  <a:gd name="connsiteX3" fmla="*/ 125054 w 125054"/>
                  <a:gd name="connsiteY3" fmla="*/ 0 h 149655"/>
                  <a:gd name="connsiteX4" fmla="*/ 125054 w 125054"/>
                  <a:gd name="connsiteY4" fmla="*/ 28018 h 149655"/>
                  <a:gd name="connsiteX5" fmla="*/ 77902 w 125054"/>
                  <a:gd name="connsiteY5" fmla="*/ 28018 h 149655"/>
                  <a:gd name="connsiteX6" fmla="*/ 77902 w 125054"/>
                  <a:gd name="connsiteY6" fmla="*/ 149655 h 149655"/>
                  <a:gd name="connsiteX7" fmla="*/ 46468 w 125054"/>
                  <a:gd name="connsiteY7" fmla="*/ 149655 h 149655"/>
                  <a:gd name="connsiteX8" fmla="*/ 46468 w 125054"/>
                  <a:gd name="connsiteY8" fmla="*/ 28018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54" h="149655">
                    <a:moveTo>
                      <a:pt x="47151" y="28018"/>
                    </a:moveTo>
                    <a:lnTo>
                      <a:pt x="0" y="28018"/>
                    </a:lnTo>
                    <a:lnTo>
                      <a:pt x="0" y="0"/>
                    </a:lnTo>
                    <a:lnTo>
                      <a:pt x="125054" y="0"/>
                    </a:lnTo>
                    <a:lnTo>
                      <a:pt x="125054" y="28018"/>
                    </a:lnTo>
                    <a:lnTo>
                      <a:pt x="77902" y="28018"/>
                    </a:lnTo>
                    <a:lnTo>
                      <a:pt x="77902" y="149655"/>
                    </a:lnTo>
                    <a:lnTo>
                      <a:pt x="46468" y="149655"/>
                    </a:lnTo>
                    <a:lnTo>
                      <a:pt x="46468" y="28018"/>
                    </a:lnTo>
                    <a:close/>
                  </a:path>
                </a:pathLst>
              </a:custGeom>
              <a:solidFill>
                <a:srgbClr val="FFFFFF"/>
              </a:solidFill>
              <a:ln w="6822"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F514F855-7299-4884-B430-DACD00AE427B}"/>
                  </a:ext>
                </a:extLst>
              </p:cNvPr>
              <p:cNvSpPr/>
              <p:nvPr/>
            </p:nvSpPr>
            <p:spPr>
              <a:xfrm>
                <a:off x="13073141" y="7182663"/>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2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7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2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2"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7" y="86103"/>
                    </a:lnTo>
                    <a:cubicBezTo>
                      <a:pt x="32118" y="112070"/>
                      <a:pt x="49885" y="131204"/>
                      <a:pt x="76536" y="131204"/>
                    </a:cubicBezTo>
                    <a:close/>
                    <a:moveTo>
                      <a:pt x="30751" y="61502"/>
                    </a:moveTo>
                    <a:lnTo>
                      <a:pt x="119587" y="61502"/>
                    </a:lnTo>
                    <a:cubicBezTo>
                      <a:pt x="116854" y="38268"/>
                      <a:pt x="99087" y="24601"/>
                      <a:pt x="75852" y="24601"/>
                    </a:cubicBezTo>
                    <a:cubicBezTo>
                      <a:pt x="53302" y="24601"/>
                      <a:pt x="35535"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65ADB559-ABEF-4677-8B17-6BF899DF006C}"/>
                  </a:ext>
                </a:extLst>
              </p:cNvPr>
              <p:cNvSpPr/>
              <p:nvPr/>
            </p:nvSpPr>
            <p:spPr>
              <a:xfrm>
                <a:off x="13253547" y="7132778"/>
                <a:ext cx="134621" cy="203640"/>
              </a:xfrm>
              <a:custGeom>
                <a:avLst/>
                <a:gdLst>
                  <a:gd name="connsiteX0" fmla="*/ 0 w 134621"/>
                  <a:gd name="connsiteY0" fmla="*/ 53985 h 203640"/>
                  <a:gd name="connsiteX1" fmla="*/ 30068 w 134621"/>
                  <a:gd name="connsiteY1" fmla="*/ 53985 h 203640"/>
                  <a:gd name="connsiteX2" fmla="*/ 30068 w 134621"/>
                  <a:gd name="connsiteY2" fmla="*/ 161956 h 203640"/>
                  <a:gd name="connsiteX3" fmla="*/ 101820 w 134621"/>
                  <a:gd name="connsiteY3" fmla="*/ 53985 h 203640"/>
                  <a:gd name="connsiteX4" fmla="*/ 134621 w 134621"/>
                  <a:gd name="connsiteY4" fmla="*/ 53985 h 203640"/>
                  <a:gd name="connsiteX5" fmla="*/ 134621 w 134621"/>
                  <a:gd name="connsiteY5" fmla="*/ 203640 h 203640"/>
                  <a:gd name="connsiteX6" fmla="*/ 104554 w 134621"/>
                  <a:gd name="connsiteY6" fmla="*/ 203640 h 203640"/>
                  <a:gd name="connsiteX7" fmla="*/ 104554 w 134621"/>
                  <a:gd name="connsiteY7" fmla="*/ 95670 h 203640"/>
                  <a:gd name="connsiteX8" fmla="*/ 32801 w 134621"/>
                  <a:gd name="connsiteY8" fmla="*/ 203640 h 203640"/>
                  <a:gd name="connsiteX9" fmla="*/ 0 w 134621"/>
                  <a:gd name="connsiteY9" fmla="*/ 203640 h 203640"/>
                  <a:gd name="connsiteX10" fmla="*/ 0 w 134621"/>
                  <a:gd name="connsiteY10" fmla="*/ 53985 h 203640"/>
                  <a:gd name="connsiteX11" fmla="*/ 34168 w 134621"/>
                  <a:gd name="connsiteY11" fmla="*/ 0 h 203640"/>
                  <a:gd name="connsiteX12" fmla="*/ 55352 w 134621"/>
                  <a:gd name="connsiteY12" fmla="*/ 0 h 203640"/>
                  <a:gd name="connsiteX13" fmla="*/ 66969 w 134621"/>
                  <a:gd name="connsiteY13" fmla="*/ 12984 h 203640"/>
                  <a:gd name="connsiteX14" fmla="*/ 78586 w 134621"/>
                  <a:gd name="connsiteY14" fmla="*/ 0 h 203640"/>
                  <a:gd name="connsiteX15" fmla="*/ 99770 w 134621"/>
                  <a:gd name="connsiteY15" fmla="*/ 0 h 203640"/>
                  <a:gd name="connsiteX16" fmla="*/ 66969 w 134621"/>
                  <a:gd name="connsiteY16" fmla="*/ 32801 h 203640"/>
                  <a:gd name="connsiteX17" fmla="*/ 34168 w 134621"/>
                  <a:gd name="connsiteY17" fmla="*/ 0 h 2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21" h="203640">
                    <a:moveTo>
                      <a:pt x="0" y="53985"/>
                    </a:moveTo>
                    <a:lnTo>
                      <a:pt x="30068" y="53985"/>
                    </a:lnTo>
                    <a:lnTo>
                      <a:pt x="30068" y="161956"/>
                    </a:lnTo>
                    <a:lnTo>
                      <a:pt x="101820" y="53985"/>
                    </a:lnTo>
                    <a:lnTo>
                      <a:pt x="134621" y="53985"/>
                    </a:lnTo>
                    <a:lnTo>
                      <a:pt x="134621" y="203640"/>
                    </a:lnTo>
                    <a:lnTo>
                      <a:pt x="104554" y="203640"/>
                    </a:lnTo>
                    <a:lnTo>
                      <a:pt x="104554" y="95670"/>
                    </a:lnTo>
                    <a:lnTo>
                      <a:pt x="32801" y="203640"/>
                    </a:lnTo>
                    <a:lnTo>
                      <a:pt x="0" y="203640"/>
                    </a:lnTo>
                    <a:lnTo>
                      <a:pt x="0" y="53985"/>
                    </a:lnTo>
                    <a:close/>
                    <a:moveTo>
                      <a:pt x="34168" y="0"/>
                    </a:moveTo>
                    <a:lnTo>
                      <a:pt x="55352" y="0"/>
                    </a:lnTo>
                    <a:cubicBezTo>
                      <a:pt x="55352" y="7517"/>
                      <a:pt x="59452" y="12984"/>
                      <a:pt x="66969" y="12984"/>
                    </a:cubicBezTo>
                    <a:cubicBezTo>
                      <a:pt x="74486" y="12984"/>
                      <a:pt x="78586" y="7517"/>
                      <a:pt x="78586" y="0"/>
                    </a:cubicBezTo>
                    <a:lnTo>
                      <a:pt x="99770" y="0"/>
                    </a:lnTo>
                    <a:cubicBezTo>
                      <a:pt x="99770" y="19134"/>
                      <a:pt x="86786" y="32801"/>
                      <a:pt x="66969" y="32801"/>
                    </a:cubicBezTo>
                    <a:cubicBezTo>
                      <a:pt x="47152" y="32801"/>
                      <a:pt x="34168" y="19134"/>
                      <a:pt x="34168" y="0"/>
                    </a:cubicBezTo>
                    <a:close/>
                  </a:path>
                </a:pathLst>
              </a:custGeom>
              <a:solidFill>
                <a:srgbClr val="FFFFFF"/>
              </a:solidFill>
              <a:ln w="6822" cap="flat">
                <a:noFill/>
                <a:prstDash val="solid"/>
                <a:miter/>
              </a:ln>
            </p:spPr>
            <p:txBody>
              <a:bodyPr rtlCol="0" anchor="ctr"/>
              <a:lstStyle/>
              <a:p>
                <a:endParaRPr lang="ru-RU" sz="1587" dirty="0"/>
              </a:p>
            </p:txBody>
          </p:sp>
        </p:grpSp>
        <p:sp>
          <p:nvSpPr>
            <p:cNvPr id="63" name="Полилиния: фигура 62">
              <a:extLst>
                <a:ext uri="{FF2B5EF4-FFF2-40B4-BE49-F238E27FC236}">
                  <a16:creationId xmlns:a16="http://schemas.microsoft.com/office/drawing/2014/main" id="{C9D78846-1FBE-4C5D-B6D3-B36916903638}"/>
                </a:ext>
              </a:extLst>
            </p:cNvPr>
            <p:cNvSpPr/>
            <p:nvPr/>
          </p:nvSpPr>
          <p:spPr>
            <a:xfrm>
              <a:off x="11519872" y="4054942"/>
              <a:ext cx="2309744" cy="2615887"/>
            </a:xfrm>
            <a:custGeom>
              <a:avLst/>
              <a:gdLst>
                <a:gd name="connsiteX0" fmla="*/ 2309744 w 2309744"/>
                <a:gd name="connsiteY0" fmla="*/ 0 h 2615887"/>
                <a:gd name="connsiteX1" fmla="*/ 350562 w 2309744"/>
                <a:gd name="connsiteY1" fmla="*/ 2452566 h 2615887"/>
                <a:gd name="connsiteX2" fmla="*/ 2050 w 2309744"/>
                <a:gd name="connsiteY2" fmla="*/ 2615205 h 2615887"/>
                <a:gd name="connsiteX3" fmla="*/ 0 w 2309744"/>
                <a:gd name="connsiteY3" fmla="*/ 2615888 h 2615887"/>
                <a:gd name="connsiteX4" fmla="*/ 0 w 2309744"/>
                <a:gd name="connsiteY4" fmla="*/ 2615888 h 2615887"/>
                <a:gd name="connsiteX5" fmla="*/ 2309744 w 2309744"/>
                <a:gd name="connsiteY5" fmla="*/ 1107721 h 2615887"/>
                <a:gd name="connsiteX6" fmla="*/ 2309744 w 2309744"/>
                <a:gd name="connsiteY6" fmla="*/ 0 h 261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9744" h="2615887">
                  <a:moveTo>
                    <a:pt x="2309744" y="0"/>
                  </a:moveTo>
                  <a:cubicBezTo>
                    <a:pt x="2039818" y="1072869"/>
                    <a:pt x="1316144" y="1946199"/>
                    <a:pt x="350562" y="2452566"/>
                  </a:cubicBezTo>
                  <a:cubicBezTo>
                    <a:pt x="236441" y="2509284"/>
                    <a:pt x="112754" y="2561903"/>
                    <a:pt x="2050" y="2615205"/>
                  </a:cubicBezTo>
                  <a:lnTo>
                    <a:pt x="0" y="2615888"/>
                  </a:lnTo>
                  <a:lnTo>
                    <a:pt x="0" y="2615888"/>
                  </a:lnTo>
                  <a:cubicBezTo>
                    <a:pt x="880846" y="2287877"/>
                    <a:pt x="1668073" y="1768526"/>
                    <a:pt x="2309744" y="1107721"/>
                  </a:cubicBezTo>
                  <a:lnTo>
                    <a:pt x="2309744" y="0"/>
                  </a:lnTo>
                  <a:close/>
                </a:path>
              </a:pathLst>
            </a:custGeom>
            <a:solidFill>
              <a:schemeClr val="accent3"/>
            </a:solidFill>
            <a:ln w="6822" cap="flat">
              <a:noFill/>
              <a:prstDash val="solid"/>
              <a:miter/>
            </a:ln>
          </p:spPr>
          <p:txBody>
            <a:bodyPr rtlCol="0" anchor="ctr"/>
            <a:lstStyle/>
            <a:p>
              <a:endParaRPr lang="ru-RU" sz="1587" dirty="0"/>
            </a:p>
          </p:txBody>
        </p:sp>
      </p:grpSp>
    </p:spTree>
    <p:extLst>
      <p:ext uri="{BB962C8B-B14F-4D97-AF65-F5344CB8AC3E}">
        <p14:creationId xmlns:p14="http://schemas.microsoft.com/office/powerpoint/2010/main" val="29621523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Последний">
    <p:spTree>
      <p:nvGrpSpPr>
        <p:cNvPr id="1" name=""/>
        <p:cNvGrpSpPr/>
        <p:nvPr/>
      </p:nvGrpSpPr>
      <p:grpSpPr>
        <a:xfrm>
          <a:off x="0" y="0"/>
          <a:ext cx="0" cy="0"/>
          <a:chOff x="0" y="0"/>
          <a:chExt cx="0" cy="0"/>
        </a:xfrm>
      </p:grpSpPr>
      <p:sp>
        <p:nvSpPr>
          <p:cNvPr id="13" name="Рисунок 12">
            <a:extLst>
              <a:ext uri="{FF2B5EF4-FFF2-40B4-BE49-F238E27FC236}">
                <a16:creationId xmlns:a16="http://schemas.microsoft.com/office/drawing/2014/main" id="{76660D03-C562-4E3E-8978-BC128859DD84}"/>
              </a:ext>
            </a:extLst>
          </p:cNvPr>
          <p:cNvSpPr>
            <a:spLocks noGrp="1"/>
          </p:cNvSpPr>
          <p:nvPr>
            <p:ph type="pic" sz="quarter" idx="15" hasCustomPrompt="1"/>
          </p:nvPr>
        </p:nvSpPr>
        <p:spPr>
          <a:xfrm>
            <a:off x="417037" y="4445589"/>
            <a:ext cx="1701731"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chemeClr val="tx2">
              <a:lumMod val="20000"/>
              <a:lumOff val="80000"/>
            </a:schemeClr>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38" name="Текст 4">
            <a:extLst>
              <a:ext uri="{FF2B5EF4-FFF2-40B4-BE49-F238E27FC236}">
                <a16:creationId xmlns:a16="http://schemas.microsoft.com/office/drawing/2014/main" id="{587D5529-71C0-442A-AB1D-B4197AD53F85}"/>
              </a:ext>
            </a:extLst>
          </p:cNvPr>
          <p:cNvSpPr>
            <a:spLocks noGrp="1"/>
          </p:cNvSpPr>
          <p:nvPr>
            <p:ph type="body" sz="quarter" idx="22" hasCustomPrompt="1"/>
          </p:nvPr>
        </p:nvSpPr>
        <p:spPr>
          <a:xfrm>
            <a:off x="2351078" y="4797803"/>
            <a:ext cx="3202839" cy="54065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39" name="Текст 4">
            <a:extLst>
              <a:ext uri="{FF2B5EF4-FFF2-40B4-BE49-F238E27FC236}">
                <a16:creationId xmlns:a16="http://schemas.microsoft.com/office/drawing/2014/main" id="{9579E708-6905-4A40-BD31-9040E9E04B57}"/>
              </a:ext>
            </a:extLst>
          </p:cNvPr>
          <p:cNvSpPr>
            <a:spLocks noGrp="1"/>
          </p:cNvSpPr>
          <p:nvPr>
            <p:ph type="body" sz="quarter" idx="23" hasCustomPrompt="1"/>
          </p:nvPr>
        </p:nvSpPr>
        <p:spPr>
          <a:xfrm>
            <a:off x="2351078" y="5413159"/>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76" name="Текст 22">
            <a:extLst>
              <a:ext uri="{FF2B5EF4-FFF2-40B4-BE49-F238E27FC236}">
                <a16:creationId xmlns:a16="http://schemas.microsoft.com/office/drawing/2014/main" id="{F36F7341-6C0B-4E5E-8B92-35A620BCD398}"/>
              </a:ext>
            </a:extLst>
          </p:cNvPr>
          <p:cNvSpPr>
            <a:spLocks noGrp="1"/>
          </p:cNvSpPr>
          <p:nvPr>
            <p:ph type="body" sz="quarter" idx="14" hasCustomPrompt="1"/>
          </p:nvPr>
        </p:nvSpPr>
        <p:spPr>
          <a:xfrm>
            <a:off x="417517" y="2481064"/>
            <a:ext cx="3575900" cy="595627"/>
          </a:xfrm>
          <a:prstGeom prst="rect">
            <a:avLst/>
          </a:prstGeom>
          <a:solidFill>
            <a:schemeClr val="accent3"/>
          </a:solidFill>
        </p:spPr>
        <p:txBody>
          <a:bodyPr wrap="none" lIns="108000" tIns="36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77" name="Текст 22">
            <a:extLst>
              <a:ext uri="{FF2B5EF4-FFF2-40B4-BE49-F238E27FC236}">
                <a16:creationId xmlns:a16="http://schemas.microsoft.com/office/drawing/2014/main" id="{2993A61D-2E28-457F-8AFA-87AECE98BA1E}"/>
              </a:ext>
            </a:extLst>
          </p:cNvPr>
          <p:cNvSpPr>
            <a:spLocks noGrp="1"/>
          </p:cNvSpPr>
          <p:nvPr>
            <p:ph type="body" sz="quarter" idx="24" hasCustomPrompt="1"/>
          </p:nvPr>
        </p:nvSpPr>
        <p:spPr>
          <a:xfrm>
            <a:off x="417515" y="3076190"/>
            <a:ext cx="3883677" cy="547159"/>
          </a:xfrm>
          <a:prstGeom prst="rect">
            <a:avLst/>
          </a:prstGeom>
          <a:solidFill>
            <a:schemeClr val="accent3"/>
          </a:solidFill>
        </p:spPr>
        <p:txBody>
          <a:bodyPr wrap="none" lIns="108000" tIns="0" rIns="108000" bIns="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55" name="Рисунок 25">
            <a:extLst>
              <a:ext uri="{FF2B5EF4-FFF2-40B4-BE49-F238E27FC236}">
                <a16:creationId xmlns:a16="http://schemas.microsoft.com/office/drawing/2014/main" id="{DAB34D88-55CD-460D-BE17-EDC00DB84BAD}"/>
              </a:ext>
            </a:extLst>
          </p:cNvPr>
          <p:cNvGrpSpPr/>
          <p:nvPr userDrawn="1"/>
        </p:nvGrpSpPr>
        <p:grpSpPr>
          <a:xfrm>
            <a:off x="419833" y="417146"/>
            <a:ext cx="2645659" cy="753911"/>
            <a:chOff x="-233" y="1916027"/>
            <a:chExt cx="13832096" cy="3938000"/>
          </a:xfrm>
        </p:grpSpPr>
        <p:sp>
          <p:nvSpPr>
            <p:cNvPr id="56" name="Полилиния: фигура 55">
              <a:extLst>
                <a:ext uri="{FF2B5EF4-FFF2-40B4-BE49-F238E27FC236}">
                  <a16:creationId xmlns:a16="http://schemas.microsoft.com/office/drawing/2014/main" id="{5B521CA3-38C6-46F2-AB3A-D01A7DD039A4}"/>
                </a:ext>
              </a:extLst>
            </p:cNvPr>
            <p:cNvSpPr/>
            <p:nvPr/>
          </p:nvSpPr>
          <p:spPr>
            <a:xfrm>
              <a:off x="2798114" y="2521151"/>
              <a:ext cx="11033748" cy="3332876"/>
            </a:xfrm>
            <a:custGeom>
              <a:avLst/>
              <a:gdLst>
                <a:gd name="connsiteX0" fmla="*/ 8186381 w 11033748"/>
                <a:gd name="connsiteY0" fmla="*/ 869378 h 3332876"/>
                <a:gd name="connsiteX1" fmla="*/ 8655469 w 11033748"/>
                <a:gd name="connsiteY1" fmla="*/ 1402575 h 3332876"/>
                <a:gd name="connsiteX2" fmla="*/ 8350562 w 11033748"/>
                <a:gd name="connsiteY2" fmla="*/ 1402575 h 3332876"/>
                <a:gd name="connsiteX3" fmla="*/ 7987800 w 11033748"/>
                <a:gd name="connsiteY3" fmla="*/ 991341 h 3332876"/>
                <a:gd name="connsiteX4" fmla="*/ 7987800 w 11033748"/>
                <a:gd name="connsiteY4" fmla="*/ 1402575 h 3332876"/>
                <a:gd name="connsiteX5" fmla="*/ 7735274 w 11033748"/>
                <a:gd name="connsiteY5" fmla="*/ 1402575 h 3332876"/>
                <a:gd name="connsiteX6" fmla="*/ 7735274 w 11033748"/>
                <a:gd name="connsiteY6" fmla="*/ 408889 h 3332876"/>
                <a:gd name="connsiteX7" fmla="*/ 7987800 w 11033748"/>
                <a:gd name="connsiteY7" fmla="*/ 408889 h 3332876"/>
                <a:gd name="connsiteX8" fmla="*/ 7987800 w 11033748"/>
                <a:gd name="connsiteY8" fmla="*/ 769306 h 3332876"/>
                <a:gd name="connsiteX9" fmla="*/ 8344307 w 11033748"/>
                <a:gd name="connsiteY9" fmla="*/ 408889 h 3332876"/>
                <a:gd name="connsiteX10" fmla="*/ 8642960 w 11033748"/>
                <a:gd name="connsiteY10" fmla="*/ 408889 h 3332876"/>
                <a:gd name="connsiteX11" fmla="*/ 8186381 w 11033748"/>
                <a:gd name="connsiteY11" fmla="*/ 869378 h 3332876"/>
                <a:gd name="connsiteX12" fmla="*/ 629361 w 11033748"/>
                <a:gd name="connsiteY12" fmla="*/ 677052 h 3332876"/>
                <a:gd name="connsiteX13" fmla="*/ 898305 w 11033748"/>
                <a:gd name="connsiteY13" fmla="*/ 456580 h 3332876"/>
                <a:gd name="connsiteX14" fmla="*/ 629361 w 11033748"/>
                <a:gd name="connsiteY14" fmla="*/ 236108 h 3332876"/>
                <a:gd name="connsiteX15" fmla="*/ 264253 w 11033748"/>
                <a:gd name="connsiteY15" fmla="*/ 236108 h 3332876"/>
                <a:gd name="connsiteX16" fmla="*/ 264253 w 11033748"/>
                <a:gd name="connsiteY16" fmla="*/ 677052 h 3332876"/>
                <a:gd name="connsiteX17" fmla="*/ 629361 w 11033748"/>
                <a:gd name="connsiteY17" fmla="*/ 677052 h 3332876"/>
                <a:gd name="connsiteX18" fmla="*/ 637179 w 11033748"/>
                <a:gd name="connsiteY18" fmla="*/ 0 h 3332876"/>
                <a:gd name="connsiteX19" fmla="*/ 1162558 w 11033748"/>
                <a:gd name="connsiteY19" fmla="*/ 456580 h 3332876"/>
                <a:gd name="connsiteX20" fmla="*/ 637179 w 11033748"/>
                <a:gd name="connsiteY20" fmla="*/ 913941 h 3332876"/>
                <a:gd name="connsiteX21" fmla="*/ 264253 w 11033748"/>
                <a:gd name="connsiteY21" fmla="*/ 913941 h 3332876"/>
                <a:gd name="connsiteX22" fmla="*/ 264253 w 11033748"/>
                <a:gd name="connsiteY22" fmla="*/ 1403357 h 3332876"/>
                <a:gd name="connsiteX23" fmla="*/ 0 w 11033748"/>
                <a:gd name="connsiteY23" fmla="*/ 1403357 h 3332876"/>
                <a:gd name="connsiteX24" fmla="*/ 0 w 11033748"/>
                <a:gd name="connsiteY24" fmla="*/ 0 h 3332876"/>
                <a:gd name="connsiteX25" fmla="*/ 637179 w 11033748"/>
                <a:gd name="connsiteY25" fmla="*/ 0 h 3332876"/>
                <a:gd name="connsiteX26" fmla="*/ 1759083 w 11033748"/>
                <a:gd name="connsiteY26" fmla="*/ 1194613 h 3332876"/>
                <a:gd name="connsiteX27" fmla="*/ 2046009 w 11033748"/>
                <a:gd name="connsiteY27" fmla="*/ 906123 h 3332876"/>
                <a:gd name="connsiteX28" fmla="*/ 1759083 w 11033748"/>
                <a:gd name="connsiteY28" fmla="*/ 617634 h 3332876"/>
                <a:gd name="connsiteX29" fmla="*/ 1472157 w 11033748"/>
                <a:gd name="connsiteY29" fmla="*/ 906123 h 3332876"/>
                <a:gd name="connsiteX30" fmla="*/ 1759083 w 11033748"/>
                <a:gd name="connsiteY30" fmla="*/ 1194613 h 3332876"/>
                <a:gd name="connsiteX31" fmla="*/ 1759083 w 11033748"/>
                <a:gd name="connsiteY31" fmla="*/ 380744 h 3332876"/>
                <a:gd name="connsiteX32" fmla="*/ 2302444 w 11033748"/>
                <a:gd name="connsiteY32" fmla="*/ 906123 h 3332876"/>
                <a:gd name="connsiteX33" fmla="*/ 1759083 w 11033748"/>
                <a:gd name="connsiteY33" fmla="*/ 1431503 h 3332876"/>
                <a:gd name="connsiteX34" fmla="*/ 1215722 w 11033748"/>
                <a:gd name="connsiteY34" fmla="*/ 906123 h 3332876"/>
                <a:gd name="connsiteX35" fmla="*/ 1759083 w 11033748"/>
                <a:gd name="connsiteY35" fmla="*/ 380744 h 3332876"/>
                <a:gd name="connsiteX36" fmla="*/ 2947441 w 11033748"/>
                <a:gd name="connsiteY36" fmla="*/ 1194613 h 3332876"/>
                <a:gd name="connsiteX37" fmla="*/ 2683188 w 11033748"/>
                <a:gd name="connsiteY37" fmla="*/ 906123 h 3332876"/>
                <a:gd name="connsiteX38" fmla="*/ 2947441 w 11033748"/>
                <a:gd name="connsiteY38" fmla="*/ 617634 h 3332876"/>
                <a:gd name="connsiteX39" fmla="*/ 3178077 w 11033748"/>
                <a:gd name="connsiteY39" fmla="*/ 753669 h 3332876"/>
                <a:gd name="connsiteX40" fmla="*/ 3394639 w 11033748"/>
                <a:gd name="connsiteY40" fmla="*/ 629361 h 3332876"/>
                <a:gd name="connsiteX41" fmla="*/ 2949787 w 11033748"/>
                <a:gd name="connsiteY41" fmla="*/ 380744 h 3332876"/>
                <a:gd name="connsiteX42" fmla="*/ 2426753 w 11033748"/>
                <a:gd name="connsiteY42" fmla="*/ 906123 h 3332876"/>
                <a:gd name="connsiteX43" fmla="*/ 2949787 w 11033748"/>
                <a:gd name="connsiteY43" fmla="*/ 1431503 h 3332876"/>
                <a:gd name="connsiteX44" fmla="*/ 3404803 w 11033748"/>
                <a:gd name="connsiteY44" fmla="*/ 1164904 h 3332876"/>
                <a:gd name="connsiteX45" fmla="*/ 3196058 w 11033748"/>
                <a:gd name="connsiteY45" fmla="*/ 1050759 h 3332876"/>
                <a:gd name="connsiteX46" fmla="*/ 2947441 w 11033748"/>
                <a:gd name="connsiteY46" fmla="*/ 1194613 h 3332876"/>
                <a:gd name="connsiteX47" fmla="*/ 5636102 w 11033748"/>
                <a:gd name="connsiteY47" fmla="*/ 971796 h 3332876"/>
                <a:gd name="connsiteX48" fmla="*/ 5541502 w 11033748"/>
                <a:gd name="connsiteY48" fmla="*/ 1157868 h 3332876"/>
                <a:gd name="connsiteX49" fmla="*/ 5464884 w 11033748"/>
                <a:gd name="connsiteY49" fmla="*/ 1147704 h 3332876"/>
                <a:gd name="connsiteX50" fmla="*/ 5466448 w 11033748"/>
                <a:gd name="connsiteY50" fmla="*/ 1404921 h 3332876"/>
                <a:gd name="connsiteX51" fmla="*/ 5556356 w 11033748"/>
                <a:gd name="connsiteY51" fmla="*/ 1414303 h 3332876"/>
                <a:gd name="connsiteX52" fmla="*/ 5870646 w 11033748"/>
                <a:gd name="connsiteY52" fmla="*/ 981177 h 3332876"/>
                <a:gd name="connsiteX53" fmla="*/ 5894882 w 11033748"/>
                <a:gd name="connsiteY53" fmla="*/ 634052 h 3332876"/>
                <a:gd name="connsiteX54" fmla="*/ 6179463 w 11033748"/>
                <a:gd name="connsiteY54" fmla="*/ 634052 h 3332876"/>
                <a:gd name="connsiteX55" fmla="*/ 6179463 w 11033748"/>
                <a:gd name="connsiteY55" fmla="*/ 1399448 h 3332876"/>
                <a:gd name="connsiteX56" fmla="*/ 6431989 w 11033748"/>
                <a:gd name="connsiteY56" fmla="*/ 1399448 h 3332876"/>
                <a:gd name="connsiteX57" fmla="*/ 6431989 w 11033748"/>
                <a:gd name="connsiteY57" fmla="*/ 408889 h 3332876"/>
                <a:gd name="connsiteX58" fmla="*/ 5678319 w 11033748"/>
                <a:gd name="connsiteY58" fmla="*/ 408889 h 3332876"/>
                <a:gd name="connsiteX59" fmla="*/ 5636102 w 11033748"/>
                <a:gd name="connsiteY59" fmla="*/ 971796 h 3332876"/>
                <a:gd name="connsiteX60" fmla="*/ 5170922 w 11033748"/>
                <a:gd name="connsiteY60" fmla="*/ 773215 h 3332876"/>
                <a:gd name="connsiteX61" fmla="*/ 4912141 w 11033748"/>
                <a:gd name="connsiteY61" fmla="*/ 573070 h 3332876"/>
                <a:gd name="connsiteX62" fmla="*/ 4643197 w 11033748"/>
                <a:gd name="connsiteY62" fmla="*/ 773215 h 3332876"/>
                <a:gd name="connsiteX63" fmla="*/ 5170922 w 11033748"/>
                <a:gd name="connsiteY63" fmla="*/ 773215 h 3332876"/>
                <a:gd name="connsiteX64" fmla="*/ 4919960 w 11033748"/>
                <a:gd name="connsiteY64" fmla="*/ 380744 h 3332876"/>
                <a:gd name="connsiteX65" fmla="*/ 5404684 w 11033748"/>
                <a:gd name="connsiteY65" fmla="*/ 877978 h 3332876"/>
                <a:gd name="connsiteX66" fmla="*/ 5404684 w 11033748"/>
                <a:gd name="connsiteY66" fmla="*/ 966323 h 3332876"/>
                <a:gd name="connsiteX67" fmla="*/ 4639288 w 11033748"/>
                <a:gd name="connsiteY67" fmla="*/ 966323 h 3332876"/>
                <a:gd name="connsiteX68" fmla="*/ 4912141 w 11033748"/>
                <a:gd name="connsiteY68" fmla="*/ 1214940 h 3332876"/>
                <a:gd name="connsiteX69" fmla="*/ 5164667 w 11033748"/>
                <a:gd name="connsiteY69" fmla="*/ 1078904 h 3332876"/>
                <a:gd name="connsiteX70" fmla="*/ 5364812 w 11033748"/>
                <a:gd name="connsiteY70" fmla="*/ 1178977 h 3332876"/>
                <a:gd name="connsiteX71" fmla="*/ 4907450 w 11033748"/>
                <a:gd name="connsiteY71" fmla="*/ 1431503 h 3332876"/>
                <a:gd name="connsiteX72" fmla="*/ 4396144 w 11033748"/>
                <a:gd name="connsiteY72" fmla="*/ 906123 h 3332876"/>
                <a:gd name="connsiteX73" fmla="*/ 4919960 w 11033748"/>
                <a:gd name="connsiteY73" fmla="*/ 380744 h 3332876"/>
                <a:gd name="connsiteX74" fmla="*/ 7346712 w 11033748"/>
                <a:gd name="connsiteY74" fmla="*/ 773215 h 3332876"/>
                <a:gd name="connsiteX75" fmla="*/ 7087931 w 11033748"/>
                <a:gd name="connsiteY75" fmla="*/ 573070 h 3332876"/>
                <a:gd name="connsiteX76" fmla="*/ 6818987 w 11033748"/>
                <a:gd name="connsiteY76" fmla="*/ 773215 h 3332876"/>
                <a:gd name="connsiteX77" fmla="*/ 7346712 w 11033748"/>
                <a:gd name="connsiteY77" fmla="*/ 773215 h 3332876"/>
                <a:gd name="connsiteX78" fmla="*/ 7096531 w 11033748"/>
                <a:gd name="connsiteY78" fmla="*/ 380744 h 3332876"/>
                <a:gd name="connsiteX79" fmla="*/ 7581256 w 11033748"/>
                <a:gd name="connsiteY79" fmla="*/ 877978 h 3332876"/>
                <a:gd name="connsiteX80" fmla="*/ 7581256 w 11033748"/>
                <a:gd name="connsiteY80" fmla="*/ 966323 h 3332876"/>
                <a:gd name="connsiteX81" fmla="*/ 6815859 w 11033748"/>
                <a:gd name="connsiteY81" fmla="*/ 966323 h 3332876"/>
                <a:gd name="connsiteX82" fmla="*/ 7088713 w 11033748"/>
                <a:gd name="connsiteY82" fmla="*/ 1214940 h 3332876"/>
                <a:gd name="connsiteX83" fmla="*/ 7341239 w 11033748"/>
                <a:gd name="connsiteY83" fmla="*/ 1078904 h 3332876"/>
                <a:gd name="connsiteX84" fmla="*/ 7541384 w 11033748"/>
                <a:gd name="connsiteY84" fmla="*/ 1178977 h 3332876"/>
                <a:gd name="connsiteX85" fmla="*/ 7084022 w 11033748"/>
                <a:gd name="connsiteY85" fmla="*/ 1431503 h 3332876"/>
                <a:gd name="connsiteX86" fmla="*/ 6572715 w 11033748"/>
                <a:gd name="connsiteY86" fmla="*/ 906123 h 3332876"/>
                <a:gd name="connsiteX87" fmla="*/ 7096531 w 11033748"/>
                <a:gd name="connsiteY87" fmla="*/ 380744 h 3332876"/>
                <a:gd name="connsiteX88" fmla="*/ 3482984 w 11033748"/>
                <a:gd name="connsiteY88" fmla="*/ 629361 h 3332876"/>
                <a:gd name="connsiteX89" fmla="*/ 3779292 w 11033748"/>
                <a:gd name="connsiteY89" fmla="*/ 629361 h 3332876"/>
                <a:gd name="connsiteX90" fmla="*/ 3779292 w 11033748"/>
                <a:gd name="connsiteY90" fmla="*/ 1403357 h 3332876"/>
                <a:gd name="connsiteX91" fmla="*/ 4031818 w 11033748"/>
                <a:gd name="connsiteY91" fmla="*/ 1403357 h 3332876"/>
                <a:gd name="connsiteX92" fmla="*/ 4031818 w 11033748"/>
                <a:gd name="connsiteY92" fmla="*/ 629361 h 3332876"/>
                <a:gd name="connsiteX93" fmla="*/ 4328126 w 11033748"/>
                <a:gd name="connsiteY93" fmla="*/ 629361 h 3332876"/>
                <a:gd name="connsiteX94" fmla="*/ 4328126 w 11033748"/>
                <a:gd name="connsiteY94" fmla="*/ 408889 h 3332876"/>
                <a:gd name="connsiteX95" fmla="*/ 3482984 w 11033748"/>
                <a:gd name="connsiteY95" fmla="*/ 408889 h 3332876"/>
                <a:gd name="connsiteX96" fmla="*/ 3482984 w 11033748"/>
                <a:gd name="connsiteY96" fmla="*/ 629361 h 3332876"/>
                <a:gd name="connsiteX97" fmla="*/ 9156612 w 11033748"/>
                <a:gd name="connsiteY97" fmla="*/ 1194613 h 3332876"/>
                <a:gd name="connsiteX98" fmla="*/ 9443539 w 11033748"/>
                <a:gd name="connsiteY98" fmla="*/ 906123 h 3332876"/>
                <a:gd name="connsiteX99" fmla="*/ 9156612 w 11033748"/>
                <a:gd name="connsiteY99" fmla="*/ 617634 h 3332876"/>
                <a:gd name="connsiteX100" fmla="*/ 8869687 w 11033748"/>
                <a:gd name="connsiteY100" fmla="*/ 906123 h 3332876"/>
                <a:gd name="connsiteX101" fmla="*/ 9156612 w 11033748"/>
                <a:gd name="connsiteY101" fmla="*/ 1194613 h 3332876"/>
                <a:gd name="connsiteX102" fmla="*/ 9156612 w 11033748"/>
                <a:gd name="connsiteY102" fmla="*/ 380744 h 3332876"/>
                <a:gd name="connsiteX103" fmla="*/ 9699973 w 11033748"/>
                <a:gd name="connsiteY103" fmla="*/ 906123 h 3332876"/>
                <a:gd name="connsiteX104" fmla="*/ 9156612 w 11033748"/>
                <a:gd name="connsiteY104" fmla="*/ 1431503 h 3332876"/>
                <a:gd name="connsiteX105" fmla="*/ 8613251 w 11033748"/>
                <a:gd name="connsiteY105" fmla="*/ 906123 h 3332876"/>
                <a:gd name="connsiteX106" fmla="*/ 9156612 w 11033748"/>
                <a:gd name="connsiteY106" fmla="*/ 380744 h 3332876"/>
                <a:gd name="connsiteX107" fmla="*/ 10704605 w 11033748"/>
                <a:gd name="connsiteY107" fmla="*/ 408889 h 3332876"/>
                <a:gd name="connsiteX108" fmla="*/ 10430188 w 11033748"/>
                <a:gd name="connsiteY108" fmla="*/ 1105486 h 3332876"/>
                <a:gd name="connsiteX109" fmla="*/ 10155772 w 11033748"/>
                <a:gd name="connsiteY109" fmla="*/ 408889 h 3332876"/>
                <a:gd name="connsiteX110" fmla="*/ 9825845 w 11033748"/>
                <a:gd name="connsiteY110" fmla="*/ 408889 h 3332876"/>
                <a:gd name="connsiteX111" fmla="*/ 9825845 w 11033748"/>
                <a:gd name="connsiteY111" fmla="*/ 1401012 h 3332876"/>
                <a:gd name="connsiteX112" fmla="*/ 10065863 w 11033748"/>
                <a:gd name="connsiteY112" fmla="*/ 1401012 h 3332876"/>
                <a:gd name="connsiteX113" fmla="*/ 10065863 w 11033748"/>
                <a:gd name="connsiteY113" fmla="*/ 772433 h 3332876"/>
                <a:gd name="connsiteX114" fmla="*/ 10331680 w 11033748"/>
                <a:gd name="connsiteY114" fmla="*/ 1401012 h 3332876"/>
                <a:gd name="connsiteX115" fmla="*/ 10527915 w 11033748"/>
                <a:gd name="connsiteY115" fmla="*/ 1401012 h 3332876"/>
                <a:gd name="connsiteX116" fmla="*/ 10793732 w 11033748"/>
                <a:gd name="connsiteY116" fmla="*/ 772433 h 3332876"/>
                <a:gd name="connsiteX117" fmla="*/ 10793732 w 11033748"/>
                <a:gd name="connsiteY117" fmla="*/ 1401012 h 3332876"/>
                <a:gd name="connsiteX118" fmla="*/ 11033749 w 11033748"/>
                <a:gd name="connsiteY118" fmla="*/ 1401012 h 3332876"/>
                <a:gd name="connsiteX119" fmla="*/ 11033749 w 11033748"/>
                <a:gd name="connsiteY119" fmla="*/ 408889 h 3332876"/>
                <a:gd name="connsiteX120" fmla="*/ 10704605 w 11033748"/>
                <a:gd name="connsiteY120" fmla="*/ 408889 h 3332876"/>
                <a:gd name="connsiteX121" fmla="*/ 264253 w 11033748"/>
                <a:gd name="connsiteY121" fmla="*/ 3067841 h 3332876"/>
                <a:gd name="connsiteX122" fmla="*/ 264253 w 11033748"/>
                <a:gd name="connsiteY122" fmla="*/ 2666770 h 3332876"/>
                <a:gd name="connsiteX123" fmla="*/ 570725 w 11033748"/>
                <a:gd name="connsiteY123" fmla="*/ 2666770 h 3332876"/>
                <a:gd name="connsiteX124" fmla="*/ 819342 w 11033748"/>
                <a:gd name="connsiteY124" fmla="*/ 2866915 h 3332876"/>
                <a:gd name="connsiteX125" fmla="*/ 570725 w 11033748"/>
                <a:gd name="connsiteY125" fmla="*/ 3067059 h 3332876"/>
                <a:gd name="connsiteX126" fmla="*/ 264253 w 11033748"/>
                <a:gd name="connsiteY126" fmla="*/ 3067059 h 3332876"/>
                <a:gd name="connsiteX127" fmla="*/ 0 w 11033748"/>
                <a:gd name="connsiteY127" fmla="*/ 3304731 h 3332876"/>
                <a:gd name="connsiteX128" fmla="*/ 591052 w 11033748"/>
                <a:gd name="connsiteY128" fmla="*/ 3304731 h 3332876"/>
                <a:gd name="connsiteX129" fmla="*/ 1084377 w 11033748"/>
                <a:gd name="connsiteY129" fmla="*/ 2867696 h 3332876"/>
                <a:gd name="connsiteX130" fmla="*/ 591052 w 11033748"/>
                <a:gd name="connsiteY130" fmla="*/ 2434571 h 3332876"/>
                <a:gd name="connsiteX131" fmla="*/ 264253 w 11033748"/>
                <a:gd name="connsiteY131" fmla="*/ 2434571 h 3332876"/>
                <a:gd name="connsiteX132" fmla="*/ 264253 w 11033748"/>
                <a:gd name="connsiteY132" fmla="*/ 2133572 h 3332876"/>
                <a:gd name="connsiteX133" fmla="*/ 983523 w 11033748"/>
                <a:gd name="connsiteY133" fmla="*/ 2133572 h 3332876"/>
                <a:gd name="connsiteX134" fmla="*/ 983523 w 11033748"/>
                <a:gd name="connsiteY134" fmla="*/ 1901373 h 3332876"/>
                <a:gd name="connsiteX135" fmla="*/ 0 w 11033748"/>
                <a:gd name="connsiteY135" fmla="*/ 1901373 h 3332876"/>
                <a:gd name="connsiteX136" fmla="*/ 0 w 11033748"/>
                <a:gd name="connsiteY136" fmla="*/ 3304731 h 3332876"/>
                <a:gd name="connsiteX137" fmla="*/ 1243085 w 11033748"/>
                <a:gd name="connsiteY137" fmla="*/ 3304731 h 3332876"/>
                <a:gd name="connsiteX138" fmla="*/ 1503430 w 11033748"/>
                <a:gd name="connsiteY138" fmla="*/ 3304731 h 3332876"/>
                <a:gd name="connsiteX139" fmla="*/ 1936555 w 11033748"/>
                <a:gd name="connsiteY139" fmla="*/ 2649570 h 3332876"/>
                <a:gd name="connsiteX140" fmla="*/ 1936555 w 11033748"/>
                <a:gd name="connsiteY140" fmla="*/ 3304731 h 3332876"/>
                <a:gd name="connsiteX141" fmla="*/ 2177354 w 11033748"/>
                <a:gd name="connsiteY141" fmla="*/ 3304731 h 3332876"/>
                <a:gd name="connsiteX142" fmla="*/ 2177354 w 11033748"/>
                <a:gd name="connsiteY142" fmla="*/ 2310262 h 3332876"/>
                <a:gd name="connsiteX143" fmla="*/ 1917009 w 11033748"/>
                <a:gd name="connsiteY143" fmla="*/ 2310262 h 3332876"/>
                <a:gd name="connsiteX144" fmla="*/ 1483884 w 11033748"/>
                <a:gd name="connsiteY144" fmla="*/ 2965423 h 3332876"/>
                <a:gd name="connsiteX145" fmla="*/ 1483884 w 11033748"/>
                <a:gd name="connsiteY145" fmla="*/ 2310262 h 3332876"/>
                <a:gd name="connsiteX146" fmla="*/ 1243085 w 11033748"/>
                <a:gd name="connsiteY146" fmla="*/ 2310262 h 3332876"/>
                <a:gd name="connsiteX147" fmla="*/ 1243085 w 11033748"/>
                <a:gd name="connsiteY147" fmla="*/ 3304731 h 3332876"/>
                <a:gd name="connsiteX148" fmla="*/ 3183549 w 11033748"/>
                <a:gd name="connsiteY148" fmla="*/ 3015459 h 3332876"/>
                <a:gd name="connsiteX149" fmla="*/ 2974805 w 11033748"/>
                <a:gd name="connsiteY149" fmla="*/ 2778569 h 3332876"/>
                <a:gd name="connsiteX150" fmla="*/ 3142895 w 11033748"/>
                <a:gd name="connsiteY150" fmla="*/ 2547934 h 3332876"/>
                <a:gd name="connsiteX151" fmla="*/ 2772315 w 11033748"/>
                <a:gd name="connsiteY151" fmla="*/ 2281335 h 3332876"/>
                <a:gd name="connsiteX152" fmla="*/ 2377498 w 11033748"/>
                <a:gd name="connsiteY152" fmla="*/ 2572170 h 3332876"/>
                <a:gd name="connsiteX153" fmla="*/ 2397825 w 11033748"/>
                <a:gd name="connsiteY153" fmla="*/ 2672243 h 3332876"/>
                <a:gd name="connsiteX154" fmla="*/ 2612043 w 11033748"/>
                <a:gd name="connsiteY154" fmla="*/ 2600316 h 3332876"/>
                <a:gd name="connsiteX155" fmla="*/ 2605788 w 11033748"/>
                <a:gd name="connsiteY155" fmla="*/ 2564352 h 3332876"/>
                <a:gd name="connsiteX156" fmla="*/ 2769969 w 11033748"/>
                <a:gd name="connsiteY156" fmla="*/ 2478353 h 3332876"/>
                <a:gd name="connsiteX157" fmla="*/ 2908351 w 11033748"/>
                <a:gd name="connsiteY157" fmla="*/ 2578425 h 3332876"/>
                <a:gd name="connsiteX158" fmla="*/ 2754333 w 11033748"/>
                <a:gd name="connsiteY158" fmla="*/ 2686315 h 3332876"/>
                <a:gd name="connsiteX159" fmla="*/ 2678497 w 11033748"/>
                <a:gd name="connsiteY159" fmla="*/ 2686315 h 3332876"/>
                <a:gd name="connsiteX160" fmla="*/ 2678497 w 11033748"/>
                <a:gd name="connsiteY160" fmla="*/ 2886460 h 3332876"/>
                <a:gd name="connsiteX161" fmla="*/ 2760587 w 11033748"/>
                <a:gd name="connsiteY161" fmla="*/ 2886460 h 3332876"/>
                <a:gd name="connsiteX162" fmla="*/ 2938841 w 11033748"/>
                <a:gd name="connsiteY162" fmla="*/ 3004514 h 3332876"/>
                <a:gd name="connsiteX163" fmla="*/ 2748079 w 11033748"/>
                <a:gd name="connsiteY163" fmla="*/ 3135077 h 3332876"/>
                <a:gd name="connsiteX164" fmla="*/ 2579988 w 11033748"/>
                <a:gd name="connsiteY164" fmla="*/ 3008423 h 3332876"/>
                <a:gd name="connsiteX165" fmla="*/ 2590152 w 11033748"/>
                <a:gd name="connsiteY165" fmla="*/ 2958387 h 3332876"/>
                <a:gd name="connsiteX166" fmla="*/ 2377498 w 11033748"/>
                <a:gd name="connsiteY166" fmla="*/ 2890369 h 3332876"/>
                <a:gd name="connsiteX167" fmla="*/ 2353262 w 11033748"/>
                <a:gd name="connsiteY167" fmla="*/ 3010768 h 3332876"/>
                <a:gd name="connsiteX168" fmla="*/ 2748079 w 11033748"/>
                <a:gd name="connsiteY168" fmla="*/ 3331312 h 3332876"/>
                <a:gd name="connsiteX169" fmla="*/ 3183549 w 11033748"/>
                <a:gd name="connsiteY169" fmla="*/ 3015459 h 3332876"/>
                <a:gd name="connsiteX170" fmla="*/ 3354767 w 11033748"/>
                <a:gd name="connsiteY170" fmla="*/ 3304731 h 3332876"/>
                <a:gd name="connsiteX171" fmla="*/ 3607293 w 11033748"/>
                <a:gd name="connsiteY171" fmla="*/ 3304731 h 3332876"/>
                <a:gd name="connsiteX172" fmla="*/ 3607293 w 11033748"/>
                <a:gd name="connsiteY172" fmla="*/ 2902096 h 3332876"/>
                <a:gd name="connsiteX173" fmla="*/ 4020091 w 11033748"/>
                <a:gd name="connsiteY173" fmla="*/ 2902096 h 3332876"/>
                <a:gd name="connsiteX174" fmla="*/ 4020091 w 11033748"/>
                <a:gd name="connsiteY174" fmla="*/ 3304731 h 3332876"/>
                <a:gd name="connsiteX175" fmla="*/ 4272617 w 11033748"/>
                <a:gd name="connsiteY175" fmla="*/ 3304731 h 3332876"/>
                <a:gd name="connsiteX176" fmla="*/ 4272617 w 11033748"/>
                <a:gd name="connsiteY176" fmla="*/ 2310262 h 3332876"/>
                <a:gd name="connsiteX177" fmla="*/ 4020091 w 11033748"/>
                <a:gd name="connsiteY177" fmla="*/ 2310262 h 3332876"/>
                <a:gd name="connsiteX178" fmla="*/ 4020091 w 11033748"/>
                <a:gd name="connsiteY178" fmla="*/ 2680843 h 3332876"/>
                <a:gd name="connsiteX179" fmla="*/ 3607293 w 11033748"/>
                <a:gd name="connsiteY179" fmla="*/ 2680843 h 3332876"/>
                <a:gd name="connsiteX180" fmla="*/ 3607293 w 11033748"/>
                <a:gd name="connsiteY180" fmla="*/ 2310262 h 3332876"/>
                <a:gd name="connsiteX181" fmla="*/ 3354767 w 11033748"/>
                <a:gd name="connsiteY181" fmla="*/ 2310262 h 3332876"/>
                <a:gd name="connsiteX182" fmla="*/ 3354767 w 11033748"/>
                <a:gd name="connsiteY182" fmla="*/ 3304731 h 3332876"/>
                <a:gd name="connsiteX183" fmla="*/ 4663524 w 11033748"/>
                <a:gd name="connsiteY183" fmla="*/ 2675370 h 3332876"/>
                <a:gd name="connsiteX184" fmla="*/ 4932468 w 11033748"/>
                <a:gd name="connsiteY184" fmla="*/ 2475225 h 3332876"/>
                <a:gd name="connsiteX185" fmla="*/ 5191249 w 11033748"/>
                <a:gd name="connsiteY185" fmla="*/ 2675370 h 3332876"/>
                <a:gd name="connsiteX186" fmla="*/ 4663524 w 11033748"/>
                <a:gd name="connsiteY186" fmla="*/ 2675370 h 3332876"/>
                <a:gd name="connsiteX187" fmla="*/ 4931687 w 11033748"/>
                <a:gd name="connsiteY187" fmla="*/ 3116313 h 3332876"/>
                <a:gd name="connsiteX188" fmla="*/ 4658833 w 11033748"/>
                <a:gd name="connsiteY188" fmla="*/ 2867696 h 3332876"/>
                <a:gd name="connsiteX189" fmla="*/ 5424230 w 11033748"/>
                <a:gd name="connsiteY189" fmla="*/ 2867696 h 3332876"/>
                <a:gd name="connsiteX190" fmla="*/ 5424230 w 11033748"/>
                <a:gd name="connsiteY190" fmla="*/ 2779351 h 3332876"/>
                <a:gd name="connsiteX191" fmla="*/ 4939505 w 11033748"/>
                <a:gd name="connsiteY191" fmla="*/ 2282117 h 3332876"/>
                <a:gd name="connsiteX192" fmla="*/ 4416471 w 11033748"/>
                <a:gd name="connsiteY192" fmla="*/ 2807497 h 3332876"/>
                <a:gd name="connsiteX193" fmla="*/ 4927778 w 11033748"/>
                <a:gd name="connsiteY193" fmla="*/ 3332876 h 3332876"/>
                <a:gd name="connsiteX194" fmla="*/ 5384357 w 11033748"/>
                <a:gd name="connsiteY194" fmla="*/ 3080350 h 3332876"/>
                <a:gd name="connsiteX195" fmla="*/ 5184213 w 11033748"/>
                <a:gd name="connsiteY195" fmla="*/ 2980278 h 3332876"/>
                <a:gd name="connsiteX196" fmla="*/ 4931687 w 11033748"/>
                <a:gd name="connsiteY196" fmla="*/ 3116313 h 3332876"/>
                <a:gd name="connsiteX197" fmla="*/ 6084081 w 11033748"/>
                <a:gd name="connsiteY197" fmla="*/ 3332094 h 3332876"/>
                <a:gd name="connsiteX198" fmla="*/ 6539098 w 11033748"/>
                <a:gd name="connsiteY198" fmla="*/ 3065495 h 3332876"/>
                <a:gd name="connsiteX199" fmla="*/ 6330353 w 11033748"/>
                <a:gd name="connsiteY199" fmla="*/ 2951350 h 3332876"/>
                <a:gd name="connsiteX200" fmla="*/ 6081736 w 11033748"/>
                <a:gd name="connsiteY200" fmla="*/ 3095986 h 3332876"/>
                <a:gd name="connsiteX201" fmla="*/ 5817483 w 11033748"/>
                <a:gd name="connsiteY201" fmla="*/ 2807497 h 3332876"/>
                <a:gd name="connsiteX202" fmla="*/ 6081736 w 11033748"/>
                <a:gd name="connsiteY202" fmla="*/ 2519007 h 3332876"/>
                <a:gd name="connsiteX203" fmla="*/ 6312372 w 11033748"/>
                <a:gd name="connsiteY203" fmla="*/ 2655043 h 3332876"/>
                <a:gd name="connsiteX204" fmla="*/ 6528934 w 11033748"/>
                <a:gd name="connsiteY204" fmla="*/ 2530734 h 3332876"/>
                <a:gd name="connsiteX205" fmla="*/ 6084081 w 11033748"/>
                <a:gd name="connsiteY205" fmla="*/ 2282117 h 3332876"/>
                <a:gd name="connsiteX206" fmla="*/ 5561047 w 11033748"/>
                <a:gd name="connsiteY206" fmla="*/ 2807497 h 3332876"/>
                <a:gd name="connsiteX207" fmla="*/ 6084081 w 11033748"/>
                <a:gd name="connsiteY207" fmla="*/ 3332094 h 333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1033748" h="3332876">
                  <a:moveTo>
                    <a:pt x="8186381" y="869378"/>
                  </a:moveTo>
                  <a:lnTo>
                    <a:pt x="8655469" y="1402575"/>
                  </a:lnTo>
                  <a:lnTo>
                    <a:pt x="8350562" y="1402575"/>
                  </a:lnTo>
                  <a:lnTo>
                    <a:pt x="7987800" y="991341"/>
                  </a:lnTo>
                  <a:lnTo>
                    <a:pt x="7987800" y="1402575"/>
                  </a:lnTo>
                  <a:lnTo>
                    <a:pt x="7735274" y="1402575"/>
                  </a:lnTo>
                  <a:lnTo>
                    <a:pt x="7735274" y="408889"/>
                  </a:lnTo>
                  <a:lnTo>
                    <a:pt x="7987800" y="408889"/>
                  </a:lnTo>
                  <a:lnTo>
                    <a:pt x="7987800" y="769306"/>
                  </a:lnTo>
                  <a:lnTo>
                    <a:pt x="8344307" y="408889"/>
                  </a:lnTo>
                  <a:lnTo>
                    <a:pt x="8642960" y="408889"/>
                  </a:lnTo>
                  <a:lnTo>
                    <a:pt x="8186381" y="869378"/>
                  </a:lnTo>
                  <a:close/>
                  <a:moveTo>
                    <a:pt x="629361" y="677052"/>
                  </a:moveTo>
                  <a:cubicBezTo>
                    <a:pt x="813869" y="677052"/>
                    <a:pt x="898305" y="588706"/>
                    <a:pt x="898305" y="456580"/>
                  </a:cubicBezTo>
                  <a:cubicBezTo>
                    <a:pt x="898305" y="324453"/>
                    <a:pt x="813869" y="236108"/>
                    <a:pt x="629361" y="236108"/>
                  </a:cubicBezTo>
                  <a:lnTo>
                    <a:pt x="264253" y="236108"/>
                  </a:lnTo>
                  <a:lnTo>
                    <a:pt x="264253" y="677052"/>
                  </a:lnTo>
                  <a:lnTo>
                    <a:pt x="629361" y="677052"/>
                  </a:lnTo>
                  <a:moveTo>
                    <a:pt x="637179" y="0"/>
                  </a:moveTo>
                  <a:cubicBezTo>
                    <a:pt x="953814" y="0"/>
                    <a:pt x="1162558" y="162617"/>
                    <a:pt x="1162558" y="456580"/>
                  </a:cubicBezTo>
                  <a:cubicBezTo>
                    <a:pt x="1162558" y="751324"/>
                    <a:pt x="953814" y="913941"/>
                    <a:pt x="637179" y="913941"/>
                  </a:cubicBezTo>
                  <a:lnTo>
                    <a:pt x="264253" y="913941"/>
                  </a:lnTo>
                  <a:lnTo>
                    <a:pt x="264253" y="1403357"/>
                  </a:lnTo>
                  <a:lnTo>
                    <a:pt x="0" y="1403357"/>
                  </a:lnTo>
                  <a:lnTo>
                    <a:pt x="0" y="0"/>
                  </a:lnTo>
                  <a:lnTo>
                    <a:pt x="637179" y="0"/>
                  </a:lnTo>
                  <a:moveTo>
                    <a:pt x="1759083" y="1194613"/>
                  </a:moveTo>
                  <a:cubicBezTo>
                    <a:pt x="1907628" y="1194613"/>
                    <a:pt x="2046009" y="1088286"/>
                    <a:pt x="2046009" y="906123"/>
                  </a:cubicBezTo>
                  <a:cubicBezTo>
                    <a:pt x="2046009" y="723960"/>
                    <a:pt x="1907628" y="617634"/>
                    <a:pt x="1759083" y="617634"/>
                  </a:cubicBezTo>
                  <a:cubicBezTo>
                    <a:pt x="1610538" y="617634"/>
                    <a:pt x="1472157" y="723960"/>
                    <a:pt x="1472157" y="906123"/>
                  </a:cubicBezTo>
                  <a:cubicBezTo>
                    <a:pt x="1472939" y="1088286"/>
                    <a:pt x="1611320" y="1194613"/>
                    <a:pt x="1759083" y="1194613"/>
                  </a:cubicBezTo>
                  <a:moveTo>
                    <a:pt x="1759083" y="380744"/>
                  </a:moveTo>
                  <a:cubicBezTo>
                    <a:pt x="2031936" y="380744"/>
                    <a:pt x="2302444" y="557434"/>
                    <a:pt x="2302444" y="906123"/>
                  </a:cubicBezTo>
                  <a:cubicBezTo>
                    <a:pt x="2302444" y="1254813"/>
                    <a:pt x="2031936" y="1431503"/>
                    <a:pt x="1759083" y="1431503"/>
                  </a:cubicBezTo>
                  <a:cubicBezTo>
                    <a:pt x="1486230" y="1431503"/>
                    <a:pt x="1215722" y="1254813"/>
                    <a:pt x="1215722" y="906123"/>
                  </a:cubicBezTo>
                  <a:cubicBezTo>
                    <a:pt x="1216504" y="556652"/>
                    <a:pt x="1487011" y="380744"/>
                    <a:pt x="1759083" y="380744"/>
                  </a:cubicBezTo>
                  <a:moveTo>
                    <a:pt x="2947441" y="1194613"/>
                  </a:moveTo>
                  <a:cubicBezTo>
                    <a:pt x="2794988" y="1194613"/>
                    <a:pt x="2683188" y="1084377"/>
                    <a:pt x="2683188" y="906123"/>
                  </a:cubicBezTo>
                  <a:cubicBezTo>
                    <a:pt x="2683188" y="729433"/>
                    <a:pt x="2799678" y="617634"/>
                    <a:pt x="2947441" y="617634"/>
                  </a:cubicBezTo>
                  <a:cubicBezTo>
                    <a:pt x="3037350" y="617634"/>
                    <a:pt x="3115531" y="659852"/>
                    <a:pt x="3178077" y="753669"/>
                  </a:cubicBezTo>
                  <a:lnTo>
                    <a:pt x="3394639" y="629361"/>
                  </a:lnTo>
                  <a:cubicBezTo>
                    <a:pt x="3322712" y="475343"/>
                    <a:pt x="3166349" y="380744"/>
                    <a:pt x="2949787" y="380744"/>
                  </a:cubicBezTo>
                  <a:cubicBezTo>
                    <a:pt x="2667551" y="380744"/>
                    <a:pt x="2426753" y="589488"/>
                    <a:pt x="2426753" y="906123"/>
                  </a:cubicBezTo>
                  <a:cubicBezTo>
                    <a:pt x="2426753" y="1222758"/>
                    <a:pt x="2655043" y="1431503"/>
                    <a:pt x="2949787" y="1431503"/>
                  </a:cubicBezTo>
                  <a:cubicBezTo>
                    <a:pt x="3162440" y="1431503"/>
                    <a:pt x="3304730" y="1335340"/>
                    <a:pt x="3404803" y="1164904"/>
                  </a:cubicBezTo>
                  <a:lnTo>
                    <a:pt x="3196058" y="1050759"/>
                  </a:lnTo>
                  <a:cubicBezTo>
                    <a:pt x="3135858" y="1134413"/>
                    <a:pt x="3071750" y="1194613"/>
                    <a:pt x="2947441" y="1194613"/>
                  </a:cubicBezTo>
                  <a:moveTo>
                    <a:pt x="5636102" y="971796"/>
                  </a:moveTo>
                  <a:cubicBezTo>
                    <a:pt x="5624375" y="1124250"/>
                    <a:pt x="5593884" y="1157868"/>
                    <a:pt x="5541502" y="1157868"/>
                  </a:cubicBezTo>
                  <a:cubicBezTo>
                    <a:pt x="5505538" y="1157868"/>
                    <a:pt x="5489120" y="1153959"/>
                    <a:pt x="5464884" y="1147704"/>
                  </a:cubicBezTo>
                  <a:lnTo>
                    <a:pt x="5466448" y="1404921"/>
                  </a:lnTo>
                  <a:cubicBezTo>
                    <a:pt x="5466448" y="1404921"/>
                    <a:pt x="5497720" y="1414303"/>
                    <a:pt x="5556356" y="1414303"/>
                  </a:cubicBezTo>
                  <a:cubicBezTo>
                    <a:pt x="5770574" y="1414303"/>
                    <a:pt x="5851101" y="1275922"/>
                    <a:pt x="5870646" y="981177"/>
                  </a:cubicBezTo>
                  <a:lnTo>
                    <a:pt x="5894882" y="634052"/>
                  </a:lnTo>
                  <a:lnTo>
                    <a:pt x="6179463" y="634052"/>
                  </a:lnTo>
                  <a:lnTo>
                    <a:pt x="6179463" y="1399448"/>
                  </a:lnTo>
                  <a:lnTo>
                    <a:pt x="6431989" y="1399448"/>
                  </a:lnTo>
                  <a:lnTo>
                    <a:pt x="6431989" y="408889"/>
                  </a:lnTo>
                  <a:lnTo>
                    <a:pt x="5678319" y="408889"/>
                  </a:lnTo>
                  <a:lnTo>
                    <a:pt x="5636102" y="971796"/>
                  </a:lnTo>
                  <a:close/>
                  <a:moveTo>
                    <a:pt x="5170922" y="773215"/>
                  </a:moveTo>
                  <a:cubicBezTo>
                    <a:pt x="5146686" y="648906"/>
                    <a:pt x="5052868" y="573070"/>
                    <a:pt x="4912141" y="573070"/>
                  </a:cubicBezTo>
                  <a:cubicBezTo>
                    <a:pt x="4780015" y="573070"/>
                    <a:pt x="4679942" y="661415"/>
                    <a:pt x="4643197" y="773215"/>
                  </a:cubicBezTo>
                  <a:lnTo>
                    <a:pt x="5170922" y="773215"/>
                  </a:lnTo>
                  <a:close/>
                  <a:moveTo>
                    <a:pt x="4919960" y="380744"/>
                  </a:moveTo>
                  <a:cubicBezTo>
                    <a:pt x="5204540" y="380744"/>
                    <a:pt x="5404684" y="587143"/>
                    <a:pt x="5404684" y="877978"/>
                  </a:cubicBezTo>
                  <a:lnTo>
                    <a:pt x="5404684" y="966323"/>
                  </a:lnTo>
                  <a:lnTo>
                    <a:pt x="4639288" y="966323"/>
                  </a:lnTo>
                  <a:cubicBezTo>
                    <a:pt x="4654924" y="1118777"/>
                    <a:pt x="4763597" y="1214940"/>
                    <a:pt x="4912141" y="1214940"/>
                  </a:cubicBezTo>
                  <a:cubicBezTo>
                    <a:pt x="5046614" y="1214940"/>
                    <a:pt x="5102904" y="1157086"/>
                    <a:pt x="5164667" y="1078904"/>
                  </a:cubicBezTo>
                  <a:lnTo>
                    <a:pt x="5364812" y="1178977"/>
                  </a:lnTo>
                  <a:cubicBezTo>
                    <a:pt x="5264740" y="1349412"/>
                    <a:pt x="5126358" y="1431503"/>
                    <a:pt x="4907450" y="1431503"/>
                  </a:cubicBezTo>
                  <a:cubicBezTo>
                    <a:pt x="4630688" y="1431503"/>
                    <a:pt x="4396144" y="1221195"/>
                    <a:pt x="4396144" y="906123"/>
                  </a:cubicBezTo>
                  <a:cubicBezTo>
                    <a:pt x="4396144" y="591052"/>
                    <a:pt x="4631470" y="380744"/>
                    <a:pt x="4919960" y="380744"/>
                  </a:cubicBezTo>
                  <a:moveTo>
                    <a:pt x="7346712" y="773215"/>
                  </a:moveTo>
                  <a:cubicBezTo>
                    <a:pt x="7322476" y="648906"/>
                    <a:pt x="7228658" y="573070"/>
                    <a:pt x="7087931" y="573070"/>
                  </a:cubicBezTo>
                  <a:cubicBezTo>
                    <a:pt x="6955804" y="573070"/>
                    <a:pt x="6855733" y="661415"/>
                    <a:pt x="6818987" y="773215"/>
                  </a:cubicBezTo>
                  <a:lnTo>
                    <a:pt x="7346712" y="773215"/>
                  </a:lnTo>
                  <a:close/>
                  <a:moveTo>
                    <a:pt x="7096531" y="380744"/>
                  </a:moveTo>
                  <a:cubicBezTo>
                    <a:pt x="7381112" y="380744"/>
                    <a:pt x="7581256" y="587143"/>
                    <a:pt x="7581256" y="877978"/>
                  </a:cubicBezTo>
                  <a:lnTo>
                    <a:pt x="7581256" y="966323"/>
                  </a:lnTo>
                  <a:lnTo>
                    <a:pt x="6815859" y="966323"/>
                  </a:lnTo>
                  <a:cubicBezTo>
                    <a:pt x="6831496" y="1118777"/>
                    <a:pt x="6940168" y="1214940"/>
                    <a:pt x="7088713" y="1214940"/>
                  </a:cubicBezTo>
                  <a:cubicBezTo>
                    <a:pt x="7223186" y="1214940"/>
                    <a:pt x="7279476" y="1157086"/>
                    <a:pt x="7341239" y="1078904"/>
                  </a:cubicBezTo>
                  <a:lnTo>
                    <a:pt x="7541384" y="1178977"/>
                  </a:lnTo>
                  <a:cubicBezTo>
                    <a:pt x="7441311" y="1349412"/>
                    <a:pt x="7302930" y="1431503"/>
                    <a:pt x="7084022" y="1431503"/>
                  </a:cubicBezTo>
                  <a:cubicBezTo>
                    <a:pt x="6807260" y="1431503"/>
                    <a:pt x="6572715" y="1221195"/>
                    <a:pt x="6572715" y="906123"/>
                  </a:cubicBezTo>
                  <a:cubicBezTo>
                    <a:pt x="6572715" y="591052"/>
                    <a:pt x="6808041" y="380744"/>
                    <a:pt x="7096531" y="380744"/>
                  </a:cubicBezTo>
                  <a:moveTo>
                    <a:pt x="3482984" y="629361"/>
                  </a:moveTo>
                  <a:lnTo>
                    <a:pt x="3779292" y="629361"/>
                  </a:lnTo>
                  <a:lnTo>
                    <a:pt x="3779292" y="1403357"/>
                  </a:lnTo>
                  <a:lnTo>
                    <a:pt x="4031818" y="1403357"/>
                  </a:lnTo>
                  <a:lnTo>
                    <a:pt x="4031818" y="629361"/>
                  </a:lnTo>
                  <a:lnTo>
                    <a:pt x="4328126" y="629361"/>
                  </a:lnTo>
                  <a:lnTo>
                    <a:pt x="4328126" y="408889"/>
                  </a:lnTo>
                  <a:lnTo>
                    <a:pt x="3482984" y="408889"/>
                  </a:lnTo>
                  <a:lnTo>
                    <a:pt x="3482984" y="629361"/>
                  </a:lnTo>
                  <a:close/>
                  <a:moveTo>
                    <a:pt x="9156612" y="1194613"/>
                  </a:moveTo>
                  <a:cubicBezTo>
                    <a:pt x="9305157" y="1194613"/>
                    <a:pt x="9443539" y="1088286"/>
                    <a:pt x="9443539" y="906123"/>
                  </a:cubicBezTo>
                  <a:cubicBezTo>
                    <a:pt x="9443539" y="723960"/>
                    <a:pt x="9305157" y="617634"/>
                    <a:pt x="9156612" y="617634"/>
                  </a:cubicBezTo>
                  <a:cubicBezTo>
                    <a:pt x="9008067" y="617634"/>
                    <a:pt x="8869687" y="723960"/>
                    <a:pt x="8869687" y="906123"/>
                  </a:cubicBezTo>
                  <a:cubicBezTo>
                    <a:pt x="8869687" y="1088286"/>
                    <a:pt x="9008067" y="1194613"/>
                    <a:pt x="9156612" y="1194613"/>
                  </a:cubicBezTo>
                  <a:moveTo>
                    <a:pt x="9156612" y="380744"/>
                  </a:moveTo>
                  <a:cubicBezTo>
                    <a:pt x="9429466" y="380744"/>
                    <a:pt x="9699973" y="557434"/>
                    <a:pt x="9699973" y="906123"/>
                  </a:cubicBezTo>
                  <a:cubicBezTo>
                    <a:pt x="9699973" y="1254813"/>
                    <a:pt x="9429466" y="1431503"/>
                    <a:pt x="9156612" y="1431503"/>
                  </a:cubicBezTo>
                  <a:cubicBezTo>
                    <a:pt x="8883759" y="1431503"/>
                    <a:pt x="8613251" y="1254813"/>
                    <a:pt x="8613251" y="906123"/>
                  </a:cubicBezTo>
                  <a:cubicBezTo>
                    <a:pt x="8613251" y="557434"/>
                    <a:pt x="8883759" y="380744"/>
                    <a:pt x="9156612" y="380744"/>
                  </a:cubicBezTo>
                  <a:moveTo>
                    <a:pt x="10704605" y="408889"/>
                  </a:moveTo>
                  <a:lnTo>
                    <a:pt x="10430188" y="1105486"/>
                  </a:lnTo>
                  <a:lnTo>
                    <a:pt x="10155772" y="408889"/>
                  </a:lnTo>
                  <a:lnTo>
                    <a:pt x="9825845" y="408889"/>
                  </a:lnTo>
                  <a:lnTo>
                    <a:pt x="9825845" y="1401012"/>
                  </a:lnTo>
                  <a:lnTo>
                    <a:pt x="10065863" y="1401012"/>
                  </a:lnTo>
                  <a:lnTo>
                    <a:pt x="10065863" y="772433"/>
                  </a:lnTo>
                  <a:lnTo>
                    <a:pt x="10331680" y="1401012"/>
                  </a:lnTo>
                  <a:lnTo>
                    <a:pt x="10527915" y="1401012"/>
                  </a:lnTo>
                  <a:lnTo>
                    <a:pt x="10793732" y="772433"/>
                  </a:lnTo>
                  <a:lnTo>
                    <a:pt x="10793732" y="1401012"/>
                  </a:lnTo>
                  <a:lnTo>
                    <a:pt x="11033749" y="1401012"/>
                  </a:lnTo>
                  <a:lnTo>
                    <a:pt x="11033749" y="408889"/>
                  </a:lnTo>
                  <a:lnTo>
                    <a:pt x="10704605" y="408889"/>
                  </a:lnTo>
                  <a:close/>
                  <a:moveTo>
                    <a:pt x="264253" y="3067841"/>
                  </a:moveTo>
                  <a:lnTo>
                    <a:pt x="264253" y="2666770"/>
                  </a:lnTo>
                  <a:lnTo>
                    <a:pt x="570725" y="2666770"/>
                  </a:lnTo>
                  <a:cubicBezTo>
                    <a:pt x="741160" y="2666770"/>
                    <a:pt x="819342" y="2742606"/>
                    <a:pt x="819342" y="2866915"/>
                  </a:cubicBezTo>
                  <a:cubicBezTo>
                    <a:pt x="819342" y="2991223"/>
                    <a:pt x="741160" y="3067059"/>
                    <a:pt x="570725" y="3067059"/>
                  </a:cubicBezTo>
                  <a:lnTo>
                    <a:pt x="264253" y="3067059"/>
                  </a:lnTo>
                  <a:close/>
                  <a:moveTo>
                    <a:pt x="0" y="3304731"/>
                  </a:moveTo>
                  <a:lnTo>
                    <a:pt x="591052" y="3304731"/>
                  </a:lnTo>
                  <a:cubicBezTo>
                    <a:pt x="877978" y="3304731"/>
                    <a:pt x="1084377" y="3142113"/>
                    <a:pt x="1084377" y="2867696"/>
                  </a:cubicBezTo>
                  <a:cubicBezTo>
                    <a:pt x="1084377" y="2593279"/>
                    <a:pt x="877978" y="2434571"/>
                    <a:pt x="591052" y="2434571"/>
                  </a:cubicBezTo>
                  <a:lnTo>
                    <a:pt x="264253" y="2434571"/>
                  </a:lnTo>
                  <a:lnTo>
                    <a:pt x="264253" y="2133572"/>
                  </a:lnTo>
                  <a:lnTo>
                    <a:pt x="983523" y="2133572"/>
                  </a:lnTo>
                  <a:lnTo>
                    <a:pt x="983523" y="1901373"/>
                  </a:lnTo>
                  <a:lnTo>
                    <a:pt x="0" y="1901373"/>
                  </a:lnTo>
                  <a:lnTo>
                    <a:pt x="0" y="3304731"/>
                  </a:lnTo>
                  <a:close/>
                  <a:moveTo>
                    <a:pt x="1243085" y="3304731"/>
                  </a:moveTo>
                  <a:lnTo>
                    <a:pt x="1503430" y="3304731"/>
                  </a:lnTo>
                  <a:lnTo>
                    <a:pt x="1936555" y="2649570"/>
                  </a:lnTo>
                  <a:lnTo>
                    <a:pt x="1936555" y="3304731"/>
                  </a:lnTo>
                  <a:lnTo>
                    <a:pt x="2177354" y="3304731"/>
                  </a:lnTo>
                  <a:lnTo>
                    <a:pt x="2177354" y="2310262"/>
                  </a:lnTo>
                  <a:lnTo>
                    <a:pt x="1917009" y="2310262"/>
                  </a:lnTo>
                  <a:lnTo>
                    <a:pt x="1483884" y="2965423"/>
                  </a:lnTo>
                  <a:lnTo>
                    <a:pt x="1483884" y="2310262"/>
                  </a:lnTo>
                  <a:lnTo>
                    <a:pt x="1243085" y="2310262"/>
                  </a:lnTo>
                  <a:lnTo>
                    <a:pt x="1243085" y="3304731"/>
                  </a:lnTo>
                  <a:close/>
                  <a:moveTo>
                    <a:pt x="3183549" y="3015459"/>
                  </a:moveTo>
                  <a:cubicBezTo>
                    <a:pt x="3183549" y="2888805"/>
                    <a:pt x="3097549" y="2812969"/>
                    <a:pt x="2974805" y="2778569"/>
                  </a:cubicBezTo>
                  <a:cubicBezTo>
                    <a:pt x="3077222" y="2738697"/>
                    <a:pt x="3142895" y="2665988"/>
                    <a:pt x="3142895" y="2547934"/>
                  </a:cubicBezTo>
                  <a:cubicBezTo>
                    <a:pt x="3142895" y="2395480"/>
                    <a:pt x="3030314" y="2281335"/>
                    <a:pt x="2772315" y="2281335"/>
                  </a:cubicBezTo>
                  <a:cubicBezTo>
                    <a:pt x="2519789" y="2281335"/>
                    <a:pt x="2377498" y="2413462"/>
                    <a:pt x="2377498" y="2572170"/>
                  </a:cubicBezTo>
                  <a:cubicBezTo>
                    <a:pt x="2377498" y="2610479"/>
                    <a:pt x="2385316" y="2640188"/>
                    <a:pt x="2397825" y="2672243"/>
                  </a:cubicBezTo>
                  <a:lnTo>
                    <a:pt x="2612043" y="2600316"/>
                  </a:lnTo>
                  <a:cubicBezTo>
                    <a:pt x="2608134" y="2590152"/>
                    <a:pt x="2605788" y="2579989"/>
                    <a:pt x="2605788" y="2564352"/>
                  </a:cubicBezTo>
                  <a:cubicBezTo>
                    <a:pt x="2605788" y="2515880"/>
                    <a:pt x="2669897" y="2478353"/>
                    <a:pt x="2769969" y="2478353"/>
                  </a:cubicBezTo>
                  <a:cubicBezTo>
                    <a:pt x="2863787" y="2478353"/>
                    <a:pt x="2908351" y="2518225"/>
                    <a:pt x="2908351" y="2578425"/>
                  </a:cubicBezTo>
                  <a:cubicBezTo>
                    <a:pt x="2908351" y="2642534"/>
                    <a:pt x="2862223" y="2686315"/>
                    <a:pt x="2754333" y="2686315"/>
                  </a:cubicBezTo>
                  <a:lnTo>
                    <a:pt x="2678497" y="2686315"/>
                  </a:lnTo>
                  <a:lnTo>
                    <a:pt x="2678497" y="2886460"/>
                  </a:lnTo>
                  <a:lnTo>
                    <a:pt x="2760587" y="2886460"/>
                  </a:lnTo>
                  <a:cubicBezTo>
                    <a:pt x="2873169" y="2886460"/>
                    <a:pt x="2938841" y="2930242"/>
                    <a:pt x="2938841" y="3004514"/>
                  </a:cubicBezTo>
                  <a:cubicBezTo>
                    <a:pt x="2938841" y="3080350"/>
                    <a:pt x="2870823" y="3135077"/>
                    <a:pt x="2748079" y="3135077"/>
                  </a:cubicBezTo>
                  <a:cubicBezTo>
                    <a:pt x="2663642" y="3135077"/>
                    <a:pt x="2579988" y="3091295"/>
                    <a:pt x="2579988" y="3008423"/>
                  </a:cubicBezTo>
                  <a:cubicBezTo>
                    <a:pt x="2579988" y="2988096"/>
                    <a:pt x="2583898" y="2972460"/>
                    <a:pt x="2590152" y="2958387"/>
                  </a:cubicBezTo>
                  <a:lnTo>
                    <a:pt x="2377498" y="2890369"/>
                  </a:lnTo>
                  <a:cubicBezTo>
                    <a:pt x="2365771" y="2916169"/>
                    <a:pt x="2353262" y="2964641"/>
                    <a:pt x="2353262" y="3010768"/>
                  </a:cubicBezTo>
                  <a:cubicBezTo>
                    <a:pt x="2353262" y="3192931"/>
                    <a:pt x="2491643" y="3331312"/>
                    <a:pt x="2748079" y="3331312"/>
                  </a:cubicBezTo>
                  <a:cubicBezTo>
                    <a:pt x="3029532" y="3332094"/>
                    <a:pt x="3183549" y="3203877"/>
                    <a:pt x="3183549" y="3015459"/>
                  </a:cubicBezTo>
                  <a:moveTo>
                    <a:pt x="3354767" y="3304731"/>
                  </a:moveTo>
                  <a:lnTo>
                    <a:pt x="3607293" y="3304731"/>
                  </a:lnTo>
                  <a:lnTo>
                    <a:pt x="3607293" y="2902096"/>
                  </a:lnTo>
                  <a:lnTo>
                    <a:pt x="4020091" y="2902096"/>
                  </a:lnTo>
                  <a:lnTo>
                    <a:pt x="4020091" y="3304731"/>
                  </a:lnTo>
                  <a:lnTo>
                    <a:pt x="4272617" y="3304731"/>
                  </a:lnTo>
                  <a:lnTo>
                    <a:pt x="4272617" y="2310262"/>
                  </a:lnTo>
                  <a:lnTo>
                    <a:pt x="4020091" y="2310262"/>
                  </a:lnTo>
                  <a:lnTo>
                    <a:pt x="4020091" y="2680843"/>
                  </a:lnTo>
                  <a:lnTo>
                    <a:pt x="3607293" y="2680843"/>
                  </a:lnTo>
                  <a:lnTo>
                    <a:pt x="3607293" y="2310262"/>
                  </a:lnTo>
                  <a:lnTo>
                    <a:pt x="3354767" y="2310262"/>
                  </a:lnTo>
                  <a:lnTo>
                    <a:pt x="3354767" y="3304731"/>
                  </a:lnTo>
                  <a:close/>
                  <a:moveTo>
                    <a:pt x="4663524" y="2675370"/>
                  </a:moveTo>
                  <a:cubicBezTo>
                    <a:pt x="4699488" y="2562789"/>
                    <a:pt x="4799560" y="2475225"/>
                    <a:pt x="4932468" y="2475225"/>
                  </a:cubicBezTo>
                  <a:cubicBezTo>
                    <a:pt x="5072413" y="2475225"/>
                    <a:pt x="5167013" y="2551062"/>
                    <a:pt x="5191249" y="2675370"/>
                  </a:cubicBezTo>
                  <a:lnTo>
                    <a:pt x="4663524" y="2675370"/>
                  </a:lnTo>
                  <a:moveTo>
                    <a:pt x="4931687" y="3116313"/>
                  </a:moveTo>
                  <a:cubicBezTo>
                    <a:pt x="4783142" y="3116313"/>
                    <a:pt x="4675252" y="3020150"/>
                    <a:pt x="4658833" y="2867696"/>
                  </a:cubicBezTo>
                  <a:lnTo>
                    <a:pt x="5424230" y="2867696"/>
                  </a:lnTo>
                  <a:lnTo>
                    <a:pt x="5424230" y="2779351"/>
                  </a:lnTo>
                  <a:cubicBezTo>
                    <a:pt x="5424230" y="2488516"/>
                    <a:pt x="5224085" y="2282117"/>
                    <a:pt x="4939505" y="2282117"/>
                  </a:cubicBezTo>
                  <a:cubicBezTo>
                    <a:pt x="4651015" y="2282117"/>
                    <a:pt x="4416471" y="2492425"/>
                    <a:pt x="4416471" y="2807497"/>
                  </a:cubicBezTo>
                  <a:cubicBezTo>
                    <a:pt x="4416471" y="3122568"/>
                    <a:pt x="4651015" y="3332876"/>
                    <a:pt x="4927778" y="3332876"/>
                  </a:cubicBezTo>
                  <a:cubicBezTo>
                    <a:pt x="5145904" y="3332876"/>
                    <a:pt x="5284285" y="3250786"/>
                    <a:pt x="5384357" y="3080350"/>
                  </a:cubicBezTo>
                  <a:lnTo>
                    <a:pt x="5184213" y="2980278"/>
                  </a:lnTo>
                  <a:cubicBezTo>
                    <a:pt x="5122449" y="3057677"/>
                    <a:pt x="5066159" y="3116313"/>
                    <a:pt x="4931687" y="3116313"/>
                  </a:cubicBezTo>
                  <a:moveTo>
                    <a:pt x="6084081" y="3332094"/>
                  </a:moveTo>
                  <a:cubicBezTo>
                    <a:pt x="6296735" y="3332094"/>
                    <a:pt x="6439025" y="3235931"/>
                    <a:pt x="6539098" y="3065495"/>
                  </a:cubicBezTo>
                  <a:lnTo>
                    <a:pt x="6330353" y="2951350"/>
                  </a:lnTo>
                  <a:cubicBezTo>
                    <a:pt x="6270153" y="3035787"/>
                    <a:pt x="6206044" y="3095986"/>
                    <a:pt x="6081736" y="3095986"/>
                  </a:cubicBezTo>
                  <a:cubicBezTo>
                    <a:pt x="5929282" y="3095986"/>
                    <a:pt x="5817483" y="2985750"/>
                    <a:pt x="5817483" y="2807497"/>
                  </a:cubicBezTo>
                  <a:cubicBezTo>
                    <a:pt x="5817483" y="2630806"/>
                    <a:pt x="5933973" y="2519007"/>
                    <a:pt x="6081736" y="2519007"/>
                  </a:cubicBezTo>
                  <a:cubicBezTo>
                    <a:pt x="6171645" y="2519007"/>
                    <a:pt x="6249826" y="2561225"/>
                    <a:pt x="6312372" y="2655043"/>
                  </a:cubicBezTo>
                  <a:lnTo>
                    <a:pt x="6528934" y="2530734"/>
                  </a:lnTo>
                  <a:cubicBezTo>
                    <a:pt x="6457007" y="2376717"/>
                    <a:pt x="6300644" y="2282117"/>
                    <a:pt x="6084081" y="2282117"/>
                  </a:cubicBezTo>
                  <a:cubicBezTo>
                    <a:pt x="5801846" y="2282117"/>
                    <a:pt x="5561047" y="2490862"/>
                    <a:pt x="5561047" y="2807497"/>
                  </a:cubicBezTo>
                  <a:cubicBezTo>
                    <a:pt x="5561047" y="3124132"/>
                    <a:pt x="5789337" y="3332094"/>
                    <a:pt x="6084081" y="3332094"/>
                  </a:cubicBezTo>
                </a:path>
              </a:pathLst>
            </a:custGeom>
            <a:solidFill>
              <a:srgbClr val="101828"/>
            </a:solidFill>
            <a:ln w="7818" cap="flat">
              <a:noFill/>
              <a:prstDash val="solid"/>
              <a:miter/>
            </a:ln>
          </p:spPr>
          <p:txBody>
            <a:bodyPr rtlCol="0" anchor="ctr"/>
            <a:lstStyle/>
            <a:p>
              <a:endParaRPr lang="ru-RU" sz="1587" dirty="0"/>
            </a:p>
          </p:txBody>
        </p:sp>
        <p:grpSp>
          <p:nvGrpSpPr>
            <p:cNvPr id="57" name="Рисунок 25">
              <a:extLst>
                <a:ext uri="{FF2B5EF4-FFF2-40B4-BE49-F238E27FC236}">
                  <a16:creationId xmlns:a16="http://schemas.microsoft.com/office/drawing/2014/main" id="{F6375F83-9F68-4D52-9910-F476AAA2EC7F}"/>
                </a:ext>
              </a:extLst>
            </p:cNvPr>
            <p:cNvGrpSpPr/>
            <p:nvPr/>
          </p:nvGrpSpPr>
          <p:grpSpPr>
            <a:xfrm>
              <a:off x="-233" y="1916027"/>
              <a:ext cx="2345677" cy="3909073"/>
              <a:chOff x="-233" y="1916027"/>
              <a:chExt cx="2345677" cy="3909073"/>
            </a:xfrm>
          </p:grpSpPr>
          <p:sp>
            <p:nvSpPr>
              <p:cNvPr id="58" name="Полилиния: фигура 57">
                <a:extLst>
                  <a:ext uri="{FF2B5EF4-FFF2-40B4-BE49-F238E27FC236}">
                    <a16:creationId xmlns:a16="http://schemas.microsoft.com/office/drawing/2014/main" id="{5D26EFD5-A995-4361-BEF5-65191B621EFD}"/>
                  </a:ext>
                </a:extLst>
              </p:cNvPr>
              <p:cNvSpPr/>
              <p:nvPr/>
            </p:nvSpPr>
            <p:spPr>
              <a:xfrm>
                <a:off x="88345" y="4800141"/>
                <a:ext cx="1777846" cy="1024959"/>
              </a:xfrm>
              <a:custGeom>
                <a:avLst/>
                <a:gdLst>
                  <a:gd name="connsiteX0" fmla="*/ 1777846 w 1777846"/>
                  <a:gd name="connsiteY0" fmla="*/ 1024959 h 1024959"/>
                  <a:gd name="connsiteX1" fmla="*/ 182945 w 1777846"/>
                  <a:gd name="connsiteY1" fmla="*/ 1024959 h 1024959"/>
                  <a:gd name="connsiteX2" fmla="*/ 0 w 1777846"/>
                  <a:gd name="connsiteY2" fmla="*/ 831851 h 1024959"/>
                  <a:gd name="connsiteX3" fmla="*/ 56291 w 1777846"/>
                  <a:gd name="connsiteY3" fmla="*/ 695815 h 1024959"/>
                  <a:gd name="connsiteX4" fmla="*/ 752106 w 1777846"/>
                  <a:gd name="connsiteY4" fmla="*/ 0 h 1024959"/>
                  <a:gd name="connsiteX5" fmla="*/ 1777846 w 1777846"/>
                  <a:gd name="connsiteY5" fmla="*/ 1024959 h 10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7846" h="1024959">
                    <a:moveTo>
                      <a:pt x="1777846" y="1024959"/>
                    </a:moveTo>
                    <a:lnTo>
                      <a:pt x="182945" y="1024959"/>
                    </a:lnTo>
                    <a:cubicBezTo>
                      <a:pt x="68018" y="1024959"/>
                      <a:pt x="0" y="921759"/>
                      <a:pt x="0" y="831851"/>
                    </a:cubicBezTo>
                    <a:cubicBezTo>
                      <a:pt x="0" y="778688"/>
                      <a:pt x="21891" y="730215"/>
                      <a:pt x="56291" y="695815"/>
                    </a:cubicBezTo>
                    <a:lnTo>
                      <a:pt x="752106" y="0"/>
                    </a:lnTo>
                    <a:lnTo>
                      <a:pt x="1777846" y="1024959"/>
                    </a:lnTo>
                    <a:close/>
                  </a:path>
                </a:pathLst>
              </a:custGeom>
              <a:solidFill>
                <a:srgbClr val="FF4F12"/>
              </a:solidFill>
              <a:ln w="7818" cap="flat">
                <a:noFill/>
                <a:prstDash val="solid"/>
                <a:miter/>
              </a:ln>
            </p:spPr>
            <p:txBody>
              <a:bodyPr rtlCol="0" anchor="ctr"/>
              <a:lstStyle/>
              <a:p>
                <a:endParaRPr lang="ru-RU" sz="1587" dirty="0"/>
              </a:p>
            </p:txBody>
          </p:sp>
          <p:sp>
            <p:nvSpPr>
              <p:cNvPr id="70" name="Полилиния: фигура 69">
                <a:extLst>
                  <a:ext uri="{FF2B5EF4-FFF2-40B4-BE49-F238E27FC236}">
                    <a16:creationId xmlns:a16="http://schemas.microsoft.com/office/drawing/2014/main" id="{E12CC622-652F-4737-8820-16EAFABFBA0B}"/>
                  </a:ext>
                </a:extLst>
              </p:cNvPr>
              <p:cNvSpPr/>
              <p:nvPr/>
            </p:nvSpPr>
            <p:spPr>
              <a:xfrm>
                <a:off x="-233" y="1916027"/>
                <a:ext cx="2345677" cy="3909073"/>
              </a:xfrm>
              <a:custGeom>
                <a:avLst/>
                <a:gdLst>
                  <a:gd name="connsiteX0" fmla="*/ 271523 w 2345677"/>
                  <a:gd name="connsiteY0" fmla="*/ 3909074 h 3909073"/>
                  <a:gd name="connsiteX1" fmla="*/ 234 w 2345677"/>
                  <a:gd name="connsiteY1" fmla="*/ 3621366 h 3909073"/>
                  <a:gd name="connsiteX2" fmla="*/ 234 w 2345677"/>
                  <a:gd name="connsiteY2" fmla="*/ 1476848 h 3909073"/>
                  <a:gd name="connsiteX3" fmla="*/ 192560 w 2345677"/>
                  <a:gd name="connsiteY3" fmla="*/ 776342 h 3909073"/>
                  <a:gd name="connsiteX4" fmla="*/ 968902 w 2345677"/>
                  <a:gd name="connsiteY4" fmla="*/ 0 h 3909073"/>
                  <a:gd name="connsiteX5" fmla="*/ 2345678 w 2345677"/>
                  <a:gd name="connsiteY5" fmla="*/ 1379121 h 3909073"/>
                  <a:gd name="connsiteX6" fmla="*/ 144869 w 2345677"/>
                  <a:gd name="connsiteY6" fmla="*/ 3579930 h 3909073"/>
                  <a:gd name="connsiteX7" fmla="*/ 88579 w 2345677"/>
                  <a:gd name="connsiteY7" fmla="*/ 3715965 h 3909073"/>
                  <a:gd name="connsiteX8" fmla="*/ 271523 w 2345677"/>
                  <a:gd name="connsiteY8" fmla="*/ 3909074 h 39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677" h="3909073">
                    <a:moveTo>
                      <a:pt x="271523" y="3909074"/>
                    </a:moveTo>
                    <a:cubicBezTo>
                      <a:pt x="151124" y="3909074"/>
                      <a:pt x="234" y="3812910"/>
                      <a:pt x="234" y="3621366"/>
                    </a:cubicBezTo>
                    <a:lnTo>
                      <a:pt x="234" y="1476848"/>
                    </a:lnTo>
                    <a:cubicBezTo>
                      <a:pt x="234" y="1186795"/>
                      <a:pt x="-14621" y="983523"/>
                      <a:pt x="192560" y="776342"/>
                    </a:cubicBezTo>
                    <a:lnTo>
                      <a:pt x="968902" y="0"/>
                    </a:lnTo>
                    <a:lnTo>
                      <a:pt x="2345678" y="1379121"/>
                    </a:lnTo>
                    <a:lnTo>
                      <a:pt x="144869" y="3579930"/>
                    </a:lnTo>
                    <a:cubicBezTo>
                      <a:pt x="109688" y="3615111"/>
                      <a:pt x="88579" y="3662802"/>
                      <a:pt x="88579" y="3715965"/>
                    </a:cubicBezTo>
                    <a:cubicBezTo>
                      <a:pt x="88579" y="3805874"/>
                      <a:pt x="156597" y="3909074"/>
                      <a:pt x="271523" y="3909074"/>
                    </a:cubicBezTo>
                    <a:close/>
                  </a:path>
                </a:pathLst>
              </a:custGeom>
              <a:solidFill>
                <a:srgbClr val="7B939B"/>
              </a:solidFill>
              <a:ln w="7818" cap="flat">
                <a:noFill/>
                <a:prstDash val="solid"/>
                <a:miter/>
              </a:ln>
            </p:spPr>
            <p:txBody>
              <a:bodyPr rtlCol="0" anchor="ctr"/>
              <a:lstStyle/>
              <a:p>
                <a:endParaRPr lang="ru-RU" sz="1587" dirty="0"/>
              </a:p>
            </p:txBody>
          </p:sp>
        </p:grpSp>
      </p:grpSp>
      <p:grpSp>
        <p:nvGrpSpPr>
          <p:cNvPr id="71" name="Рисунок 37">
            <a:extLst>
              <a:ext uri="{FF2B5EF4-FFF2-40B4-BE49-F238E27FC236}">
                <a16:creationId xmlns:a16="http://schemas.microsoft.com/office/drawing/2014/main" id="{03D20D0F-5D39-412F-BD6E-3310120668C4}"/>
              </a:ext>
            </a:extLst>
          </p:cNvPr>
          <p:cNvGrpSpPr/>
          <p:nvPr userDrawn="1"/>
        </p:nvGrpSpPr>
        <p:grpSpPr>
          <a:xfrm>
            <a:off x="8137797" y="3577890"/>
            <a:ext cx="4053600" cy="3281919"/>
            <a:chOff x="9231313" y="4054942"/>
            <a:chExt cx="4598303" cy="3719507"/>
          </a:xfrm>
        </p:grpSpPr>
        <p:sp>
          <p:nvSpPr>
            <p:cNvPr id="72" name="Полилиния: фигура 71">
              <a:extLst>
                <a:ext uri="{FF2B5EF4-FFF2-40B4-BE49-F238E27FC236}">
                  <a16:creationId xmlns:a16="http://schemas.microsoft.com/office/drawing/2014/main" id="{39390B46-0EFA-4519-828A-56DC887923C5}"/>
                </a:ext>
              </a:extLst>
            </p:cNvPr>
            <p:cNvSpPr/>
            <p:nvPr/>
          </p:nvSpPr>
          <p:spPr>
            <a:xfrm>
              <a:off x="9231313" y="4279082"/>
              <a:ext cx="4598303" cy="3495367"/>
            </a:xfrm>
            <a:custGeom>
              <a:avLst/>
              <a:gdLst>
                <a:gd name="connsiteX0" fmla="*/ 4598304 w 4598303"/>
                <a:gd name="connsiteY0" fmla="*/ 0 h 3495367"/>
                <a:gd name="connsiteX1" fmla="*/ 3593087 w 4598303"/>
                <a:gd name="connsiteY1" fmla="*/ 1534818 h 3495367"/>
                <a:gd name="connsiteX2" fmla="*/ 2779893 w 4598303"/>
                <a:gd name="connsiteY2" fmla="*/ 2152572 h 3495367"/>
                <a:gd name="connsiteX3" fmla="*/ 2290610 w 4598303"/>
                <a:gd name="connsiteY3" fmla="*/ 2391064 h 3495367"/>
                <a:gd name="connsiteX4" fmla="*/ 0 w 4598303"/>
                <a:gd name="connsiteY4" fmla="*/ 3495367 h 3495367"/>
                <a:gd name="connsiteX5" fmla="*/ 0 w 4598303"/>
                <a:gd name="connsiteY5" fmla="*/ 3495367 h 3495367"/>
                <a:gd name="connsiteX6" fmla="*/ 4598304 w 4598303"/>
                <a:gd name="connsiteY6" fmla="*/ 3495367 h 3495367"/>
                <a:gd name="connsiteX7" fmla="*/ 4598304 w 4598303"/>
                <a:gd name="connsiteY7" fmla="*/ 0 h 349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8303" h="3495367">
                  <a:moveTo>
                    <a:pt x="4598304" y="0"/>
                  </a:moveTo>
                  <a:cubicBezTo>
                    <a:pt x="4307194" y="720941"/>
                    <a:pt x="3920415" y="1215008"/>
                    <a:pt x="3593087" y="1534818"/>
                  </a:cubicBezTo>
                  <a:cubicBezTo>
                    <a:pt x="3333411" y="1789027"/>
                    <a:pt x="3119521" y="1949615"/>
                    <a:pt x="2779893" y="2152572"/>
                  </a:cubicBezTo>
                  <a:cubicBezTo>
                    <a:pt x="2635705" y="2239359"/>
                    <a:pt x="2449149" y="2314528"/>
                    <a:pt x="2290610" y="2391064"/>
                  </a:cubicBezTo>
                  <a:lnTo>
                    <a:pt x="0" y="3495367"/>
                  </a:lnTo>
                  <a:lnTo>
                    <a:pt x="0" y="3495367"/>
                  </a:lnTo>
                  <a:lnTo>
                    <a:pt x="4598304" y="3495367"/>
                  </a:lnTo>
                  <a:lnTo>
                    <a:pt x="4598304" y="0"/>
                  </a:lnTo>
                  <a:close/>
                </a:path>
              </a:pathLst>
            </a:custGeom>
            <a:solidFill>
              <a:schemeClr val="tx2"/>
            </a:solidFill>
            <a:ln w="6822" cap="flat">
              <a:noFill/>
              <a:prstDash val="solid"/>
              <a:miter/>
            </a:ln>
          </p:spPr>
          <p:txBody>
            <a:bodyPr rtlCol="0" anchor="ctr"/>
            <a:lstStyle/>
            <a:p>
              <a:endParaRPr lang="ru-RU" sz="1587" dirty="0"/>
            </a:p>
          </p:txBody>
        </p:sp>
        <p:grpSp>
          <p:nvGrpSpPr>
            <p:cNvPr id="73" name="Рисунок 37">
              <a:extLst>
                <a:ext uri="{FF2B5EF4-FFF2-40B4-BE49-F238E27FC236}">
                  <a16:creationId xmlns:a16="http://schemas.microsoft.com/office/drawing/2014/main" id="{6DD07C73-7DE5-4BF0-87CD-51EB25D62FF3}"/>
                </a:ext>
              </a:extLst>
            </p:cNvPr>
            <p:cNvGrpSpPr/>
            <p:nvPr/>
          </p:nvGrpSpPr>
          <p:grpSpPr>
            <a:xfrm>
              <a:off x="11334683" y="6787000"/>
              <a:ext cx="2053485" cy="554201"/>
              <a:chOff x="11334683" y="6787000"/>
              <a:chExt cx="2053485" cy="554201"/>
            </a:xfrm>
            <a:solidFill>
              <a:srgbClr val="FFFFFF"/>
            </a:solidFill>
          </p:grpSpPr>
          <p:sp>
            <p:nvSpPr>
              <p:cNvPr id="75" name="Полилиния: фигура 74">
                <a:extLst>
                  <a:ext uri="{FF2B5EF4-FFF2-40B4-BE49-F238E27FC236}">
                    <a16:creationId xmlns:a16="http://schemas.microsoft.com/office/drawing/2014/main" id="{BA969016-D4C8-48A3-A0D5-63C3C74C3CE6}"/>
                  </a:ext>
                </a:extLst>
              </p:cNvPr>
              <p:cNvSpPr/>
              <p:nvPr/>
            </p:nvSpPr>
            <p:spPr>
              <a:xfrm>
                <a:off x="11781598" y="6787000"/>
                <a:ext cx="162638" cy="211840"/>
              </a:xfrm>
              <a:custGeom>
                <a:avLst/>
                <a:gdLst>
                  <a:gd name="connsiteX0" fmla="*/ 64919 w 162638"/>
                  <a:gd name="connsiteY0" fmla="*/ 30068 h 211840"/>
                  <a:gd name="connsiteX1" fmla="*/ 0 w 162638"/>
                  <a:gd name="connsiteY1" fmla="*/ 30068 h 211840"/>
                  <a:gd name="connsiteX2" fmla="*/ 0 w 162638"/>
                  <a:gd name="connsiteY2" fmla="*/ 0 h 211840"/>
                  <a:gd name="connsiteX3" fmla="*/ 162639 w 162638"/>
                  <a:gd name="connsiteY3" fmla="*/ 0 h 211840"/>
                  <a:gd name="connsiteX4" fmla="*/ 162639 w 162638"/>
                  <a:gd name="connsiteY4" fmla="*/ 30068 h 211840"/>
                  <a:gd name="connsiteX5" fmla="*/ 97720 w 162638"/>
                  <a:gd name="connsiteY5" fmla="*/ 30068 h 211840"/>
                  <a:gd name="connsiteX6" fmla="*/ 97720 w 162638"/>
                  <a:gd name="connsiteY6" fmla="*/ 211840 h 211840"/>
                  <a:gd name="connsiteX7" fmla="*/ 64919 w 162638"/>
                  <a:gd name="connsiteY7" fmla="*/ 211840 h 211840"/>
                  <a:gd name="connsiteX8" fmla="*/ 64919 w 162638"/>
                  <a:gd name="connsiteY8" fmla="*/ 30068 h 21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38" h="211840">
                    <a:moveTo>
                      <a:pt x="64919" y="30068"/>
                    </a:moveTo>
                    <a:lnTo>
                      <a:pt x="0" y="30068"/>
                    </a:lnTo>
                    <a:lnTo>
                      <a:pt x="0" y="0"/>
                    </a:lnTo>
                    <a:lnTo>
                      <a:pt x="162639" y="0"/>
                    </a:lnTo>
                    <a:lnTo>
                      <a:pt x="162639" y="30068"/>
                    </a:lnTo>
                    <a:lnTo>
                      <a:pt x="97720" y="30068"/>
                    </a:lnTo>
                    <a:lnTo>
                      <a:pt x="97720" y="211840"/>
                    </a:lnTo>
                    <a:lnTo>
                      <a:pt x="64919" y="211840"/>
                    </a:lnTo>
                    <a:lnTo>
                      <a:pt x="64919" y="30068"/>
                    </a:lnTo>
                    <a:close/>
                  </a:path>
                </a:pathLst>
              </a:custGeom>
              <a:solidFill>
                <a:srgbClr val="FFFFFF"/>
              </a:solidFill>
              <a:ln w="6822"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A2774C23-0A98-4DA6-8BDE-E9247A94C32D}"/>
                  </a:ext>
                </a:extLst>
              </p:cNvPr>
              <p:cNvSpPr/>
              <p:nvPr/>
            </p:nvSpPr>
            <p:spPr>
              <a:xfrm>
                <a:off x="11933303" y="6844402"/>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3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8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3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3"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8" y="86103"/>
                    </a:lnTo>
                    <a:cubicBezTo>
                      <a:pt x="32118" y="112754"/>
                      <a:pt x="49885" y="131204"/>
                      <a:pt x="76536" y="131204"/>
                    </a:cubicBezTo>
                    <a:close/>
                    <a:moveTo>
                      <a:pt x="30751" y="61502"/>
                    </a:moveTo>
                    <a:lnTo>
                      <a:pt x="119587" y="61502"/>
                    </a:lnTo>
                    <a:cubicBezTo>
                      <a:pt x="116854" y="38268"/>
                      <a:pt x="99087" y="24601"/>
                      <a:pt x="75853" y="24601"/>
                    </a:cubicBezTo>
                    <a:cubicBezTo>
                      <a:pt x="53302" y="24601"/>
                      <a:pt x="36218"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79" name="Полилиния: фигура 78">
                <a:extLst>
                  <a:ext uri="{FF2B5EF4-FFF2-40B4-BE49-F238E27FC236}">
                    <a16:creationId xmlns:a16="http://schemas.microsoft.com/office/drawing/2014/main" id="{C333A2E0-8BA7-40F6-AE17-D1295456CFC0}"/>
                  </a:ext>
                </a:extLst>
              </p:cNvPr>
              <p:cNvSpPr/>
              <p:nvPr/>
            </p:nvSpPr>
            <p:spPr>
              <a:xfrm>
                <a:off x="12089791" y="6848502"/>
                <a:ext cx="142821" cy="150338"/>
              </a:xfrm>
              <a:custGeom>
                <a:avLst/>
                <a:gdLst>
                  <a:gd name="connsiteX0" fmla="*/ 100453 w 142821"/>
                  <a:gd name="connsiteY0" fmla="*/ 0 h 150338"/>
                  <a:gd name="connsiteX1" fmla="*/ 135988 w 142821"/>
                  <a:gd name="connsiteY1" fmla="*/ 0 h 150338"/>
                  <a:gd name="connsiteX2" fmla="*/ 90203 w 142821"/>
                  <a:gd name="connsiteY2" fmla="*/ 69702 h 150338"/>
                  <a:gd name="connsiteX3" fmla="*/ 142822 w 142821"/>
                  <a:gd name="connsiteY3" fmla="*/ 150338 h 150338"/>
                  <a:gd name="connsiteX4" fmla="*/ 106604 w 142821"/>
                  <a:gd name="connsiteY4" fmla="*/ 150338 h 150338"/>
                  <a:gd name="connsiteX5" fmla="*/ 71752 w 142821"/>
                  <a:gd name="connsiteY5" fmla="*/ 94987 h 150338"/>
                  <a:gd name="connsiteX6" fmla="*/ 36218 w 142821"/>
                  <a:gd name="connsiteY6" fmla="*/ 150338 h 150338"/>
                  <a:gd name="connsiteX7" fmla="*/ 0 w 142821"/>
                  <a:gd name="connsiteY7" fmla="*/ 150338 h 150338"/>
                  <a:gd name="connsiteX8" fmla="*/ 54668 w 142821"/>
                  <a:gd name="connsiteY8" fmla="*/ 71069 h 150338"/>
                  <a:gd name="connsiteX9" fmla="*/ 7517 w 142821"/>
                  <a:gd name="connsiteY9" fmla="*/ 683 h 150338"/>
                  <a:gd name="connsiteX10" fmla="*/ 43052 w 142821"/>
                  <a:gd name="connsiteY10" fmla="*/ 683 h 150338"/>
                  <a:gd name="connsiteX11" fmla="*/ 71752 w 142821"/>
                  <a:gd name="connsiteY11" fmla="*/ 46468 h 150338"/>
                  <a:gd name="connsiteX12" fmla="*/ 100453 w 142821"/>
                  <a:gd name="connsiteY12"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21" h="150338">
                    <a:moveTo>
                      <a:pt x="100453" y="0"/>
                    </a:moveTo>
                    <a:lnTo>
                      <a:pt x="135988" y="0"/>
                    </a:lnTo>
                    <a:lnTo>
                      <a:pt x="90203" y="69702"/>
                    </a:lnTo>
                    <a:lnTo>
                      <a:pt x="142822" y="150338"/>
                    </a:lnTo>
                    <a:lnTo>
                      <a:pt x="106604" y="150338"/>
                    </a:lnTo>
                    <a:lnTo>
                      <a:pt x="71752" y="94987"/>
                    </a:lnTo>
                    <a:lnTo>
                      <a:pt x="36218" y="150338"/>
                    </a:lnTo>
                    <a:lnTo>
                      <a:pt x="0" y="150338"/>
                    </a:lnTo>
                    <a:lnTo>
                      <a:pt x="54668" y="71069"/>
                    </a:lnTo>
                    <a:lnTo>
                      <a:pt x="7517" y="683"/>
                    </a:lnTo>
                    <a:lnTo>
                      <a:pt x="43052" y="683"/>
                    </a:lnTo>
                    <a:lnTo>
                      <a:pt x="71752" y="46468"/>
                    </a:lnTo>
                    <a:lnTo>
                      <a:pt x="100453" y="0"/>
                    </a:lnTo>
                    <a:close/>
                  </a:path>
                </a:pathLst>
              </a:custGeom>
              <a:solidFill>
                <a:srgbClr val="FFFFFF"/>
              </a:solidFill>
              <a:ln w="6822"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BABE546D-6DF2-4E45-A48E-64F30C5B4745}"/>
                  </a:ext>
                </a:extLst>
              </p:cNvPr>
              <p:cNvSpPr/>
              <p:nvPr/>
            </p:nvSpPr>
            <p:spPr>
              <a:xfrm>
                <a:off x="12253797" y="6848502"/>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C10C3D55-D345-4F98-9DBC-88F69469A118}"/>
                  </a:ext>
                </a:extLst>
              </p:cNvPr>
              <p:cNvSpPr/>
              <p:nvPr/>
            </p:nvSpPr>
            <p:spPr>
              <a:xfrm>
                <a:off x="12416436" y="6844402"/>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1204"/>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4E7F1C09-7F77-40D5-BBD2-EC67E38EBCC5}"/>
                  </a:ext>
                </a:extLst>
              </p:cNvPr>
              <p:cNvSpPr/>
              <p:nvPr/>
            </p:nvSpPr>
            <p:spPr>
              <a:xfrm>
                <a:off x="12591375" y="6849869"/>
                <a:ext cx="142137" cy="151705"/>
              </a:xfrm>
              <a:custGeom>
                <a:avLst/>
                <a:gdLst>
                  <a:gd name="connsiteX0" fmla="*/ 0 w 142137"/>
                  <a:gd name="connsiteY0" fmla="*/ 148972 h 151705"/>
                  <a:gd name="connsiteX1" fmla="*/ 0 w 142137"/>
                  <a:gd name="connsiteY1" fmla="*/ 121637 h 151705"/>
                  <a:gd name="connsiteX2" fmla="*/ 10250 w 142137"/>
                  <a:gd name="connsiteY2" fmla="*/ 123688 h 151705"/>
                  <a:gd name="connsiteX3" fmla="*/ 25967 w 142137"/>
                  <a:gd name="connsiteY3" fmla="*/ 88836 h 151705"/>
                  <a:gd name="connsiteX4" fmla="*/ 30751 w 142137"/>
                  <a:gd name="connsiteY4" fmla="*/ 0 h 151705"/>
                  <a:gd name="connsiteX5" fmla="*/ 142138 w 142137"/>
                  <a:gd name="connsiteY5" fmla="*/ 0 h 151705"/>
                  <a:gd name="connsiteX6" fmla="*/ 142138 w 142137"/>
                  <a:gd name="connsiteY6" fmla="*/ 149655 h 151705"/>
                  <a:gd name="connsiteX7" fmla="*/ 111387 w 142137"/>
                  <a:gd name="connsiteY7" fmla="*/ 149655 h 151705"/>
                  <a:gd name="connsiteX8" fmla="*/ 111387 w 142137"/>
                  <a:gd name="connsiteY8" fmla="*/ 28018 h 151705"/>
                  <a:gd name="connsiteX9" fmla="*/ 58085 w 142137"/>
                  <a:gd name="connsiteY9" fmla="*/ 28018 h 151705"/>
                  <a:gd name="connsiteX10" fmla="*/ 54668 w 142137"/>
                  <a:gd name="connsiteY10" fmla="*/ 90203 h 151705"/>
                  <a:gd name="connsiteX11" fmla="*/ 11617 w 142137"/>
                  <a:gd name="connsiteY11" fmla="*/ 151705 h 151705"/>
                  <a:gd name="connsiteX12" fmla="*/ 0 w 142137"/>
                  <a:gd name="connsiteY12" fmla="*/ 148972 h 15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37" h="151705">
                    <a:moveTo>
                      <a:pt x="0" y="148972"/>
                    </a:moveTo>
                    <a:lnTo>
                      <a:pt x="0" y="121637"/>
                    </a:lnTo>
                    <a:cubicBezTo>
                      <a:pt x="0" y="121637"/>
                      <a:pt x="4100" y="123688"/>
                      <a:pt x="10250" y="123688"/>
                    </a:cubicBezTo>
                    <a:cubicBezTo>
                      <a:pt x="19817" y="123688"/>
                      <a:pt x="24601" y="117537"/>
                      <a:pt x="25967" y="88836"/>
                    </a:cubicBezTo>
                    <a:lnTo>
                      <a:pt x="30751" y="0"/>
                    </a:lnTo>
                    <a:lnTo>
                      <a:pt x="142138" y="0"/>
                    </a:lnTo>
                    <a:lnTo>
                      <a:pt x="142138" y="149655"/>
                    </a:lnTo>
                    <a:lnTo>
                      <a:pt x="111387" y="149655"/>
                    </a:lnTo>
                    <a:lnTo>
                      <a:pt x="111387" y="28018"/>
                    </a:lnTo>
                    <a:lnTo>
                      <a:pt x="58085" y="28018"/>
                    </a:lnTo>
                    <a:lnTo>
                      <a:pt x="54668" y="90203"/>
                    </a:lnTo>
                    <a:cubicBezTo>
                      <a:pt x="52618" y="133254"/>
                      <a:pt x="41685" y="151705"/>
                      <a:pt x="11617" y="151705"/>
                    </a:cubicBezTo>
                    <a:cubicBezTo>
                      <a:pt x="6150" y="151022"/>
                      <a:pt x="0" y="148972"/>
                      <a:pt x="0" y="148972"/>
                    </a:cubicBezTo>
                    <a:close/>
                  </a:path>
                </a:pathLst>
              </a:custGeom>
              <a:solidFill>
                <a:srgbClr val="FFFFFF"/>
              </a:solidFill>
              <a:ln w="6822"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348FE4E3-512F-461C-BEA2-DD11A9BF3CB0}"/>
                  </a:ext>
                </a:extLst>
              </p:cNvPr>
              <p:cNvSpPr/>
              <p:nvPr/>
            </p:nvSpPr>
            <p:spPr>
              <a:xfrm>
                <a:off x="12764264" y="6844402"/>
                <a:ext cx="160597" cy="158538"/>
              </a:xfrm>
              <a:custGeom>
                <a:avLst/>
                <a:gdLst>
                  <a:gd name="connsiteX0" fmla="*/ 80636 w 160597"/>
                  <a:gd name="connsiteY0" fmla="*/ 158539 h 158538"/>
                  <a:gd name="connsiteX1" fmla="*/ 0 w 160597"/>
                  <a:gd name="connsiteY1" fmla="*/ 79269 h 158538"/>
                  <a:gd name="connsiteX2" fmla="*/ 80636 w 160597"/>
                  <a:gd name="connsiteY2" fmla="*/ 0 h 158538"/>
                  <a:gd name="connsiteX3" fmla="*/ 160589 w 160597"/>
                  <a:gd name="connsiteY3" fmla="*/ 79269 h 158538"/>
                  <a:gd name="connsiteX4" fmla="*/ 80636 w 160597"/>
                  <a:gd name="connsiteY4" fmla="*/ 158539 h 158538"/>
                  <a:gd name="connsiteX5" fmla="*/ 129154 w 160597"/>
                  <a:gd name="connsiteY5" fmla="*/ 79269 h 158538"/>
                  <a:gd name="connsiteX6" fmla="*/ 80636 w 160597"/>
                  <a:gd name="connsiteY6" fmla="*/ 28701 h 158538"/>
                  <a:gd name="connsiteX7" fmla="*/ 32118 w 160597"/>
                  <a:gd name="connsiteY7" fmla="*/ 79269 h 158538"/>
                  <a:gd name="connsiteX8" fmla="*/ 80636 w 160597"/>
                  <a:gd name="connsiteY8" fmla="*/ 129838 h 158538"/>
                  <a:gd name="connsiteX9" fmla="*/ 129154 w 160597"/>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97" h="158538">
                    <a:moveTo>
                      <a:pt x="80636" y="158539"/>
                    </a:moveTo>
                    <a:cubicBezTo>
                      <a:pt x="39635" y="158539"/>
                      <a:pt x="0" y="131204"/>
                      <a:pt x="0" y="79269"/>
                    </a:cubicBezTo>
                    <a:cubicBezTo>
                      <a:pt x="0" y="27334"/>
                      <a:pt x="38951" y="0"/>
                      <a:pt x="80636" y="0"/>
                    </a:cubicBezTo>
                    <a:cubicBezTo>
                      <a:pt x="121637" y="0"/>
                      <a:pt x="160589" y="27334"/>
                      <a:pt x="160589" y="79269"/>
                    </a:cubicBezTo>
                    <a:cubicBezTo>
                      <a:pt x="161272" y="131204"/>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1B369F98-FD3F-4A7B-8B79-758E48B65FEB}"/>
                  </a:ext>
                </a:extLst>
              </p:cNvPr>
              <p:cNvSpPr/>
              <p:nvPr/>
            </p:nvSpPr>
            <p:spPr>
              <a:xfrm>
                <a:off x="12956287" y="6848502"/>
                <a:ext cx="97720" cy="149655"/>
              </a:xfrm>
              <a:custGeom>
                <a:avLst/>
                <a:gdLst>
                  <a:gd name="connsiteX0" fmla="*/ 0 w 97720"/>
                  <a:gd name="connsiteY0" fmla="*/ 0 h 149655"/>
                  <a:gd name="connsiteX1" fmla="*/ 97720 w 97720"/>
                  <a:gd name="connsiteY1" fmla="*/ 0 h 149655"/>
                  <a:gd name="connsiteX2" fmla="*/ 97720 w 97720"/>
                  <a:gd name="connsiteY2" fmla="*/ 28018 h 149655"/>
                  <a:gd name="connsiteX3" fmla="*/ 31435 w 97720"/>
                  <a:gd name="connsiteY3" fmla="*/ 28018 h 149655"/>
                  <a:gd name="connsiteX4" fmla="*/ 31435 w 97720"/>
                  <a:gd name="connsiteY4" fmla="*/ 149655 h 149655"/>
                  <a:gd name="connsiteX5" fmla="*/ 0 w 97720"/>
                  <a:gd name="connsiteY5" fmla="*/ 149655 h 149655"/>
                  <a:gd name="connsiteX6" fmla="*/ 0 w 97720"/>
                  <a:gd name="connsiteY6"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20" h="149655">
                    <a:moveTo>
                      <a:pt x="0" y="0"/>
                    </a:moveTo>
                    <a:lnTo>
                      <a:pt x="97720" y="0"/>
                    </a:lnTo>
                    <a:lnTo>
                      <a:pt x="97720" y="28018"/>
                    </a:lnTo>
                    <a:lnTo>
                      <a:pt x="31435" y="28018"/>
                    </a:lnTo>
                    <a:lnTo>
                      <a:pt x="31435"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1259163E-F2B3-4EDF-B55F-98AFB459BD4A}"/>
                  </a:ext>
                </a:extLst>
              </p:cNvPr>
              <p:cNvSpPr/>
              <p:nvPr/>
            </p:nvSpPr>
            <p:spPr>
              <a:xfrm>
                <a:off x="13079291" y="6848502"/>
                <a:ext cx="134621" cy="150338"/>
              </a:xfrm>
              <a:custGeom>
                <a:avLst/>
                <a:gdLst>
                  <a:gd name="connsiteX0" fmla="*/ 0 w 134621"/>
                  <a:gd name="connsiteY0" fmla="*/ 0 h 150338"/>
                  <a:gd name="connsiteX1" fmla="*/ 30068 w 134621"/>
                  <a:gd name="connsiteY1" fmla="*/ 0 h 150338"/>
                  <a:gd name="connsiteX2" fmla="*/ 30068 w 134621"/>
                  <a:gd name="connsiteY2" fmla="*/ 107970 h 150338"/>
                  <a:gd name="connsiteX3" fmla="*/ 101820 w 134621"/>
                  <a:gd name="connsiteY3" fmla="*/ 0 h 150338"/>
                  <a:gd name="connsiteX4" fmla="*/ 134621 w 134621"/>
                  <a:gd name="connsiteY4" fmla="*/ 0 h 150338"/>
                  <a:gd name="connsiteX5" fmla="*/ 134621 w 134621"/>
                  <a:gd name="connsiteY5" fmla="*/ 149655 h 150338"/>
                  <a:gd name="connsiteX6" fmla="*/ 104554 w 134621"/>
                  <a:gd name="connsiteY6" fmla="*/ 149655 h 150338"/>
                  <a:gd name="connsiteX7" fmla="*/ 104554 w 134621"/>
                  <a:gd name="connsiteY7" fmla="*/ 41685 h 150338"/>
                  <a:gd name="connsiteX8" fmla="*/ 33485 w 134621"/>
                  <a:gd name="connsiteY8" fmla="*/ 150338 h 150338"/>
                  <a:gd name="connsiteX9" fmla="*/ 684 w 134621"/>
                  <a:gd name="connsiteY9" fmla="*/ 150338 h 150338"/>
                  <a:gd name="connsiteX10" fmla="*/ 684 w 134621"/>
                  <a:gd name="connsiteY10"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50338">
                    <a:moveTo>
                      <a:pt x="0" y="0"/>
                    </a:moveTo>
                    <a:lnTo>
                      <a:pt x="30068" y="0"/>
                    </a:lnTo>
                    <a:lnTo>
                      <a:pt x="30068" y="107970"/>
                    </a:lnTo>
                    <a:lnTo>
                      <a:pt x="101820" y="0"/>
                    </a:lnTo>
                    <a:lnTo>
                      <a:pt x="134621" y="0"/>
                    </a:lnTo>
                    <a:lnTo>
                      <a:pt x="134621" y="149655"/>
                    </a:lnTo>
                    <a:lnTo>
                      <a:pt x="104554" y="149655"/>
                    </a:lnTo>
                    <a:lnTo>
                      <a:pt x="104554" y="41685"/>
                    </a:lnTo>
                    <a:lnTo>
                      <a:pt x="33485" y="150338"/>
                    </a:lnTo>
                    <a:lnTo>
                      <a:pt x="684" y="150338"/>
                    </a:lnTo>
                    <a:lnTo>
                      <a:pt x="684" y="0"/>
                    </a:lnTo>
                    <a:close/>
                  </a:path>
                </a:pathLst>
              </a:custGeom>
              <a:solidFill>
                <a:srgbClr val="FFFFFF"/>
              </a:solidFill>
              <a:ln w="6822" cap="flat">
                <a:noFill/>
                <a:prstDash val="solid"/>
                <a:miter/>
              </a:ln>
            </p:spPr>
            <p:txBody>
              <a:bodyPr rtlCol="0" anchor="ctr"/>
              <a:lstStyle/>
              <a:p>
                <a:endParaRPr lang="ru-RU" sz="1587" dirty="0"/>
              </a:p>
            </p:txBody>
          </p:sp>
          <p:sp>
            <p:nvSpPr>
              <p:cNvPr id="86" name="Полилиния: фигура 85">
                <a:extLst>
                  <a:ext uri="{FF2B5EF4-FFF2-40B4-BE49-F238E27FC236}">
                    <a16:creationId xmlns:a16="http://schemas.microsoft.com/office/drawing/2014/main" id="{F5BD9F4E-2249-4E8A-B7A2-CD32B5D7C5F9}"/>
                  </a:ext>
                </a:extLst>
              </p:cNvPr>
              <p:cNvSpPr/>
              <p:nvPr/>
            </p:nvSpPr>
            <p:spPr>
              <a:xfrm>
                <a:off x="13253547" y="6848502"/>
                <a:ext cx="134621" cy="149655"/>
              </a:xfrm>
              <a:custGeom>
                <a:avLst/>
                <a:gdLst>
                  <a:gd name="connsiteX0" fmla="*/ 0 w 134621"/>
                  <a:gd name="connsiteY0" fmla="*/ 0 h 149655"/>
                  <a:gd name="connsiteX1" fmla="*/ 30068 w 134621"/>
                  <a:gd name="connsiteY1" fmla="*/ 0 h 149655"/>
                  <a:gd name="connsiteX2" fmla="*/ 30068 w 134621"/>
                  <a:gd name="connsiteY2" fmla="*/ 107970 h 149655"/>
                  <a:gd name="connsiteX3" fmla="*/ 101820 w 134621"/>
                  <a:gd name="connsiteY3" fmla="*/ 0 h 149655"/>
                  <a:gd name="connsiteX4" fmla="*/ 134621 w 134621"/>
                  <a:gd name="connsiteY4" fmla="*/ 0 h 149655"/>
                  <a:gd name="connsiteX5" fmla="*/ 134621 w 134621"/>
                  <a:gd name="connsiteY5" fmla="*/ 149655 h 149655"/>
                  <a:gd name="connsiteX6" fmla="*/ 104554 w 134621"/>
                  <a:gd name="connsiteY6" fmla="*/ 149655 h 149655"/>
                  <a:gd name="connsiteX7" fmla="*/ 104554 w 134621"/>
                  <a:gd name="connsiteY7" fmla="*/ 41685 h 149655"/>
                  <a:gd name="connsiteX8" fmla="*/ 32801 w 134621"/>
                  <a:gd name="connsiteY8" fmla="*/ 149655 h 149655"/>
                  <a:gd name="connsiteX9" fmla="*/ 0 w 134621"/>
                  <a:gd name="connsiteY9" fmla="*/ 149655 h 149655"/>
                  <a:gd name="connsiteX10" fmla="*/ 0 w 134621"/>
                  <a:gd name="connsiteY10"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49655">
                    <a:moveTo>
                      <a:pt x="0" y="0"/>
                    </a:moveTo>
                    <a:lnTo>
                      <a:pt x="30068" y="0"/>
                    </a:lnTo>
                    <a:lnTo>
                      <a:pt x="30068" y="107970"/>
                    </a:lnTo>
                    <a:lnTo>
                      <a:pt x="101820" y="0"/>
                    </a:lnTo>
                    <a:lnTo>
                      <a:pt x="134621" y="0"/>
                    </a:lnTo>
                    <a:lnTo>
                      <a:pt x="134621" y="149655"/>
                    </a:lnTo>
                    <a:lnTo>
                      <a:pt x="104554" y="149655"/>
                    </a:lnTo>
                    <a:lnTo>
                      <a:pt x="104554" y="41685"/>
                    </a:lnTo>
                    <a:lnTo>
                      <a:pt x="32801"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7" name="Полилиния: фигура 86">
                <a:extLst>
                  <a:ext uri="{FF2B5EF4-FFF2-40B4-BE49-F238E27FC236}">
                    <a16:creationId xmlns:a16="http://schemas.microsoft.com/office/drawing/2014/main" id="{0DE555E5-C8A0-4C73-89E1-A2E95E350FBA}"/>
                  </a:ext>
                </a:extLst>
              </p:cNvPr>
              <p:cNvSpPr/>
              <p:nvPr/>
            </p:nvSpPr>
            <p:spPr>
              <a:xfrm>
                <a:off x="11334683" y="7186763"/>
                <a:ext cx="123004" cy="149655"/>
              </a:xfrm>
              <a:custGeom>
                <a:avLst/>
                <a:gdLst>
                  <a:gd name="connsiteX0" fmla="*/ 0 w 123004"/>
                  <a:gd name="connsiteY0" fmla="*/ 0 h 149655"/>
                  <a:gd name="connsiteX1" fmla="*/ 67652 w 123004"/>
                  <a:gd name="connsiteY1" fmla="*/ 0 h 149655"/>
                  <a:gd name="connsiteX2" fmla="*/ 117537 w 123004"/>
                  <a:gd name="connsiteY2" fmla="*/ 36901 h 149655"/>
                  <a:gd name="connsiteX3" fmla="*/ 94987 w 123004"/>
                  <a:gd name="connsiteY3" fmla="*/ 70386 h 149655"/>
                  <a:gd name="connsiteX4" fmla="*/ 123004 w 123004"/>
                  <a:gd name="connsiteY4" fmla="*/ 106604 h 149655"/>
                  <a:gd name="connsiteX5" fmla="*/ 69702 w 123004"/>
                  <a:gd name="connsiteY5" fmla="*/ 149655 h 149655"/>
                  <a:gd name="connsiteX6" fmla="*/ 0 w 123004"/>
                  <a:gd name="connsiteY6" fmla="*/ 149655 h 149655"/>
                  <a:gd name="connsiteX7" fmla="*/ 0 w 123004"/>
                  <a:gd name="connsiteY7" fmla="*/ 0 h 149655"/>
                  <a:gd name="connsiteX8" fmla="*/ 66286 w 123004"/>
                  <a:gd name="connsiteY8" fmla="*/ 60135 h 149655"/>
                  <a:gd name="connsiteX9" fmla="*/ 88836 w 123004"/>
                  <a:gd name="connsiteY9" fmla="*/ 42368 h 149655"/>
                  <a:gd name="connsiteX10" fmla="*/ 66969 w 123004"/>
                  <a:gd name="connsiteY10" fmla="*/ 24601 h 149655"/>
                  <a:gd name="connsiteX11" fmla="*/ 31434 w 123004"/>
                  <a:gd name="connsiteY11" fmla="*/ 24601 h 149655"/>
                  <a:gd name="connsiteX12" fmla="*/ 31434 w 123004"/>
                  <a:gd name="connsiteY12" fmla="*/ 60135 h 149655"/>
                  <a:gd name="connsiteX13" fmla="*/ 66286 w 123004"/>
                  <a:gd name="connsiteY13" fmla="*/ 60135 h 149655"/>
                  <a:gd name="connsiteX14" fmla="*/ 68336 w 123004"/>
                  <a:gd name="connsiteY14" fmla="*/ 125738 h 149655"/>
                  <a:gd name="connsiteX15" fmla="*/ 92253 w 123004"/>
                  <a:gd name="connsiteY15" fmla="*/ 105237 h 149655"/>
                  <a:gd name="connsiteX16" fmla="*/ 68336 w 123004"/>
                  <a:gd name="connsiteY16" fmla="*/ 84736 h 149655"/>
                  <a:gd name="connsiteX17" fmla="*/ 31434 w 123004"/>
                  <a:gd name="connsiteY17" fmla="*/ 84736 h 149655"/>
                  <a:gd name="connsiteX18" fmla="*/ 31434 w 123004"/>
                  <a:gd name="connsiteY18" fmla="*/ 126421 h 149655"/>
                  <a:gd name="connsiteX19" fmla="*/ 68336 w 123004"/>
                  <a:gd name="connsiteY19" fmla="*/ 126421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04" h="149655">
                    <a:moveTo>
                      <a:pt x="0" y="0"/>
                    </a:moveTo>
                    <a:lnTo>
                      <a:pt x="67652" y="0"/>
                    </a:lnTo>
                    <a:cubicBezTo>
                      <a:pt x="99770" y="0"/>
                      <a:pt x="117537" y="16401"/>
                      <a:pt x="117537" y="36901"/>
                    </a:cubicBezTo>
                    <a:cubicBezTo>
                      <a:pt x="117537" y="53985"/>
                      <a:pt x="108654" y="64236"/>
                      <a:pt x="94987" y="70386"/>
                    </a:cubicBezTo>
                    <a:cubicBezTo>
                      <a:pt x="110704" y="75169"/>
                      <a:pt x="123004" y="86786"/>
                      <a:pt x="123004" y="106604"/>
                    </a:cubicBezTo>
                    <a:cubicBezTo>
                      <a:pt x="123004" y="131888"/>
                      <a:pt x="101137" y="149655"/>
                      <a:pt x="69702" y="149655"/>
                    </a:cubicBezTo>
                    <a:lnTo>
                      <a:pt x="0" y="149655"/>
                    </a:lnTo>
                    <a:lnTo>
                      <a:pt x="0" y="0"/>
                    </a:lnTo>
                    <a:close/>
                    <a:moveTo>
                      <a:pt x="66286" y="60135"/>
                    </a:moveTo>
                    <a:cubicBezTo>
                      <a:pt x="79953" y="60135"/>
                      <a:pt x="88836" y="54669"/>
                      <a:pt x="88836" y="42368"/>
                    </a:cubicBezTo>
                    <a:cubicBezTo>
                      <a:pt x="88836" y="30068"/>
                      <a:pt x="80636" y="24601"/>
                      <a:pt x="66969" y="24601"/>
                    </a:cubicBezTo>
                    <a:lnTo>
                      <a:pt x="31434" y="24601"/>
                    </a:lnTo>
                    <a:lnTo>
                      <a:pt x="31434" y="60135"/>
                    </a:lnTo>
                    <a:lnTo>
                      <a:pt x="66286" y="60135"/>
                    </a:lnTo>
                    <a:close/>
                    <a:moveTo>
                      <a:pt x="68336" y="125738"/>
                    </a:moveTo>
                    <a:cubicBezTo>
                      <a:pt x="84053" y="125738"/>
                      <a:pt x="92253" y="117537"/>
                      <a:pt x="92253" y="105237"/>
                    </a:cubicBezTo>
                    <a:cubicBezTo>
                      <a:pt x="92253" y="92936"/>
                      <a:pt x="84053" y="84736"/>
                      <a:pt x="68336" y="84736"/>
                    </a:cubicBezTo>
                    <a:lnTo>
                      <a:pt x="31434" y="84736"/>
                    </a:lnTo>
                    <a:lnTo>
                      <a:pt x="31434" y="126421"/>
                    </a:lnTo>
                    <a:lnTo>
                      <a:pt x="68336" y="126421"/>
                    </a:lnTo>
                    <a:close/>
                  </a:path>
                </a:pathLst>
              </a:custGeom>
              <a:solidFill>
                <a:srgbClr val="FFFFFF"/>
              </a:solidFill>
              <a:ln w="6822" cap="flat">
                <a:noFill/>
                <a:prstDash val="solid"/>
                <a:miter/>
              </a:ln>
            </p:spPr>
            <p:txBody>
              <a:bodyPr rtlCol="0" anchor="ctr"/>
              <a:lstStyle/>
              <a:p>
                <a:endParaRPr lang="ru-RU" sz="1587" dirty="0"/>
              </a:p>
            </p:txBody>
          </p:sp>
          <p:sp>
            <p:nvSpPr>
              <p:cNvPr id="88" name="Полилиния: фигура 87">
                <a:extLst>
                  <a:ext uri="{FF2B5EF4-FFF2-40B4-BE49-F238E27FC236}">
                    <a16:creationId xmlns:a16="http://schemas.microsoft.com/office/drawing/2014/main" id="{31B8A8B1-9F89-44A5-8A89-747768C86231}"/>
                  </a:ext>
                </a:extLst>
              </p:cNvPr>
              <p:cNvSpPr/>
              <p:nvPr/>
            </p:nvSpPr>
            <p:spPr>
              <a:xfrm>
                <a:off x="1148092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9" name="Полилиния: фигура 88">
                <a:extLst>
                  <a:ext uri="{FF2B5EF4-FFF2-40B4-BE49-F238E27FC236}">
                    <a16:creationId xmlns:a16="http://schemas.microsoft.com/office/drawing/2014/main" id="{BEABB4CD-5323-4542-9D8A-EA63D5AF056A}"/>
                  </a:ext>
                </a:extLst>
              </p:cNvPr>
              <p:cNvSpPr/>
              <p:nvPr/>
            </p:nvSpPr>
            <p:spPr>
              <a:xfrm>
                <a:off x="11664744" y="7183346"/>
                <a:ext cx="121637" cy="157855"/>
              </a:xfrm>
              <a:custGeom>
                <a:avLst/>
                <a:gdLst>
                  <a:gd name="connsiteX0" fmla="*/ 121637 w 121637"/>
                  <a:gd name="connsiteY0" fmla="*/ 110020 h 157855"/>
                  <a:gd name="connsiteX1" fmla="*/ 58769 w 121637"/>
                  <a:gd name="connsiteY1" fmla="*/ 157855 h 157855"/>
                  <a:gd name="connsiteX2" fmla="*/ 0 w 121637"/>
                  <a:gd name="connsiteY2" fmla="*/ 110704 h 157855"/>
                  <a:gd name="connsiteX3" fmla="*/ 3417 w 121637"/>
                  <a:gd name="connsiteY3" fmla="*/ 93620 h 157855"/>
                  <a:gd name="connsiteX4" fmla="*/ 29384 w 121637"/>
                  <a:gd name="connsiteY4" fmla="*/ 102503 h 157855"/>
                  <a:gd name="connsiteX5" fmla="*/ 28018 w 121637"/>
                  <a:gd name="connsiteY5" fmla="*/ 110020 h 157855"/>
                  <a:gd name="connsiteX6" fmla="*/ 58769 w 121637"/>
                  <a:gd name="connsiteY6" fmla="*/ 132571 h 157855"/>
                  <a:gd name="connsiteX7" fmla="*/ 91570 w 121637"/>
                  <a:gd name="connsiteY7" fmla="*/ 108654 h 157855"/>
                  <a:gd name="connsiteX8" fmla="*/ 60819 w 121637"/>
                  <a:gd name="connsiteY8" fmla="*/ 87470 h 157855"/>
                  <a:gd name="connsiteX9" fmla="*/ 47152 w 121637"/>
                  <a:gd name="connsiteY9" fmla="*/ 87470 h 157855"/>
                  <a:gd name="connsiteX10" fmla="*/ 47152 w 121637"/>
                  <a:gd name="connsiteY10" fmla="*/ 62869 h 157855"/>
                  <a:gd name="connsiteX11" fmla="*/ 59452 w 121637"/>
                  <a:gd name="connsiteY11" fmla="*/ 62869 h 157855"/>
                  <a:gd name="connsiteX12" fmla="*/ 86103 w 121637"/>
                  <a:gd name="connsiteY12" fmla="*/ 42368 h 157855"/>
                  <a:gd name="connsiteX13" fmla="*/ 60135 w 121637"/>
                  <a:gd name="connsiteY13" fmla="*/ 23917 h 157855"/>
                  <a:gd name="connsiteX14" fmla="*/ 31434 w 121637"/>
                  <a:gd name="connsiteY14" fmla="*/ 40318 h 157855"/>
                  <a:gd name="connsiteX15" fmla="*/ 32118 w 121637"/>
                  <a:gd name="connsiteY15" fmla="*/ 46468 h 157855"/>
                  <a:gd name="connsiteX16" fmla="*/ 6150 w 121637"/>
                  <a:gd name="connsiteY16" fmla="*/ 56035 h 157855"/>
                  <a:gd name="connsiteX17" fmla="*/ 3417 w 121637"/>
                  <a:gd name="connsiteY17" fmla="*/ 41685 h 157855"/>
                  <a:gd name="connsiteX18" fmla="*/ 60819 w 121637"/>
                  <a:gd name="connsiteY18" fmla="*/ 0 h 157855"/>
                  <a:gd name="connsiteX19" fmla="*/ 115487 w 121637"/>
                  <a:gd name="connsiteY19" fmla="*/ 40318 h 157855"/>
                  <a:gd name="connsiteX20" fmla="*/ 90203 w 121637"/>
                  <a:gd name="connsiteY20" fmla="*/ 75169 h 157855"/>
                  <a:gd name="connsiteX21" fmla="*/ 121637 w 121637"/>
                  <a:gd name="connsiteY21" fmla="*/ 110020 h 15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37" h="157855">
                    <a:moveTo>
                      <a:pt x="121637" y="110020"/>
                    </a:moveTo>
                    <a:cubicBezTo>
                      <a:pt x="121637" y="136671"/>
                      <a:pt x="99770" y="157855"/>
                      <a:pt x="58769" y="157855"/>
                    </a:cubicBezTo>
                    <a:cubicBezTo>
                      <a:pt x="21184" y="157855"/>
                      <a:pt x="0" y="138038"/>
                      <a:pt x="0" y="110704"/>
                    </a:cubicBezTo>
                    <a:cubicBezTo>
                      <a:pt x="0" y="103870"/>
                      <a:pt x="2050" y="97037"/>
                      <a:pt x="3417" y="93620"/>
                    </a:cubicBezTo>
                    <a:lnTo>
                      <a:pt x="29384" y="102503"/>
                    </a:lnTo>
                    <a:cubicBezTo>
                      <a:pt x="28701" y="104554"/>
                      <a:pt x="28018" y="107287"/>
                      <a:pt x="28018" y="110020"/>
                    </a:cubicBezTo>
                    <a:cubicBezTo>
                      <a:pt x="28018" y="125054"/>
                      <a:pt x="43051" y="132571"/>
                      <a:pt x="58769" y="132571"/>
                    </a:cubicBezTo>
                    <a:cubicBezTo>
                      <a:pt x="79953" y="132571"/>
                      <a:pt x="91570" y="122321"/>
                      <a:pt x="91570" y="108654"/>
                    </a:cubicBezTo>
                    <a:cubicBezTo>
                      <a:pt x="91570" y="95670"/>
                      <a:pt x="80636" y="87470"/>
                      <a:pt x="60819" y="87470"/>
                    </a:cubicBezTo>
                    <a:lnTo>
                      <a:pt x="47152" y="87470"/>
                    </a:lnTo>
                    <a:lnTo>
                      <a:pt x="47152" y="62869"/>
                    </a:lnTo>
                    <a:lnTo>
                      <a:pt x="59452" y="62869"/>
                    </a:lnTo>
                    <a:cubicBezTo>
                      <a:pt x="77903" y="62869"/>
                      <a:pt x="86103" y="53985"/>
                      <a:pt x="86103" y="42368"/>
                    </a:cubicBezTo>
                    <a:cubicBezTo>
                      <a:pt x="86103" y="31434"/>
                      <a:pt x="77219" y="23917"/>
                      <a:pt x="60135" y="23917"/>
                    </a:cubicBezTo>
                    <a:cubicBezTo>
                      <a:pt x="42368" y="23917"/>
                      <a:pt x="31434" y="31434"/>
                      <a:pt x="31434" y="40318"/>
                    </a:cubicBezTo>
                    <a:cubicBezTo>
                      <a:pt x="31434" y="43735"/>
                      <a:pt x="32118" y="45785"/>
                      <a:pt x="32118" y="46468"/>
                    </a:cubicBezTo>
                    <a:lnTo>
                      <a:pt x="6150" y="56035"/>
                    </a:lnTo>
                    <a:cubicBezTo>
                      <a:pt x="4783" y="53302"/>
                      <a:pt x="3417" y="48518"/>
                      <a:pt x="3417" y="41685"/>
                    </a:cubicBezTo>
                    <a:cubicBezTo>
                      <a:pt x="3417" y="18451"/>
                      <a:pt x="24601" y="0"/>
                      <a:pt x="60819" y="0"/>
                    </a:cubicBezTo>
                    <a:cubicBezTo>
                      <a:pt x="98403" y="0"/>
                      <a:pt x="115487" y="17767"/>
                      <a:pt x="115487" y="40318"/>
                    </a:cubicBezTo>
                    <a:cubicBezTo>
                      <a:pt x="115487" y="57402"/>
                      <a:pt x="105920" y="69019"/>
                      <a:pt x="90203" y="75169"/>
                    </a:cubicBezTo>
                    <a:cubicBezTo>
                      <a:pt x="108654" y="79269"/>
                      <a:pt x="121637" y="90887"/>
                      <a:pt x="121637" y="110020"/>
                    </a:cubicBezTo>
                    <a:close/>
                  </a:path>
                </a:pathLst>
              </a:custGeom>
              <a:solidFill>
                <a:srgbClr val="FFFFFF"/>
              </a:solidFill>
              <a:ln w="6822" cap="flat">
                <a:noFill/>
                <a:prstDash val="solid"/>
                <a:miter/>
              </a:ln>
            </p:spPr>
            <p:txBody>
              <a:bodyPr rtlCol="0" anchor="ctr"/>
              <a:lstStyle/>
              <a:p>
                <a:endParaRPr lang="ru-RU" sz="1587" dirty="0"/>
              </a:p>
            </p:txBody>
          </p:sp>
          <p:sp>
            <p:nvSpPr>
              <p:cNvPr id="90" name="Полилиния: фигура 89">
                <a:extLst>
                  <a:ext uri="{FF2B5EF4-FFF2-40B4-BE49-F238E27FC236}">
                    <a16:creationId xmlns:a16="http://schemas.microsoft.com/office/drawing/2014/main" id="{F3E2E0CB-9F3A-4A86-97A3-7E2D1AC91C71}"/>
                  </a:ext>
                </a:extLst>
              </p:cNvPr>
              <p:cNvSpPr/>
              <p:nvPr/>
            </p:nvSpPr>
            <p:spPr>
              <a:xfrm>
                <a:off x="11819182" y="7186763"/>
                <a:ext cx="173572" cy="149655"/>
              </a:xfrm>
              <a:custGeom>
                <a:avLst/>
                <a:gdLst>
                  <a:gd name="connsiteX0" fmla="*/ 0 w 173572"/>
                  <a:gd name="connsiteY0" fmla="*/ 0 h 149655"/>
                  <a:gd name="connsiteX1" fmla="*/ 42368 w 173572"/>
                  <a:gd name="connsiteY1" fmla="*/ 0 h 149655"/>
                  <a:gd name="connsiteX2" fmla="*/ 86786 w 173572"/>
                  <a:gd name="connsiteY2" fmla="*/ 114121 h 149655"/>
                  <a:gd name="connsiteX3" fmla="*/ 131204 w 173572"/>
                  <a:gd name="connsiteY3" fmla="*/ 0 h 149655"/>
                  <a:gd name="connsiteX4" fmla="*/ 173572 w 173572"/>
                  <a:gd name="connsiteY4" fmla="*/ 0 h 149655"/>
                  <a:gd name="connsiteX5" fmla="*/ 173572 w 173572"/>
                  <a:gd name="connsiteY5" fmla="*/ 149655 h 149655"/>
                  <a:gd name="connsiteX6" fmla="*/ 143505 w 173572"/>
                  <a:gd name="connsiteY6" fmla="*/ 149655 h 149655"/>
                  <a:gd name="connsiteX7" fmla="*/ 143505 w 173572"/>
                  <a:gd name="connsiteY7" fmla="*/ 43735 h 149655"/>
                  <a:gd name="connsiteX8" fmla="*/ 100453 w 173572"/>
                  <a:gd name="connsiteY8" fmla="*/ 149655 h 149655"/>
                  <a:gd name="connsiteX9" fmla="*/ 74486 w 173572"/>
                  <a:gd name="connsiteY9" fmla="*/ 149655 h 149655"/>
                  <a:gd name="connsiteX10" fmla="*/ 30751 w 173572"/>
                  <a:gd name="connsiteY10" fmla="*/ 43052 h 149655"/>
                  <a:gd name="connsiteX11" fmla="*/ 30751 w 173572"/>
                  <a:gd name="connsiteY11" fmla="*/ 149655 h 149655"/>
                  <a:gd name="connsiteX12" fmla="*/ 683 w 173572"/>
                  <a:gd name="connsiteY12" fmla="*/ 149655 h 149655"/>
                  <a:gd name="connsiteX13" fmla="*/ 683 w 173572"/>
                  <a:gd name="connsiteY13"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572" h="149655">
                    <a:moveTo>
                      <a:pt x="0" y="0"/>
                    </a:moveTo>
                    <a:lnTo>
                      <a:pt x="42368" y="0"/>
                    </a:lnTo>
                    <a:lnTo>
                      <a:pt x="86786" y="114121"/>
                    </a:lnTo>
                    <a:lnTo>
                      <a:pt x="131204" y="0"/>
                    </a:lnTo>
                    <a:lnTo>
                      <a:pt x="173572" y="0"/>
                    </a:lnTo>
                    <a:lnTo>
                      <a:pt x="173572" y="149655"/>
                    </a:lnTo>
                    <a:lnTo>
                      <a:pt x="143505" y="149655"/>
                    </a:lnTo>
                    <a:lnTo>
                      <a:pt x="143505" y="43735"/>
                    </a:lnTo>
                    <a:lnTo>
                      <a:pt x="100453" y="149655"/>
                    </a:lnTo>
                    <a:lnTo>
                      <a:pt x="74486" y="149655"/>
                    </a:lnTo>
                    <a:lnTo>
                      <a:pt x="30751" y="43052"/>
                    </a:lnTo>
                    <a:lnTo>
                      <a:pt x="30751" y="149655"/>
                    </a:lnTo>
                    <a:lnTo>
                      <a:pt x="683" y="149655"/>
                    </a:lnTo>
                    <a:lnTo>
                      <a:pt x="683" y="0"/>
                    </a:lnTo>
                    <a:close/>
                  </a:path>
                </a:pathLst>
              </a:custGeom>
              <a:solidFill>
                <a:srgbClr val="FFFFFF"/>
              </a:solidFill>
              <a:ln w="6822" cap="flat">
                <a:noFill/>
                <a:prstDash val="solid"/>
                <a:miter/>
              </a:ln>
            </p:spPr>
            <p:txBody>
              <a:bodyPr rtlCol="0" anchor="ctr"/>
              <a:lstStyle/>
              <a:p>
                <a:endParaRPr lang="ru-RU" sz="1587" dirty="0"/>
              </a:p>
            </p:txBody>
          </p:sp>
          <p:sp>
            <p:nvSpPr>
              <p:cNvPr id="91" name="Полилиния: фигура 90">
                <a:extLst>
                  <a:ext uri="{FF2B5EF4-FFF2-40B4-BE49-F238E27FC236}">
                    <a16:creationId xmlns:a16="http://schemas.microsoft.com/office/drawing/2014/main" id="{6C2F1161-3E35-4FA3-B26D-5EBCE9E2A4D8}"/>
                  </a:ext>
                </a:extLst>
              </p:cNvPr>
              <p:cNvSpPr/>
              <p:nvPr/>
            </p:nvSpPr>
            <p:spPr>
              <a:xfrm>
                <a:off x="12022822"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92" name="Полилиния: фигура 91">
                <a:extLst>
                  <a:ext uri="{FF2B5EF4-FFF2-40B4-BE49-F238E27FC236}">
                    <a16:creationId xmlns:a16="http://schemas.microsoft.com/office/drawing/2014/main" id="{6DC53285-69B5-44BE-82F6-286CB9C016AB}"/>
                  </a:ext>
                </a:extLst>
              </p:cNvPr>
              <p:cNvSpPr/>
              <p:nvPr/>
            </p:nvSpPr>
            <p:spPr>
              <a:xfrm>
                <a:off x="12190245" y="7186763"/>
                <a:ext cx="210473" cy="149655"/>
              </a:xfrm>
              <a:custGeom>
                <a:avLst/>
                <a:gdLst>
                  <a:gd name="connsiteX0" fmla="*/ 171522 w 210473"/>
                  <a:gd name="connsiteY0" fmla="*/ 149655 h 149655"/>
                  <a:gd name="connsiteX1" fmla="*/ 120271 w 210473"/>
                  <a:gd name="connsiteY1" fmla="*/ 84053 h 149655"/>
                  <a:gd name="connsiteX2" fmla="*/ 120271 w 210473"/>
                  <a:gd name="connsiteY2" fmla="*/ 149655 h 149655"/>
                  <a:gd name="connsiteX3" fmla="*/ 88836 w 210473"/>
                  <a:gd name="connsiteY3" fmla="*/ 149655 h 149655"/>
                  <a:gd name="connsiteX4" fmla="*/ 88836 w 210473"/>
                  <a:gd name="connsiteY4" fmla="*/ 83370 h 149655"/>
                  <a:gd name="connsiteX5" fmla="*/ 37585 w 210473"/>
                  <a:gd name="connsiteY5" fmla="*/ 149655 h 149655"/>
                  <a:gd name="connsiteX6" fmla="*/ 0 w 210473"/>
                  <a:gd name="connsiteY6" fmla="*/ 149655 h 149655"/>
                  <a:gd name="connsiteX7" fmla="*/ 62869 w 210473"/>
                  <a:gd name="connsiteY7" fmla="*/ 70386 h 149655"/>
                  <a:gd name="connsiteX8" fmla="*/ 1367 w 210473"/>
                  <a:gd name="connsiteY8" fmla="*/ 0 h 149655"/>
                  <a:gd name="connsiteX9" fmla="*/ 41685 w 210473"/>
                  <a:gd name="connsiteY9" fmla="*/ 0 h 149655"/>
                  <a:gd name="connsiteX10" fmla="*/ 89520 w 210473"/>
                  <a:gd name="connsiteY10" fmla="*/ 58085 h 149655"/>
                  <a:gd name="connsiteX11" fmla="*/ 89520 w 210473"/>
                  <a:gd name="connsiteY11" fmla="*/ 0 h 149655"/>
                  <a:gd name="connsiteX12" fmla="*/ 120954 w 210473"/>
                  <a:gd name="connsiteY12" fmla="*/ 0 h 149655"/>
                  <a:gd name="connsiteX13" fmla="*/ 120954 w 210473"/>
                  <a:gd name="connsiteY13" fmla="*/ 58085 h 149655"/>
                  <a:gd name="connsiteX14" fmla="*/ 168789 w 210473"/>
                  <a:gd name="connsiteY14" fmla="*/ 0 h 149655"/>
                  <a:gd name="connsiteX15" fmla="*/ 209107 w 210473"/>
                  <a:gd name="connsiteY15" fmla="*/ 0 h 149655"/>
                  <a:gd name="connsiteX16" fmla="*/ 147605 w 210473"/>
                  <a:gd name="connsiteY16" fmla="*/ 70386 h 149655"/>
                  <a:gd name="connsiteX17" fmla="*/ 210474 w 210473"/>
                  <a:gd name="connsiteY17" fmla="*/ 149655 h 149655"/>
                  <a:gd name="connsiteX18" fmla="*/ 171522 w 210473"/>
                  <a:gd name="connsiteY18" fmla="*/ 149655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473" h="149655">
                    <a:moveTo>
                      <a:pt x="171522" y="149655"/>
                    </a:moveTo>
                    <a:lnTo>
                      <a:pt x="120271" y="84053"/>
                    </a:lnTo>
                    <a:lnTo>
                      <a:pt x="120271" y="149655"/>
                    </a:lnTo>
                    <a:lnTo>
                      <a:pt x="88836" y="149655"/>
                    </a:lnTo>
                    <a:lnTo>
                      <a:pt x="88836" y="83370"/>
                    </a:lnTo>
                    <a:lnTo>
                      <a:pt x="37585" y="149655"/>
                    </a:lnTo>
                    <a:lnTo>
                      <a:pt x="0" y="149655"/>
                    </a:lnTo>
                    <a:lnTo>
                      <a:pt x="62869" y="70386"/>
                    </a:lnTo>
                    <a:lnTo>
                      <a:pt x="1367" y="0"/>
                    </a:lnTo>
                    <a:lnTo>
                      <a:pt x="41685" y="0"/>
                    </a:lnTo>
                    <a:lnTo>
                      <a:pt x="89520" y="58085"/>
                    </a:lnTo>
                    <a:lnTo>
                      <a:pt x="89520" y="0"/>
                    </a:lnTo>
                    <a:lnTo>
                      <a:pt x="120954" y="0"/>
                    </a:lnTo>
                    <a:lnTo>
                      <a:pt x="120954" y="58085"/>
                    </a:lnTo>
                    <a:lnTo>
                      <a:pt x="168789" y="0"/>
                    </a:lnTo>
                    <a:lnTo>
                      <a:pt x="209107" y="0"/>
                    </a:lnTo>
                    <a:lnTo>
                      <a:pt x="147605" y="70386"/>
                    </a:lnTo>
                    <a:lnTo>
                      <a:pt x="210474" y="149655"/>
                    </a:lnTo>
                    <a:lnTo>
                      <a:pt x="171522" y="149655"/>
                    </a:lnTo>
                    <a:close/>
                  </a:path>
                </a:pathLst>
              </a:custGeom>
              <a:solidFill>
                <a:srgbClr val="FFFFFF"/>
              </a:solidFill>
              <a:ln w="6822" cap="flat">
                <a:noFill/>
                <a:prstDash val="solid"/>
                <a:miter/>
              </a:ln>
            </p:spPr>
            <p:txBody>
              <a:bodyPr rtlCol="0" anchor="ctr"/>
              <a:lstStyle/>
              <a:p>
                <a:endParaRPr lang="ru-RU" sz="1587" dirty="0"/>
              </a:p>
            </p:txBody>
          </p:sp>
          <p:sp>
            <p:nvSpPr>
              <p:cNvPr id="93" name="Полилиния: фигура 92">
                <a:extLst>
                  <a:ext uri="{FF2B5EF4-FFF2-40B4-BE49-F238E27FC236}">
                    <a16:creationId xmlns:a16="http://schemas.microsoft.com/office/drawing/2014/main" id="{FD1D5811-01EC-45A5-97DC-2248244A4C20}"/>
                  </a:ext>
                </a:extLst>
              </p:cNvPr>
              <p:cNvSpPr/>
              <p:nvPr/>
            </p:nvSpPr>
            <p:spPr>
              <a:xfrm>
                <a:off x="12423953" y="7186763"/>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94" name="Полилиния: фигура 93">
                <a:extLst>
                  <a:ext uri="{FF2B5EF4-FFF2-40B4-BE49-F238E27FC236}">
                    <a16:creationId xmlns:a16="http://schemas.microsoft.com/office/drawing/2014/main" id="{4F96A452-5693-4D9D-9A28-98388D3BCB52}"/>
                  </a:ext>
                </a:extLst>
              </p:cNvPr>
              <p:cNvSpPr/>
              <p:nvPr/>
            </p:nvSpPr>
            <p:spPr>
              <a:xfrm>
                <a:off x="1258659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4" y="28701"/>
                      <a:pt x="80636" y="28701"/>
                    </a:cubicBezTo>
                    <a:cubicBezTo>
                      <a:pt x="54668" y="28701"/>
                      <a:pt x="32118" y="48518"/>
                      <a:pt x="32118" y="79269"/>
                    </a:cubicBezTo>
                    <a:cubicBezTo>
                      <a:pt x="32118" y="110020"/>
                      <a:pt x="54668" y="129838"/>
                      <a:pt x="80636" y="129838"/>
                    </a:cubicBezTo>
                    <a:cubicBezTo>
                      <a:pt x="106604"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95" name="Полилиния: фигура 94">
                <a:extLst>
                  <a:ext uri="{FF2B5EF4-FFF2-40B4-BE49-F238E27FC236}">
                    <a16:creationId xmlns:a16="http://schemas.microsoft.com/office/drawing/2014/main" id="{6DB0FF88-2C9F-4B7D-A081-C485908D329C}"/>
                  </a:ext>
                </a:extLst>
              </p:cNvPr>
              <p:cNvSpPr/>
              <p:nvPr/>
            </p:nvSpPr>
            <p:spPr>
              <a:xfrm>
                <a:off x="12769047" y="7182663"/>
                <a:ext cx="144871" cy="158538"/>
              </a:xfrm>
              <a:custGeom>
                <a:avLst/>
                <a:gdLst>
                  <a:gd name="connsiteX0" fmla="*/ 77902 w 144871"/>
                  <a:gd name="connsiteY0" fmla="*/ 158539 h 158538"/>
                  <a:gd name="connsiteX1" fmla="*/ 0 w 144871"/>
                  <a:gd name="connsiteY1" fmla="*/ 79269 h 158538"/>
                  <a:gd name="connsiteX2" fmla="*/ 77902 w 144871"/>
                  <a:gd name="connsiteY2" fmla="*/ 0 h 158538"/>
                  <a:gd name="connsiteX3" fmla="*/ 143505 w 144871"/>
                  <a:gd name="connsiteY3" fmla="*/ 37585 h 158538"/>
                  <a:gd name="connsiteX4" fmla="*/ 117537 w 144871"/>
                  <a:gd name="connsiteY4" fmla="*/ 52618 h 158538"/>
                  <a:gd name="connsiteX5" fmla="*/ 77902 w 144871"/>
                  <a:gd name="connsiteY5" fmla="*/ 28701 h 158538"/>
                  <a:gd name="connsiteX6" fmla="*/ 32118 w 144871"/>
                  <a:gd name="connsiteY6" fmla="*/ 78586 h 158538"/>
                  <a:gd name="connsiteX7" fmla="*/ 77902 w 144871"/>
                  <a:gd name="connsiteY7" fmla="*/ 128471 h 158538"/>
                  <a:gd name="connsiteX8" fmla="*/ 119587 w 144871"/>
                  <a:gd name="connsiteY8" fmla="*/ 104553 h 158538"/>
                  <a:gd name="connsiteX9" fmla="*/ 144872 w 144871"/>
                  <a:gd name="connsiteY9" fmla="*/ 118904 h 158538"/>
                  <a:gd name="connsiteX10" fmla="*/ 77902 w 144871"/>
                  <a:gd name="connsiteY10" fmla="*/ 15853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71" h="158538">
                    <a:moveTo>
                      <a:pt x="77902" y="158539"/>
                    </a:moveTo>
                    <a:cubicBezTo>
                      <a:pt x="33484" y="158539"/>
                      <a:pt x="0" y="126421"/>
                      <a:pt x="0" y="79269"/>
                    </a:cubicBezTo>
                    <a:cubicBezTo>
                      <a:pt x="0" y="32118"/>
                      <a:pt x="36218" y="0"/>
                      <a:pt x="77902" y="0"/>
                    </a:cubicBezTo>
                    <a:cubicBezTo>
                      <a:pt x="110020" y="0"/>
                      <a:pt x="132571" y="14350"/>
                      <a:pt x="143505" y="37585"/>
                    </a:cubicBezTo>
                    <a:lnTo>
                      <a:pt x="117537" y="52618"/>
                    </a:lnTo>
                    <a:cubicBezTo>
                      <a:pt x="107287" y="36218"/>
                      <a:pt x="93620" y="28701"/>
                      <a:pt x="77902" y="28701"/>
                    </a:cubicBezTo>
                    <a:cubicBezTo>
                      <a:pt x="51935" y="28701"/>
                      <a:pt x="32118" y="47835"/>
                      <a:pt x="32118" y="78586"/>
                    </a:cubicBezTo>
                    <a:cubicBezTo>
                      <a:pt x="32118" y="109337"/>
                      <a:pt x="51252" y="128471"/>
                      <a:pt x="77902" y="128471"/>
                    </a:cubicBezTo>
                    <a:cubicBezTo>
                      <a:pt x="98403" y="128471"/>
                      <a:pt x="110020" y="118221"/>
                      <a:pt x="119587" y="104553"/>
                    </a:cubicBezTo>
                    <a:lnTo>
                      <a:pt x="144872" y="118904"/>
                    </a:lnTo>
                    <a:cubicBezTo>
                      <a:pt x="130521" y="143505"/>
                      <a:pt x="109337" y="158539"/>
                      <a:pt x="77902" y="158539"/>
                    </a:cubicBezTo>
                    <a:close/>
                  </a:path>
                </a:pathLst>
              </a:custGeom>
              <a:solidFill>
                <a:srgbClr val="FFFFFF"/>
              </a:solidFill>
              <a:ln w="6822" cap="flat">
                <a:noFill/>
                <a:prstDash val="solid"/>
                <a:miter/>
              </a:ln>
            </p:spPr>
            <p:txBody>
              <a:bodyPr rtlCol="0" anchor="ctr"/>
              <a:lstStyle/>
              <a:p>
                <a:endParaRPr lang="ru-RU" sz="1587" dirty="0"/>
              </a:p>
            </p:txBody>
          </p:sp>
          <p:sp>
            <p:nvSpPr>
              <p:cNvPr id="96" name="Полилиния: фигура 95">
                <a:extLst>
                  <a:ext uri="{FF2B5EF4-FFF2-40B4-BE49-F238E27FC236}">
                    <a16:creationId xmlns:a16="http://schemas.microsoft.com/office/drawing/2014/main" id="{B63D3B30-A09C-4062-802B-A853EBCC528D}"/>
                  </a:ext>
                </a:extLst>
              </p:cNvPr>
              <p:cNvSpPr/>
              <p:nvPr/>
            </p:nvSpPr>
            <p:spPr>
              <a:xfrm>
                <a:off x="12933053" y="7186763"/>
                <a:ext cx="125054" cy="149655"/>
              </a:xfrm>
              <a:custGeom>
                <a:avLst/>
                <a:gdLst>
                  <a:gd name="connsiteX0" fmla="*/ 47151 w 125054"/>
                  <a:gd name="connsiteY0" fmla="*/ 28018 h 149655"/>
                  <a:gd name="connsiteX1" fmla="*/ 0 w 125054"/>
                  <a:gd name="connsiteY1" fmla="*/ 28018 h 149655"/>
                  <a:gd name="connsiteX2" fmla="*/ 0 w 125054"/>
                  <a:gd name="connsiteY2" fmla="*/ 0 h 149655"/>
                  <a:gd name="connsiteX3" fmla="*/ 125054 w 125054"/>
                  <a:gd name="connsiteY3" fmla="*/ 0 h 149655"/>
                  <a:gd name="connsiteX4" fmla="*/ 125054 w 125054"/>
                  <a:gd name="connsiteY4" fmla="*/ 28018 h 149655"/>
                  <a:gd name="connsiteX5" fmla="*/ 77902 w 125054"/>
                  <a:gd name="connsiteY5" fmla="*/ 28018 h 149655"/>
                  <a:gd name="connsiteX6" fmla="*/ 77902 w 125054"/>
                  <a:gd name="connsiteY6" fmla="*/ 149655 h 149655"/>
                  <a:gd name="connsiteX7" fmla="*/ 46468 w 125054"/>
                  <a:gd name="connsiteY7" fmla="*/ 149655 h 149655"/>
                  <a:gd name="connsiteX8" fmla="*/ 46468 w 125054"/>
                  <a:gd name="connsiteY8" fmla="*/ 28018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54" h="149655">
                    <a:moveTo>
                      <a:pt x="47151" y="28018"/>
                    </a:moveTo>
                    <a:lnTo>
                      <a:pt x="0" y="28018"/>
                    </a:lnTo>
                    <a:lnTo>
                      <a:pt x="0" y="0"/>
                    </a:lnTo>
                    <a:lnTo>
                      <a:pt x="125054" y="0"/>
                    </a:lnTo>
                    <a:lnTo>
                      <a:pt x="125054" y="28018"/>
                    </a:lnTo>
                    <a:lnTo>
                      <a:pt x="77902" y="28018"/>
                    </a:lnTo>
                    <a:lnTo>
                      <a:pt x="77902" y="149655"/>
                    </a:lnTo>
                    <a:lnTo>
                      <a:pt x="46468" y="149655"/>
                    </a:lnTo>
                    <a:lnTo>
                      <a:pt x="46468" y="28018"/>
                    </a:lnTo>
                    <a:close/>
                  </a:path>
                </a:pathLst>
              </a:custGeom>
              <a:solidFill>
                <a:srgbClr val="FFFFFF"/>
              </a:solidFill>
              <a:ln w="6822" cap="flat">
                <a:noFill/>
                <a:prstDash val="solid"/>
                <a:miter/>
              </a:ln>
            </p:spPr>
            <p:txBody>
              <a:bodyPr rtlCol="0" anchor="ctr"/>
              <a:lstStyle/>
              <a:p>
                <a:endParaRPr lang="ru-RU" sz="1587" dirty="0"/>
              </a:p>
            </p:txBody>
          </p:sp>
          <p:sp>
            <p:nvSpPr>
              <p:cNvPr id="97" name="Полилиния: фигура 96">
                <a:extLst>
                  <a:ext uri="{FF2B5EF4-FFF2-40B4-BE49-F238E27FC236}">
                    <a16:creationId xmlns:a16="http://schemas.microsoft.com/office/drawing/2014/main" id="{5B98FF4B-BB1D-4720-80DB-E3FF332725EB}"/>
                  </a:ext>
                </a:extLst>
              </p:cNvPr>
              <p:cNvSpPr/>
              <p:nvPr/>
            </p:nvSpPr>
            <p:spPr>
              <a:xfrm>
                <a:off x="13073141" y="7182663"/>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2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7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2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2"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7" y="86103"/>
                    </a:lnTo>
                    <a:cubicBezTo>
                      <a:pt x="32118" y="112070"/>
                      <a:pt x="49885" y="131204"/>
                      <a:pt x="76536" y="131204"/>
                    </a:cubicBezTo>
                    <a:close/>
                    <a:moveTo>
                      <a:pt x="30751" y="61502"/>
                    </a:moveTo>
                    <a:lnTo>
                      <a:pt x="119587" y="61502"/>
                    </a:lnTo>
                    <a:cubicBezTo>
                      <a:pt x="116854" y="38268"/>
                      <a:pt x="99087" y="24601"/>
                      <a:pt x="75852" y="24601"/>
                    </a:cubicBezTo>
                    <a:cubicBezTo>
                      <a:pt x="53302" y="24601"/>
                      <a:pt x="35535"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98" name="Полилиния: фигура 97">
                <a:extLst>
                  <a:ext uri="{FF2B5EF4-FFF2-40B4-BE49-F238E27FC236}">
                    <a16:creationId xmlns:a16="http://schemas.microsoft.com/office/drawing/2014/main" id="{A9825D8C-9FE4-462A-91DA-6856674EB2B9}"/>
                  </a:ext>
                </a:extLst>
              </p:cNvPr>
              <p:cNvSpPr/>
              <p:nvPr/>
            </p:nvSpPr>
            <p:spPr>
              <a:xfrm>
                <a:off x="13253547" y="7132778"/>
                <a:ext cx="134621" cy="203640"/>
              </a:xfrm>
              <a:custGeom>
                <a:avLst/>
                <a:gdLst>
                  <a:gd name="connsiteX0" fmla="*/ 0 w 134621"/>
                  <a:gd name="connsiteY0" fmla="*/ 53985 h 203640"/>
                  <a:gd name="connsiteX1" fmla="*/ 30068 w 134621"/>
                  <a:gd name="connsiteY1" fmla="*/ 53985 h 203640"/>
                  <a:gd name="connsiteX2" fmla="*/ 30068 w 134621"/>
                  <a:gd name="connsiteY2" fmla="*/ 161956 h 203640"/>
                  <a:gd name="connsiteX3" fmla="*/ 101820 w 134621"/>
                  <a:gd name="connsiteY3" fmla="*/ 53985 h 203640"/>
                  <a:gd name="connsiteX4" fmla="*/ 134621 w 134621"/>
                  <a:gd name="connsiteY4" fmla="*/ 53985 h 203640"/>
                  <a:gd name="connsiteX5" fmla="*/ 134621 w 134621"/>
                  <a:gd name="connsiteY5" fmla="*/ 203640 h 203640"/>
                  <a:gd name="connsiteX6" fmla="*/ 104554 w 134621"/>
                  <a:gd name="connsiteY6" fmla="*/ 203640 h 203640"/>
                  <a:gd name="connsiteX7" fmla="*/ 104554 w 134621"/>
                  <a:gd name="connsiteY7" fmla="*/ 95670 h 203640"/>
                  <a:gd name="connsiteX8" fmla="*/ 32801 w 134621"/>
                  <a:gd name="connsiteY8" fmla="*/ 203640 h 203640"/>
                  <a:gd name="connsiteX9" fmla="*/ 0 w 134621"/>
                  <a:gd name="connsiteY9" fmla="*/ 203640 h 203640"/>
                  <a:gd name="connsiteX10" fmla="*/ 0 w 134621"/>
                  <a:gd name="connsiteY10" fmla="*/ 53985 h 203640"/>
                  <a:gd name="connsiteX11" fmla="*/ 34168 w 134621"/>
                  <a:gd name="connsiteY11" fmla="*/ 0 h 203640"/>
                  <a:gd name="connsiteX12" fmla="*/ 55352 w 134621"/>
                  <a:gd name="connsiteY12" fmla="*/ 0 h 203640"/>
                  <a:gd name="connsiteX13" fmla="*/ 66969 w 134621"/>
                  <a:gd name="connsiteY13" fmla="*/ 12984 h 203640"/>
                  <a:gd name="connsiteX14" fmla="*/ 78586 w 134621"/>
                  <a:gd name="connsiteY14" fmla="*/ 0 h 203640"/>
                  <a:gd name="connsiteX15" fmla="*/ 99770 w 134621"/>
                  <a:gd name="connsiteY15" fmla="*/ 0 h 203640"/>
                  <a:gd name="connsiteX16" fmla="*/ 66969 w 134621"/>
                  <a:gd name="connsiteY16" fmla="*/ 32801 h 203640"/>
                  <a:gd name="connsiteX17" fmla="*/ 34168 w 134621"/>
                  <a:gd name="connsiteY17" fmla="*/ 0 h 2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21" h="203640">
                    <a:moveTo>
                      <a:pt x="0" y="53985"/>
                    </a:moveTo>
                    <a:lnTo>
                      <a:pt x="30068" y="53985"/>
                    </a:lnTo>
                    <a:lnTo>
                      <a:pt x="30068" y="161956"/>
                    </a:lnTo>
                    <a:lnTo>
                      <a:pt x="101820" y="53985"/>
                    </a:lnTo>
                    <a:lnTo>
                      <a:pt x="134621" y="53985"/>
                    </a:lnTo>
                    <a:lnTo>
                      <a:pt x="134621" y="203640"/>
                    </a:lnTo>
                    <a:lnTo>
                      <a:pt x="104554" y="203640"/>
                    </a:lnTo>
                    <a:lnTo>
                      <a:pt x="104554" y="95670"/>
                    </a:lnTo>
                    <a:lnTo>
                      <a:pt x="32801" y="203640"/>
                    </a:lnTo>
                    <a:lnTo>
                      <a:pt x="0" y="203640"/>
                    </a:lnTo>
                    <a:lnTo>
                      <a:pt x="0" y="53985"/>
                    </a:lnTo>
                    <a:close/>
                    <a:moveTo>
                      <a:pt x="34168" y="0"/>
                    </a:moveTo>
                    <a:lnTo>
                      <a:pt x="55352" y="0"/>
                    </a:lnTo>
                    <a:cubicBezTo>
                      <a:pt x="55352" y="7517"/>
                      <a:pt x="59452" y="12984"/>
                      <a:pt x="66969" y="12984"/>
                    </a:cubicBezTo>
                    <a:cubicBezTo>
                      <a:pt x="74486" y="12984"/>
                      <a:pt x="78586" y="7517"/>
                      <a:pt x="78586" y="0"/>
                    </a:cubicBezTo>
                    <a:lnTo>
                      <a:pt x="99770" y="0"/>
                    </a:lnTo>
                    <a:cubicBezTo>
                      <a:pt x="99770" y="19134"/>
                      <a:pt x="86786" y="32801"/>
                      <a:pt x="66969" y="32801"/>
                    </a:cubicBezTo>
                    <a:cubicBezTo>
                      <a:pt x="47152" y="32801"/>
                      <a:pt x="34168" y="19134"/>
                      <a:pt x="34168" y="0"/>
                    </a:cubicBezTo>
                    <a:close/>
                  </a:path>
                </a:pathLst>
              </a:custGeom>
              <a:solidFill>
                <a:srgbClr val="FFFFFF"/>
              </a:solidFill>
              <a:ln w="6822" cap="flat">
                <a:noFill/>
                <a:prstDash val="solid"/>
                <a:miter/>
              </a:ln>
            </p:spPr>
            <p:txBody>
              <a:bodyPr rtlCol="0" anchor="ctr"/>
              <a:lstStyle/>
              <a:p>
                <a:endParaRPr lang="ru-RU" sz="1587" dirty="0"/>
              </a:p>
            </p:txBody>
          </p:sp>
        </p:grpSp>
        <p:sp>
          <p:nvSpPr>
            <p:cNvPr id="74" name="Полилиния: фигура 73">
              <a:extLst>
                <a:ext uri="{FF2B5EF4-FFF2-40B4-BE49-F238E27FC236}">
                  <a16:creationId xmlns:a16="http://schemas.microsoft.com/office/drawing/2014/main" id="{E556DDA1-A7C5-4FDF-8310-06DA46BECBBA}"/>
                </a:ext>
              </a:extLst>
            </p:cNvPr>
            <p:cNvSpPr/>
            <p:nvPr/>
          </p:nvSpPr>
          <p:spPr>
            <a:xfrm>
              <a:off x="11519872" y="4054942"/>
              <a:ext cx="2309744" cy="2615887"/>
            </a:xfrm>
            <a:custGeom>
              <a:avLst/>
              <a:gdLst>
                <a:gd name="connsiteX0" fmla="*/ 2309744 w 2309744"/>
                <a:gd name="connsiteY0" fmla="*/ 0 h 2615887"/>
                <a:gd name="connsiteX1" fmla="*/ 350562 w 2309744"/>
                <a:gd name="connsiteY1" fmla="*/ 2452566 h 2615887"/>
                <a:gd name="connsiteX2" fmla="*/ 2050 w 2309744"/>
                <a:gd name="connsiteY2" fmla="*/ 2615205 h 2615887"/>
                <a:gd name="connsiteX3" fmla="*/ 0 w 2309744"/>
                <a:gd name="connsiteY3" fmla="*/ 2615888 h 2615887"/>
                <a:gd name="connsiteX4" fmla="*/ 0 w 2309744"/>
                <a:gd name="connsiteY4" fmla="*/ 2615888 h 2615887"/>
                <a:gd name="connsiteX5" fmla="*/ 2309744 w 2309744"/>
                <a:gd name="connsiteY5" fmla="*/ 1107721 h 2615887"/>
                <a:gd name="connsiteX6" fmla="*/ 2309744 w 2309744"/>
                <a:gd name="connsiteY6" fmla="*/ 0 h 261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9744" h="2615887">
                  <a:moveTo>
                    <a:pt x="2309744" y="0"/>
                  </a:moveTo>
                  <a:cubicBezTo>
                    <a:pt x="2039818" y="1072869"/>
                    <a:pt x="1316144" y="1946199"/>
                    <a:pt x="350562" y="2452566"/>
                  </a:cubicBezTo>
                  <a:cubicBezTo>
                    <a:pt x="236441" y="2509284"/>
                    <a:pt x="112754" y="2561903"/>
                    <a:pt x="2050" y="2615205"/>
                  </a:cubicBezTo>
                  <a:lnTo>
                    <a:pt x="0" y="2615888"/>
                  </a:lnTo>
                  <a:lnTo>
                    <a:pt x="0" y="2615888"/>
                  </a:lnTo>
                  <a:cubicBezTo>
                    <a:pt x="880846" y="2287877"/>
                    <a:pt x="1668073" y="1768526"/>
                    <a:pt x="2309744" y="1107721"/>
                  </a:cubicBezTo>
                  <a:lnTo>
                    <a:pt x="2309744" y="0"/>
                  </a:lnTo>
                  <a:close/>
                </a:path>
              </a:pathLst>
            </a:custGeom>
            <a:solidFill>
              <a:schemeClr val="accent3"/>
            </a:solidFill>
            <a:ln w="6822" cap="flat">
              <a:noFill/>
              <a:prstDash val="solid"/>
              <a:miter/>
            </a:ln>
          </p:spPr>
          <p:txBody>
            <a:bodyPr rtlCol="0" anchor="ctr"/>
            <a:lstStyle/>
            <a:p>
              <a:endParaRPr lang="ru-RU" sz="1587" dirty="0"/>
            </a:p>
          </p:txBody>
        </p:sp>
      </p:grpSp>
    </p:spTree>
    <p:extLst>
      <p:ext uri="{BB962C8B-B14F-4D97-AF65-F5344CB8AC3E}">
        <p14:creationId xmlns:p14="http://schemas.microsoft.com/office/powerpoint/2010/main" val="28332158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Последний">
    <p:spTree>
      <p:nvGrpSpPr>
        <p:cNvPr id="1" name=""/>
        <p:cNvGrpSpPr/>
        <p:nvPr/>
      </p:nvGrpSpPr>
      <p:grpSpPr>
        <a:xfrm>
          <a:off x="0" y="0"/>
          <a:ext cx="0" cy="0"/>
          <a:chOff x="0" y="0"/>
          <a:chExt cx="0" cy="0"/>
        </a:xfrm>
      </p:grpSpPr>
      <p:sp>
        <p:nvSpPr>
          <p:cNvPr id="11" name="Текст 4">
            <a:extLst>
              <a:ext uri="{FF2B5EF4-FFF2-40B4-BE49-F238E27FC236}">
                <a16:creationId xmlns:a16="http://schemas.microsoft.com/office/drawing/2014/main" id="{D739FF08-E85F-4998-9440-3485D5470EC1}"/>
              </a:ext>
            </a:extLst>
          </p:cNvPr>
          <p:cNvSpPr>
            <a:spLocks noGrp="1"/>
          </p:cNvSpPr>
          <p:nvPr>
            <p:ph type="body" sz="quarter" idx="22" hasCustomPrompt="1"/>
          </p:nvPr>
        </p:nvSpPr>
        <p:spPr>
          <a:xfrm>
            <a:off x="423758" y="5156611"/>
            <a:ext cx="3202839" cy="54065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13" name="Текст 4">
            <a:extLst>
              <a:ext uri="{FF2B5EF4-FFF2-40B4-BE49-F238E27FC236}">
                <a16:creationId xmlns:a16="http://schemas.microsoft.com/office/drawing/2014/main" id="{A520F4DC-F48B-477A-A668-DB910702263F}"/>
              </a:ext>
            </a:extLst>
          </p:cNvPr>
          <p:cNvSpPr>
            <a:spLocks noGrp="1"/>
          </p:cNvSpPr>
          <p:nvPr>
            <p:ph type="body" sz="quarter" idx="23" hasCustomPrompt="1"/>
          </p:nvPr>
        </p:nvSpPr>
        <p:spPr>
          <a:xfrm>
            <a:off x="423758" y="5771967"/>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69" name="Текст 22">
            <a:extLst>
              <a:ext uri="{FF2B5EF4-FFF2-40B4-BE49-F238E27FC236}">
                <a16:creationId xmlns:a16="http://schemas.microsoft.com/office/drawing/2014/main" id="{348FC2C0-0259-47AD-97B0-1AFBCADD3B17}"/>
              </a:ext>
            </a:extLst>
          </p:cNvPr>
          <p:cNvSpPr>
            <a:spLocks noGrp="1"/>
          </p:cNvSpPr>
          <p:nvPr>
            <p:ph type="body" sz="quarter" idx="14" hasCustomPrompt="1"/>
          </p:nvPr>
        </p:nvSpPr>
        <p:spPr>
          <a:xfrm>
            <a:off x="417517" y="2481064"/>
            <a:ext cx="3575900" cy="595627"/>
          </a:xfrm>
          <a:prstGeom prst="rect">
            <a:avLst/>
          </a:prstGeom>
          <a:solidFill>
            <a:schemeClr val="accent3"/>
          </a:solidFill>
        </p:spPr>
        <p:txBody>
          <a:bodyPr wrap="none" lIns="108000" tIns="36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70" name="Текст 22">
            <a:extLst>
              <a:ext uri="{FF2B5EF4-FFF2-40B4-BE49-F238E27FC236}">
                <a16:creationId xmlns:a16="http://schemas.microsoft.com/office/drawing/2014/main" id="{AC6392F2-642A-4A69-88B5-3F13BF3A731B}"/>
              </a:ext>
            </a:extLst>
          </p:cNvPr>
          <p:cNvSpPr>
            <a:spLocks noGrp="1"/>
          </p:cNvSpPr>
          <p:nvPr>
            <p:ph type="body" sz="quarter" idx="24" hasCustomPrompt="1"/>
          </p:nvPr>
        </p:nvSpPr>
        <p:spPr>
          <a:xfrm>
            <a:off x="417515" y="3076190"/>
            <a:ext cx="3883677" cy="547159"/>
          </a:xfrm>
          <a:prstGeom prst="rect">
            <a:avLst/>
          </a:prstGeom>
          <a:solidFill>
            <a:schemeClr val="accent3"/>
          </a:solidFill>
        </p:spPr>
        <p:txBody>
          <a:bodyPr wrap="none" lIns="108000" tIns="0" rIns="108000" bIns="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54" name="Рисунок 25">
            <a:extLst>
              <a:ext uri="{FF2B5EF4-FFF2-40B4-BE49-F238E27FC236}">
                <a16:creationId xmlns:a16="http://schemas.microsoft.com/office/drawing/2014/main" id="{BFA18400-4268-4E0D-BA9B-076036E33145}"/>
              </a:ext>
            </a:extLst>
          </p:cNvPr>
          <p:cNvGrpSpPr/>
          <p:nvPr userDrawn="1"/>
        </p:nvGrpSpPr>
        <p:grpSpPr>
          <a:xfrm>
            <a:off x="419833" y="417146"/>
            <a:ext cx="2645659" cy="753911"/>
            <a:chOff x="-233" y="1916027"/>
            <a:chExt cx="13832096" cy="3938000"/>
          </a:xfrm>
        </p:grpSpPr>
        <p:sp>
          <p:nvSpPr>
            <p:cNvPr id="67" name="Полилиния: фигура 66">
              <a:extLst>
                <a:ext uri="{FF2B5EF4-FFF2-40B4-BE49-F238E27FC236}">
                  <a16:creationId xmlns:a16="http://schemas.microsoft.com/office/drawing/2014/main" id="{3F4811F8-3119-44CE-A18B-E65D6EB1EA54}"/>
                </a:ext>
              </a:extLst>
            </p:cNvPr>
            <p:cNvSpPr/>
            <p:nvPr/>
          </p:nvSpPr>
          <p:spPr>
            <a:xfrm>
              <a:off x="2798114" y="2521151"/>
              <a:ext cx="11033748" cy="3332876"/>
            </a:xfrm>
            <a:custGeom>
              <a:avLst/>
              <a:gdLst>
                <a:gd name="connsiteX0" fmla="*/ 8186381 w 11033748"/>
                <a:gd name="connsiteY0" fmla="*/ 869378 h 3332876"/>
                <a:gd name="connsiteX1" fmla="*/ 8655469 w 11033748"/>
                <a:gd name="connsiteY1" fmla="*/ 1402575 h 3332876"/>
                <a:gd name="connsiteX2" fmla="*/ 8350562 w 11033748"/>
                <a:gd name="connsiteY2" fmla="*/ 1402575 h 3332876"/>
                <a:gd name="connsiteX3" fmla="*/ 7987800 w 11033748"/>
                <a:gd name="connsiteY3" fmla="*/ 991341 h 3332876"/>
                <a:gd name="connsiteX4" fmla="*/ 7987800 w 11033748"/>
                <a:gd name="connsiteY4" fmla="*/ 1402575 h 3332876"/>
                <a:gd name="connsiteX5" fmla="*/ 7735274 w 11033748"/>
                <a:gd name="connsiteY5" fmla="*/ 1402575 h 3332876"/>
                <a:gd name="connsiteX6" fmla="*/ 7735274 w 11033748"/>
                <a:gd name="connsiteY6" fmla="*/ 408889 h 3332876"/>
                <a:gd name="connsiteX7" fmla="*/ 7987800 w 11033748"/>
                <a:gd name="connsiteY7" fmla="*/ 408889 h 3332876"/>
                <a:gd name="connsiteX8" fmla="*/ 7987800 w 11033748"/>
                <a:gd name="connsiteY8" fmla="*/ 769306 h 3332876"/>
                <a:gd name="connsiteX9" fmla="*/ 8344307 w 11033748"/>
                <a:gd name="connsiteY9" fmla="*/ 408889 h 3332876"/>
                <a:gd name="connsiteX10" fmla="*/ 8642960 w 11033748"/>
                <a:gd name="connsiteY10" fmla="*/ 408889 h 3332876"/>
                <a:gd name="connsiteX11" fmla="*/ 8186381 w 11033748"/>
                <a:gd name="connsiteY11" fmla="*/ 869378 h 3332876"/>
                <a:gd name="connsiteX12" fmla="*/ 629361 w 11033748"/>
                <a:gd name="connsiteY12" fmla="*/ 677052 h 3332876"/>
                <a:gd name="connsiteX13" fmla="*/ 898305 w 11033748"/>
                <a:gd name="connsiteY13" fmla="*/ 456580 h 3332876"/>
                <a:gd name="connsiteX14" fmla="*/ 629361 w 11033748"/>
                <a:gd name="connsiteY14" fmla="*/ 236108 h 3332876"/>
                <a:gd name="connsiteX15" fmla="*/ 264253 w 11033748"/>
                <a:gd name="connsiteY15" fmla="*/ 236108 h 3332876"/>
                <a:gd name="connsiteX16" fmla="*/ 264253 w 11033748"/>
                <a:gd name="connsiteY16" fmla="*/ 677052 h 3332876"/>
                <a:gd name="connsiteX17" fmla="*/ 629361 w 11033748"/>
                <a:gd name="connsiteY17" fmla="*/ 677052 h 3332876"/>
                <a:gd name="connsiteX18" fmla="*/ 637179 w 11033748"/>
                <a:gd name="connsiteY18" fmla="*/ 0 h 3332876"/>
                <a:gd name="connsiteX19" fmla="*/ 1162558 w 11033748"/>
                <a:gd name="connsiteY19" fmla="*/ 456580 h 3332876"/>
                <a:gd name="connsiteX20" fmla="*/ 637179 w 11033748"/>
                <a:gd name="connsiteY20" fmla="*/ 913941 h 3332876"/>
                <a:gd name="connsiteX21" fmla="*/ 264253 w 11033748"/>
                <a:gd name="connsiteY21" fmla="*/ 913941 h 3332876"/>
                <a:gd name="connsiteX22" fmla="*/ 264253 w 11033748"/>
                <a:gd name="connsiteY22" fmla="*/ 1403357 h 3332876"/>
                <a:gd name="connsiteX23" fmla="*/ 0 w 11033748"/>
                <a:gd name="connsiteY23" fmla="*/ 1403357 h 3332876"/>
                <a:gd name="connsiteX24" fmla="*/ 0 w 11033748"/>
                <a:gd name="connsiteY24" fmla="*/ 0 h 3332876"/>
                <a:gd name="connsiteX25" fmla="*/ 637179 w 11033748"/>
                <a:gd name="connsiteY25" fmla="*/ 0 h 3332876"/>
                <a:gd name="connsiteX26" fmla="*/ 1759083 w 11033748"/>
                <a:gd name="connsiteY26" fmla="*/ 1194613 h 3332876"/>
                <a:gd name="connsiteX27" fmla="*/ 2046009 w 11033748"/>
                <a:gd name="connsiteY27" fmla="*/ 906123 h 3332876"/>
                <a:gd name="connsiteX28" fmla="*/ 1759083 w 11033748"/>
                <a:gd name="connsiteY28" fmla="*/ 617634 h 3332876"/>
                <a:gd name="connsiteX29" fmla="*/ 1472157 w 11033748"/>
                <a:gd name="connsiteY29" fmla="*/ 906123 h 3332876"/>
                <a:gd name="connsiteX30" fmla="*/ 1759083 w 11033748"/>
                <a:gd name="connsiteY30" fmla="*/ 1194613 h 3332876"/>
                <a:gd name="connsiteX31" fmla="*/ 1759083 w 11033748"/>
                <a:gd name="connsiteY31" fmla="*/ 380744 h 3332876"/>
                <a:gd name="connsiteX32" fmla="*/ 2302444 w 11033748"/>
                <a:gd name="connsiteY32" fmla="*/ 906123 h 3332876"/>
                <a:gd name="connsiteX33" fmla="*/ 1759083 w 11033748"/>
                <a:gd name="connsiteY33" fmla="*/ 1431503 h 3332876"/>
                <a:gd name="connsiteX34" fmla="*/ 1215722 w 11033748"/>
                <a:gd name="connsiteY34" fmla="*/ 906123 h 3332876"/>
                <a:gd name="connsiteX35" fmla="*/ 1759083 w 11033748"/>
                <a:gd name="connsiteY35" fmla="*/ 380744 h 3332876"/>
                <a:gd name="connsiteX36" fmla="*/ 2947441 w 11033748"/>
                <a:gd name="connsiteY36" fmla="*/ 1194613 h 3332876"/>
                <a:gd name="connsiteX37" fmla="*/ 2683188 w 11033748"/>
                <a:gd name="connsiteY37" fmla="*/ 906123 h 3332876"/>
                <a:gd name="connsiteX38" fmla="*/ 2947441 w 11033748"/>
                <a:gd name="connsiteY38" fmla="*/ 617634 h 3332876"/>
                <a:gd name="connsiteX39" fmla="*/ 3178077 w 11033748"/>
                <a:gd name="connsiteY39" fmla="*/ 753669 h 3332876"/>
                <a:gd name="connsiteX40" fmla="*/ 3394639 w 11033748"/>
                <a:gd name="connsiteY40" fmla="*/ 629361 h 3332876"/>
                <a:gd name="connsiteX41" fmla="*/ 2949787 w 11033748"/>
                <a:gd name="connsiteY41" fmla="*/ 380744 h 3332876"/>
                <a:gd name="connsiteX42" fmla="*/ 2426753 w 11033748"/>
                <a:gd name="connsiteY42" fmla="*/ 906123 h 3332876"/>
                <a:gd name="connsiteX43" fmla="*/ 2949787 w 11033748"/>
                <a:gd name="connsiteY43" fmla="*/ 1431503 h 3332876"/>
                <a:gd name="connsiteX44" fmla="*/ 3404803 w 11033748"/>
                <a:gd name="connsiteY44" fmla="*/ 1164904 h 3332876"/>
                <a:gd name="connsiteX45" fmla="*/ 3196058 w 11033748"/>
                <a:gd name="connsiteY45" fmla="*/ 1050759 h 3332876"/>
                <a:gd name="connsiteX46" fmla="*/ 2947441 w 11033748"/>
                <a:gd name="connsiteY46" fmla="*/ 1194613 h 3332876"/>
                <a:gd name="connsiteX47" fmla="*/ 5636102 w 11033748"/>
                <a:gd name="connsiteY47" fmla="*/ 971796 h 3332876"/>
                <a:gd name="connsiteX48" fmla="*/ 5541502 w 11033748"/>
                <a:gd name="connsiteY48" fmla="*/ 1157868 h 3332876"/>
                <a:gd name="connsiteX49" fmla="*/ 5464884 w 11033748"/>
                <a:gd name="connsiteY49" fmla="*/ 1147704 h 3332876"/>
                <a:gd name="connsiteX50" fmla="*/ 5466448 w 11033748"/>
                <a:gd name="connsiteY50" fmla="*/ 1404921 h 3332876"/>
                <a:gd name="connsiteX51" fmla="*/ 5556356 w 11033748"/>
                <a:gd name="connsiteY51" fmla="*/ 1414303 h 3332876"/>
                <a:gd name="connsiteX52" fmla="*/ 5870646 w 11033748"/>
                <a:gd name="connsiteY52" fmla="*/ 981177 h 3332876"/>
                <a:gd name="connsiteX53" fmla="*/ 5894882 w 11033748"/>
                <a:gd name="connsiteY53" fmla="*/ 634052 h 3332876"/>
                <a:gd name="connsiteX54" fmla="*/ 6179463 w 11033748"/>
                <a:gd name="connsiteY54" fmla="*/ 634052 h 3332876"/>
                <a:gd name="connsiteX55" fmla="*/ 6179463 w 11033748"/>
                <a:gd name="connsiteY55" fmla="*/ 1399448 h 3332876"/>
                <a:gd name="connsiteX56" fmla="*/ 6431989 w 11033748"/>
                <a:gd name="connsiteY56" fmla="*/ 1399448 h 3332876"/>
                <a:gd name="connsiteX57" fmla="*/ 6431989 w 11033748"/>
                <a:gd name="connsiteY57" fmla="*/ 408889 h 3332876"/>
                <a:gd name="connsiteX58" fmla="*/ 5678319 w 11033748"/>
                <a:gd name="connsiteY58" fmla="*/ 408889 h 3332876"/>
                <a:gd name="connsiteX59" fmla="*/ 5636102 w 11033748"/>
                <a:gd name="connsiteY59" fmla="*/ 971796 h 3332876"/>
                <a:gd name="connsiteX60" fmla="*/ 5170922 w 11033748"/>
                <a:gd name="connsiteY60" fmla="*/ 773215 h 3332876"/>
                <a:gd name="connsiteX61" fmla="*/ 4912141 w 11033748"/>
                <a:gd name="connsiteY61" fmla="*/ 573070 h 3332876"/>
                <a:gd name="connsiteX62" fmla="*/ 4643197 w 11033748"/>
                <a:gd name="connsiteY62" fmla="*/ 773215 h 3332876"/>
                <a:gd name="connsiteX63" fmla="*/ 5170922 w 11033748"/>
                <a:gd name="connsiteY63" fmla="*/ 773215 h 3332876"/>
                <a:gd name="connsiteX64" fmla="*/ 4919960 w 11033748"/>
                <a:gd name="connsiteY64" fmla="*/ 380744 h 3332876"/>
                <a:gd name="connsiteX65" fmla="*/ 5404684 w 11033748"/>
                <a:gd name="connsiteY65" fmla="*/ 877978 h 3332876"/>
                <a:gd name="connsiteX66" fmla="*/ 5404684 w 11033748"/>
                <a:gd name="connsiteY66" fmla="*/ 966323 h 3332876"/>
                <a:gd name="connsiteX67" fmla="*/ 4639288 w 11033748"/>
                <a:gd name="connsiteY67" fmla="*/ 966323 h 3332876"/>
                <a:gd name="connsiteX68" fmla="*/ 4912141 w 11033748"/>
                <a:gd name="connsiteY68" fmla="*/ 1214940 h 3332876"/>
                <a:gd name="connsiteX69" fmla="*/ 5164667 w 11033748"/>
                <a:gd name="connsiteY69" fmla="*/ 1078904 h 3332876"/>
                <a:gd name="connsiteX70" fmla="*/ 5364812 w 11033748"/>
                <a:gd name="connsiteY70" fmla="*/ 1178977 h 3332876"/>
                <a:gd name="connsiteX71" fmla="*/ 4907450 w 11033748"/>
                <a:gd name="connsiteY71" fmla="*/ 1431503 h 3332876"/>
                <a:gd name="connsiteX72" fmla="*/ 4396144 w 11033748"/>
                <a:gd name="connsiteY72" fmla="*/ 906123 h 3332876"/>
                <a:gd name="connsiteX73" fmla="*/ 4919960 w 11033748"/>
                <a:gd name="connsiteY73" fmla="*/ 380744 h 3332876"/>
                <a:gd name="connsiteX74" fmla="*/ 7346712 w 11033748"/>
                <a:gd name="connsiteY74" fmla="*/ 773215 h 3332876"/>
                <a:gd name="connsiteX75" fmla="*/ 7087931 w 11033748"/>
                <a:gd name="connsiteY75" fmla="*/ 573070 h 3332876"/>
                <a:gd name="connsiteX76" fmla="*/ 6818987 w 11033748"/>
                <a:gd name="connsiteY76" fmla="*/ 773215 h 3332876"/>
                <a:gd name="connsiteX77" fmla="*/ 7346712 w 11033748"/>
                <a:gd name="connsiteY77" fmla="*/ 773215 h 3332876"/>
                <a:gd name="connsiteX78" fmla="*/ 7096531 w 11033748"/>
                <a:gd name="connsiteY78" fmla="*/ 380744 h 3332876"/>
                <a:gd name="connsiteX79" fmla="*/ 7581256 w 11033748"/>
                <a:gd name="connsiteY79" fmla="*/ 877978 h 3332876"/>
                <a:gd name="connsiteX80" fmla="*/ 7581256 w 11033748"/>
                <a:gd name="connsiteY80" fmla="*/ 966323 h 3332876"/>
                <a:gd name="connsiteX81" fmla="*/ 6815859 w 11033748"/>
                <a:gd name="connsiteY81" fmla="*/ 966323 h 3332876"/>
                <a:gd name="connsiteX82" fmla="*/ 7088713 w 11033748"/>
                <a:gd name="connsiteY82" fmla="*/ 1214940 h 3332876"/>
                <a:gd name="connsiteX83" fmla="*/ 7341239 w 11033748"/>
                <a:gd name="connsiteY83" fmla="*/ 1078904 h 3332876"/>
                <a:gd name="connsiteX84" fmla="*/ 7541384 w 11033748"/>
                <a:gd name="connsiteY84" fmla="*/ 1178977 h 3332876"/>
                <a:gd name="connsiteX85" fmla="*/ 7084022 w 11033748"/>
                <a:gd name="connsiteY85" fmla="*/ 1431503 h 3332876"/>
                <a:gd name="connsiteX86" fmla="*/ 6572715 w 11033748"/>
                <a:gd name="connsiteY86" fmla="*/ 906123 h 3332876"/>
                <a:gd name="connsiteX87" fmla="*/ 7096531 w 11033748"/>
                <a:gd name="connsiteY87" fmla="*/ 380744 h 3332876"/>
                <a:gd name="connsiteX88" fmla="*/ 3482984 w 11033748"/>
                <a:gd name="connsiteY88" fmla="*/ 629361 h 3332876"/>
                <a:gd name="connsiteX89" fmla="*/ 3779292 w 11033748"/>
                <a:gd name="connsiteY89" fmla="*/ 629361 h 3332876"/>
                <a:gd name="connsiteX90" fmla="*/ 3779292 w 11033748"/>
                <a:gd name="connsiteY90" fmla="*/ 1403357 h 3332876"/>
                <a:gd name="connsiteX91" fmla="*/ 4031818 w 11033748"/>
                <a:gd name="connsiteY91" fmla="*/ 1403357 h 3332876"/>
                <a:gd name="connsiteX92" fmla="*/ 4031818 w 11033748"/>
                <a:gd name="connsiteY92" fmla="*/ 629361 h 3332876"/>
                <a:gd name="connsiteX93" fmla="*/ 4328126 w 11033748"/>
                <a:gd name="connsiteY93" fmla="*/ 629361 h 3332876"/>
                <a:gd name="connsiteX94" fmla="*/ 4328126 w 11033748"/>
                <a:gd name="connsiteY94" fmla="*/ 408889 h 3332876"/>
                <a:gd name="connsiteX95" fmla="*/ 3482984 w 11033748"/>
                <a:gd name="connsiteY95" fmla="*/ 408889 h 3332876"/>
                <a:gd name="connsiteX96" fmla="*/ 3482984 w 11033748"/>
                <a:gd name="connsiteY96" fmla="*/ 629361 h 3332876"/>
                <a:gd name="connsiteX97" fmla="*/ 9156612 w 11033748"/>
                <a:gd name="connsiteY97" fmla="*/ 1194613 h 3332876"/>
                <a:gd name="connsiteX98" fmla="*/ 9443539 w 11033748"/>
                <a:gd name="connsiteY98" fmla="*/ 906123 h 3332876"/>
                <a:gd name="connsiteX99" fmla="*/ 9156612 w 11033748"/>
                <a:gd name="connsiteY99" fmla="*/ 617634 h 3332876"/>
                <a:gd name="connsiteX100" fmla="*/ 8869687 w 11033748"/>
                <a:gd name="connsiteY100" fmla="*/ 906123 h 3332876"/>
                <a:gd name="connsiteX101" fmla="*/ 9156612 w 11033748"/>
                <a:gd name="connsiteY101" fmla="*/ 1194613 h 3332876"/>
                <a:gd name="connsiteX102" fmla="*/ 9156612 w 11033748"/>
                <a:gd name="connsiteY102" fmla="*/ 380744 h 3332876"/>
                <a:gd name="connsiteX103" fmla="*/ 9699973 w 11033748"/>
                <a:gd name="connsiteY103" fmla="*/ 906123 h 3332876"/>
                <a:gd name="connsiteX104" fmla="*/ 9156612 w 11033748"/>
                <a:gd name="connsiteY104" fmla="*/ 1431503 h 3332876"/>
                <a:gd name="connsiteX105" fmla="*/ 8613251 w 11033748"/>
                <a:gd name="connsiteY105" fmla="*/ 906123 h 3332876"/>
                <a:gd name="connsiteX106" fmla="*/ 9156612 w 11033748"/>
                <a:gd name="connsiteY106" fmla="*/ 380744 h 3332876"/>
                <a:gd name="connsiteX107" fmla="*/ 10704605 w 11033748"/>
                <a:gd name="connsiteY107" fmla="*/ 408889 h 3332876"/>
                <a:gd name="connsiteX108" fmla="*/ 10430188 w 11033748"/>
                <a:gd name="connsiteY108" fmla="*/ 1105486 h 3332876"/>
                <a:gd name="connsiteX109" fmla="*/ 10155772 w 11033748"/>
                <a:gd name="connsiteY109" fmla="*/ 408889 h 3332876"/>
                <a:gd name="connsiteX110" fmla="*/ 9825845 w 11033748"/>
                <a:gd name="connsiteY110" fmla="*/ 408889 h 3332876"/>
                <a:gd name="connsiteX111" fmla="*/ 9825845 w 11033748"/>
                <a:gd name="connsiteY111" fmla="*/ 1401012 h 3332876"/>
                <a:gd name="connsiteX112" fmla="*/ 10065863 w 11033748"/>
                <a:gd name="connsiteY112" fmla="*/ 1401012 h 3332876"/>
                <a:gd name="connsiteX113" fmla="*/ 10065863 w 11033748"/>
                <a:gd name="connsiteY113" fmla="*/ 772433 h 3332876"/>
                <a:gd name="connsiteX114" fmla="*/ 10331680 w 11033748"/>
                <a:gd name="connsiteY114" fmla="*/ 1401012 h 3332876"/>
                <a:gd name="connsiteX115" fmla="*/ 10527915 w 11033748"/>
                <a:gd name="connsiteY115" fmla="*/ 1401012 h 3332876"/>
                <a:gd name="connsiteX116" fmla="*/ 10793732 w 11033748"/>
                <a:gd name="connsiteY116" fmla="*/ 772433 h 3332876"/>
                <a:gd name="connsiteX117" fmla="*/ 10793732 w 11033748"/>
                <a:gd name="connsiteY117" fmla="*/ 1401012 h 3332876"/>
                <a:gd name="connsiteX118" fmla="*/ 11033749 w 11033748"/>
                <a:gd name="connsiteY118" fmla="*/ 1401012 h 3332876"/>
                <a:gd name="connsiteX119" fmla="*/ 11033749 w 11033748"/>
                <a:gd name="connsiteY119" fmla="*/ 408889 h 3332876"/>
                <a:gd name="connsiteX120" fmla="*/ 10704605 w 11033748"/>
                <a:gd name="connsiteY120" fmla="*/ 408889 h 3332876"/>
                <a:gd name="connsiteX121" fmla="*/ 264253 w 11033748"/>
                <a:gd name="connsiteY121" fmla="*/ 3067841 h 3332876"/>
                <a:gd name="connsiteX122" fmla="*/ 264253 w 11033748"/>
                <a:gd name="connsiteY122" fmla="*/ 2666770 h 3332876"/>
                <a:gd name="connsiteX123" fmla="*/ 570725 w 11033748"/>
                <a:gd name="connsiteY123" fmla="*/ 2666770 h 3332876"/>
                <a:gd name="connsiteX124" fmla="*/ 819342 w 11033748"/>
                <a:gd name="connsiteY124" fmla="*/ 2866915 h 3332876"/>
                <a:gd name="connsiteX125" fmla="*/ 570725 w 11033748"/>
                <a:gd name="connsiteY125" fmla="*/ 3067059 h 3332876"/>
                <a:gd name="connsiteX126" fmla="*/ 264253 w 11033748"/>
                <a:gd name="connsiteY126" fmla="*/ 3067059 h 3332876"/>
                <a:gd name="connsiteX127" fmla="*/ 0 w 11033748"/>
                <a:gd name="connsiteY127" fmla="*/ 3304731 h 3332876"/>
                <a:gd name="connsiteX128" fmla="*/ 591052 w 11033748"/>
                <a:gd name="connsiteY128" fmla="*/ 3304731 h 3332876"/>
                <a:gd name="connsiteX129" fmla="*/ 1084377 w 11033748"/>
                <a:gd name="connsiteY129" fmla="*/ 2867696 h 3332876"/>
                <a:gd name="connsiteX130" fmla="*/ 591052 w 11033748"/>
                <a:gd name="connsiteY130" fmla="*/ 2434571 h 3332876"/>
                <a:gd name="connsiteX131" fmla="*/ 264253 w 11033748"/>
                <a:gd name="connsiteY131" fmla="*/ 2434571 h 3332876"/>
                <a:gd name="connsiteX132" fmla="*/ 264253 w 11033748"/>
                <a:gd name="connsiteY132" fmla="*/ 2133572 h 3332876"/>
                <a:gd name="connsiteX133" fmla="*/ 983523 w 11033748"/>
                <a:gd name="connsiteY133" fmla="*/ 2133572 h 3332876"/>
                <a:gd name="connsiteX134" fmla="*/ 983523 w 11033748"/>
                <a:gd name="connsiteY134" fmla="*/ 1901373 h 3332876"/>
                <a:gd name="connsiteX135" fmla="*/ 0 w 11033748"/>
                <a:gd name="connsiteY135" fmla="*/ 1901373 h 3332876"/>
                <a:gd name="connsiteX136" fmla="*/ 0 w 11033748"/>
                <a:gd name="connsiteY136" fmla="*/ 3304731 h 3332876"/>
                <a:gd name="connsiteX137" fmla="*/ 1243085 w 11033748"/>
                <a:gd name="connsiteY137" fmla="*/ 3304731 h 3332876"/>
                <a:gd name="connsiteX138" fmla="*/ 1503430 w 11033748"/>
                <a:gd name="connsiteY138" fmla="*/ 3304731 h 3332876"/>
                <a:gd name="connsiteX139" fmla="*/ 1936555 w 11033748"/>
                <a:gd name="connsiteY139" fmla="*/ 2649570 h 3332876"/>
                <a:gd name="connsiteX140" fmla="*/ 1936555 w 11033748"/>
                <a:gd name="connsiteY140" fmla="*/ 3304731 h 3332876"/>
                <a:gd name="connsiteX141" fmla="*/ 2177354 w 11033748"/>
                <a:gd name="connsiteY141" fmla="*/ 3304731 h 3332876"/>
                <a:gd name="connsiteX142" fmla="*/ 2177354 w 11033748"/>
                <a:gd name="connsiteY142" fmla="*/ 2310262 h 3332876"/>
                <a:gd name="connsiteX143" fmla="*/ 1917009 w 11033748"/>
                <a:gd name="connsiteY143" fmla="*/ 2310262 h 3332876"/>
                <a:gd name="connsiteX144" fmla="*/ 1483884 w 11033748"/>
                <a:gd name="connsiteY144" fmla="*/ 2965423 h 3332876"/>
                <a:gd name="connsiteX145" fmla="*/ 1483884 w 11033748"/>
                <a:gd name="connsiteY145" fmla="*/ 2310262 h 3332876"/>
                <a:gd name="connsiteX146" fmla="*/ 1243085 w 11033748"/>
                <a:gd name="connsiteY146" fmla="*/ 2310262 h 3332876"/>
                <a:gd name="connsiteX147" fmla="*/ 1243085 w 11033748"/>
                <a:gd name="connsiteY147" fmla="*/ 3304731 h 3332876"/>
                <a:gd name="connsiteX148" fmla="*/ 3183549 w 11033748"/>
                <a:gd name="connsiteY148" fmla="*/ 3015459 h 3332876"/>
                <a:gd name="connsiteX149" fmla="*/ 2974805 w 11033748"/>
                <a:gd name="connsiteY149" fmla="*/ 2778569 h 3332876"/>
                <a:gd name="connsiteX150" fmla="*/ 3142895 w 11033748"/>
                <a:gd name="connsiteY150" fmla="*/ 2547934 h 3332876"/>
                <a:gd name="connsiteX151" fmla="*/ 2772315 w 11033748"/>
                <a:gd name="connsiteY151" fmla="*/ 2281335 h 3332876"/>
                <a:gd name="connsiteX152" fmla="*/ 2377498 w 11033748"/>
                <a:gd name="connsiteY152" fmla="*/ 2572170 h 3332876"/>
                <a:gd name="connsiteX153" fmla="*/ 2397825 w 11033748"/>
                <a:gd name="connsiteY153" fmla="*/ 2672243 h 3332876"/>
                <a:gd name="connsiteX154" fmla="*/ 2612043 w 11033748"/>
                <a:gd name="connsiteY154" fmla="*/ 2600316 h 3332876"/>
                <a:gd name="connsiteX155" fmla="*/ 2605788 w 11033748"/>
                <a:gd name="connsiteY155" fmla="*/ 2564352 h 3332876"/>
                <a:gd name="connsiteX156" fmla="*/ 2769969 w 11033748"/>
                <a:gd name="connsiteY156" fmla="*/ 2478353 h 3332876"/>
                <a:gd name="connsiteX157" fmla="*/ 2908351 w 11033748"/>
                <a:gd name="connsiteY157" fmla="*/ 2578425 h 3332876"/>
                <a:gd name="connsiteX158" fmla="*/ 2754333 w 11033748"/>
                <a:gd name="connsiteY158" fmla="*/ 2686315 h 3332876"/>
                <a:gd name="connsiteX159" fmla="*/ 2678497 w 11033748"/>
                <a:gd name="connsiteY159" fmla="*/ 2686315 h 3332876"/>
                <a:gd name="connsiteX160" fmla="*/ 2678497 w 11033748"/>
                <a:gd name="connsiteY160" fmla="*/ 2886460 h 3332876"/>
                <a:gd name="connsiteX161" fmla="*/ 2760587 w 11033748"/>
                <a:gd name="connsiteY161" fmla="*/ 2886460 h 3332876"/>
                <a:gd name="connsiteX162" fmla="*/ 2938841 w 11033748"/>
                <a:gd name="connsiteY162" fmla="*/ 3004514 h 3332876"/>
                <a:gd name="connsiteX163" fmla="*/ 2748079 w 11033748"/>
                <a:gd name="connsiteY163" fmla="*/ 3135077 h 3332876"/>
                <a:gd name="connsiteX164" fmla="*/ 2579988 w 11033748"/>
                <a:gd name="connsiteY164" fmla="*/ 3008423 h 3332876"/>
                <a:gd name="connsiteX165" fmla="*/ 2590152 w 11033748"/>
                <a:gd name="connsiteY165" fmla="*/ 2958387 h 3332876"/>
                <a:gd name="connsiteX166" fmla="*/ 2377498 w 11033748"/>
                <a:gd name="connsiteY166" fmla="*/ 2890369 h 3332876"/>
                <a:gd name="connsiteX167" fmla="*/ 2353262 w 11033748"/>
                <a:gd name="connsiteY167" fmla="*/ 3010768 h 3332876"/>
                <a:gd name="connsiteX168" fmla="*/ 2748079 w 11033748"/>
                <a:gd name="connsiteY168" fmla="*/ 3331312 h 3332876"/>
                <a:gd name="connsiteX169" fmla="*/ 3183549 w 11033748"/>
                <a:gd name="connsiteY169" fmla="*/ 3015459 h 3332876"/>
                <a:gd name="connsiteX170" fmla="*/ 3354767 w 11033748"/>
                <a:gd name="connsiteY170" fmla="*/ 3304731 h 3332876"/>
                <a:gd name="connsiteX171" fmla="*/ 3607293 w 11033748"/>
                <a:gd name="connsiteY171" fmla="*/ 3304731 h 3332876"/>
                <a:gd name="connsiteX172" fmla="*/ 3607293 w 11033748"/>
                <a:gd name="connsiteY172" fmla="*/ 2902096 h 3332876"/>
                <a:gd name="connsiteX173" fmla="*/ 4020091 w 11033748"/>
                <a:gd name="connsiteY173" fmla="*/ 2902096 h 3332876"/>
                <a:gd name="connsiteX174" fmla="*/ 4020091 w 11033748"/>
                <a:gd name="connsiteY174" fmla="*/ 3304731 h 3332876"/>
                <a:gd name="connsiteX175" fmla="*/ 4272617 w 11033748"/>
                <a:gd name="connsiteY175" fmla="*/ 3304731 h 3332876"/>
                <a:gd name="connsiteX176" fmla="*/ 4272617 w 11033748"/>
                <a:gd name="connsiteY176" fmla="*/ 2310262 h 3332876"/>
                <a:gd name="connsiteX177" fmla="*/ 4020091 w 11033748"/>
                <a:gd name="connsiteY177" fmla="*/ 2310262 h 3332876"/>
                <a:gd name="connsiteX178" fmla="*/ 4020091 w 11033748"/>
                <a:gd name="connsiteY178" fmla="*/ 2680843 h 3332876"/>
                <a:gd name="connsiteX179" fmla="*/ 3607293 w 11033748"/>
                <a:gd name="connsiteY179" fmla="*/ 2680843 h 3332876"/>
                <a:gd name="connsiteX180" fmla="*/ 3607293 w 11033748"/>
                <a:gd name="connsiteY180" fmla="*/ 2310262 h 3332876"/>
                <a:gd name="connsiteX181" fmla="*/ 3354767 w 11033748"/>
                <a:gd name="connsiteY181" fmla="*/ 2310262 h 3332876"/>
                <a:gd name="connsiteX182" fmla="*/ 3354767 w 11033748"/>
                <a:gd name="connsiteY182" fmla="*/ 3304731 h 3332876"/>
                <a:gd name="connsiteX183" fmla="*/ 4663524 w 11033748"/>
                <a:gd name="connsiteY183" fmla="*/ 2675370 h 3332876"/>
                <a:gd name="connsiteX184" fmla="*/ 4932468 w 11033748"/>
                <a:gd name="connsiteY184" fmla="*/ 2475225 h 3332876"/>
                <a:gd name="connsiteX185" fmla="*/ 5191249 w 11033748"/>
                <a:gd name="connsiteY185" fmla="*/ 2675370 h 3332876"/>
                <a:gd name="connsiteX186" fmla="*/ 4663524 w 11033748"/>
                <a:gd name="connsiteY186" fmla="*/ 2675370 h 3332876"/>
                <a:gd name="connsiteX187" fmla="*/ 4931687 w 11033748"/>
                <a:gd name="connsiteY187" fmla="*/ 3116313 h 3332876"/>
                <a:gd name="connsiteX188" fmla="*/ 4658833 w 11033748"/>
                <a:gd name="connsiteY188" fmla="*/ 2867696 h 3332876"/>
                <a:gd name="connsiteX189" fmla="*/ 5424230 w 11033748"/>
                <a:gd name="connsiteY189" fmla="*/ 2867696 h 3332876"/>
                <a:gd name="connsiteX190" fmla="*/ 5424230 w 11033748"/>
                <a:gd name="connsiteY190" fmla="*/ 2779351 h 3332876"/>
                <a:gd name="connsiteX191" fmla="*/ 4939505 w 11033748"/>
                <a:gd name="connsiteY191" fmla="*/ 2282117 h 3332876"/>
                <a:gd name="connsiteX192" fmla="*/ 4416471 w 11033748"/>
                <a:gd name="connsiteY192" fmla="*/ 2807497 h 3332876"/>
                <a:gd name="connsiteX193" fmla="*/ 4927778 w 11033748"/>
                <a:gd name="connsiteY193" fmla="*/ 3332876 h 3332876"/>
                <a:gd name="connsiteX194" fmla="*/ 5384357 w 11033748"/>
                <a:gd name="connsiteY194" fmla="*/ 3080350 h 3332876"/>
                <a:gd name="connsiteX195" fmla="*/ 5184213 w 11033748"/>
                <a:gd name="connsiteY195" fmla="*/ 2980278 h 3332876"/>
                <a:gd name="connsiteX196" fmla="*/ 4931687 w 11033748"/>
                <a:gd name="connsiteY196" fmla="*/ 3116313 h 3332876"/>
                <a:gd name="connsiteX197" fmla="*/ 6084081 w 11033748"/>
                <a:gd name="connsiteY197" fmla="*/ 3332094 h 3332876"/>
                <a:gd name="connsiteX198" fmla="*/ 6539098 w 11033748"/>
                <a:gd name="connsiteY198" fmla="*/ 3065495 h 3332876"/>
                <a:gd name="connsiteX199" fmla="*/ 6330353 w 11033748"/>
                <a:gd name="connsiteY199" fmla="*/ 2951350 h 3332876"/>
                <a:gd name="connsiteX200" fmla="*/ 6081736 w 11033748"/>
                <a:gd name="connsiteY200" fmla="*/ 3095986 h 3332876"/>
                <a:gd name="connsiteX201" fmla="*/ 5817483 w 11033748"/>
                <a:gd name="connsiteY201" fmla="*/ 2807497 h 3332876"/>
                <a:gd name="connsiteX202" fmla="*/ 6081736 w 11033748"/>
                <a:gd name="connsiteY202" fmla="*/ 2519007 h 3332876"/>
                <a:gd name="connsiteX203" fmla="*/ 6312372 w 11033748"/>
                <a:gd name="connsiteY203" fmla="*/ 2655043 h 3332876"/>
                <a:gd name="connsiteX204" fmla="*/ 6528934 w 11033748"/>
                <a:gd name="connsiteY204" fmla="*/ 2530734 h 3332876"/>
                <a:gd name="connsiteX205" fmla="*/ 6084081 w 11033748"/>
                <a:gd name="connsiteY205" fmla="*/ 2282117 h 3332876"/>
                <a:gd name="connsiteX206" fmla="*/ 5561047 w 11033748"/>
                <a:gd name="connsiteY206" fmla="*/ 2807497 h 3332876"/>
                <a:gd name="connsiteX207" fmla="*/ 6084081 w 11033748"/>
                <a:gd name="connsiteY207" fmla="*/ 3332094 h 333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1033748" h="3332876">
                  <a:moveTo>
                    <a:pt x="8186381" y="869378"/>
                  </a:moveTo>
                  <a:lnTo>
                    <a:pt x="8655469" y="1402575"/>
                  </a:lnTo>
                  <a:lnTo>
                    <a:pt x="8350562" y="1402575"/>
                  </a:lnTo>
                  <a:lnTo>
                    <a:pt x="7987800" y="991341"/>
                  </a:lnTo>
                  <a:lnTo>
                    <a:pt x="7987800" y="1402575"/>
                  </a:lnTo>
                  <a:lnTo>
                    <a:pt x="7735274" y="1402575"/>
                  </a:lnTo>
                  <a:lnTo>
                    <a:pt x="7735274" y="408889"/>
                  </a:lnTo>
                  <a:lnTo>
                    <a:pt x="7987800" y="408889"/>
                  </a:lnTo>
                  <a:lnTo>
                    <a:pt x="7987800" y="769306"/>
                  </a:lnTo>
                  <a:lnTo>
                    <a:pt x="8344307" y="408889"/>
                  </a:lnTo>
                  <a:lnTo>
                    <a:pt x="8642960" y="408889"/>
                  </a:lnTo>
                  <a:lnTo>
                    <a:pt x="8186381" y="869378"/>
                  </a:lnTo>
                  <a:close/>
                  <a:moveTo>
                    <a:pt x="629361" y="677052"/>
                  </a:moveTo>
                  <a:cubicBezTo>
                    <a:pt x="813869" y="677052"/>
                    <a:pt x="898305" y="588706"/>
                    <a:pt x="898305" y="456580"/>
                  </a:cubicBezTo>
                  <a:cubicBezTo>
                    <a:pt x="898305" y="324453"/>
                    <a:pt x="813869" y="236108"/>
                    <a:pt x="629361" y="236108"/>
                  </a:cubicBezTo>
                  <a:lnTo>
                    <a:pt x="264253" y="236108"/>
                  </a:lnTo>
                  <a:lnTo>
                    <a:pt x="264253" y="677052"/>
                  </a:lnTo>
                  <a:lnTo>
                    <a:pt x="629361" y="677052"/>
                  </a:lnTo>
                  <a:moveTo>
                    <a:pt x="637179" y="0"/>
                  </a:moveTo>
                  <a:cubicBezTo>
                    <a:pt x="953814" y="0"/>
                    <a:pt x="1162558" y="162617"/>
                    <a:pt x="1162558" y="456580"/>
                  </a:cubicBezTo>
                  <a:cubicBezTo>
                    <a:pt x="1162558" y="751324"/>
                    <a:pt x="953814" y="913941"/>
                    <a:pt x="637179" y="913941"/>
                  </a:cubicBezTo>
                  <a:lnTo>
                    <a:pt x="264253" y="913941"/>
                  </a:lnTo>
                  <a:lnTo>
                    <a:pt x="264253" y="1403357"/>
                  </a:lnTo>
                  <a:lnTo>
                    <a:pt x="0" y="1403357"/>
                  </a:lnTo>
                  <a:lnTo>
                    <a:pt x="0" y="0"/>
                  </a:lnTo>
                  <a:lnTo>
                    <a:pt x="637179" y="0"/>
                  </a:lnTo>
                  <a:moveTo>
                    <a:pt x="1759083" y="1194613"/>
                  </a:moveTo>
                  <a:cubicBezTo>
                    <a:pt x="1907628" y="1194613"/>
                    <a:pt x="2046009" y="1088286"/>
                    <a:pt x="2046009" y="906123"/>
                  </a:cubicBezTo>
                  <a:cubicBezTo>
                    <a:pt x="2046009" y="723960"/>
                    <a:pt x="1907628" y="617634"/>
                    <a:pt x="1759083" y="617634"/>
                  </a:cubicBezTo>
                  <a:cubicBezTo>
                    <a:pt x="1610538" y="617634"/>
                    <a:pt x="1472157" y="723960"/>
                    <a:pt x="1472157" y="906123"/>
                  </a:cubicBezTo>
                  <a:cubicBezTo>
                    <a:pt x="1472939" y="1088286"/>
                    <a:pt x="1611320" y="1194613"/>
                    <a:pt x="1759083" y="1194613"/>
                  </a:cubicBezTo>
                  <a:moveTo>
                    <a:pt x="1759083" y="380744"/>
                  </a:moveTo>
                  <a:cubicBezTo>
                    <a:pt x="2031936" y="380744"/>
                    <a:pt x="2302444" y="557434"/>
                    <a:pt x="2302444" y="906123"/>
                  </a:cubicBezTo>
                  <a:cubicBezTo>
                    <a:pt x="2302444" y="1254813"/>
                    <a:pt x="2031936" y="1431503"/>
                    <a:pt x="1759083" y="1431503"/>
                  </a:cubicBezTo>
                  <a:cubicBezTo>
                    <a:pt x="1486230" y="1431503"/>
                    <a:pt x="1215722" y="1254813"/>
                    <a:pt x="1215722" y="906123"/>
                  </a:cubicBezTo>
                  <a:cubicBezTo>
                    <a:pt x="1216504" y="556652"/>
                    <a:pt x="1487011" y="380744"/>
                    <a:pt x="1759083" y="380744"/>
                  </a:cubicBezTo>
                  <a:moveTo>
                    <a:pt x="2947441" y="1194613"/>
                  </a:moveTo>
                  <a:cubicBezTo>
                    <a:pt x="2794988" y="1194613"/>
                    <a:pt x="2683188" y="1084377"/>
                    <a:pt x="2683188" y="906123"/>
                  </a:cubicBezTo>
                  <a:cubicBezTo>
                    <a:pt x="2683188" y="729433"/>
                    <a:pt x="2799678" y="617634"/>
                    <a:pt x="2947441" y="617634"/>
                  </a:cubicBezTo>
                  <a:cubicBezTo>
                    <a:pt x="3037350" y="617634"/>
                    <a:pt x="3115531" y="659852"/>
                    <a:pt x="3178077" y="753669"/>
                  </a:cubicBezTo>
                  <a:lnTo>
                    <a:pt x="3394639" y="629361"/>
                  </a:lnTo>
                  <a:cubicBezTo>
                    <a:pt x="3322712" y="475343"/>
                    <a:pt x="3166349" y="380744"/>
                    <a:pt x="2949787" y="380744"/>
                  </a:cubicBezTo>
                  <a:cubicBezTo>
                    <a:pt x="2667551" y="380744"/>
                    <a:pt x="2426753" y="589488"/>
                    <a:pt x="2426753" y="906123"/>
                  </a:cubicBezTo>
                  <a:cubicBezTo>
                    <a:pt x="2426753" y="1222758"/>
                    <a:pt x="2655043" y="1431503"/>
                    <a:pt x="2949787" y="1431503"/>
                  </a:cubicBezTo>
                  <a:cubicBezTo>
                    <a:pt x="3162440" y="1431503"/>
                    <a:pt x="3304730" y="1335340"/>
                    <a:pt x="3404803" y="1164904"/>
                  </a:cubicBezTo>
                  <a:lnTo>
                    <a:pt x="3196058" y="1050759"/>
                  </a:lnTo>
                  <a:cubicBezTo>
                    <a:pt x="3135858" y="1134413"/>
                    <a:pt x="3071750" y="1194613"/>
                    <a:pt x="2947441" y="1194613"/>
                  </a:cubicBezTo>
                  <a:moveTo>
                    <a:pt x="5636102" y="971796"/>
                  </a:moveTo>
                  <a:cubicBezTo>
                    <a:pt x="5624375" y="1124250"/>
                    <a:pt x="5593884" y="1157868"/>
                    <a:pt x="5541502" y="1157868"/>
                  </a:cubicBezTo>
                  <a:cubicBezTo>
                    <a:pt x="5505538" y="1157868"/>
                    <a:pt x="5489120" y="1153959"/>
                    <a:pt x="5464884" y="1147704"/>
                  </a:cubicBezTo>
                  <a:lnTo>
                    <a:pt x="5466448" y="1404921"/>
                  </a:lnTo>
                  <a:cubicBezTo>
                    <a:pt x="5466448" y="1404921"/>
                    <a:pt x="5497720" y="1414303"/>
                    <a:pt x="5556356" y="1414303"/>
                  </a:cubicBezTo>
                  <a:cubicBezTo>
                    <a:pt x="5770574" y="1414303"/>
                    <a:pt x="5851101" y="1275922"/>
                    <a:pt x="5870646" y="981177"/>
                  </a:cubicBezTo>
                  <a:lnTo>
                    <a:pt x="5894882" y="634052"/>
                  </a:lnTo>
                  <a:lnTo>
                    <a:pt x="6179463" y="634052"/>
                  </a:lnTo>
                  <a:lnTo>
                    <a:pt x="6179463" y="1399448"/>
                  </a:lnTo>
                  <a:lnTo>
                    <a:pt x="6431989" y="1399448"/>
                  </a:lnTo>
                  <a:lnTo>
                    <a:pt x="6431989" y="408889"/>
                  </a:lnTo>
                  <a:lnTo>
                    <a:pt x="5678319" y="408889"/>
                  </a:lnTo>
                  <a:lnTo>
                    <a:pt x="5636102" y="971796"/>
                  </a:lnTo>
                  <a:close/>
                  <a:moveTo>
                    <a:pt x="5170922" y="773215"/>
                  </a:moveTo>
                  <a:cubicBezTo>
                    <a:pt x="5146686" y="648906"/>
                    <a:pt x="5052868" y="573070"/>
                    <a:pt x="4912141" y="573070"/>
                  </a:cubicBezTo>
                  <a:cubicBezTo>
                    <a:pt x="4780015" y="573070"/>
                    <a:pt x="4679942" y="661415"/>
                    <a:pt x="4643197" y="773215"/>
                  </a:cubicBezTo>
                  <a:lnTo>
                    <a:pt x="5170922" y="773215"/>
                  </a:lnTo>
                  <a:close/>
                  <a:moveTo>
                    <a:pt x="4919960" y="380744"/>
                  </a:moveTo>
                  <a:cubicBezTo>
                    <a:pt x="5204540" y="380744"/>
                    <a:pt x="5404684" y="587143"/>
                    <a:pt x="5404684" y="877978"/>
                  </a:cubicBezTo>
                  <a:lnTo>
                    <a:pt x="5404684" y="966323"/>
                  </a:lnTo>
                  <a:lnTo>
                    <a:pt x="4639288" y="966323"/>
                  </a:lnTo>
                  <a:cubicBezTo>
                    <a:pt x="4654924" y="1118777"/>
                    <a:pt x="4763597" y="1214940"/>
                    <a:pt x="4912141" y="1214940"/>
                  </a:cubicBezTo>
                  <a:cubicBezTo>
                    <a:pt x="5046614" y="1214940"/>
                    <a:pt x="5102904" y="1157086"/>
                    <a:pt x="5164667" y="1078904"/>
                  </a:cubicBezTo>
                  <a:lnTo>
                    <a:pt x="5364812" y="1178977"/>
                  </a:lnTo>
                  <a:cubicBezTo>
                    <a:pt x="5264740" y="1349412"/>
                    <a:pt x="5126358" y="1431503"/>
                    <a:pt x="4907450" y="1431503"/>
                  </a:cubicBezTo>
                  <a:cubicBezTo>
                    <a:pt x="4630688" y="1431503"/>
                    <a:pt x="4396144" y="1221195"/>
                    <a:pt x="4396144" y="906123"/>
                  </a:cubicBezTo>
                  <a:cubicBezTo>
                    <a:pt x="4396144" y="591052"/>
                    <a:pt x="4631470" y="380744"/>
                    <a:pt x="4919960" y="380744"/>
                  </a:cubicBezTo>
                  <a:moveTo>
                    <a:pt x="7346712" y="773215"/>
                  </a:moveTo>
                  <a:cubicBezTo>
                    <a:pt x="7322476" y="648906"/>
                    <a:pt x="7228658" y="573070"/>
                    <a:pt x="7087931" y="573070"/>
                  </a:cubicBezTo>
                  <a:cubicBezTo>
                    <a:pt x="6955804" y="573070"/>
                    <a:pt x="6855733" y="661415"/>
                    <a:pt x="6818987" y="773215"/>
                  </a:cubicBezTo>
                  <a:lnTo>
                    <a:pt x="7346712" y="773215"/>
                  </a:lnTo>
                  <a:close/>
                  <a:moveTo>
                    <a:pt x="7096531" y="380744"/>
                  </a:moveTo>
                  <a:cubicBezTo>
                    <a:pt x="7381112" y="380744"/>
                    <a:pt x="7581256" y="587143"/>
                    <a:pt x="7581256" y="877978"/>
                  </a:cubicBezTo>
                  <a:lnTo>
                    <a:pt x="7581256" y="966323"/>
                  </a:lnTo>
                  <a:lnTo>
                    <a:pt x="6815859" y="966323"/>
                  </a:lnTo>
                  <a:cubicBezTo>
                    <a:pt x="6831496" y="1118777"/>
                    <a:pt x="6940168" y="1214940"/>
                    <a:pt x="7088713" y="1214940"/>
                  </a:cubicBezTo>
                  <a:cubicBezTo>
                    <a:pt x="7223186" y="1214940"/>
                    <a:pt x="7279476" y="1157086"/>
                    <a:pt x="7341239" y="1078904"/>
                  </a:cubicBezTo>
                  <a:lnTo>
                    <a:pt x="7541384" y="1178977"/>
                  </a:lnTo>
                  <a:cubicBezTo>
                    <a:pt x="7441311" y="1349412"/>
                    <a:pt x="7302930" y="1431503"/>
                    <a:pt x="7084022" y="1431503"/>
                  </a:cubicBezTo>
                  <a:cubicBezTo>
                    <a:pt x="6807260" y="1431503"/>
                    <a:pt x="6572715" y="1221195"/>
                    <a:pt x="6572715" y="906123"/>
                  </a:cubicBezTo>
                  <a:cubicBezTo>
                    <a:pt x="6572715" y="591052"/>
                    <a:pt x="6808041" y="380744"/>
                    <a:pt x="7096531" y="380744"/>
                  </a:cubicBezTo>
                  <a:moveTo>
                    <a:pt x="3482984" y="629361"/>
                  </a:moveTo>
                  <a:lnTo>
                    <a:pt x="3779292" y="629361"/>
                  </a:lnTo>
                  <a:lnTo>
                    <a:pt x="3779292" y="1403357"/>
                  </a:lnTo>
                  <a:lnTo>
                    <a:pt x="4031818" y="1403357"/>
                  </a:lnTo>
                  <a:lnTo>
                    <a:pt x="4031818" y="629361"/>
                  </a:lnTo>
                  <a:lnTo>
                    <a:pt x="4328126" y="629361"/>
                  </a:lnTo>
                  <a:lnTo>
                    <a:pt x="4328126" y="408889"/>
                  </a:lnTo>
                  <a:lnTo>
                    <a:pt x="3482984" y="408889"/>
                  </a:lnTo>
                  <a:lnTo>
                    <a:pt x="3482984" y="629361"/>
                  </a:lnTo>
                  <a:close/>
                  <a:moveTo>
                    <a:pt x="9156612" y="1194613"/>
                  </a:moveTo>
                  <a:cubicBezTo>
                    <a:pt x="9305157" y="1194613"/>
                    <a:pt x="9443539" y="1088286"/>
                    <a:pt x="9443539" y="906123"/>
                  </a:cubicBezTo>
                  <a:cubicBezTo>
                    <a:pt x="9443539" y="723960"/>
                    <a:pt x="9305157" y="617634"/>
                    <a:pt x="9156612" y="617634"/>
                  </a:cubicBezTo>
                  <a:cubicBezTo>
                    <a:pt x="9008067" y="617634"/>
                    <a:pt x="8869687" y="723960"/>
                    <a:pt x="8869687" y="906123"/>
                  </a:cubicBezTo>
                  <a:cubicBezTo>
                    <a:pt x="8869687" y="1088286"/>
                    <a:pt x="9008067" y="1194613"/>
                    <a:pt x="9156612" y="1194613"/>
                  </a:cubicBezTo>
                  <a:moveTo>
                    <a:pt x="9156612" y="380744"/>
                  </a:moveTo>
                  <a:cubicBezTo>
                    <a:pt x="9429466" y="380744"/>
                    <a:pt x="9699973" y="557434"/>
                    <a:pt x="9699973" y="906123"/>
                  </a:cubicBezTo>
                  <a:cubicBezTo>
                    <a:pt x="9699973" y="1254813"/>
                    <a:pt x="9429466" y="1431503"/>
                    <a:pt x="9156612" y="1431503"/>
                  </a:cubicBezTo>
                  <a:cubicBezTo>
                    <a:pt x="8883759" y="1431503"/>
                    <a:pt x="8613251" y="1254813"/>
                    <a:pt x="8613251" y="906123"/>
                  </a:cubicBezTo>
                  <a:cubicBezTo>
                    <a:pt x="8613251" y="557434"/>
                    <a:pt x="8883759" y="380744"/>
                    <a:pt x="9156612" y="380744"/>
                  </a:cubicBezTo>
                  <a:moveTo>
                    <a:pt x="10704605" y="408889"/>
                  </a:moveTo>
                  <a:lnTo>
                    <a:pt x="10430188" y="1105486"/>
                  </a:lnTo>
                  <a:lnTo>
                    <a:pt x="10155772" y="408889"/>
                  </a:lnTo>
                  <a:lnTo>
                    <a:pt x="9825845" y="408889"/>
                  </a:lnTo>
                  <a:lnTo>
                    <a:pt x="9825845" y="1401012"/>
                  </a:lnTo>
                  <a:lnTo>
                    <a:pt x="10065863" y="1401012"/>
                  </a:lnTo>
                  <a:lnTo>
                    <a:pt x="10065863" y="772433"/>
                  </a:lnTo>
                  <a:lnTo>
                    <a:pt x="10331680" y="1401012"/>
                  </a:lnTo>
                  <a:lnTo>
                    <a:pt x="10527915" y="1401012"/>
                  </a:lnTo>
                  <a:lnTo>
                    <a:pt x="10793732" y="772433"/>
                  </a:lnTo>
                  <a:lnTo>
                    <a:pt x="10793732" y="1401012"/>
                  </a:lnTo>
                  <a:lnTo>
                    <a:pt x="11033749" y="1401012"/>
                  </a:lnTo>
                  <a:lnTo>
                    <a:pt x="11033749" y="408889"/>
                  </a:lnTo>
                  <a:lnTo>
                    <a:pt x="10704605" y="408889"/>
                  </a:lnTo>
                  <a:close/>
                  <a:moveTo>
                    <a:pt x="264253" y="3067841"/>
                  </a:moveTo>
                  <a:lnTo>
                    <a:pt x="264253" y="2666770"/>
                  </a:lnTo>
                  <a:lnTo>
                    <a:pt x="570725" y="2666770"/>
                  </a:lnTo>
                  <a:cubicBezTo>
                    <a:pt x="741160" y="2666770"/>
                    <a:pt x="819342" y="2742606"/>
                    <a:pt x="819342" y="2866915"/>
                  </a:cubicBezTo>
                  <a:cubicBezTo>
                    <a:pt x="819342" y="2991223"/>
                    <a:pt x="741160" y="3067059"/>
                    <a:pt x="570725" y="3067059"/>
                  </a:cubicBezTo>
                  <a:lnTo>
                    <a:pt x="264253" y="3067059"/>
                  </a:lnTo>
                  <a:close/>
                  <a:moveTo>
                    <a:pt x="0" y="3304731"/>
                  </a:moveTo>
                  <a:lnTo>
                    <a:pt x="591052" y="3304731"/>
                  </a:lnTo>
                  <a:cubicBezTo>
                    <a:pt x="877978" y="3304731"/>
                    <a:pt x="1084377" y="3142113"/>
                    <a:pt x="1084377" y="2867696"/>
                  </a:cubicBezTo>
                  <a:cubicBezTo>
                    <a:pt x="1084377" y="2593279"/>
                    <a:pt x="877978" y="2434571"/>
                    <a:pt x="591052" y="2434571"/>
                  </a:cubicBezTo>
                  <a:lnTo>
                    <a:pt x="264253" y="2434571"/>
                  </a:lnTo>
                  <a:lnTo>
                    <a:pt x="264253" y="2133572"/>
                  </a:lnTo>
                  <a:lnTo>
                    <a:pt x="983523" y="2133572"/>
                  </a:lnTo>
                  <a:lnTo>
                    <a:pt x="983523" y="1901373"/>
                  </a:lnTo>
                  <a:lnTo>
                    <a:pt x="0" y="1901373"/>
                  </a:lnTo>
                  <a:lnTo>
                    <a:pt x="0" y="3304731"/>
                  </a:lnTo>
                  <a:close/>
                  <a:moveTo>
                    <a:pt x="1243085" y="3304731"/>
                  </a:moveTo>
                  <a:lnTo>
                    <a:pt x="1503430" y="3304731"/>
                  </a:lnTo>
                  <a:lnTo>
                    <a:pt x="1936555" y="2649570"/>
                  </a:lnTo>
                  <a:lnTo>
                    <a:pt x="1936555" y="3304731"/>
                  </a:lnTo>
                  <a:lnTo>
                    <a:pt x="2177354" y="3304731"/>
                  </a:lnTo>
                  <a:lnTo>
                    <a:pt x="2177354" y="2310262"/>
                  </a:lnTo>
                  <a:lnTo>
                    <a:pt x="1917009" y="2310262"/>
                  </a:lnTo>
                  <a:lnTo>
                    <a:pt x="1483884" y="2965423"/>
                  </a:lnTo>
                  <a:lnTo>
                    <a:pt x="1483884" y="2310262"/>
                  </a:lnTo>
                  <a:lnTo>
                    <a:pt x="1243085" y="2310262"/>
                  </a:lnTo>
                  <a:lnTo>
                    <a:pt x="1243085" y="3304731"/>
                  </a:lnTo>
                  <a:close/>
                  <a:moveTo>
                    <a:pt x="3183549" y="3015459"/>
                  </a:moveTo>
                  <a:cubicBezTo>
                    <a:pt x="3183549" y="2888805"/>
                    <a:pt x="3097549" y="2812969"/>
                    <a:pt x="2974805" y="2778569"/>
                  </a:cubicBezTo>
                  <a:cubicBezTo>
                    <a:pt x="3077222" y="2738697"/>
                    <a:pt x="3142895" y="2665988"/>
                    <a:pt x="3142895" y="2547934"/>
                  </a:cubicBezTo>
                  <a:cubicBezTo>
                    <a:pt x="3142895" y="2395480"/>
                    <a:pt x="3030314" y="2281335"/>
                    <a:pt x="2772315" y="2281335"/>
                  </a:cubicBezTo>
                  <a:cubicBezTo>
                    <a:pt x="2519789" y="2281335"/>
                    <a:pt x="2377498" y="2413462"/>
                    <a:pt x="2377498" y="2572170"/>
                  </a:cubicBezTo>
                  <a:cubicBezTo>
                    <a:pt x="2377498" y="2610479"/>
                    <a:pt x="2385316" y="2640188"/>
                    <a:pt x="2397825" y="2672243"/>
                  </a:cubicBezTo>
                  <a:lnTo>
                    <a:pt x="2612043" y="2600316"/>
                  </a:lnTo>
                  <a:cubicBezTo>
                    <a:pt x="2608134" y="2590152"/>
                    <a:pt x="2605788" y="2579989"/>
                    <a:pt x="2605788" y="2564352"/>
                  </a:cubicBezTo>
                  <a:cubicBezTo>
                    <a:pt x="2605788" y="2515880"/>
                    <a:pt x="2669897" y="2478353"/>
                    <a:pt x="2769969" y="2478353"/>
                  </a:cubicBezTo>
                  <a:cubicBezTo>
                    <a:pt x="2863787" y="2478353"/>
                    <a:pt x="2908351" y="2518225"/>
                    <a:pt x="2908351" y="2578425"/>
                  </a:cubicBezTo>
                  <a:cubicBezTo>
                    <a:pt x="2908351" y="2642534"/>
                    <a:pt x="2862223" y="2686315"/>
                    <a:pt x="2754333" y="2686315"/>
                  </a:cubicBezTo>
                  <a:lnTo>
                    <a:pt x="2678497" y="2686315"/>
                  </a:lnTo>
                  <a:lnTo>
                    <a:pt x="2678497" y="2886460"/>
                  </a:lnTo>
                  <a:lnTo>
                    <a:pt x="2760587" y="2886460"/>
                  </a:lnTo>
                  <a:cubicBezTo>
                    <a:pt x="2873169" y="2886460"/>
                    <a:pt x="2938841" y="2930242"/>
                    <a:pt x="2938841" y="3004514"/>
                  </a:cubicBezTo>
                  <a:cubicBezTo>
                    <a:pt x="2938841" y="3080350"/>
                    <a:pt x="2870823" y="3135077"/>
                    <a:pt x="2748079" y="3135077"/>
                  </a:cubicBezTo>
                  <a:cubicBezTo>
                    <a:pt x="2663642" y="3135077"/>
                    <a:pt x="2579988" y="3091295"/>
                    <a:pt x="2579988" y="3008423"/>
                  </a:cubicBezTo>
                  <a:cubicBezTo>
                    <a:pt x="2579988" y="2988096"/>
                    <a:pt x="2583898" y="2972460"/>
                    <a:pt x="2590152" y="2958387"/>
                  </a:cubicBezTo>
                  <a:lnTo>
                    <a:pt x="2377498" y="2890369"/>
                  </a:lnTo>
                  <a:cubicBezTo>
                    <a:pt x="2365771" y="2916169"/>
                    <a:pt x="2353262" y="2964641"/>
                    <a:pt x="2353262" y="3010768"/>
                  </a:cubicBezTo>
                  <a:cubicBezTo>
                    <a:pt x="2353262" y="3192931"/>
                    <a:pt x="2491643" y="3331312"/>
                    <a:pt x="2748079" y="3331312"/>
                  </a:cubicBezTo>
                  <a:cubicBezTo>
                    <a:pt x="3029532" y="3332094"/>
                    <a:pt x="3183549" y="3203877"/>
                    <a:pt x="3183549" y="3015459"/>
                  </a:cubicBezTo>
                  <a:moveTo>
                    <a:pt x="3354767" y="3304731"/>
                  </a:moveTo>
                  <a:lnTo>
                    <a:pt x="3607293" y="3304731"/>
                  </a:lnTo>
                  <a:lnTo>
                    <a:pt x="3607293" y="2902096"/>
                  </a:lnTo>
                  <a:lnTo>
                    <a:pt x="4020091" y="2902096"/>
                  </a:lnTo>
                  <a:lnTo>
                    <a:pt x="4020091" y="3304731"/>
                  </a:lnTo>
                  <a:lnTo>
                    <a:pt x="4272617" y="3304731"/>
                  </a:lnTo>
                  <a:lnTo>
                    <a:pt x="4272617" y="2310262"/>
                  </a:lnTo>
                  <a:lnTo>
                    <a:pt x="4020091" y="2310262"/>
                  </a:lnTo>
                  <a:lnTo>
                    <a:pt x="4020091" y="2680843"/>
                  </a:lnTo>
                  <a:lnTo>
                    <a:pt x="3607293" y="2680843"/>
                  </a:lnTo>
                  <a:lnTo>
                    <a:pt x="3607293" y="2310262"/>
                  </a:lnTo>
                  <a:lnTo>
                    <a:pt x="3354767" y="2310262"/>
                  </a:lnTo>
                  <a:lnTo>
                    <a:pt x="3354767" y="3304731"/>
                  </a:lnTo>
                  <a:close/>
                  <a:moveTo>
                    <a:pt x="4663524" y="2675370"/>
                  </a:moveTo>
                  <a:cubicBezTo>
                    <a:pt x="4699488" y="2562789"/>
                    <a:pt x="4799560" y="2475225"/>
                    <a:pt x="4932468" y="2475225"/>
                  </a:cubicBezTo>
                  <a:cubicBezTo>
                    <a:pt x="5072413" y="2475225"/>
                    <a:pt x="5167013" y="2551062"/>
                    <a:pt x="5191249" y="2675370"/>
                  </a:cubicBezTo>
                  <a:lnTo>
                    <a:pt x="4663524" y="2675370"/>
                  </a:lnTo>
                  <a:moveTo>
                    <a:pt x="4931687" y="3116313"/>
                  </a:moveTo>
                  <a:cubicBezTo>
                    <a:pt x="4783142" y="3116313"/>
                    <a:pt x="4675252" y="3020150"/>
                    <a:pt x="4658833" y="2867696"/>
                  </a:cubicBezTo>
                  <a:lnTo>
                    <a:pt x="5424230" y="2867696"/>
                  </a:lnTo>
                  <a:lnTo>
                    <a:pt x="5424230" y="2779351"/>
                  </a:lnTo>
                  <a:cubicBezTo>
                    <a:pt x="5424230" y="2488516"/>
                    <a:pt x="5224085" y="2282117"/>
                    <a:pt x="4939505" y="2282117"/>
                  </a:cubicBezTo>
                  <a:cubicBezTo>
                    <a:pt x="4651015" y="2282117"/>
                    <a:pt x="4416471" y="2492425"/>
                    <a:pt x="4416471" y="2807497"/>
                  </a:cubicBezTo>
                  <a:cubicBezTo>
                    <a:pt x="4416471" y="3122568"/>
                    <a:pt x="4651015" y="3332876"/>
                    <a:pt x="4927778" y="3332876"/>
                  </a:cubicBezTo>
                  <a:cubicBezTo>
                    <a:pt x="5145904" y="3332876"/>
                    <a:pt x="5284285" y="3250786"/>
                    <a:pt x="5384357" y="3080350"/>
                  </a:cubicBezTo>
                  <a:lnTo>
                    <a:pt x="5184213" y="2980278"/>
                  </a:lnTo>
                  <a:cubicBezTo>
                    <a:pt x="5122449" y="3057677"/>
                    <a:pt x="5066159" y="3116313"/>
                    <a:pt x="4931687" y="3116313"/>
                  </a:cubicBezTo>
                  <a:moveTo>
                    <a:pt x="6084081" y="3332094"/>
                  </a:moveTo>
                  <a:cubicBezTo>
                    <a:pt x="6296735" y="3332094"/>
                    <a:pt x="6439025" y="3235931"/>
                    <a:pt x="6539098" y="3065495"/>
                  </a:cubicBezTo>
                  <a:lnTo>
                    <a:pt x="6330353" y="2951350"/>
                  </a:lnTo>
                  <a:cubicBezTo>
                    <a:pt x="6270153" y="3035787"/>
                    <a:pt x="6206044" y="3095986"/>
                    <a:pt x="6081736" y="3095986"/>
                  </a:cubicBezTo>
                  <a:cubicBezTo>
                    <a:pt x="5929282" y="3095986"/>
                    <a:pt x="5817483" y="2985750"/>
                    <a:pt x="5817483" y="2807497"/>
                  </a:cubicBezTo>
                  <a:cubicBezTo>
                    <a:pt x="5817483" y="2630806"/>
                    <a:pt x="5933973" y="2519007"/>
                    <a:pt x="6081736" y="2519007"/>
                  </a:cubicBezTo>
                  <a:cubicBezTo>
                    <a:pt x="6171645" y="2519007"/>
                    <a:pt x="6249826" y="2561225"/>
                    <a:pt x="6312372" y="2655043"/>
                  </a:cubicBezTo>
                  <a:lnTo>
                    <a:pt x="6528934" y="2530734"/>
                  </a:lnTo>
                  <a:cubicBezTo>
                    <a:pt x="6457007" y="2376717"/>
                    <a:pt x="6300644" y="2282117"/>
                    <a:pt x="6084081" y="2282117"/>
                  </a:cubicBezTo>
                  <a:cubicBezTo>
                    <a:pt x="5801846" y="2282117"/>
                    <a:pt x="5561047" y="2490862"/>
                    <a:pt x="5561047" y="2807497"/>
                  </a:cubicBezTo>
                  <a:cubicBezTo>
                    <a:pt x="5561047" y="3124132"/>
                    <a:pt x="5789337" y="3332094"/>
                    <a:pt x="6084081" y="3332094"/>
                  </a:cubicBezTo>
                </a:path>
              </a:pathLst>
            </a:custGeom>
            <a:solidFill>
              <a:srgbClr val="101828"/>
            </a:solidFill>
            <a:ln w="7818" cap="flat">
              <a:noFill/>
              <a:prstDash val="solid"/>
              <a:miter/>
            </a:ln>
          </p:spPr>
          <p:txBody>
            <a:bodyPr rtlCol="0" anchor="ctr"/>
            <a:lstStyle/>
            <a:p>
              <a:endParaRPr lang="ru-RU" sz="1587" dirty="0"/>
            </a:p>
          </p:txBody>
        </p:sp>
        <p:grpSp>
          <p:nvGrpSpPr>
            <p:cNvPr id="68" name="Рисунок 25">
              <a:extLst>
                <a:ext uri="{FF2B5EF4-FFF2-40B4-BE49-F238E27FC236}">
                  <a16:creationId xmlns:a16="http://schemas.microsoft.com/office/drawing/2014/main" id="{ACB278F1-B2C7-4F80-9729-DDBEE4F80D49}"/>
                </a:ext>
              </a:extLst>
            </p:cNvPr>
            <p:cNvGrpSpPr/>
            <p:nvPr/>
          </p:nvGrpSpPr>
          <p:grpSpPr>
            <a:xfrm>
              <a:off x="-233" y="1916027"/>
              <a:ext cx="2345677" cy="3909073"/>
              <a:chOff x="-233" y="1916027"/>
              <a:chExt cx="2345677" cy="3909073"/>
            </a:xfrm>
          </p:grpSpPr>
          <p:sp>
            <p:nvSpPr>
              <p:cNvPr id="71" name="Полилиния: фигура 70">
                <a:extLst>
                  <a:ext uri="{FF2B5EF4-FFF2-40B4-BE49-F238E27FC236}">
                    <a16:creationId xmlns:a16="http://schemas.microsoft.com/office/drawing/2014/main" id="{B94B4638-15D9-4515-86D2-CFC75EC3744D}"/>
                  </a:ext>
                </a:extLst>
              </p:cNvPr>
              <p:cNvSpPr/>
              <p:nvPr/>
            </p:nvSpPr>
            <p:spPr>
              <a:xfrm>
                <a:off x="88345" y="4800141"/>
                <a:ext cx="1777846" cy="1024959"/>
              </a:xfrm>
              <a:custGeom>
                <a:avLst/>
                <a:gdLst>
                  <a:gd name="connsiteX0" fmla="*/ 1777846 w 1777846"/>
                  <a:gd name="connsiteY0" fmla="*/ 1024959 h 1024959"/>
                  <a:gd name="connsiteX1" fmla="*/ 182945 w 1777846"/>
                  <a:gd name="connsiteY1" fmla="*/ 1024959 h 1024959"/>
                  <a:gd name="connsiteX2" fmla="*/ 0 w 1777846"/>
                  <a:gd name="connsiteY2" fmla="*/ 831851 h 1024959"/>
                  <a:gd name="connsiteX3" fmla="*/ 56291 w 1777846"/>
                  <a:gd name="connsiteY3" fmla="*/ 695815 h 1024959"/>
                  <a:gd name="connsiteX4" fmla="*/ 752106 w 1777846"/>
                  <a:gd name="connsiteY4" fmla="*/ 0 h 1024959"/>
                  <a:gd name="connsiteX5" fmla="*/ 1777846 w 1777846"/>
                  <a:gd name="connsiteY5" fmla="*/ 1024959 h 10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7846" h="1024959">
                    <a:moveTo>
                      <a:pt x="1777846" y="1024959"/>
                    </a:moveTo>
                    <a:lnTo>
                      <a:pt x="182945" y="1024959"/>
                    </a:lnTo>
                    <a:cubicBezTo>
                      <a:pt x="68018" y="1024959"/>
                      <a:pt x="0" y="921759"/>
                      <a:pt x="0" y="831851"/>
                    </a:cubicBezTo>
                    <a:cubicBezTo>
                      <a:pt x="0" y="778688"/>
                      <a:pt x="21891" y="730215"/>
                      <a:pt x="56291" y="695815"/>
                    </a:cubicBezTo>
                    <a:lnTo>
                      <a:pt x="752106" y="0"/>
                    </a:lnTo>
                    <a:lnTo>
                      <a:pt x="1777846" y="1024959"/>
                    </a:lnTo>
                    <a:close/>
                  </a:path>
                </a:pathLst>
              </a:custGeom>
              <a:solidFill>
                <a:srgbClr val="FF4F12"/>
              </a:solidFill>
              <a:ln w="7818" cap="flat">
                <a:noFill/>
                <a:prstDash val="solid"/>
                <a:miter/>
              </a:ln>
            </p:spPr>
            <p:txBody>
              <a:bodyPr rtlCol="0" anchor="ctr"/>
              <a:lstStyle/>
              <a:p>
                <a:endParaRPr lang="ru-RU" sz="1587" dirty="0"/>
              </a:p>
            </p:txBody>
          </p:sp>
          <p:sp>
            <p:nvSpPr>
              <p:cNvPr id="72" name="Полилиния: фигура 71">
                <a:extLst>
                  <a:ext uri="{FF2B5EF4-FFF2-40B4-BE49-F238E27FC236}">
                    <a16:creationId xmlns:a16="http://schemas.microsoft.com/office/drawing/2014/main" id="{A0A60305-3B1B-47BB-8A71-34E729266A63}"/>
                  </a:ext>
                </a:extLst>
              </p:cNvPr>
              <p:cNvSpPr/>
              <p:nvPr/>
            </p:nvSpPr>
            <p:spPr>
              <a:xfrm>
                <a:off x="-233" y="1916027"/>
                <a:ext cx="2345677" cy="3909073"/>
              </a:xfrm>
              <a:custGeom>
                <a:avLst/>
                <a:gdLst>
                  <a:gd name="connsiteX0" fmla="*/ 271523 w 2345677"/>
                  <a:gd name="connsiteY0" fmla="*/ 3909074 h 3909073"/>
                  <a:gd name="connsiteX1" fmla="*/ 234 w 2345677"/>
                  <a:gd name="connsiteY1" fmla="*/ 3621366 h 3909073"/>
                  <a:gd name="connsiteX2" fmla="*/ 234 w 2345677"/>
                  <a:gd name="connsiteY2" fmla="*/ 1476848 h 3909073"/>
                  <a:gd name="connsiteX3" fmla="*/ 192560 w 2345677"/>
                  <a:gd name="connsiteY3" fmla="*/ 776342 h 3909073"/>
                  <a:gd name="connsiteX4" fmla="*/ 968902 w 2345677"/>
                  <a:gd name="connsiteY4" fmla="*/ 0 h 3909073"/>
                  <a:gd name="connsiteX5" fmla="*/ 2345678 w 2345677"/>
                  <a:gd name="connsiteY5" fmla="*/ 1379121 h 3909073"/>
                  <a:gd name="connsiteX6" fmla="*/ 144869 w 2345677"/>
                  <a:gd name="connsiteY6" fmla="*/ 3579930 h 3909073"/>
                  <a:gd name="connsiteX7" fmla="*/ 88579 w 2345677"/>
                  <a:gd name="connsiteY7" fmla="*/ 3715965 h 3909073"/>
                  <a:gd name="connsiteX8" fmla="*/ 271523 w 2345677"/>
                  <a:gd name="connsiteY8" fmla="*/ 3909074 h 39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677" h="3909073">
                    <a:moveTo>
                      <a:pt x="271523" y="3909074"/>
                    </a:moveTo>
                    <a:cubicBezTo>
                      <a:pt x="151124" y="3909074"/>
                      <a:pt x="234" y="3812910"/>
                      <a:pt x="234" y="3621366"/>
                    </a:cubicBezTo>
                    <a:lnTo>
                      <a:pt x="234" y="1476848"/>
                    </a:lnTo>
                    <a:cubicBezTo>
                      <a:pt x="234" y="1186795"/>
                      <a:pt x="-14621" y="983523"/>
                      <a:pt x="192560" y="776342"/>
                    </a:cubicBezTo>
                    <a:lnTo>
                      <a:pt x="968902" y="0"/>
                    </a:lnTo>
                    <a:lnTo>
                      <a:pt x="2345678" y="1379121"/>
                    </a:lnTo>
                    <a:lnTo>
                      <a:pt x="144869" y="3579930"/>
                    </a:lnTo>
                    <a:cubicBezTo>
                      <a:pt x="109688" y="3615111"/>
                      <a:pt x="88579" y="3662802"/>
                      <a:pt x="88579" y="3715965"/>
                    </a:cubicBezTo>
                    <a:cubicBezTo>
                      <a:pt x="88579" y="3805874"/>
                      <a:pt x="156597" y="3909074"/>
                      <a:pt x="271523" y="3909074"/>
                    </a:cubicBezTo>
                    <a:close/>
                  </a:path>
                </a:pathLst>
              </a:custGeom>
              <a:solidFill>
                <a:srgbClr val="7B939B"/>
              </a:solidFill>
              <a:ln w="7818" cap="flat">
                <a:noFill/>
                <a:prstDash val="solid"/>
                <a:miter/>
              </a:ln>
            </p:spPr>
            <p:txBody>
              <a:bodyPr rtlCol="0" anchor="ctr"/>
              <a:lstStyle/>
              <a:p>
                <a:endParaRPr lang="ru-RU" sz="1587" dirty="0"/>
              </a:p>
            </p:txBody>
          </p:sp>
        </p:grpSp>
      </p:grpSp>
      <p:grpSp>
        <p:nvGrpSpPr>
          <p:cNvPr id="73" name="Рисунок 37">
            <a:extLst>
              <a:ext uri="{FF2B5EF4-FFF2-40B4-BE49-F238E27FC236}">
                <a16:creationId xmlns:a16="http://schemas.microsoft.com/office/drawing/2014/main" id="{0B5AC433-7B2E-4EB1-AE7D-2A0F81C0D89F}"/>
              </a:ext>
            </a:extLst>
          </p:cNvPr>
          <p:cNvGrpSpPr/>
          <p:nvPr userDrawn="1"/>
        </p:nvGrpSpPr>
        <p:grpSpPr>
          <a:xfrm>
            <a:off x="8137797" y="3577890"/>
            <a:ext cx="4053600" cy="3281919"/>
            <a:chOff x="9231313" y="4054942"/>
            <a:chExt cx="4598303" cy="3719507"/>
          </a:xfrm>
        </p:grpSpPr>
        <p:sp>
          <p:nvSpPr>
            <p:cNvPr id="74" name="Полилиния: фигура 73">
              <a:extLst>
                <a:ext uri="{FF2B5EF4-FFF2-40B4-BE49-F238E27FC236}">
                  <a16:creationId xmlns:a16="http://schemas.microsoft.com/office/drawing/2014/main" id="{1177E1C5-E74F-4A0F-9F02-CD75BCE3E278}"/>
                </a:ext>
              </a:extLst>
            </p:cNvPr>
            <p:cNvSpPr/>
            <p:nvPr/>
          </p:nvSpPr>
          <p:spPr>
            <a:xfrm>
              <a:off x="9231313" y="4279082"/>
              <a:ext cx="4598303" cy="3495367"/>
            </a:xfrm>
            <a:custGeom>
              <a:avLst/>
              <a:gdLst>
                <a:gd name="connsiteX0" fmla="*/ 4598304 w 4598303"/>
                <a:gd name="connsiteY0" fmla="*/ 0 h 3495367"/>
                <a:gd name="connsiteX1" fmla="*/ 3593087 w 4598303"/>
                <a:gd name="connsiteY1" fmla="*/ 1534818 h 3495367"/>
                <a:gd name="connsiteX2" fmla="*/ 2779893 w 4598303"/>
                <a:gd name="connsiteY2" fmla="*/ 2152572 h 3495367"/>
                <a:gd name="connsiteX3" fmla="*/ 2290610 w 4598303"/>
                <a:gd name="connsiteY3" fmla="*/ 2391064 h 3495367"/>
                <a:gd name="connsiteX4" fmla="*/ 0 w 4598303"/>
                <a:gd name="connsiteY4" fmla="*/ 3495367 h 3495367"/>
                <a:gd name="connsiteX5" fmla="*/ 0 w 4598303"/>
                <a:gd name="connsiteY5" fmla="*/ 3495367 h 3495367"/>
                <a:gd name="connsiteX6" fmla="*/ 4598304 w 4598303"/>
                <a:gd name="connsiteY6" fmla="*/ 3495367 h 3495367"/>
                <a:gd name="connsiteX7" fmla="*/ 4598304 w 4598303"/>
                <a:gd name="connsiteY7" fmla="*/ 0 h 349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8303" h="3495367">
                  <a:moveTo>
                    <a:pt x="4598304" y="0"/>
                  </a:moveTo>
                  <a:cubicBezTo>
                    <a:pt x="4307194" y="720941"/>
                    <a:pt x="3920415" y="1215008"/>
                    <a:pt x="3593087" y="1534818"/>
                  </a:cubicBezTo>
                  <a:cubicBezTo>
                    <a:pt x="3333411" y="1789027"/>
                    <a:pt x="3119521" y="1949615"/>
                    <a:pt x="2779893" y="2152572"/>
                  </a:cubicBezTo>
                  <a:cubicBezTo>
                    <a:pt x="2635705" y="2239359"/>
                    <a:pt x="2449149" y="2314528"/>
                    <a:pt x="2290610" y="2391064"/>
                  </a:cubicBezTo>
                  <a:lnTo>
                    <a:pt x="0" y="3495367"/>
                  </a:lnTo>
                  <a:lnTo>
                    <a:pt x="0" y="3495367"/>
                  </a:lnTo>
                  <a:lnTo>
                    <a:pt x="4598304" y="3495367"/>
                  </a:lnTo>
                  <a:lnTo>
                    <a:pt x="4598304" y="0"/>
                  </a:lnTo>
                  <a:close/>
                </a:path>
              </a:pathLst>
            </a:custGeom>
            <a:solidFill>
              <a:schemeClr val="tx2"/>
            </a:solidFill>
            <a:ln w="6822" cap="flat">
              <a:noFill/>
              <a:prstDash val="solid"/>
              <a:miter/>
            </a:ln>
          </p:spPr>
          <p:txBody>
            <a:bodyPr rtlCol="0" anchor="ctr"/>
            <a:lstStyle/>
            <a:p>
              <a:endParaRPr lang="ru-RU" sz="1587" dirty="0"/>
            </a:p>
          </p:txBody>
        </p:sp>
        <p:grpSp>
          <p:nvGrpSpPr>
            <p:cNvPr id="75" name="Рисунок 37">
              <a:extLst>
                <a:ext uri="{FF2B5EF4-FFF2-40B4-BE49-F238E27FC236}">
                  <a16:creationId xmlns:a16="http://schemas.microsoft.com/office/drawing/2014/main" id="{8F324C24-106D-4C28-85A1-3963D4B11736}"/>
                </a:ext>
              </a:extLst>
            </p:cNvPr>
            <p:cNvGrpSpPr/>
            <p:nvPr/>
          </p:nvGrpSpPr>
          <p:grpSpPr>
            <a:xfrm>
              <a:off x="11334683" y="6787000"/>
              <a:ext cx="2053485" cy="554201"/>
              <a:chOff x="11334683" y="6787000"/>
              <a:chExt cx="2053485" cy="554201"/>
            </a:xfrm>
            <a:solidFill>
              <a:srgbClr val="FFFFFF"/>
            </a:solidFill>
          </p:grpSpPr>
          <p:sp>
            <p:nvSpPr>
              <p:cNvPr id="77" name="Полилиния: фигура 76">
                <a:extLst>
                  <a:ext uri="{FF2B5EF4-FFF2-40B4-BE49-F238E27FC236}">
                    <a16:creationId xmlns:a16="http://schemas.microsoft.com/office/drawing/2014/main" id="{BDCE17EF-ED7B-42F6-BB2E-E2F8EC501F53}"/>
                  </a:ext>
                </a:extLst>
              </p:cNvPr>
              <p:cNvSpPr/>
              <p:nvPr/>
            </p:nvSpPr>
            <p:spPr>
              <a:xfrm>
                <a:off x="11781598" y="6787000"/>
                <a:ext cx="162638" cy="211840"/>
              </a:xfrm>
              <a:custGeom>
                <a:avLst/>
                <a:gdLst>
                  <a:gd name="connsiteX0" fmla="*/ 64919 w 162638"/>
                  <a:gd name="connsiteY0" fmla="*/ 30068 h 211840"/>
                  <a:gd name="connsiteX1" fmla="*/ 0 w 162638"/>
                  <a:gd name="connsiteY1" fmla="*/ 30068 h 211840"/>
                  <a:gd name="connsiteX2" fmla="*/ 0 w 162638"/>
                  <a:gd name="connsiteY2" fmla="*/ 0 h 211840"/>
                  <a:gd name="connsiteX3" fmla="*/ 162639 w 162638"/>
                  <a:gd name="connsiteY3" fmla="*/ 0 h 211840"/>
                  <a:gd name="connsiteX4" fmla="*/ 162639 w 162638"/>
                  <a:gd name="connsiteY4" fmla="*/ 30068 h 211840"/>
                  <a:gd name="connsiteX5" fmla="*/ 97720 w 162638"/>
                  <a:gd name="connsiteY5" fmla="*/ 30068 h 211840"/>
                  <a:gd name="connsiteX6" fmla="*/ 97720 w 162638"/>
                  <a:gd name="connsiteY6" fmla="*/ 211840 h 211840"/>
                  <a:gd name="connsiteX7" fmla="*/ 64919 w 162638"/>
                  <a:gd name="connsiteY7" fmla="*/ 211840 h 211840"/>
                  <a:gd name="connsiteX8" fmla="*/ 64919 w 162638"/>
                  <a:gd name="connsiteY8" fmla="*/ 30068 h 21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38" h="211840">
                    <a:moveTo>
                      <a:pt x="64919" y="30068"/>
                    </a:moveTo>
                    <a:lnTo>
                      <a:pt x="0" y="30068"/>
                    </a:lnTo>
                    <a:lnTo>
                      <a:pt x="0" y="0"/>
                    </a:lnTo>
                    <a:lnTo>
                      <a:pt x="162639" y="0"/>
                    </a:lnTo>
                    <a:lnTo>
                      <a:pt x="162639" y="30068"/>
                    </a:lnTo>
                    <a:lnTo>
                      <a:pt x="97720" y="30068"/>
                    </a:lnTo>
                    <a:lnTo>
                      <a:pt x="97720" y="211840"/>
                    </a:lnTo>
                    <a:lnTo>
                      <a:pt x="64919" y="211840"/>
                    </a:lnTo>
                    <a:lnTo>
                      <a:pt x="64919" y="30068"/>
                    </a:lnTo>
                    <a:close/>
                  </a:path>
                </a:pathLst>
              </a:custGeom>
              <a:solidFill>
                <a:srgbClr val="FFFFFF"/>
              </a:solidFill>
              <a:ln w="6822"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A228F077-24AC-40E0-BE29-4D2EDA89D3E1}"/>
                  </a:ext>
                </a:extLst>
              </p:cNvPr>
              <p:cNvSpPr/>
              <p:nvPr/>
            </p:nvSpPr>
            <p:spPr>
              <a:xfrm>
                <a:off x="11933303" y="6844402"/>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3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8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3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3"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8" y="86103"/>
                    </a:lnTo>
                    <a:cubicBezTo>
                      <a:pt x="32118" y="112754"/>
                      <a:pt x="49885" y="131204"/>
                      <a:pt x="76536" y="131204"/>
                    </a:cubicBezTo>
                    <a:close/>
                    <a:moveTo>
                      <a:pt x="30751" y="61502"/>
                    </a:moveTo>
                    <a:lnTo>
                      <a:pt x="119587" y="61502"/>
                    </a:lnTo>
                    <a:cubicBezTo>
                      <a:pt x="116854" y="38268"/>
                      <a:pt x="99087" y="24601"/>
                      <a:pt x="75853" y="24601"/>
                    </a:cubicBezTo>
                    <a:cubicBezTo>
                      <a:pt x="53302" y="24601"/>
                      <a:pt x="36218"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79" name="Полилиния: фигура 78">
                <a:extLst>
                  <a:ext uri="{FF2B5EF4-FFF2-40B4-BE49-F238E27FC236}">
                    <a16:creationId xmlns:a16="http://schemas.microsoft.com/office/drawing/2014/main" id="{8529CC39-15CB-40C7-B4F7-49276BD88AD2}"/>
                  </a:ext>
                </a:extLst>
              </p:cNvPr>
              <p:cNvSpPr/>
              <p:nvPr/>
            </p:nvSpPr>
            <p:spPr>
              <a:xfrm>
                <a:off x="12089791" y="6848502"/>
                <a:ext cx="142821" cy="150338"/>
              </a:xfrm>
              <a:custGeom>
                <a:avLst/>
                <a:gdLst>
                  <a:gd name="connsiteX0" fmla="*/ 100453 w 142821"/>
                  <a:gd name="connsiteY0" fmla="*/ 0 h 150338"/>
                  <a:gd name="connsiteX1" fmla="*/ 135988 w 142821"/>
                  <a:gd name="connsiteY1" fmla="*/ 0 h 150338"/>
                  <a:gd name="connsiteX2" fmla="*/ 90203 w 142821"/>
                  <a:gd name="connsiteY2" fmla="*/ 69702 h 150338"/>
                  <a:gd name="connsiteX3" fmla="*/ 142822 w 142821"/>
                  <a:gd name="connsiteY3" fmla="*/ 150338 h 150338"/>
                  <a:gd name="connsiteX4" fmla="*/ 106604 w 142821"/>
                  <a:gd name="connsiteY4" fmla="*/ 150338 h 150338"/>
                  <a:gd name="connsiteX5" fmla="*/ 71752 w 142821"/>
                  <a:gd name="connsiteY5" fmla="*/ 94987 h 150338"/>
                  <a:gd name="connsiteX6" fmla="*/ 36218 w 142821"/>
                  <a:gd name="connsiteY6" fmla="*/ 150338 h 150338"/>
                  <a:gd name="connsiteX7" fmla="*/ 0 w 142821"/>
                  <a:gd name="connsiteY7" fmla="*/ 150338 h 150338"/>
                  <a:gd name="connsiteX8" fmla="*/ 54668 w 142821"/>
                  <a:gd name="connsiteY8" fmla="*/ 71069 h 150338"/>
                  <a:gd name="connsiteX9" fmla="*/ 7517 w 142821"/>
                  <a:gd name="connsiteY9" fmla="*/ 683 h 150338"/>
                  <a:gd name="connsiteX10" fmla="*/ 43052 w 142821"/>
                  <a:gd name="connsiteY10" fmla="*/ 683 h 150338"/>
                  <a:gd name="connsiteX11" fmla="*/ 71752 w 142821"/>
                  <a:gd name="connsiteY11" fmla="*/ 46468 h 150338"/>
                  <a:gd name="connsiteX12" fmla="*/ 100453 w 142821"/>
                  <a:gd name="connsiteY12"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21" h="150338">
                    <a:moveTo>
                      <a:pt x="100453" y="0"/>
                    </a:moveTo>
                    <a:lnTo>
                      <a:pt x="135988" y="0"/>
                    </a:lnTo>
                    <a:lnTo>
                      <a:pt x="90203" y="69702"/>
                    </a:lnTo>
                    <a:lnTo>
                      <a:pt x="142822" y="150338"/>
                    </a:lnTo>
                    <a:lnTo>
                      <a:pt x="106604" y="150338"/>
                    </a:lnTo>
                    <a:lnTo>
                      <a:pt x="71752" y="94987"/>
                    </a:lnTo>
                    <a:lnTo>
                      <a:pt x="36218" y="150338"/>
                    </a:lnTo>
                    <a:lnTo>
                      <a:pt x="0" y="150338"/>
                    </a:lnTo>
                    <a:lnTo>
                      <a:pt x="54668" y="71069"/>
                    </a:lnTo>
                    <a:lnTo>
                      <a:pt x="7517" y="683"/>
                    </a:lnTo>
                    <a:lnTo>
                      <a:pt x="43052" y="683"/>
                    </a:lnTo>
                    <a:lnTo>
                      <a:pt x="71752" y="46468"/>
                    </a:lnTo>
                    <a:lnTo>
                      <a:pt x="100453" y="0"/>
                    </a:lnTo>
                    <a:close/>
                  </a:path>
                </a:pathLst>
              </a:custGeom>
              <a:solidFill>
                <a:srgbClr val="FFFFFF"/>
              </a:solidFill>
              <a:ln w="6822"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809E1516-6593-4793-A1DA-FF2570214082}"/>
                  </a:ext>
                </a:extLst>
              </p:cNvPr>
              <p:cNvSpPr/>
              <p:nvPr/>
            </p:nvSpPr>
            <p:spPr>
              <a:xfrm>
                <a:off x="12253797" y="6848502"/>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D31FE737-C593-45A6-A168-A20A419742E6}"/>
                  </a:ext>
                </a:extLst>
              </p:cNvPr>
              <p:cNvSpPr/>
              <p:nvPr/>
            </p:nvSpPr>
            <p:spPr>
              <a:xfrm>
                <a:off x="12416436" y="6844402"/>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1204"/>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1D1361A5-326C-4DD8-A1A0-236E020E9AD8}"/>
                  </a:ext>
                </a:extLst>
              </p:cNvPr>
              <p:cNvSpPr/>
              <p:nvPr/>
            </p:nvSpPr>
            <p:spPr>
              <a:xfrm>
                <a:off x="12591375" y="6849869"/>
                <a:ext cx="142137" cy="151705"/>
              </a:xfrm>
              <a:custGeom>
                <a:avLst/>
                <a:gdLst>
                  <a:gd name="connsiteX0" fmla="*/ 0 w 142137"/>
                  <a:gd name="connsiteY0" fmla="*/ 148972 h 151705"/>
                  <a:gd name="connsiteX1" fmla="*/ 0 w 142137"/>
                  <a:gd name="connsiteY1" fmla="*/ 121637 h 151705"/>
                  <a:gd name="connsiteX2" fmla="*/ 10250 w 142137"/>
                  <a:gd name="connsiteY2" fmla="*/ 123688 h 151705"/>
                  <a:gd name="connsiteX3" fmla="*/ 25967 w 142137"/>
                  <a:gd name="connsiteY3" fmla="*/ 88836 h 151705"/>
                  <a:gd name="connsiteX4" fmla="*/ 30751 w 142137"/>
                  <a:gd name="connsiteY4" fmla="*/ 0 h 151705"/>
                  <a:gd name="connsiteX5" fmla="*/ 142138 w 142137"/>
                  <a:gd name="connsiteY5" fmla="*/ 0 h 151705"/>
                  <a:gd name="connsiteX6" fmla="*/ 142138 w 142137"/>
                  <a:gd name="connsiteY6" fmla="*/ 149655 h 151705"/>
                  <a:gd name="connsiteX7" fmla="*/ 111387 w 142137"/>
                  <a:gd name="connsiteY7" fmla="*/ 149655 h 151705"/>
                  <a:gd name="connsiteX8" fmla="*/ 111387 w 142137"/>
                  <a:gd name="connsiteY8" fmla="*/ 28018 h 151705"/>
                  <a:gd name="connsiteX9" fmla="*/ 58085 w 142137"/>
                  <a:gd name="connsiteY9" fmla="*/ 28018 h 151705"/>
                  <a:gd name="connsiteX10" fmla="*/ 54668 w 142137"/>
                  <a:gd name="connsiteY10" fmla="*/ 90203 h 151705"/>
                  <a:gd name="connsiteX11" fmla="*/ 11617 w 142137"/>
                  <a:gd name="connsiteY11" fmla="*/ 151705 h 151705"/>
                  <a:gd name="connsiteX12" fmla="*/ 0 w 142137"/>
                  <a:gd name="connsiteY12" fmla="*/ 148972 h 15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37" h="151705">
                    <a:moveTo>
                      <a:pt x="0" y="148972"/>
                    </a:moveTo>
                    <a:lnTo>
                      <a:pt x="0" y="121637"/>
                    </a:lnTo>
                    <a:cubicBezTo>
                      <a:pt x="0" y="121637"/>
                      <a:pt x="4100" y="123688"/>
                      <a:pt x="10250" y="123688"/>
                    </a:cubicBezTo>
                    <a:cubicBezTo>
                      <a:pt x="19817" y="123688"/>
                      <a:pt x="24601" y="117537"/>
                      <a:pt x="25967" y="88836"/>
                    </a:cubicBezTo>
                    <a:lnTo>
                      <a:pt x="30751" y="0"/>
                    </a:lnTo>
                    <a:lnTo>
                      <a:pt x="142138" y="0"/>
                    </a:lnTo>
                    <a:lnTo>
                      <a:pt x="142138" y="149655"/>
                    </a:lnTo>
                    <a:lnTo>
                      <a:pt x="111387" y="149655"/>
                    </a:lnTo>
                    <a:lnTo>
                      <a:pt x="111387" y="28018"/>
                    </a:lnTo>
                    <a:lnTo>
                      <a:pt x="58085" y="28018"/>
                    </a:lnTo>
                    <a:lnTo>
                      <a:pt x="54668" y="90203"/>
                    </a:lnTo>
                    <a:cubicBezTo>
                      <a:pt x="52618" y="133254"/>
                      <a:pt x="41685" y="151705"/>
                      <a:pt x="11617" y="151705"/>
                    </a:cubicBezTo>
                    <a:cubicBezTo>
                      <a:pt x="6150" y="151022"/>
                      <a:pt x="0" y="148972"/>
                      <a:pt x="0" y="148972"/>
                    </a:cubicBezTo>
                    <a:close/>
                  </a:path>
                </a:pathLst>
              </a:custGeom>
              <a:solidFill>
                <a:srgbClr val="FFFFFF"/>
              </a:solidFill>
              <a:ln w="6822"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BCF7B044-3085-4418-A5E9-C259FD45C50F}"/>
                  </a:ext>
                </a:extLst>
              </p:cNvPr>
              <p:cNvSpPr/>
              <p:nvPr/>
            </p:nvSpPr>
            <p:spPr>
              <a:xfrm>
                <a:off x="12764264" y="6844402"/>
                <a:ext cx="160597" cy="158538"/>
              </a:xfrm>
              <a:custGeom>
                <a:avLst/>
                <a:gdLst>
                  <a:gd name="connsiteX0" fmla="*/ 80636 w 160597"/>
                  <a:gd name="connsiteY0" fmla="*/ 158539 h 158538"/>
                  <a:gd name="connsiteX1" fmla="*/ 0 w 160597"/>
                  <a:gd name="connsiteY1" fmla="*/ 79269 h 158538"/>
                  <a:gd name="connsiteX2" fmla="*/ 80636 w 160597"/>
                  <a:gd name="connsiteY2" fmla="*/ 0 h 158538"/>
                  <a:gd name="connsiteX3" fmla="*/ 160589 w 160597"/>
                  <a:gd name="connsiteY3" fmla="*/ 79269 h 158538"/>
                  <a:gd name="connsiteX4" fmla="*/ 80636 w 160597"/>
                  <a:gd name="connsiteY4" fmla="*/ 158539 h 158538"/>
                  <a:gd name="connsiteX5" fmla="*/ 129154 w 160597"/>
                  <a:gd name="connsiteY5" fmla="*/ 79269 h 158538"/>
                  <a:gd name="connsiteX6" fmla="*/ 80636 w 160597"/>
                  <a:gd name="connsiteY6" fmla="*/ 28701 h 158538"/>
                  <a:gd name="connsiteX7" fmla="*/ 32118 w 160597"/>
                  <a:gd name="connsiteY7" fmla="*/ 79269 h 158538"/>
                  <a:gd name="connsiteX8" fmla="*/ 80636 w 160597"/>
                  <a:gd name="connsiteY8" fmla="*/ 129838 h 158538"/>
                  <a:gd name="connsiteX9" fmla="*/ 129154 w 160597"/>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97" h="158538">
                    <a:moveTo>
                      <a:pt x="80636" y="158539"/>
                    </a:moveTo>
                    <a:cubicBezTo>
                      <a:pt x="39635" y="158539"/>
                      <a:pt x="0" y="131204"/>
                      <a:pt x="0" y="79269"/>
                    </a:cubicBezTo>
                    <a:cubicBezTo>
                      <a:pt x="0" y="27334"/>
                      <a:pt x="38951" y="0"/>
                      <a:pt x="80636" y="0"/>
                    </a:cubicBezTo>
                    <a:cubicBezTo>
                      <a:pt x="121637" y="0"/>
                      <a:pt x="160589" y="27334"/>
                      <a:pt x="160589" y="79269"/>
                    </a:cubicBezTo>
                    <a:cubicBezTo>
                      <a:pt x="161272" y="131204"/>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7B841AC3-5FA7-451D-BEE2-CB4466E43AB3}"/>
                  </a:ext>
                </a:extLst>
              </p:cNvPr>
              <p:cNvSpPr/>
              <p:nvPr/>
            </p:nvSpPr>
            <p:spPr>
              <a:xfrm>
                <a:off x="12956287" y="6848502"/>
                <a:ext cx="97720" cy="149655"/>
              </a:xfrm>
              <a:custGeom>
                <a:avLst/>
                <a:gdLst>
                  <a:gd name="connsiteX0" fmla="*/ 0 w 97720"/>
                  <a:gd name="connsiteY0" fmla="*/ 0 h 149655"/>
                  <a:gd name="connsiteX1" fmla="*/ 97720 w 97720"/>
                  <a:gd name="connsiteY1" fmla="*/ 0 h 149655"/>
                  <a:gd name="connsiteX2" fmla="*/ 97720 w 97720"/>
                  <a:gd name="connsiteY2" fmla="*/ 28018 h 149655"/>
                  <a:gd name="connsiteX3" fmla="*/ 31435 w 97720"/>
                  <a:gd name="connsiteY3" fmla="*/ 28018 h 149655"/>
                  <a:gd name="connsiteX4" fmla="*/ 31435 w 97720"/>
                  <a:gd name="connsiteY4" fmla="*/ 149655 h 149655"/>
                  <a:gd name="connsiteX5" fmla="*/ 0 w 97720"/>
                  <a:gd name="connsiteY5" fmla="*/ 149655 h 149655"/>
                  <a:gd name="connsiteX6" fmla="*/ 0 w 97720"/>
                  <a:gd name="connsiteY6"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20" h="149655">
                    <a:moveTo>
                      <a:pt x="0" y="0"/>
                    </a:moveTo>
                    <a:lnTo>
                      <a:pt x="97720" y="0"/>
                    </a:lnTo>
                    <a:lnTo>
                      <a:pt x="97720" y="28018"/>
                    </a:lnTo>
                    <a:lnTo>
                      <a:pt x="31435" y="28018"/>
                    </a:lnTo>
                    <a:lnTo>
                      <a:pt x="31435"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232953C4-4424-479A-8AED-965F59CE83A1}"/>
                  </a:ext>
                </a:extLst>
              </p:cNvPr>
              <p:cNvSpPr/>
              <p:nvPr/>
            </p:nvSpPr>
            <p:spPr>
              <a:xfrm>
                <a:off x="13079291" y="6848502"/>
                <a:ext cx="134621" cy="150338"/>
              </a:xfrm>
              <a:custGeom>
                <a:avLst/>
                <a:gdLst>
                  <a:gd name="connsiteX0" fmla="*/ 0 w 134621"/>
                  <a:gd name="connsiteY0" fmla="*/ 0 h 150338"/>
                  <a:gd name="connsiteX1" fmla="*/ 30068 w 134621"/>
                  <a:gd name="connsiteY1" fmla="*/ 0 h 150338"/>
                  <a:gd name="connsiteX2" fmla="*/ 30068 w 134621"/>
                  <a:gd name="connsiteY2" fmla="*/ 107970 h 150338"/>
                  <a:gd name="connsiteX3" fmla="*/ 101820 w 134621"/>
                  <a:gd name="connsiteY3" fmla="*/ 0 h 150338"/>
                  <a:gd name="connsiteX4" fmla="*/ 134621 w 134621"/>
                  <a:gd name="connsiteY4" fmla="*/ 0 h 150338"/>
                  <a:gd name="connsiteX5" fmla="*/ 134621 w 134621"/>
                  <a:gd name="connsiteY5" fmla="*/ 149655 h 150338"/>
                  <a:gd name="connsiteX6" fmla="*/ 104554 w 134621"/>
                  <a:gd name="connsiteY6" fmla="*/ 149655 h 150338"/>
                  <a:gd name="connsiteX7" fmla="*/ 104554 w 134621"/>
                  <a:gd name="connsiteY7" fmla="*/ 41685 h 150338"/>
                  <a:gd name="connsiteX8" fmla="*/ 33485 w 134621"/>
                  <a:gd name="connsiteY8" fmla="*/ 150338 h 150338"/>
                  <a:gd name="connsiteX9" fmla="*/ 684 w 134621"/>
                  <a:gd name="connsiteY9" fmla="*/ 150338 h 150338"/>
                  <a:gd name="connsiteX10" fmla="*/ 684 w 134621"/>
                  <a:gd name="connsiteY10"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50338">
                    <a:moveTo>
                      <a:pt x="0" y="0"/>
                    </a:moveTo>
                    <a:lnTo>
                      <a:pt x="30068" y="0"/>
                    </a:lnTo>
                    <a:lnTo>
                      <a:pt x="30068" y="107970"/>
                    </a:lnTo>
                    <a:lnTo>
                      <a:pt x="101820" y="0"/>
                    </a:lnTo>
                    <a:lnTo>
                      <a:pt x="134621" y="0"/>
                    </a:lnTo>
                    <a:lnTo>
                      <a:pt x="134621" y="149655"/>
                    </a:lnTo>
                    <a:lnTo>
                      <a:pt x="104554" y="149655"/>
                    </a:lnTo>
                    <a:lnTo>
                      <a:pt x="104554" y="41685"/>
                    </a:lnTo>
                    <a:lnTo>
                      <a:pt x="33485" y="150338"/>
                    </a:lnTo>
                    <a:lnTo>
                      <a:pt x="684" y="150338"/>
                    </a:lnTo>
                    <a:lnTo>
                      <a:pt x="684" y="0"/>
                    </a:lnTo>
                    <a:close/>
                  </a:path>
                </a:pathLst>
              </a:custGeom>
              <a:solidFill>
                <a:srgbClr val="FFFFFF"/>
              </a:solidFill>
              <a:ln w="6822" cap="flat">
                <a:noFill/>
                <a:prstDash val="solid"/>
                <a:miter/>
              </a:ln>
            </p:spPr>
            <p:txBody>
              <a:bodyPr rtlCol="0" anchor="ctr"/>
              <a:lstStyle/>
              <a:p>
                <a:endParaRPr lang="ru-RU" sz="1587" dirty="0"/>
              </a:p>
            </p:txBody>
          </p:sp>
          <p:sp>
            <p:nvSpPr>
              <p:cNvPr id="86" name="Полилиния: фигура 85">
                <a:extLst>
                  <a:ext uri="{FF2B5EF4-FFF2-40B4-BE49-F238E27FC236}">
                    <a16:creationId xmlns:a16="http://schemas.microsoft.com/office/drawing/2014/main" id="{1CC8AD74-B69A-4578-95FE-CB7C9396710D}"/>
                  </a:ext>
                </a:extLst>
              </p:cNvPr>
              <p:cNvSpPr/>
              <p:nvPr/>
            </p:nvSpPr>
            <p:spPr>
              <a:xfrm>
                <a:off x="13253547" y="6848502"/>
                <a:ext cx="134621" cy="149655"/>
              </a:xfrm>
              <a:custGeom>
                <a:avLst/>
                <a:gdLst>
                  <a:gd name="connsiteX0" fmla="*/ 0 w 134621"/>
                  <a:gd name="connsiteY0" fmla="*/ 0 h 149655"/>
                  <a:gd name="connsiteX1" fmla="*/ 30068 w 134621"/>
                  <a:gd name="connsiteY1" fmla="*/ 0 h 149655"/>
                  <a:gd name="connsiteX2" fmla="*/ 30068 w 134621"/>
                  <a:gd name="connsiteY2" fmla="*/ 107970 h 149655"/>
                  <a:gd name="connsiteX3" fmla="*/ 101820 w 134621"/>
                  <a:gd name="connsiteY3" fmla="*/ 0 h 149655"/>
                  <a:gd name="connsiteX4" fmla="*/ 134621 w 134621"/>
                  <a:gd name="connsiteY4" fmla="*/ 0 h 149655"/>
                  <a:gd name="connsiteX5" fmla="*/ 134621 w 134621"/>
                  <a:gd name="connsiteY5" fmla="*/ 149655 h 149655"/>
                  <a:gd name="connsiteX6" fmla="*/ 104554 w 134621"/>
                  <a:gd name="connsiteY6" fmla="*/ 149655 h 149655"/>
                  <a:gd name="connsiteX7" fmla="*/ 104554 w 134621"/>
                  <a:gd name="connsiteY7" fmla="*/ 41685 h 149655"/>
                  <a:gd name="connsiteX8" fmla="*/ 32801 w 134621"/>
                  <a:gd name="connsiteY8" fmla="*/ 149655 h 149655"/>
                  <a:gd name="connsiteX9" fmla="*/ 0 w 134621"/>
                  <a:gd name="connsiteY9" fmla="*/ 149655 h 149655"/>
                  <a:gd name="connsiteX10" fmla="*/ 0 w 134621"/>
                  <a:gd name="connsiteY10"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49655">
                    <a:moveTo>
                      <a:pt x="0" y="0"/>
                    </a:moveTo>
                    <a:lnTo>
                      <a:pt x="30068" y="0"/>
                    </a:lnTo>
                    <a:lnTo>
                      <a:pt x="30068" y="107970"/>
                    </a:lnTo>
                    <a:lnTo>
                      <a:pt x="101820" y="0"/>
                    </a:lnTo>
                    <a:lnTo>
                      <a:pt x="134621" y="0"/>
                    </a:lnTo>
                    <a:lnTo>
                      <a:pt x="134621" y="149655"/>
                    </a:lnTo>
                    <a:lnTo>
                      <a:pt x="104554" y="149655"/>
                    </a:lnTo>
                    <a:lnTo>
                      <a:pt x="104554" y="41685"/>
                    </a:lnTo>
                    <a:lnTo>
                      <a:pt x="32801"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7" name="Полилиния: фигура 86">
                <a:extLst>
                  <a:ext uri="{FF2B5EF4-FFF2-40B4-BE49-F238E27FC236}">
                    <a16:creationId xmlns:a16="http://schemas.microsoft.com/office/drawing/2014/main" id="{DB175556-1629-47C1-B4C3-558057902AE2}"/>
                  </a:ext>
                </a:extLst>
              </p:cNvPr>
              <p:cNvSpPr/>
              <p:nvPr/>
            </p:nvSpPr>
            <p:spPr>
              <a:xfrm>
                <a:off x="11334683" y="7186763"/>
                <a:ext cx="123004" cy="149655"/>
              </a:xfrm>
              <a:custGeom>
                <a:avLst/>
                <a:gdLst>
                  <a:gd name="connsiteX0" fmla="*/ 0 w 123004"/>
                  <a:gd name="connsiteY0" fmla="*/ 0 h 149655"/>
                  <a:gd name="connsiteX1" fmla="*/ 67652 w 123004"/>
                  <a:gd name="connsiteY1" fmla="*/ 0 h 149655"/>
                  <a:gd name="connsiteX2" fmla="*/ 117537 w 123004"/>
                  <a:gd name="connsiteY2" fmla="*/ 36901 h 149655"/>
                  <a:gd name="connsiteX3" fmla="*/ 94987 w 123004"/>
                  <a:gd name="connsiteY3" fmla="*/ 70386 h 149655"/>
                  <a:gd name="connsiteX4" fmla="*/ 123004 w 123004"/>
                  <a:gd name="connsiteY4" fmla="*/ 106604 h 149655"/>
                  <a:gd name="connsiteX5" fmla="*/ 69702 w 123004"/>
                  <a:gd name="connsiteY5" fmla="*/ 149655 h 149655"/>
                  <a:gd name="connsiteX6" fmla="*/ 0 w 123004"/>
                  <a:gd name="connsiteY6" fmla="*/ 149655 h 149655"/>
                  <a:gd name="connsiteX7" fmla="*/ 0 w 123004"/>
                  <a:gd name="connsiteY7" fmla="*/ 0 h 149655"/>
                  <a:gd name="connsiteX8" fmla="*/ 66286 w 123004"/>
                  <a:gd name="connsiteY8" fmla="*/ 60135 h 149655"/>
                  <a:gd name="connsiteX9" fmla="*/ 88836 w 123004"/>
                  <a:gd name="connsiteY9" fmla="*/ 42368 h 149655"/>
                  <a:gd name="connsiteX10" fmla="*/ 66969 w 123004"/>
                  <a:gd name="connsiteY10" fmla="*/ 24601 h 149655"/>
                  <a:gd name="connsiteX11" fmla="*/ 31434 w 123004"/>
                  <a:gd name="connsiteY11" fmla="*/ 24601 h 149655"/>
                  <a:gd name="connsiteX12" fmla="*/ 31434 w 123004"/>
                  <a:gd name="connsiteY12" fmla="*/ 60135 h 149655"/>
                  <a:gd name="connsiteX13" fmla="*/ 66286 w 123004"/>
                  <a:gd name="connsiteY13" fmla="*/ 60135 h 149655"/>
                  <a:gd name="connsiteX14" fmla="*/ 68336 w 123004"/>
                  <a:gd name="connsiteY14" fmla="*/ 125738 h 149655"/>
                  <a:gd name="connsiteX15" fmla="*/ 92253 w 123004"/>
                  <a:gd name="connsiteY15" fmla="*/ 105237 h 149655"/>
                  <a:gd name="connsiteX16" fmla="*/ 68336 w 123004"/>
                  <a:gd name="connsiteY16" fmla="*/ 84736 h 149655"/>
                  <a:gd name="connsiteX17" fmla="*/ 31434 w 123004"/>
                  <a:gd name="connsiteY17" fmla="*/ 84736 h 149655"/>
                  <a:gd name="connsiteX18" fmla="*/ 31434 w 123004"/>
                  <a:gd name="connsiteY18" fmla="*/ 126421 h 149655"/>
                  <a:gd name="connsiteX19" fmla="*/ 68336 w 123004"/>
                  <a:gd name="connsiteY19" fmla="*/ 126421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04" h="149655">
                    <a:moveTo>
                      <a:pt x="0" y="0"/>
                    </a:moveTo>
                    <a:lnTo>
                      <a:pt x="67652" y="0"/>
                    </a:lnTo>
                    <a:cubicBezTo>
                      <a:pt x="99770" y="0"/>
                      <a:pt x="117537" y="16401"/>
                      <a:pt x="117537" y="36901"/>
                    </a:cubicBezTo>
                    <a:cubicBezTo>
                      <a:pt x="117537" y="53985"/>
                      <a:pt x="108654" y="64236"/>
                      <a:pt x="94987" y="70386"/>
                    </a:cubicBezTo>
                    <a:cubicBezTo>
                      <a:pt x="110704" y="75169"/>
                      <a:pt x="123004" y="86786"/>
                      <a:pt x="123004" y="106604"/>
                    </a:cubicBezTo>
                    <a:cubicBezTo>
                      <a:pt x="123004" y="131888"/>
                      <a:pt x="101137" y="149655"/>
                      <a:pt x="69702" y="149655"/>
                    </a:cubicBezTo>
                    <a:lnTo>
                      <a:pt x="0" y="149655"/>
                    </a:lnTo>
                    <a:lnTo>
                      <a:pt x="0" y="0"/>
                    </a:lnTo>
                    <a:close/>
                    <a:moveTo>
                      <a:pt x="66286" y="60135"/>
                    </a:moveTo>
                    <a:cubicBezTo>
                      <a:pt x="79953" y="60135"/>
                      <a:pt x="88836" y="54669"/>
                      <a:pt x="88836" y="42368"/>
                    </a:cubicBezTo>
                    <a:cubicBezTo>
                      <a:pt x="88836" y="30068"/>
                      <a:pt x="80636" y="24601"/>
                      <a:pt x="66969" y="24601"/>
                    </a:cubicBezTo>
                    <a:lnTo>
                      <a:pt x="31434" y="24601"/>
                    </a:lnTo>
                    <a:lnTo>
                      <a:pt x="31434" y="60135"/>
                    </a:lnTo>
                    <a:lnTo>
                      <a:pt x="66286" y="60135"/>
                    </a:lnTo>
                    <a:close/>
                    <a:moveTo>
                      <a:pt x="68336" y="125738"/>
                    </a:moveTo>
                    <a:cubicBezTo>
                      <a:pt x="84053" y="125738"/>
                      <a:pt x="92253" y="117537"/>
                      <a:pt x="92253" y="105237"/>
                    </a:cubicBezTo>
                    <a:cubicBezTo>
                      <a:pt x="92253" y="92936"/>
                      <a:pt x="84053" y="84736"/>
                      <a:pt x="68336" y="84736"/>
                    </a:cubicBezTo>
                    <a:lnTo>
                      <a:pt x="31434" y="84736"/>
                    </a:lnTo>
                    <a:lnTo>
                      <a:pt x="31434" y="126421"/>
                    </a:lnTo>
                    <a:lnTo>
                      <a:pt x="68336" y="126421"/>
                    </a:lnTo>
                    <a:close/>
                  </a:path>
                </a:pathLst>
              </a:custGeom>
              <a:solidFill>
                <a:srgbClr val="FFFFFF"/>
              </a:solidFill>
              <a:ln w="6822" cap="flat">
                <a:noFill/>
                <a:prstDash val="solid"/>
                <a:miter/>
              </a:ln>
            </p:spPr>
            <p:txBody>
              <a:bodyPr rtlCol="0" anchor="ctr"/>
              <a:lstStyle/>
              <a:p>
                <a:endParaRPr lang="ru-RU" sz="1587" dirty="0"/>
              </a:p>
            </p:txBody>
          </p:sp>
          <p:sp>
            <p:nvSpPr>
              <p:cNvPr id="88" name="Полилиния: фигура 87">
                <a:extLst>
                  <a:ext uri="{FF2B5EF4-FFF2-40B4-BE49-F238E27FC236}">
                    <a16:creationId xmlns:a16="http://schemas.microsoft.com/office/drawing/2014/main" id="{99BA2CBB-C625-4232-BCFE-9F88C103FB3B}"/>
                  </a:ext>
                </a:extLst>
              </p:cNvPr>
              <p:cNvSpPr/>
              <p:nvPr/>
            </p:nvSpPr>
            <p:spPr>
              <a:xfrm>
                <a:off x="1148092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9" name="Полилиния: фигура 88">
                <a:extLst>
                  <a:ext uri="{FF2B5EF4-FFF2-40B4-BE49-F238E27FC236}">
                    <a16:creationId xmlns:a16="http://schemas.microsoft.com/office/drawing/2014/main" id="{8E92AE9F-8384-45FA-9F4D-001BF46EE60E}"/>
                  </a:ext>
                </a:extLst>
              </p:cNvPr>
              <p:cNvSpPr/>
              <p:nvPr/>
            </p:nvSpPr>
            <p:spPr>
              <a:xfrm>
                <a:off x="11664744" y="7183346"/>
                <a:ext cx="121637" cy="157855"/>
              </a:xfrm>
              <a:custGeom>
                <a:avLst/>
                <a:gdLst>
                  <a:gd name="connsiteX0" fmla="*/ 121637 w 121637"/>
                  <a:gd name="connsiteY0" fmla="*/ 110020 h 157855"/>
                  <a:gd name="connsiteX1" fmla="*/ 58769 w 121637"/>
                  <a:gd name="connsiteY1" fmla="*/ 157855 h 157855"/>
                  <a:gd name="connsiteX2" fmla="*/ 0 w 121637"/>
                  <a:gd name="connsiteY2" fmla="*/ 110704 h 157855"/>
                  <a:gd name="connsiteX3" fmla="*/ 3417 w 121637"/>
                  <a:gd name="connsiteY3" fmla="*/ 93620 h 157855"/>
                  <a:gd name="connsiteX4" fmla="*/ 29384 w 121637"/>
                  <a:gd name="connsiteY4" fmla="*/ 102503 h 157855"/>
                  <a:gd name="connsiteX5" fmla="*/ 28018 w 121637"/>
                  <a:gd name="connsiteY5" fmla="*/ 110020 h 157855"/>
                  <a:gd name="connsiteX6" fmla="*/ 58769 w 121637"/>
                  <a:gd name="connsiteY6" fmla="*/ 132571 h 157855"/>
                  <a:gd name="connsiteX7" fmla="*/ 91570 w 121637"/>
                  <a:gd name="connsiteY7" fmla="*/ 108654 h 157855"/>
                  <a:gd name="connsiteX8" fmla="*/ 60819 w 121637"/>
                  <a:gd name="connsiteY8" fmla="*/ 87470 h 157855"/>
                  <a:gd name="connsiteX9" fmla="*/ 47152 w 121637"/>
                  <a:gd name="connsiteY9" fmla="*/ 87470 h 157855"/>
                  <a:gd name="connsiteX10" fmla="*/ 47152 w 121637"/>
                  <a:gd name="connsiteY10" fmla="*/ 62869 h 157855"/>
                  <a:gd name="connsiteX11" fmla="*/ 59452 w 121637"/>
                  <a:gd name="connsiteY11" fmla="*/ 62869 h 157855"/>
                  <a:gd name="connsiteX12" fmla="*/ 86103 w 121637"/>
                  <a:gd name="connsiteY12" fmla="*/ 42368 h 157855"/>
                  <a:gd name="connsiteX13" fmla="*/ 60135 w 121637"/>
                  <a:gd name="connsiteY13" fmla="*/ 23917 h 157855"/>
                  <a:gd name="connsiteX14" fmla="*/ 31434 w 121637"/>
                  <a:gd name="connsiteY14" fmla="*/ 40318 h 157855"/>
                  <a:gd name="connsiteX15" fmla="*/ 32118 w 121637"/>
                  <a:gd name="connsiteY15" fmla="*/ 46468 h 157855"/>
                  <a:gd name="connsiteX16" fmla="*/ 6150 w 121637"/>
                  <a:gd name="connsiteY16" fmla="*/ 56035 h 157855"/>
                  <a:gd name="connsiteX17" fmla="*/ 3417 w 121637"/>
                  <a:gd name="connsiteY17" fmla="*/ 41685 h 157855"/>
                  <a:gd name="connsiteX18" fmla="*/ 60819 w 121637"/>
                  <a:gd name="connsiteY18" fmla="*/ 0 h 157855"/>
                  <a:gd name="connsiteX19" fmla="*/ 115487 w 121637"/>
                  <a:gd name="connsiteY19" fmla="*/ 40318 h 157855"/>
                  <a:gd name="connsiteX20" fmla="*/ 90203 w 121637"/>
                  <a:gd name="connsiteY20" fmla="*/ 75169 h 157855"/>
                  <a:gd name="connsiteX21" fmla="*/ 121637 w 121637"/>
                  <a:gd name="connsiteY21" fmla="*/ 110020 h 15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37" h="157855">
                    <a:moveTo>
                      <a:pt x="121637" y="110020"/>
                    </a:moveTo>
                    <a:cubicBezTo>
                      <a:pt x="121637" y="136671"/>
                      <a:pt x="99770" y="157855"/>
                      <a:pt x="58769" y="157855"/>
                    </a:cubicBezTo>
                    <a:cubicBezTo>
                      <a:pt x="21184" y="157855"/>
                      <a:pt x="0" y="138038"/>
                      <a:pt x="0" y="110704"/>
                    </a:cubicBezTo>
                    <a:cubicBezTo>
                      <a:pt x="0" y="103870"/>
                      <a:pt x="2050" y="97037"/>
                      <a:pt x="3417" y="93620"/>
                    </a:cubicBezTo>
                    <a:lnTo>
                      <a:pt x="29384" y="102503"/>
                    </a:lnTo>
                    <a:cubicBezTo>
                      <a:pt x="28701" y="104554"/>
                      <a:pt x="28018" y="107287"/>
                      <a:pt x="28018" y="110020"/>
                    </a:cubicBezTo>
                    <a:cubicBezTo>
                      <a:pt x="28018" y="125054"/>
                      <a:pt x="43051" y="132571"/>
                      <a:pt x="58769" y="132571"/>
                    </a:cubicBezTo>
                    <a:cubicBezTo>
                      <a:pt x="79953" y="132571"/>
                      <a:pt x="91570" y="122321"/>
                      <a:pt x="91570" y="108654"/>
                    </a:cubicBezTo>
                    <a:cubicBezTo>
                      <a:pt x="91570" y="95670"/>
                      <a:pt x="80636" y="87470"/>
                      <a:pt x="60819" y="87470"/>
                    </a:cubicBezTo>
                    <a:lnTo>
                      <a:pt x="47152" y="87470"/>
                    </a:lnTo>
                    <a:lnTo>
                      <a:pt x="47152" y="62869"/>
                    </a:lnTo>
                    <a:lnTo>
                      <a:pt x="59452" y="62869"/>
                    </a:lnTo>
                    <a:cubicBezTo>
                      <a:pt x="77903" y="62869"/>
                      <a:pt x="86103" y="53985"/>
                      <a:pt x="86103" y="42368"/>
                    </a:cubicBezTo>
                    <a:cubicBezTo>
                      <a:pt x="86103" y="31434"/>
                      <a:pt x="77219" y="23917"/>
                      <a:pt x="60135" y="23917"/>
                    </a:cubicBezTo>
                    <a:cubicBezTo>
                      <a:pt x="42368" y="23917"/>
                      <a:pt x="31434" y="31434"/>
                      <a:pt x="31434" y="40318"/>
                    </a:cubicBezTo>
                    <a:cubicBezTo>
                      <a:pt x="31434" y="43735"/>
                      <a:pt x="32118" y="45785"/>
                      <a:pt x="32118" y="46468"/>
                    </a:cubicBezTo>
                    <a:lnTo>
                      <a:pt x="6150" y="56035"/>
                    </a:lnTo>
                    <a:cubicBezTo>
                      <a:pt x="4783" y="53302"/>
                      <a:pt x="3417" y="48518"/>
                      <a:pt x="3417" y="41685"/>
                    </a:cubicBezTo>
                    <a:cubicBezTo>
                      <a:pt x="3417" y="18451"/>
                      <a:pt x="24601" y="0"/>
                      <a:pt x="60819" y="0"/>
                    </a:cubicBezTo>
                    <a:cubicBezTo>
                      <a:pt x="98403" y="0"/>
                      <a:pt x="115487" y="17767"/>
                      <a:pt x="115487" y="40318"/>
                    </a:cubicBezTo>
                    <a:cubicBezTo>
                      <a:pt x="115487" y="57402"/>
                      <a:pt x="105920" y="69019"/>
                      <a:pt x="90203" y="75169"/>
                    </a:cubicBezTo>
                    <a:cubicBezTo>
                      <a:pt x="108654" y="79269"/>
                      <a:pt x="121637" y="90887"/>
                      <a:pt x="121637" y="110020"/>
                    </a:cubicBezTo>
                    <a:close/>
                  </a:path>
                </a:pathLst>
              </a:custGeom>
              <a:solidFill>
                <a:srgbClr val="FFFFFF"/>
              </a:solidFill>
              <a:ln w="6822" cap="flat">
                <a:noFill/>
                <a:prstDash val="solid"/>
                <a:miter/>
              </a:ln>
            </p:spPr>
            <p:txBody>
              <a:bodyPr rtlCol="0" anchor="ctr"/>
              <a:lstStyle/>
              <a:p>
                <a:endParaRPr lang="ru-RU" sz="1587" dirty="0"/>
              </a:p>
            </p:txBody>
          </p:sp>
          <p:sp>
            <p:nvSpPr>
              <p:cNvPr id="90" name="Полилиния: фигура 89">
                <a:extLst>
                  <a:ext uri="{FF2B5EF4-FFF2-40B4-BE49-F238E27FC236}">
                    <a16:creationId xmlns:a16="http://schemas.microsoft.com/office/drawing/2014/main" id="{44E2F5D5-4361-4FED-A27E-F810861843A3}"/>
                  </a:ext>
                </a:extLst>
              </p:cNvPr>
              <p:cNvSpPr/>
              <p:nvPr/>
            </p:nvSpPr>
            <p:spPr>
              <a:xfrm>
                <a:off x="11819182" y="7186763"/>
                <a:ext cx="173572" cy="149655"/>
              </a:xfrm>
              <a:custGeom>
                <a:avLst/>
                <a:gdLst>
                  <a:gd name="connsiteX0" fmla="*/ 0 w 173572"/>
                  <a:gd name="connsiteY0" fmla="*/ 0 h 149655"/>
                  <a:gd name="connsiteX1" fmla="*/ 42368 w 173572"/>
                  <a:gd name="connsiteY1" fmla="*/ 0 h 149655"/>
                  <a:gd name="connsiteX2" fmla="*/ 86786 w 173572"/>
                  <a:gd name="connsiteY2" fmla="*/ 114121 h 149655"/>
                  <a:gd name="connsiteX3" fmla="*/ 131204 w 173572"/>
                  <a:gd name="connsiteY3" fmla="*/ 0 h 149655"/>
                  <a:gd name="connsiteX4" fmla="*/ 173572 w 173572"/>
                  <a:gd name="connsiteY4" fmla="*/ 0 h 149655"/>
                  <a:gd name="connsiteX5" fmla="*/ 173572 w 173572"/>
                  <a:gd name="connsiteY5" fmla="*/ 149655 h 149655"/>
                  <a:gd name="connsiteX6" fmla="*/ 143505 w 173572"/>
                  <a:gd name="connsiteY6" fmla="*/ 149655 h 149655"/>
                  <a:gd name="connsiteX7" fmla="*/ 143505 w 173572"/>
                  <a:gd name="connsiteY7" fmla="*/ 43735 h 149655"/>
                  <a:gd name="connsiteX8" fmla="*/ 100453 w 173572"/>
                  <a:gd name="connsiteY8" fmla="*/ 149655 h 149655"/>
                  <a:gd name="connsiteX9" fmla="*/ 74486 w 173572"/>
                  <a:gd name="connsiteY9" fmla="*/ 149655 h 149655"/>
                  <a:gd name="connsiteX10" fmla="*/ 30751 w 173572"/>
                  <a:gd name="connsiteY10" fmla="*/ 43052 h 149655"/>
                  <a:gd name="connsiteX11" fmla="*/ 30751 w 173572"/>
                  <a:gd name="connsiteY11" fmla="*/ 149655 h 149655"/>
                  <a:gd name="connsiteX12" fmla="*/ 683 w 173572"/>
                  <a:gd name="connsiteY12" fmla="*/ 149655 h 149655"/>
                  <a:gd name="connsiteX13" fmla="*/ 683 w 173572"/>
                  <a:gd name="connsiteY13"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572" h="149655">
                    <a:moveTo>
                      <a:pt x="0" y="0"/>
                    </a:moveTo>
                    <a:lnTo>
                      <a:pt x="42368" y="0"/>
                    </a:lnTo>
                    <a:lnTo>
                      <a:pt x="86786" y="114121"/>
                    </a:lnTo>
                    <a:lnTo>
                      <a:pt x="131204" y="0"/>
                    </a:lnTo>
                    <a:lnTo>
                      <a:pt x="173572" y="0"/>
                    </a:lnTo>
                    <a:lnTo>
                      <a:pt x="173572" y="149655"/>
                    </a:lnTo>
                    <a:lnTo>
                      <a:pt x="143505" y="149655"/>
                    </a:lnTo>
                    <a:lnTo>
                      <a:pt x="143505" y="43735"/>
                    </a:lnTo>
                    <a:lnTo>
                      <a:pt x="100453" y="149655"/>
                    </a:lnTo>
                    <a:lnTo>
                      <a:pt x="74486" y="149655"/>
                    </a:lnTo>
                    <a:lnTo>
                      <a:pt x="30751" y="43052"/>
                    </a:lnTo>
                    <a:lnTo>
                      <a:pt x="30751" y="149655"/>
                    </a:lnTo>
                    <a:lnTo>
                      <a:pt x="683" y="149655"/>
                    </a:lnTo>
                    <a:lnTo>
                      <a:pt x="683" y="0"/>
                    </a:lnTo>
                    <a:close/>
                  </a:path>
                </a:pathLst>
              </a:custGeom>
              <a:solidFill>
                <a:srgbClr val="FFFFFF"/>
              </a:solidFill>
              <a:ln w="6822" cap="flat">
                <a:noFill/>
                <a:prstDash val="solid"/>
                <a:miter/>
              </a:ln>
            </p:spPr>
            <p:txBody>
              <a:bodyPr rtlCol="0" anchor="ctr"/>
              <a:lstStyle/>
              <a:p>
                <a:endParaRPr lang="ru-RU" sz="1587" dirty="0"/>
              </a:p>
            </p:txBody>
          </p:sp>
          <p:sp>
            <p:nvSpPr>
              <p:cNvPr id="91" name="Полилиния: фигура 90">
                <a:extLst>
                  <a:ext uri="{FF2B5EF4-FFF2-40B4-BE49-F238E27FC236}">
                    <a16:creationId xmlns:a16="http://schemas.microsoft.com/office/drawing/2014/main" id="{66FBAD28-D00A-4E6B-8001-77AD45720C6A}"/>
                  </a:ext>
                </a:extLst>
              </p:cNvPr>
              <p:cNvSpPr/>
              <p:nvPr/>
            </p:nvSpPr>
            <p:spPr>
              <a:xfrm>
                <a:off x="12022822"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92" name="Полилиния: фигура 91">
                <a:extLst>
                  <a:ext uri="{FF2B5EF4-FFF2-40B4-BE49-F238E27FC236}">
                    <a16:creationId xmlns:a16="http://schemas.microsoft.com/office/drawing/2014/main" id="{342A786B-0341-4FDD-81BB-0C0E94150FE9}"/>
                  </a:ext>
                </a:extLst>
              </p:cNvPr>
              <p:cNvSpPr/>
              <p:nvPr/>
            </p:nvSpPr>
            <p:spPr>
              <a:xfrm>
                <a:off x="12190245" y="7186763"/>
                <a:ext cx="210473" cy="149655"/>
              </a:xfrm>
              <a:custGeom>
                <a:avLst/>
                <a:gdLst>
                  <a:gd name="connsiteX0" fmla="*/ 171522 w 210473"/>
                  <a:gd name="connsiteY0" fmla="*/ 149655 h 149655"/>
                  <a:gd name="connsiteX1" fmla="*/ 120271 w 210473"/>
                  <a:gd name="connsiteY1" fmla="*/ 84053 h 149655"/>
                  <a:gd name="connsiteX2" fmla="*/ 120271 w 210473"/>
                  <a:gd name="connsiteY2" fmla="*/ 149655 h 149655"/>
                  <a:gd name="connsiteX3" fmla="*/ 88836 w 210473"/>
                  <a:gd name="connsiteY3" fmla="*/ 149655 h 149655"/>
                  <a:gd name="connsiteX4" fmla="*/ 88836 w 210473"/>
                  <a:gd name="connsiteY4" fmla="*/ 83370 h 149655"/>
                  <a:gd name="connsiteX5" fmla="*/ 37585 w 210473"/>
                  <a:gd name="connsiteY5" fmla="*/ 149655 h 149655"/>
                  <a:gd name="connsiteX6" fmla="*/ 0 w 210473"/>
                  <a:gd name="connsiteY6" fmla="*/ 149655 h 149655"/>
                  <a:gd name="connsiteX7" fmla="*/ 62869 w 210473"/>
                  <a:gd name="connsiteY7" fmla="*/ 70386 h 149655"/>
                  <a:gd name="connsiteX8" fmla="*/ 1367 w 210473"/>
                  <a:gd name="connsiteY8" fmla="*/ 0 h 149655"/>
                  <a:gd name="connsiteX9" fmla="*/ 41685 w 210473"/>
                  <a:gd name="connsiteY9" fmla="*/ 0 h 149655"/>
                  <a:gd name="connsiteX10" fmla="*/ 89520 w 210473"/>
                  <a:gd name="connsiteY10" fmla="*/ 58085 h 149655"/>
                  <a:gd name="connsiteX11" fmla="*/ 89520 w 210473"/>
                  <a:gd name="connsiteY11" fmla="*/ 0 h 149655"/>
                  <a:gd name="connsiteX12" fmla="*/ 120954 w 210473"/>
                  <a:gd name="connsiteY12" fmla="*/ 0 h 149655"/>
                  <a:gd name="connsiteX13" fmla="*/ 120954 w 210473"/>
                  <a:gd name="connsiteY13" fmla="*/ 58085 h 149655"/>
                  <a:gd name="connsiteX14" fmla="*/ 168789 w 210473"/>
                  <a:gd name="connsiteY14" fmla="*/ 0 h 149655"/>
                  <a:gd name="connsiteX15" fmla="*/ 209107 w 210473"/>
                  <a:gd name="connsiteY15" fmla="*/ 0 h 149655"/>
                  <a:gd name="connsiteX16" fmla="*/ 147605 w 210473"/>
                  <a:gd name="connsiteY16" fmla="*/ 70386 h 149655"/>
                  <a:gd name="connsiteX17" fmla="*/ 210474 w 210473"/>
                  <a:gd name="connsiteY17" fmla="*/ 149655 h 149655"/>
                  <a:gd name="connsiteX18" fmla="*/ 171522 w 210473"/>
                  <a:gd name="connsiteY18" fmla="*/ 149655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473" h="149655">
                    <a:moveTo>
                      <a:pt x="171522" y="149655"/>
                    </a:moveTo>
                    <a:lnTo>
                      <a:pt x="120271" y="84053"/>
                    </a:lnTo>
                    <a:lnTo>
                      <a:pt x="120271" y="149655"/>
                    </a:lnTo>
                    <a:lnTo>
                      <a:pt x="88836" y="149655"/>
                    </a:lnTo>
                    <a:lnTo>
                      <a:pt x="88836" y="83370"/>
                    </a:lnTo>
                    <a:lnTo>
                      <a:pt x="37585" y="149655"/>
                    </a:lnTo>
                    <a:lnTo>
                      <a:pt x="0" y="149655"/>
                    </a:lnTo>
                    <a:lnTo>
                      <a:pt x="62869" y="70386"/>
                    </a:lnTo>
                    <a:lnTo>
                      <a:pt x="1367" y="0"/>
                    </a:lnTo>
                    <a:lnTo>
                      <a:pt x="41685" y="0"/>
                    </a:lnTo>
                    <a:lnTo>
                      <a:pt x="89520" y="58085"/>
                    </a:lnTo>
                    <a:lnTo>
                      <a:pt x="89520" y="0"/>
                    </a:lnTo>
                    <a:lnTo>
                      <a:pt x="120954" y="0"/>
                    </a:lnTo>
                    <a:lnTo>
                      <a:pt x="120954" y="58085"/>
                    </a:lnTo>
                    <a:lnTo>
                      <a:pt x="168789" y="0"/>
                    </a:lnTo>
                    <a:lnTo>
                      <a:pt x="209107" y="0"/>
                    </a:lnTo>
                    <a:lnTo>
                      <a:pt x="147605" y="70386"/>
                    </a:lnTo>
                    <a:lnTo>
                      <a:pt x="210474" y="149655"/>
                    </a:lnTo>
                    <a:lnTo>
                      <a:pt x="171522" y="149655"/>
                    </a:lnTo>
                    <a:close/>
                  </a:path>
                </a:pathLst>
              </a:custGeom>
              <a:solidFill>
                <a:srgbClr val="FFFFFF"/>
              </a:solidFill>
              <a:ln w="6822" cap="flat">
                <a:noFill/>
                <a:prstDash val="solid"/>
                <a:miter/>
              </a:ln>
            </p:spPr>
            <p:txBody>
              <a:bodyPr rtlCol="0" anchor="ctr"/>
              <a:lstStyle/>
              <a:p>
                <a:endParaRPr lang="ru-RU" sz="1587" dirty="0"/>
              </a:p>
            </p:txBody>
          </p:sp>
          <p:sp>
            <p:nvSpPr>
              <p:cNvPr id="93" name="Полилиния: фигура 92">
                <a:extLst>
                  <a:ext uri="{FF2B5EF4-FFF2-40B4-BE49-F238E27FC236}">
                    <a16:creationId xmlns:a16="http://schemas.microsoft.com/office/drawing/2014/main" id="{DA9502C7-D52E-47A5-965C-8DCBDA2B69DD}"/>
                  </a:ext>
                </a:extLst>
              </p:cNvPr>
              <p:cNvSpPr/>
              <p:nvPr/>
            </p:nvSpPr>
            <p:spPr>
              <a:xfrm>
                <a:off x="12423953" y="7186763"/>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94" name="Полилиния: фигура 93">
                <a:extLst>
                  <a:ext uri="{FF2B5EF4-FFF2-40B4-BE49-F238E27FC236}">
                    <a16:creationId xmlns:a16="http://schemas.microsoft.com/office/drawing/2014/main" id="{940CA570-B376-4AED-B063-10226D5C0550}"/>
                  </a:ext>
                </a:extLst>
              </p:cNvPr>
              <p:cNvSpPr/>
              <p:nvPr/>
            </p:nvSpPr>
            <p:spPr>
              <a:xfrm>
                <a:off x="1258659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4" y="28701"/>
                      <a:pt x="80636" y="28701"/>
                    </a:cubicBezTo>
                    <a:cubicBezTo>
                      <a:pt x="54668" y="28701"/>
                      <a:pt x="32118" y="48518"/>
                      <a:pt x="32118" y="79269"/>
                    </a:cubicBezTo>
                    <a:cubicBezTo>
                      <a:pt x="32118" y="110020"/>
                      <a:pt x="54668" y="129838"/>
                      <a:pt x="80636" y="129838"/>
                    </a:cubicBezTo>
                    <a:cubicBezTo>
                      <a:pt x="106604"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95" name="Полилиния: фигура 94">
                <a:extLst>
                  <a:ext uri="{FF2B5EF4-FFF2-40B4-BE49-F238E27FC236}">
                    <a16:creationId xmlns:a16="http://schemas.microsoft.com/office/drawing/2014/main" id="{CB2C7B68-D5C2-436A-B0CA-3C47D24A1CD0}"/>
                  </a:ext>
                </a:extLst>
              </p:cNvPr>
              <p:cNvSpPr/>
              <p:nvPr/>
            </p:nvSpPr>
            <p:spPr>
              <a:xfrm>
                <a:off x="12769047" y="7182663"/>
                <a:ext cx="144871" cy="158538"/>
              </a:xfrm>
              <a:custGeom>
                <a:avLst/>
                <a:gdLst>
                  <a:gd name="connsiteX0" fmla="*/ 77902 w 144871"/>
                  <a:gd name="connsiteY0" fmla="*/ 158539 h 158538"/>
                  <a:gd name="connsiteX1" fmla="*/ 0 w 144871"/>
                  <a:gd name="connsiteY1" fmla="*/ 79269 h 158538"/>
                  <a:gd name="connsiteX2" fmla="*/ 77902 w 144871"/>
                  <a:gd name="connsiteY2" fmla="*/ 0 h 158538"/>
                  <a:gd name="connsiteX3" fmla="*/ 143505 w 144871"/>
                  <a:gd name="connsiteY3" fmla="*/ 37585 h 158538"/>
                  <a:gd name="connsiteX4" fmla="*/ 117537 w 144871"/>
                  <a:gd name="connsiteY4" fmla="*/ 52618 h 158538"/>
                  <a:gd name="connsiteX5" fmla="*/ 77902 w 144871"/>
                  <a:gd name="connsiteY5" fmla="*/ 28701 h 158538"/>
                  <a:gd name="connsiteX6" fmla="*/ 32118 w 144871"/>
                  <a:gd name="connsiteY6" fmla="*/ 78586 h 158538"/>
                  <a:gd name="connsiteX7" fmla="*/ 77902 w 144871"/>
                  <a:gd name="connsiteY7" fmla="*/ 128471 h 158538"/>
                  <a:gd name="connsiteX8" fmla="*/ 119587 w 144871"/>
                  <a:gd name="connsiteY8" fmla="*/ 104553 h 158538"/>
                  <a:gd name="connsiteX9" fmla="*/ 144872 w 144871"/>
                  <a:gd name="connsiteY9" fmla="*/ 118904 h 158538"/>
                  <a:gd name="connsiteX10" fmla="*/ 77902 w 144871"/>
                  <a:gd name="connsiteY10" fmla="*/ 15853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71" h="158538">
                    <a:moveTo>
                      <a:pt x="77902" y="158539"/>
                    </a:moveTo>
                    <a:cubicBezTo>
                      <a:pt x="33484" y="158539"/>
                      <a:pt x="0" y="126421"/>
                      <a:pt x="0" y="79269"/>
                    </a:cubicBezTo>
                    <a:cubicBezTo>
                      <a:pt x="0" y="32118"/>
                      <a:pt x="36218" y="0"/>
                      <a:pt x="77902" y="0"/>
                    </a:cubicBezTo>
                    <a:cubicBezTo>
                      <a:pt x="110020" y="0"/>
                      <a:pt x="132571" y="14350"/>
                      <a:pt x="143505" y="37585"/>
                    </a:cubicBezTo>
                    <a:lnTo>
                      <a:pt x="117537" y="52618"/>
                    </a:lnTo>
                    <a:cubicBezTo>
                      <a:pt x="107287" y="36218"/>
                      <a:pt x="93620" y="28701"/>
                      <a:pt x="77902" y="28701"/>
                    </a:cubicBezTo>
                    <a:cubicBezTo>
                      <a:pt x="51935" y="28701"/>
                      <a:pt x="32118" y="47835"/>
                      <a:pt x="32118" y="78586"/>
                    </a:cubicBezTo>
                    <a:cubicBezTo>
                      <a:pt x="32118" y="109337"/>
                      <a:pt x="51252" y="128471"/>
                      <a:pt x="77902" y="128471"/>
                    </a:cubicBezTo>
                    <a:cubicBezTo>
                      <a:pt x="98403" y="128471"/>
                      <a:pt x="110020" y="118221"/>
                      <a:pt x="119587" y="104553"/>
                    </a:cubicBezTo>
                    <a:lnTo>
                      <a:pt x="144872" y="118904"/>
                    </a:lnTo>
                    <a:cubicBezTo>
                      <a:pt x="130521" y="143505"/>
                      <a:pt x="109337" y="158539"/>
                      <a:pt x="77902" y="158539"/>
                    </a:cubicBezTo>
                    <a:close/>
                  </a:path>
                </a:pathLst>
              </a:custGeom>
              <a:solidFill>
                <a:srgbClr val="FFFFFF"/>
              </a:solidFill>
              <a:ln w="6822" cap="flat">
                <a:noFill/>
                <a:prstDash val="solid"/>
                <a:miter/>
              </a:ln>
            </p:spPr>
            <p:txBody>
              <a:bodyPr rtlCol="0" anchor="ctr"/>
              <a:lstStyle/>
              <a:p>
                <a:endParaRPr lang="ru-RU" sz="1587" dirty="0"/>
              </a:p>
            </p:txBody>
          </p:sp>
          <p:sp>
            <p:nvSpPr>
              <p:cNvPr id="96" name="Полилиния: фигура 95">
                <a:extLst>
                  <a:ext uri="{FF2B5EF4-FFF2-40B4-BE49-F238E27FC236}">
                    <a16:creationId xmlns:a16="http://schemas.microsoft.com/office/drawing/2014/main" id="{99CD041A-B5F0-4F73-AD1D-29FA486F0EF1}"/>
                  </a:ext>
                </a:extLst>
              </p:cNvPr>
              <p:cNvSpPr/>
              <p:nvPr/>
            </p:nvSpPr>
            <p:spPr>
              <a:xfrm>
                <a:off x="12933053" y="7186763"/>
                <a:ext cx="125054" cy="149655"/>
              </a:xfrm>
              <a:custGeom>
                <a:avLst/>
                <a:gdLst>
                  <a:gd name="connsiteX0" fmla="*/ 47151 w 125054"/>
                  <a:gd name="connsiteY0" fmla="*/ 28018 h 149655"/>
                  <a:gd name="connsiteX1" fmla="*/ 0 w 125054"/>
                  <a:gd name="connsiteY1" fmla="*/ 28018 h 149655"/>
                  <a:gd name="connsiteX2" fmla="*/ 0 w 125054"/>
                  <a:gd name="connsiteY2" fmla="*/ 0 h 149655"/>
                  <a:gd name="connsiteX3" fmla="*/ 125054 w 125054"/>
                  <a:gd name="connsiteY3" fmla="*/ 0 h 149655"/>
                  <a:gd name="connsiteX4" fmla="*/ 125054 w 125054"/>
                  <a:gd name="connsiteY4" fmla="*/ 28018 h 149655"/>
                  <a:gd name="connsiteX5" fmla="*/ 77902 w 125054"/>
                  <a:gd name="connsiteY5" fmla="*/ 28018 h 149655"/>
                  <a:gd name="connsiteX6" fmla="*/ 77902 w 125054"/>
                  <a:gd name="connsiteY6" fmla="*/ 149655 h 149655"/>
                  <a:gd name="connsiteX7" fmla="*/ 46468 w 125054"/>
                  <a:gd name="connsiteY7" fmla="*/ 149655 h 149655"/>
                  <a:gd name="connsiteX8" fmla="*/ 46468 w 125054"/>
                  <a:gd name="connsiteY8" fmla="*/ 28018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54" h="149655">
                    <a:moveTo>
                      <a:pt x="47151" y="28018"/>
                    </a:moveTo>
                    <a:lnTo>
                      <a:pt x="0" y="28018"/>
                    </a:lnTo>
                    <a:lnTo>
                      <a:pt x="0" y="0"/>
                    </a:lnTo>
                    <a:lnTo>
                      <a:pt x="125054" y="0"/>
                    </a:lnTo>
                    <a:lnTo>
                      <a:pt x="125054" y="28018"/>
                    </a:lnTo>
                    <a:lnTo>
                      <a:pt x="77902" y="28018"/>
                    </a:lnTo>
                    <a:lnTo>
                      <a:pt x="77902" y="149655"/>
                    </a:lnTo>
                    <a:lnTo>
                      <a:pt x="46468" y="149655"/>
                    </a:lnTo>
                    <a:lnTo>
                      <a:pt x="46468" y="28018"/>
                    </a:lnTo>
                    <a:close/>
                  </a:path>
                </a:pathLst>
              </a:custGeom>
              <a:solidFill>
                <a:srgbClr val="FFFFFF"/>
              </a:solidFill>
              <a:ln w="6822" cap="flat">
                <a:noFill/>
                <a:prstDash val="solid"/>
                <a:miter/>
              </a:ln>
            </p:spPr>
            <p:txBody>
              <a:bodyPr rtlCol="0" anchor="ctr"/>
              <a:lstStyle/>
              <a:p>
                <a:endParaRPr lang="ru-RU" sz="1587" dirty="0"/>
              </a:p>
            </p:txBody>
          </p:sp>
          <p:sp>
            <p:nvSpPr>
              <p:cNvPr id="97" name="Полилиния: фигура 96">
                <a:extLst>
                  <a:ext uri="{FF2B5EF4-FFF2-40B4-BE49-F238E27FC236}">
                    <a16:creationId xmlns:a16="http://schemas.microsoft.com/office/drawing/2014/main" id="{5178770A-DA1A-4D0A-867C-FC5B69910972}"/>
                  </a:ext>
                </a:extLst>
              </p:cNvPr>
              <p:cNvSpPr/>
              <p:nvPr/>
            </p:nvSpPr>
            <p:spPr>
              <a:xfrm>
                <a:off x="13073141" y="7182663"/>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2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7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2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2"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7" y="86103"/>
                    </a:lnTo>
                    <a:cubicBezTo>
                      <a:pt x="32118" y="112070"/>
                      <a:pt x="49885" y="131204"/>
                      <a:pt x="76536" y="131204"/>
                    </a:cubicBezTo>
                    <a:close/>
                    <a:moveTo>
                      <a:pt x="30751" y="61502"/>
                    </a:moveTo>
                    <a:lnTo>
                      <a:pt x="119587" y="61502"/>
                    </a:lnTo>
                    <a:cubicBezTo>
                      <a:pt x="116854" y="38268"/>
                      <a:pt x="99087" y="24601"/>
                      <a:pt x="75852" y="24601"/>
                    </a:cubicBezTo>
                    <a:cubicBezTo>
                      <a:pt x="53302" y="24601"/>
                      <a:pt x="35535"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98" name="Полилиния: фигура 97">
                <a:extLst>
                  <a:ext uri="{FF2B5EF4-FFF2-40B4-BE49-F238E27FC236}">
                    <a16:creationId xmlns:a16="http://schemas.microsoft.com/office/drawing/2014/main" id="{1A49699D-A584-493B-9FB9-55FEA6400FF9}"/>
                  </a:ext>
                </a:extLst>
              </p:cNvPr>
              <p:cNvSpPr/>
              <p:nvPr/>
            </p:nvSpPr>
            <p:spPr>
              <a:xfrm>
                <a:off x="13253547" y="7132778"/>
                <a:ext cx="134621" cy="203640"/>
              </a:xfrm>
              <a:custGeom>
                <a:avLst/>
                <a:gdLst>
                  <a:gd name="connsiteX0" fmla="*/ 0 w 134621"/>
                  <a:gd name="connsiteY0" fmla="*/ 53985 h 203640"/>
                  <a:gd name="connsiteX1" fmla="*/ 30068 w 134621"/>
                  <a:gd name="connsiteY1" fmla="*/ 53985 h 203640"/>
                  <a:gd name="connsiteX2" fmla="*/ 30068 w 134621"/>
                  <a:gd name="connsiteY2" fmla="*/ 161956 h 203640"/>
                  <a:gd name="connsiteX3" fmla="*/ 101820 w 134621"/>
                  <a:gd name="connsiteY3" fmla="*/ 53985 h 203640"/>
                  <a:gd name="connsiteX4" fmla="*/ 134621 w 134621"/>
                  <a:gd name="connsiteY4" fmla="*/ 53985 h 203640"/>
                  <a:gd name="connsiteX5" fmla="*/ 134621 w 134621"/>
                  <a:gd name="connsiteY5" fmla="*/ 203640 h 203640"/>
                  <a:gd name="connsiteX6" fmla="*/ 104554 w 134621"/>
                  <a:gd name="connsiteY6" fmla="*/ 203640 h 203640"/>
                  <a:gd name="connsiteX7" fmla="*/ 104554 w 134621"/>
                  <a:gd name="connsiteY7" fmla="*/ 95670 h 203640"/>
                  <a:gd name="connsiteX8" fmla="*/ 32801 w 134621"/>
                  <a:gd name="connsiteY8" fmla="*/ 203640 h 203640"/>
                  <a:gd name="connsiteX9" fmla="*/ 0 w 134621"/>
                  <a:gd name="connsiteY9" fmla="*/ 203640 h 203640"/>
                  <a:gd name="connsiteX10" fmla="*/ 0 w 134621"/>
                  <a:gd name="connsiteY10" fmla="*/ 53985 h 203640"/>
                  <a:gd name="connsiteX11" fmla="*/ 34168 w 134621"/>
                  <a:gd name="connsiteY11" fmla="*/ 0 h 203640"/>
                  <a:gd name="connsiteX12" fmla="*/ 55352 w 134621"/>
                  <a:gd name="connsiteY12" fmla="*/ 0 h 203640"/>
                  <a:gd name="connsiteX13" fmla="*/ 66969 w 134621"/>
                  <a:gd name="connsiteY13" fmla="*/ 12984 h 203640"/>
                  <a:gd name="connsiteX14" fmla="*/ 78586 w 134621"/>
                  <a:gd name="connsiteY14" fmla="*/ 0 h 203640"/>
                  <a:gd name="connsiteX15" fmla="*/ 99770 w 134621"/>
                  <a:gd name="connsiteY15" fmla="*/ 0 h 203640"/>
                  <a:gd name="connsiteX16" fmla="*/ 66969 w 134621"/>
                  <a:gd name="connsiteY16" fmla="*/ 32801 h 203640"/>
                  <a:gd name="connsiteX17" fmla="*/ 34168 w 134621"/>
                  <a:gd name="connsiteY17" fmla="*/ 0 h 2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21" h="203640">
                    <a:moveTo>
                      <a:pt x="0" y="53985"/>
                    </a:moveTo>
                    <a:lnTo>
                      <a:pt x="30068" y="53985"/>
                    </a:lnTo>
                    <a:lnTo>
                      <a:pt x="30068" y="161956"/>
                    </a:lnTo>
                    <a:lnTo>
                      <a:pt x="101820" y="53985"/>
                    </a:lnTo>
                    <a:lnTo>
                      <a:pt x="134621" y="53985"/>
                    </a:lnTo>
                    <a:lnTo>
                      <a:pt x="134621" y="203640"/>
                    </a:lnTo>
                    <a:lnTo>
                      <a:pt x="104554" y="203640"/>
                    </a:lnTo>
                    <a:lnTo>
                      <a:pt x="104554" y="95670"/>
                    </a:lnTo>
                    <a:lnTo>
                      <a:pt x="32801" y="203640"/>
                    </a:lnTo>
                    <a:lnTo>
                      <a:pt x="0" y="203640"/>
                    </a:lnTo>
                    <a:lnTo>
                      <a:pt x="0" y="53985"/>
                    </a:lnTo>
                    <a:close/>
                    <a:moveTo>
                      <a:pt x="34168" y="0"/>
                    </a:moveTo>
                    <a:lnTo>
                      <a:pt x="55352" y="0"/>
                    </a:lnTo>
                    <a:cubicBezTo>
                      <a:pt x="55352" y="7517"/>
                      <a:pt x="59452" y="12984"/>
                      <a:pt x="66969" y="12984"/>
                    </a:cubicBezTo>
                    <a:cubicBezTo>
                      <a:pt x="74486" y="12984"/>
                      <a:pt x="78586" y="7517"/>
                      <a:pt x="78586" y="0"/>
                    </a:cubicBezTo>
                    <a:lnTo>
                      <a:pt x="99770" y="0"/>
                    </a:lnTo>
                    <a:cubicBezTo>
                      <a:pt x="99770" y="19134"/>
                      <a:pt x="86786" y="32801"/>
                      <a:pt x="66969" y="32801"/>
                    </a:cubicBezTo>
                    <a:cubicBezTo>
                      <a:pt x="47152" y="32801"/>
                      <a:pt x="34168" y="19134"/>
                      <a:pt x="34168" y="0"/>
                    </a:cubicBezTo>
                    <a:close/>
                  </a:path>
                </a:pathLst>
              </a:custGeom>
              <a:solidFill>
                <a:srgbClr val="FFFFFF"/>
              </a:solidFill>
              <a:ln w="6822" cap="flat">
                <a:noFill/>
                <a:prstDash val="solid"/>
                <a:miter/>
              </a:ln>
            </p:spPr>
            <p:txBody>
              <a:bodyPr rtlCol="0" anchor="ctr"/>
              <a:lstStyle/>
              <a:p>
                <a:endParaRPr lang="ru-RU" sz="1587" dirty="0"/>
              </a:p>
            </p:txBody>
          </p:sp>
        </p:grpSp>
        <p:sp>
          <p:nvSpPr>
            <p:cNvPr id="76" name="Полилиния: фигура 75">
              <a:extLst>
                <a:ext uri="{FF2B5EF4-FFF2-40B4-BE49-F238E27FC236}">
                  <a16:creationId xmlns:a16="http://schemas.microsoft.com/office/drawing/2014/main" id="{6C60EAD8-37DF-405A-99B0-7ED3D7BEEE30}"/>
                </a:ext>
              </a:extLst>
            </p:cNvPr>
            <p:cNvSpPr/>
            <p:nvPr/>
          </p:nvSpPr>
          <p:spPr>
            <a:xfrm>
              <a:off x="11519872" y="4054942"/>
              <a:ext cx="2309744" cy="2615887"/>
            </a:xfrm>
            <a:custGeom>
              <a:avLst/>
              <a:gdLst>
                <a:gd name="connsiteX0" fmla="*/ 2309744 w 2309744"/>
                <a:gd name="connsiteY0" fmla="*/ 0 h 2615887"/>
                <a:gd name="connsiteX1" fmla="*/ 350562 w 2309744"/>
                <a:gd name="connsiteY1" fmla="*/ 2452566 h 2615887"/>
                <a:gd name="connsiteX2" fmla="*/ 2050 w 2309744"/>
                <a:gd name="connsiteY2" fmla="*/ 2615205 h 2615887"/>
                <a:gd name="connsiteX3" fmla="*/ 0 w 2309744"/>
                <a:gd name="connsiteY3" fmla="*/ 2615888 h 2615887"/>
                <a:gd name="connsiteX4" fmla="*/ 0 w 2309744"/>
                <a:gd name="connsiteY4" fmla="*/ 2615888 h 2615887"/>
                <a:gd name="connsiteX5" fmla="*/ 2309744 w 2309744"/>
                <a:gd name="connsiteY5" fmla="*/ 1107721 h 2615887"/>
                <a:gd name="connsiteX6" fmla="*/ 2309744 w 2309744"/>
                <a:gd name="connsiteY6" fmla="*/ 0 h 261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9744" h="2615887">
                  <a:moveTo>
                    <a:pt x="2309744" y="0"/>
                  </a:moveTo>
                  <a:cubicBezTo>
                    <a:pt x="2039818" y="1072869"/>
                    <a:pt x="1316144" y="1946199"/>
                    <a:pt x="350562" y="2452566"/>
                  </a:cubicBezTo>
                  <a:cubicBezTo>
                    <a:pt x="236441" y="2509284"/>
                    <a:pt x="112754" y="2561903"/>
                    <a:pt x="2050" y="2615205"/>
                  </a:cubicBezTo>
                  <a:lnTo>
                    <a:pt x="0" y="2615888"/>
                  </a:lnTo>
                  <a:lnTo>
                    <a:pt x="0" y="2615888"/>
                  </a:lnTo>
                  <a:cubicBezTo>
                    <a:pt x="880846" y="2287877"/>
                    <a:pt x="1668073" y="1768526"/>
                    <a:pt x="2309744" y="1107721"/>
                  </a:cubicBezTo>
                  <a:lnTo>
                    <a:pt x="2309744" y="0"/>
                  </a:lnTo>
                  <a:close/>
                </a:path>
              </a:pathLst>
            </a:custGeom>
            <a:solidFill>
              <a:schemeClr val="accent3"/>
            </a:solidFill>
            <a:ln w="6822" cap="flat">
              <a:noFill/>
              <a:prstDash val="solid"/>
              <a:miter/>
            </a:ln>
          </p:spPr>
          <p:txBody>
            <a:bodyPr rtlCol="0" anchor="ctr"/>
            <a:lstStyle/>
            <a:p>
              <a:endParaRPr lang="ru-RU" sz="1587" dirty="0"/>
            </a:p>
          </p:txBody>
        </p:sp>
      </p:grpSp>
    </p:spTree>
    <p:extLst>
      <p:ext uri="{BB962C8B-B14F-4D97-AF65-F5344CB8AC3E}">
        <p14:creationId xmlns:p14="http://schemas.microsoft.com/office/powerpoint/2010/main" val="32542659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Последний">
    <p:spTree>
      <p:nvGrpSpPr>
        <p:cNvPr id="1" name=""/>
        <p:cNvGrpSpPr/>
        <p:nvPr/>
      </p:nvGrpSpPr>
      <p:grpSpPr>
        <a:xfrm>
          <a:off x="0" y="0"/>
          <a:ext cx="0" cy="0"/>
          <a:chOff x="0" y="0"/>
          <a:chExt cx="0" cy="0"/>
        </a:xfrm>
      </p:grpSpPr>
      <p:sp>
        <p:nvSpPr>
          <p:cNvPr id="55" name="Текст 22">
            <a:extLst>
              <a:ext uri="{FF2B5EF4-FFF2-40B4-BE49-F238E27FC236}">
                <a16:creationId xmlns:a16="http://schemas.microsoft.com/office/drawing/2014/main" id="{27B61B65-FB5A-4463-8D97-1E900C3E2C2D}"/>
              </a:ext>
            </a:extLst>
          </p:cNvPr>
          <p:cNvSpPr>
            <a:spLocks noGrp="1"/>
          </p:cNvSpPr>
          <p:nvPr>
            <p:ph type="body" sz="quarter" idx="14" hasCustomPrompt="1"/>
          </p:nvPr>
        </p:nvSpPr>
        <p:spPr>
          <a:xfrm>
            <a:off x="417517" y="2481064"/>
            <a:ext cx="3575900" cy="595627"/>
          </a:xfrm>
          <a:prstGeom prst="rect">
            <a:avLst/>
          </a:prstGeom>
          <a:solidFill>
            <a:schemeClr val="accent3"/>
          </a:solidFill>
        </p:spPr>
        <p:txBody>
          <a:bodyPr wrap="none" lIns="108000" tIns="36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56" name="Текст 22">
            <a:extLst>
              <a:ext uri="{FF2B5EF4-FFF2-40B4-BE49-F238E27FC236}">
                <a16:creationId xmlns:a16="http://schemas.microsoft.com/office/drawing/2014/main" id="{BDF7B01B-7A22-4CEB-A44B-6F4BC7FE1DC5}"/>
              </a:ext>
            </a:extLst>
          </p:cNvPr>
          <p:cNvSpPr>
            <a:spLocks noGrp="1"/>
          </p:cNvSpPr>
          <p:nvPr>
            <p:ph type="body" sz="quarter" idx="22" hasCustomPrompt="1"/>
          </p:nvPr>
        </p:nvSpPr>
        <p:spPr>
          <a:xfrm>
            <a:off x="417515" y="3076190"/>
            <a:ext cx="3883677" cy="547159"/>
          </a:xfrm>
          <a:prstGeom prst="rect">
            <a:avLst/>
          </a:prstGeom>
          <a:solidFill>
            <a:schemeClr val="accent3"/>
          </a:solidFill>
        </p:spPr>
        <p:txBody>
          <a:bodyPr wrap="none" lIns="108000" tIns="0" rIns="108000" bIns="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53" name="Рисунок 25">
            <a:extLst>
              <a:ext uri="{FF2B5EF4-FFF2-40B4-BE49-F238E27FC236}">
                <a16:creationId xmlns:a16="http://schemas.microsoft.com/office/drawing/2014/main" id="{C7BE093E-6A63-4B0E-A237-787E9A34B475}"/>
              </a:ext>
            </a:extLst>
          </p:cNvPr>
          <p:cNvGrpSpPr/>
          <p:nvPr userDrawn="1"/>
        </p:nvGrpSpPr>
        <p:grpSpPr>
          <a:xfrm>
            <a:off x="419833" y="417146"/>
            <a:ext cx="2645659" cy="753911"/>
            <a:chOff x="-233" y="1916027"/>
            <a:chExt cx="13832096" cy="3938000"/>
          </a:xfrm>
        </p:grpSpPr>
        <p:sp>
          <p:nvSpPr>
            <p:cNvPr id="54" name="Полилиния: фигура 53">
              <a:extLst>
                <a:ext uri="{FF2B5EF4-FFF2-40B4-BE49-F238E27FC236}">
                  <a16:creationId xmlns:a16="http://schemas.microsoft.com/office/drawing/2014/main" id="{CE193012-17AF-45AC-9FC4-E484CCE48C04}"/>
                </a:ext>
              </a:extLst>
            </p:cNvPr>
            <p:cNvSpPr/>
            <p:nvPr/>
          </p:nvSpPr>
          <p:spPr>
            <a:xfrm>
              <a:off x="2798114" y="2521151"/>
              <a:ext cx="11033748" cy="3332876"/>
            </a:xfrm>
            <a:custGeom>
              <a:avLst/>
              <a:gdLst>
                <a:gd name="connsiteX0" fmla="*/ 8186381 w 11033748"/>
                <a:gd name="connsiteY0" fmla="*/ 869378 h 3332876"/>
                <a:gd name="connsiteX1" fmla="*/ 8655469 w 11033748"/>
                <a:gd name="connsiteY1" fmla="*/ 1402575 h 3332876"/>
                <a:gd name="connsiteX2" fmla="*/ 8350562 w 11033748"/>
                <a:gd name="connsiteY2" fmla="*/ 1402575 h 3332876"/>
                <a:gd name="connsiteX3" fmla="*/ 7987800 w 11033748"/>
                <a:gd name="connsiteY3" fmla="*/ 991341 h 3332876"/>
                <a:gd name="connsiteX4" fmla="*/ 7987800 w 11033748"/>
                <a:gd name="connsiteY4" fmla="*/ 1402575 h 3332876"/>
                <a:gd name="connsiteX5" fmla="*/ 7735274 w 11033748"/>
                <a:gd name="connsiteY5" fmla="*/ 1402575 h 3332876"/>
                <a:gd name="connsiteX6" fmla="*/ 7735274 w 11033748"/>
                <a:gd name="connsiteY6" fmla="*/ 408889 h 3332876"/>
                <a:gd name="connsiteX7" fmla="*/ 7987800 w 11033748"/>
                <a:gd name="connsiteY7" fmla="*/ 408889 h 3332876"/>
                <a:gd name="connsiteX8" fmla="*/ 7987800 w 11033748"/>
                <a:gd name="connsiteY8" fmla="*/ 769306 h 3332876"/>
                <a:gd name="connsiteX9" fmla="*/ 8344307 w 11033748"/>
                <a:gd name="connsiteY9" fmla="*/ 408889 h 3332876"/>
                <a:gd name="connsiteX10" fmla="*/ 8642960 w 11033748"/>
                <a:gd name="connsiteY10" fmla="*/ 408889 h 3332876"/>
                <a:gd name="connsiteX11" fmla="*/ 8186381 w 11033748"/>
                <a:gd name="connsiteY11" fmla="*/ 869378 h 3332876"/>
                <a:gd name="connsiteX12" fmla="*/ 629361 w 11033748"/>
                <a:gd name="connsiteY12" fmla="*/ 677052 h 3332876"/>
                <a:gd name="connsiteX13" fmla="*/ 898305 w 11033748"/>
                <a:gd name="connsiteY13" fmla="*/ 456580 h 3332876"/>
                <a:gd name="connsiteX14" fmla="*/ 629361 w 11033748"/>
                <a:gd name="connsiteY14" fmla="*/ 236108 h 3332876"/>
                <a:gd name="connsiteX15" fmla="*/ 264253 w 11033748"/>
                <a:gd name="connsiteY15" fmla="*/ 236108 h 3332876"/>
                <a:gd name="connsiteX16" fmla="*/ 264253 w 11033748"/>
                <a:gd name="connsiteY16" fmla="*/ 677052 h 3332876"/>
                <a:gd name="connsiteX17" fmla="*/ 629361 w 11033748"/>
                <a:gd name="connsiteY17" fmla="*/ 677052 h 3332876"/>
                <a:gd name="connsiteX18" fmla="*/ 637179 w 11033748"/>
                <a:gd name="connsiteY18" fmla="*/ 0 h 3332876"/>
                <a:gd name="connsiteX19" fmla="*/ 1162558 w 11033748"/>
                <a:gd name="connsiteY19" fmla="*/ 456580 h 3332876"/>
                <a:gd name="connsiteX20" fmla="*/ 637179 w 11033748"/>
                <a:gd name="connsiteY20" fmla="*/ 913941 h 3332876"/>
                <a:gd name="connsiteX21" fmla="*/ 264253 w 11033748"/>
                <a:gd name="connsiteY21" fmla="*/ 913941 h 3332876"/>
                <a:gd name="connsiteX22" fmla="*/ 264253 w 11033748"/>
                <a:gd name="connsiteY22" fmla="*/ 1403357 h 3332876"/>
                <a:gd name="connsiteX23" fmla="*/ 0 w 11033748"/>
                <a:gd name="connsiteY23" fmla="*/ 1403357 h 3332876"/>
                <a:gd name="connsiteX24" fmla="*/ 0 w 11033748"/>
                <a:gd name="connsiteY24" fmla="*/ 0 h 3332876"/>
                <a:gd name="connsiteX25" fmla="*/ 637179 w 11033748"/>
                <a:gd name="connsiteY25" fmla="*/ 0 h 3332876"/>
                <a:gd name="connsiteX26" fmla="*/ 1759083 w 11033748"/>
                <a:gd name="connsiteY26" fmla="*/ 1194613 h 3332876"/>
                <a:gd name="connsiteX27" fmla="*/ 2046009 w 11033748"/>
                <a:gd name="connsiteY27" fmla="*/ 906123 h 3332876"/>
                <a:gd name="connsiteX28" fmla="*/ 1759083 w 11033748"/>
                <a:gd name="connsiteY28" fmla="*/ 617634 h 3332876"/>
                <a:gd name="connsiteX29" fmla="*/ 1472157 w 11033748"/>
                <a:gd name="connsiteY29" fmla="*/ 906123 h 3332876"/>
                <a:gd name="connsiteX30" fmla="*/ 1759083 w 11033748"/>
                <a:gd name="connsiteY30" fmla="*/ 1194613 h 3332876"/>
                <a:gd name="connsiteX31" fmla="*/ 1759083 w 11033748"/>
                <a:gd name="connsiteY31" fmla="*/ 380744 h 3332876"/>
                <a:gd name="connsiteX32" fmla="*/ 2302444 w 11033748"/>
                <a:gd name="connsiteY32" fmla="*/ 906123 h 3332876"/>
                <a:gd name="connsiteX33" fmla="*/ 1759083 w 11033748"/>
                <a:gd name="connsiteY33" fmla="*/ 1431503 h 3332876"/>
                <a:gd name="connsiteX34" fmla="*/ 1215722 w 11033748"/>
                <a:gd name="connsiteY34" fmla="*/ 906123 h 3332876"/>
                <a:gd name="connsiteX35" fmla="*/ 1759083 w 11033748"/>
                <a:gd name="connsiteY35" fmla="*/ 380744 h 3332876"/>
                <a:gd name="connsiteX36" fmla="*/ 2947441 w 11033748"/>
                <a:gd name="connsiteY36" fmla="*/ 1194613 h 3332876"/>
                <a:gd name="connsiteX37" fmla="*/ 2683188 w 11033748"/>
                <a:gd name="connsiteY37" fmla="*/ 906123 h 3332876"/>
                <a:gd name="connsiteX38" fmla="*/ 2947441 w 11033748"/>
                <a:gd name="connsiteY38" fmla="*/ 617634 h 3332876"/>
                <a:gd name="connsiteX39" fmla="*/ 3178077 w 11033748"/>
                <a:gd name="connsiteY39" fmla="*/ 753669 h 3332876"/>
                <a:gd name="connsiteX40" fmla="*/ 3394639 w 11033748"/>
                <a:gd name="connsiteY40" fmla="*/ 629361 h 3332876"/>
                <a:gd name="connsiteX41" fmla="*/ 2949787 w 11033748"/>
                <a:gd name="connsiteY41" fmla="*/ 380744 h 3332876"/>
                <a:gd name="connsiteX42" fmla="*/ 2426753 w 11033748"/>
                <a:gd name="connsiteY42" fmla="*/ 906123 h 3332876"/>
                <a:gd name="connsiteX43" fmla="*/ 2949787 w 11033748"/>
                <a:gd name="connsiteY43" fmla="*/ 1431503 h 3332876"/>
                <a:gd name="connsiteX44" fmla="*/ 3404803 w 11033748"/>
                <a:gd name="connsiteY44" fmla="*/ 1164904 h 3332876"/>
                <a:gd name="connsiteX45" fmla="*/ 3196058 w 11033748"/>
                <a:gd name="connsiteY45" fmla="*/ 1050759 h 3332876"/>
                <a:gd name="connsiteX46" fmla="*/ 2947441 w 11033748"/>
                <a:gd name="connsiteY46" fmla="*/ 1194613 h 3332876"/>
                <a:gd name="connsiteX47" fmla="*/ 5636102 w 11033748"/>
                <a:gd name="connsiteY47" fmla="*/ 971796 h 3332876"/>
                <a:gd name="connsiteX48" fmla="*/ 5541502 w 11033748"/>
                <a:gd name="connsiteY48" fmla="*/ 1157868 h 3332876"/>
                <a:gd name="connsiteX49" fmla="*/ 5464884 w 11033748"/>
                <a:gd name="connsiteY49" fmla="*/ 1147704 h 3332876"/>
                <a:gd name="connsiteX50" fmla="*/ 5466448 w 11033748"/>
                <a:gd name="connsiteY50" fmla="*/ 1404921 h 3332876"/>
                <a:gd name="connsiteX51" fmla="*/ 5556356 w 11033748"/>
                <a:gd name="connsiteY51" fmla="*/ 1414303 h 3332876"/>
                <a:gd name="connsiteX52" fmla="*/ 5870646 w 11033748"/>
                <a:gd name="connsiteY52" fmla="*/ 981177 h 3332876"/>
                <a:gd name="connsiteX53" fmla="*/ 5894882 w 11033748"/>
                <a:gd name="connsiteY53" fmla="*/ 634052 h 3332876"/>
                <a:gd name="connsiteX54" fmla="*/ 6179463 w 11033748"/>
                <a:gd name="connsiteY54" fmla="*/ 634052 h 3332876"/>
                <a:gd name="connsiteX55" fmla="*/ 6179463 w 11033748"/>
                <a:gd name="connsiteY55" fmla="*/ 1399448 h 3332876"/>
                <a:gd name="connsiteX56" fmla="*/ 6431989 w 11033748"/>
                <a:gd name="connsiteY56" fmla="*/ 1399448 h 3332876"/>
                <a:gd name="connsiteX57" fmla="*/ 6431989 w 11033748"/>
                <a:gd name="connsiteY57" fmla="*/ 408889 h 3332876"/>
                <a:gd name="connsiteX58" fmla="*/ 5678319 w 11033748"/>
                <a:gd name="connsiteY58" fmla="*/ 408889 h 3332876"/>
                <a:gd name="connsiteX59" fmla="*/ 5636102 w 11033748"/>
                <a:gd name="connsiteY59" fmla="*/ 971796 h 3332876"/>
                <a:gd name="connsiteX60" fmla="*/ 5170922 w 11033748"/>
                <a:gd name="connsiteY60" fmla="*/ 773215 h 3332876"/>
                <a:gd name="connsiteX61" fmla="*/ 4912141 w 11033748"/>
                <a:gd name="connsiteY61" fmla="*/ 573070 h 3332876"/>
                <a:gd name="connsiteX62" fmla="*/ 4643197 w 11033748"/>
                <a:gd name="connsiteY62" fmla="*/ 773215 h 3332876"/>
                <a:gd name="connsiteX63" fmla="*/ 5170922 w 11033748"/>
                <a:gd name="connsiteY63" fmla="*/ 773215 h 3332876"/>
                <a:gd name="connsiteX64" fmla="*/ 4919960 w 11033748"/>
                <a:gd name="connsiteY64" fmla="*/ 380744 h 3332876"/>
                <a:gd name="connsiteX65" fmla="*/ 5404684 w 11033748"/>
                <a:gd name="connsiteY65" fmla="*/ 877978 h 3332876"/>
                <a:gd name="connsiteX66" fmla="*/ 5404684 w 11033748"/>
                <a:gd name="connsiteY66" fmla="*/ 966323 h 3332876"/>
                <a:gd name="connsiteX67" fmla="*/ 4639288 w 11033748"/>
                <a:gd name="connsiteY67" fmla="*/ 966323 h 3332876"/>
                <a:gd name="connsiteX68" fmla="*/ 4912141 w 11033748"/>
                <a:gd name="connsiteY68" fmla="*/ 1214940 h 3332876"/>
                <a:gd name="connsiteX69" fmla="*/ 5164667 w 11033748"/>
                <a:gd name="connsiteY69" fmla="*/ 1078904 h 3332876"/>
                <a:gd name="connsiteX70" fmla="*/ 5364812 w 11033748"/>
                <a:gd name="connsiteY70" fmla="*/ 1178977 h 3332876"/>
                <a:gd name="connsiteX71" fmla="*/ 4907450 w 11033748"/>
                <a:gd name="connsiteY71" fmla="*/ 1431503 h 3332876"/>
                <a:gd name="connsiteX72" fmla="*/ 4396144 w 11033748"/>
                <a:gd name="connsiteY72" fmla="*/ 906123 h 3332876"/>
                <a:gd name="connsiteX73" fmla="*/ 4919960 w 11033748"/>
                <a:gd name="connsiteY73" fmla="*/ 380744 h 3332876"/>
                <a:gd name="connsiteX74" fmla="*/ 7346712 w 11033748"/>
                <a:gd name="connsiteY74" fmla="*/ 773215 h 3332876"/>
                <a:gd name="connsiteX75" fmla="*/ 7087931 w 11033748"/>
                <a:gd name="connsiteY75" fmla="*/ 573070 h 3332876"/>
                <a:gd name="connsiteX76" fmla="*/ 6818987 w 11033748"/>
                <a:gd name="connsiteY76" fmla="*/ 773215 h 3332876"/>
                <a:gd name="connsiteX77" fmla="*/ 7346712 w 11033748"/>
                <a:gd name="connsiteY77" fmla="*/ 773215 h 3332876"/>
                <a:gd name="connsiteX78" fmla="*/ 7096531 w 11033748"/>
                <a:gd name="connsiteY78" fmla="*/ 380744 h 3332876"/>
                <a:gd name="connsiteX79" fmla="*/ 7581256 w 11033748"/>
                <a:gd name="connsiteY79" fmla="*/ 877978 h 3332876"/>
                <a:gd name="connsiteX80" fmla="*/ 7581256 w 11033748"/>
                <a:gd name="connsiteY80" fmla="*/ 966323 h 3332876"/>
                <a:gd name="connsiteX81" fmla="*/ 6815859 w 11033748"/>
                <a:gd name="connsiteY81" fmla="*/ 966323 h 3332876"/>
                <a:gd name="connsiteX82" fmla="*/ 7088713 w 11033748"/>
                <a:gd name="connsiteY82" fmla="*/ 1214940 h 3332876"/>
                <a:gd name="connsiteX83" fmla="*/ 7341239 w 11033748"/>
                <a:gd name="connsiteY83" fmla="*/ 1078904 h 3332876"/>
                <a:gd name="connsiteX84" fmla="*/ 7541384 w 11033748"/>
                <a:gd name="connsiteY84" fmla="*/ 1178977 h 3332876"/>
                <a:gd name="connsiteX85" fmla="*/ 7084022 w 11033748"/>
                <a:gd name="connsiteY85" fmla="*/ 1431503 h 3332876"/>
                <a:gd name="connsiteX86" fmla="*/ 6572715 w 11033748"/>
                <a:gd name="connsiteY86" fmla="*/ 906123 h 3332876"/>
                <a:gd name="connsiteX87" fmla="*/ 7096531 w 11033748"/>
                <a:gd name="connsiteY87" fmla="*/ 380744 h 3332876"/>
                <a:gd name="connsiteX88" fmla="*/ 3482984 w 11033748"/>
                <a:gd name="connsiteY88" fmla="*/ 629361 h 3332876"/>
                <a:gd name="connsiteX89" fmla="*/ 3779292 w 11033748"/>
                <a:gd name="connsiteY89" fmla="*/ 629361 h 3332876"/>
                <a:gd name="connsiteX90" fmla="*/ 3779292 w 11033748"/>
                <a:gd name="connsiteY90" fmla="*/ 1403357 h 3332876"/>
                <a:gd name="connsiteX91" fmla="*/ 4031818 w 11033748"/>
                <a:gd name="connsiteY91" fmla="*/ 1403357 h 3332876"/>
                <a:gd name="connsiteX92" fmla="*/ 4031818 w 11033748"/>
                <a:gd name="connsiteY92" fmla="*/ 629361 h 3332876"/>
                <a:gd name="connsiteX93" fmla="*/ 4328126 w 11033748"/>
                <a:gd name="connsiteY93" fmla="*/ 629361 h 3332876"/>
                <a:gd name="connsiteX94" fmla="*/ 4328126 w 11033748"/>
                <a:gd name="connsiteY94" fmla="*/ 408889 h 3332876"/>
                <a:gd name="connsiteX95" fmla="*/ 3482984 w 11033748"/>
                <a:gd name="connsiteY95" fmla="*/ 408889 h 3332876"/>
                <a:gd name="connsiteX96" fmla="*/ 3482984 w 11033748"/>
                <a:gd name="connsiteY96" fmla="*/ 629361 h 3332876"/>
                <a:gd name="connsiteX97" fmla="*/ 9156612 w 11033748"/>
                <a:gd name="connsiteY97" fmla="*/ 1194613 h 3332876"/>
                <a:gd name="connsiteX98" fmla="*/ 9443539 w 11033748"/>
                <a:gd name="connsiteY98" fmla="*/ 906123 h 3332876"/>
                <a:gd name="connsiteX99" fmla="*/ 9156612 w 11033748"/>
                <a:gd name="connsiteY99" fmla="*/ 617634 h 3332876"/>
                <a:gd name="connsiteX100" fmla="*/ 8869687 w 11033748"/>
                <a:gd name="connsiteY100" fmla="*/ 906123 h 3332876"/>
                <a:gd name="connsiteX101" fmla="*/ 9156612 w 11033748"/>
                <a:gd name="connsiteY101" fmla="*/ 1194613 h 3332876"/>
                <a:gd name="connsiteX102" fmla="*/ 9156612 w 11033748"/>
                <a:gd name="connsiteY102" fmla="*/ 380744 h 3332876"/>
                <a:gd name="connsiteX103" fmla="*/ 9699973 w 11033748"/>
                <a:gd name="connsiteY103" fmla="*/ 906123 h 3332876"/>
                <a:gd name="connsiteX104" fmla="*/ 9156612 w 11033748"/>
                <a:gd name="connsiteY104" fmla="*/ 1431503 h 3332876"/>
                <a:gd name="connsiteX105" fmla="*/ 8613251 w 11033748"/>
                <a:gd name="connsiteY105" fmla="*/ 906123 h 3332876"/>
                <a:gd name="connsiteX106" fmla="*/ 9156612 w 11033748"/>
                <a:gd name="connsiteY106" fmla="*/ 380744 h 3332876"/>
                <a:gd name="connsiteX107" fmla="*/ 10704605 w 11033748"/>
                <a:gd name="connsiteY107" fmla="*/ 408889 h 3332876"/>
                <a:gd name="connsiteX108" fmla="*/ 10430188 w 11033748"/>
                <a:gd name="connsiteY108" fmla="*/ 1105486 h 3332876"/>
                <a:gd name="connsiteX109" fmla="*/ 10155772 w 11033748"/>
                <a:gd name="connsiteY109" fmla="*/ 408889 h 3332876"/>
                <a:gd name="connsiteX110" fmla="*/ 9825845 w 11033748"/>
                <a:gd name="connsiteY110" fmla="*/ 408889 h 3332876"/>
                <a:gd name="connsiteX111" fmla="*/ 9825845 w 11033748"/>
                <a:gd name="connsiteY111" fmla="*/ 1401012 h 3332876"/>
                <a:gd name="connsiteX112" fmla="*/ 10065863 w 11033748"/>
                <a:gd name="connsiteY112" fmla="*/ 1401012 h 3332876"/>
                <a:gd name="connsiteX113" fmla="*/ 10065863 w 11033748"/>
                <a:gd name="connsiteY113" fmla="*/ 772433 h 3332876"/>
                <a:gd name="connsiteX114" fmla="*/ 10331680 w 11033748"/>
                <a:gd name="connsiteY114" fmla="*/ 1401012 h 3332876"/>
                <a:gd name="connsiteX115" fmla="*/ 10527915 w 11033748"/>
                <a:gd name="connsiteY115" fmla="*/ 1401012 h 3332876"/>
                <a:gd name="connsiteX116" fmla="*/ 10793732 w 11033748"/>
                <a:gd name="connsiteY116" fmla="*/ 772433 h 3332876"/>
                <a:gd name="connsiteX117" fmla="*/ 10793732 w 11033748"/>
                <a:gd name="connsiteY117" fmla="*/ 1401012 h 3332876"/>
                <a:gd name="connsiteX118" fmla="*/ 11033749 w 11033748"/>
                <a:gd name="connsiteY118" fmla="*/ 1401012 h 3332876"/>
                <a:gd name="connsiteX119" fmla="*/ 11033749 w 11033748"/>
                <a:gd name="connsiteY119" fmla="*/ 408889 h 3332876"/>
                <a:gd name="connsiteX120" fmla="*/ 10704605 w 11033748"/>
                <a:gd name="connsiteY120" fmla="*/ 408889 h 3332876"/>
                <a:gd name="connsiteX121" fmla="*/ 264253 w 11033748"/>
                <a:gd name="connsiteY121" fmla="*/ 3067841 h 3332876"/>
                <a:gd name="connsiteX122" fmla="*/ 264253 w 11033748"/>
                <a:gd name="connsiteY122" fmla="*/ 2666770 h 3332876"/>
                <a:gd name="connsiteX123" fmla="*/ 570725 w 11033748"/>
                <a:gd name="connsiteY123" fmla="*/ 2666770 h 3332876"/>
                <a:gd name="connsiteX124" fmla="*/ 819342 w 11033748"/>
                <a:gd name="connsiteY124" fmla="*/ 2866915 h 3332876"/>
                <a:gd name="connsiteX125" fmla="*/ 570725 w 11033748"/>
                <a:gd name="connsiteY125" fmla="*/ 3067059 h 3332876"/>
                <a:gd name="connsiteX126" fmla="*/ 264253 w 11033748"/>
                <a:gd name="connsiteY126" fmla="*/ 3067059 h 3332876"/>
                <a:gd name="connsiteX127" fmla="*/ 0 w 11033748"/>
                <a:gd name="connsiteY127" fmla="*/ 3304731 h 3332876"/>
                <a:gd name="connsiteX128" fmla="*/ 591052 w 11033748"/>
                <a:gd name="connsiteY128" fmla="*/ 3304731 h 3332876"/>
                <a:gd name="connsiteX129" fmla="*/ 1084377 w 11033748"/>
                <a:gd name="connsiteY129" fmla="*/ 2867696 h 3332876"/>
                <a:gd name="connsiteX130" fmla="*/ 591052 w 11033748"/>
                <a:gd name="connsiteY130" fmla="*/ 2434571 h 3332876"/>
                <a:gd name="connsiteX131" fmla="*/ 264253 w 11033748"/>
                <a:gd name="connsiteY131" fmla="*/ 2434571 h 3332876"/>
                <a:gd name="connsiteX132" fmla="*/ 264253 w 11033748"/>
                <a:gd name="connsiteY132" fmla="*/ 2133572 h 3332876"/>
                <a:gd name="connsiteX133" fmla="*/ 983523 w 11033748"/>
                <a:gd name="connsiteY133" fmla="*/ 2133572 h 3332876"/>
                <a:gd name="connsiteX134" fmla="*/ 983523 w 11033748"/>
                <a:gd name="connsiteY134" fmla="*/ 1901373 h 3332876"/>
                <a:gd name="connsiteX135" fmla="*/ 0 w 11033748"/>
                <a:gd name="connsiteY135" fmla="*/ 1901373 h 3332876"/>
                <a:gd name="connsiteX136" fmla="*/ 0 w 11033748"/>
                <a:gd name="connsiteY136" fmla="*/ 3304731 h 3332876"/>
                <a:gd name="connsiteX137" fmla="*/ 1243085 w 11033748"/>
                <a:gd name="connsiteY137" fmla="*/ 3304731 h 3332876"/>
                <a:gd name="connsiteX138" fmla="*/ 1503430 w 11033748"/>
                <a:gd name="connsiteY138" fmla="*/ 3304731 h 3332876"/>
                <a:gd name="connsiteX139" fmla="*/ 1936555 w 11033748"/>
                <a:gd name="connsiteY139" fmla="*/ 2649570 h 3332876"/>
                <a:gd name="connsiteX140" fmla="*/ 1936555 w 11033748"/>
                <a:gd name="connsiteY140" fmla="*/ 3304731 h 3332876"/>
                <a:gd name="connsiteX141" fmla="*/ 2177354 w 11033748"/>
                <a:gd name="connsiteY141" fmla="*/ 3304731 h 3332876"/>
                <a:gd name="connsiteX142" fmla="*/ 2177354 w 11033748"/>
                <a:gd name="connsiteY142" fmla="*/ 2310262 h 3332876"/>
                <a:gd name="connsiteX143" fmla="*/ 1917009 w 11033748"/>
                <a:gd name="connsiteY143" fmla="*/ 2310262 h 3332876"/>
                <a:gd name="connsiteX144" fmla="*/ 1483884 w 11033748"/>
                <a:gd name="connsiteY144" fmla="*/ 2965423 h 3332876"/>
                <a:gd name="connsiteX145" fmla="*/ 1483884 w 11033748"/>
                <a:gd name="connsiteY145" fmla="*/ 2310262 h 3332876"/>
                <a:gd name="connsiteX146" fmla="*/ 1243085 w 11033748"/>
                <a:gd name="connsiteY146" fmla="*/ 2310262 h 3332876"/>
                <a:gd name="connsiteX147" fmla="*/ 1243085 w 11033748"/>
                <a:gd name="connsiteY147" fmla="*/ 3304731 h 3332876"/>
                <a:gd name="connsiteX148" fmla="*/ 3183549 w 11033748"/>
                <a:gd name="connsiteY148" fmla="*/ 3015459 h 3332876"/>
                <a:gd name="connsiteX149" fmla="*/ 2974805 w 11033748"/>
                <a:gd name="connsiteY149" fmla="*/ 2778569 h 3332876"/>
                <a:gd name="connsiteX150" fmla="*/ 3142895 w 11033748"/>
                <a:gd name="connsiteY150" fmla="*/ 2547934 h 3332876"/>
                <a:gd name="connsiteX151" fmla="*/ 2772315 w 11033748"/>
                <a:gd name="connsiteY151" fmla="*/ 2281335 h 3332876"/>
                <a:gd name="connsiteX152" fmla="*/ 2377498 w 11033748"/>
                <a:gd name="connsiteY152" fmla="*/ 2572170 h 3332876"/>
                <a:gd name="connsiteX153" fmla="*/ 2397825 w 11033748"/>
                <a:gd name="connsiteY153" fmla="*/ 2672243 h 3332876"/>
                <a:gd name="connsiteX154" fmla="*/ 2612043 w 11033748"/>
                <a:gd name="connsiteY154" fmla="*/ 2600316 h 3332876"/>
                <a:gd name="connsiteX155" fmla="*/ 2605788 w 11033748"/>
                <a:gd name="connsiteY155" fmla="*/ 2564352 h 3332876"/>
                <a:gd name="connsiteX156" fmla="*/ 2769969 w 11033748"/>
                <a:gd name="connsiteY156" fmla="*/ 2478353 h 3332876"/>
                <a:gd name="connsiteX157" fmla="*/ 2908351 w 11033748"/>
                <a:gd name="connsiteY157" fmla="*/ 2578425 h 3332876"/>
                <a:gd name="connsiteX158" fmla="*/ 2754333 w 11033748"/>
                <a:gd name="connsiteY158" fmla="*/ 2686315 h 3332876"/>
                <a:gd name="connsiteX159" fmla="*/ 2678497 w 11033748"/>
                <a:gd name="connsiteY159" fmla="*/ 2686315 h 3332876"/>
                <a:gd name="connsiteX160" fmla="*/ 2678497 w 11033748"/>
                <a:gd name="connsiteY160" fmla="*/ 2886460 h 3332876"/>
                <a:gd name="connsiteX161" fmla="*/ 2760587 w 11033748"/>
                <a:gd name="connsiteY161" fmla="*/ 2886460 h 3332876"/>
                <a:gd name="connsiteX162" fmla="*/ 2938841 w 11033748"/>
                <a:gd name="connsiteY162" fmla="*/ 3004514 h 3332876"/>
                <a:gd name="connsiteX163" fmla="*/ 2748079 w 11033748"/>
                <a:gd name="connsiteY163" fmla="*/ 3135077 h 3332876"/>
                <a:gd name="connsiteX164" fmla="*/ 2579988 w 11033748"/>
                <a:gd name="connsiteY164" fmla="*/ 3008423 h 3332876"/>
                <a:gd name="connsiteX165" fmla="*/ 2590152 w 11033748"/>
                <a:gd name="connsiteY165" fmla="*/ 2958387 h 3332876"/>
                <a:gd name="connsiteX166" fmla="*/ 2377498 w 11033748"/>
                <a:gd name="connsiteY166" fmla="*/ 2890369 h 3332876"/>
                <a:gd name="connsiteX167" fmla="*/ 2353262 w 11033748"/>
                <a:gd name="connsiteY167" fmla="*/ 3010768 h 3332876"/>
                <a:gd name="connsiteX168" fmla="*/ 2748079 w 11033748"/>
                <a:gd name="connsiteY168" fmla="*/ 3331312 h 3332876"/>
                <a:gd name="connsiteX169" fmla="*/ 3183549 w 11033748"/>
                <a:gd name="connsiteY169" fmla="*/ 3015459 h 3332876"/>
                <a:gd name="connsiteX170" fmla="*/ 3354767 w 11033748"/>
                <a:gd name="connsiteY170" fmla="*/ 3304731 h 3332876"/>
                <a:gd name="connsiteX171" fmla="*/ 3607293 w 11033748"/>
                <a:gd name="connsiteY171" fmla="*/ 3304731 h 3332876"/>
                <a:gd name="connsiteX172" fmla="*/ 3607293 w 11033748"/>
                <a:gd name="connsiteY172" fmla="*/ 2902096 h 3332876"/>
                <a:gd name="connsiteX173" fmla="*/ 4020091 w 11033748"/>
                <a:gd name="connsiteY173" fmla="*/ 2902096 h 3332876"/>
                <a:gd name="connsiteX174" fmla="*/ 4020091 w 11033748"/>
                <a:gd name="connsiteY174" fmla="*/ 3304731 h 3332876"/>
                <a:gd name="connsiteX175" fmla="*/ 4272617 w 11033748"/>
                <a:gd name="connsiteY175" fmla="*/ 3304731 h 3332876"/>
                <a:gd name="connsiteX176" fmla="*/ 4272617 w 11033748"/>
                <a:gd name="connsiteY176" fmla="*/ 2310262 h 3332876"/>
                <a:gd name="connsiteX177" fmla="*/ 4020091 w 11033748"/>
                <a:gd name="connsiteY177" fmla="*/ 2310262 h 3332876"/>
                <a:gd name="connsiteX178" fmla="*/ 4020091 w 11033748"/>
                <a:gd name="connsiteY178" fmla="*/ 2680843 h 3332876"/>
                <a:gd name="connsiteX179" fmla="*/ 3607293 w 11033748"/>
                <a:gd name="connsiteY179" fmla="*/ 2680843 h 3332876"/>
                <a:gd name="connsiteX180" fmla="*/ 3607293 w 11033748"/>
                <a:gd name="connsiteY180" fmla="*/ 2310262 h 3332876"/>
                <a:gd name="connsiteX181" fmla="*/ 3354767 w 11033748"/>
                <a:gd name="connsiteY181" fmla="*/ 2310262 h 3332876"/>
                <a:gd name="connsiteX182" fmla="*/ 3354767 w 11033748"/>
                <a:gd name="connsiteY182" fmla="*/ 3304731 h 3332876"/>
                <a:gd name="connsiteX183" fmla="*/ 4663524 w 11033748"/>
                <a:gd name="connsiteY183" fmla="*/ 2675370 h 3332876"/>
                <a:gd name="connsiteX184" fmla="*/ 4932468 w 11033748"/>
                <a:gd name="connsiteY184" fmla="*/ 2475225 h 3332876"/>
                <a:gd name="connsiteX185" fmla="*/ 5191249 w 11033748"/>
                <a:gd name="connsiteY185" fmla="*/ 2675370 h 3332876"/>
                <a:gd name="connsiteX186" fmla="*/ 4663524 w 11033748"/>
                <a:gd name="connsiteY186" fmla="*/ 2675370 h 3332876"/>
                <a:gd name="connsiteX187" fmla="*/ 4931687 w 11033748"/>
                <a:gd name="connsiteY187" fmla="*/ 3116313 h 3332876"/>
                <a:gd name="connsiteX188" fmla="*/ 4658833 w 11033748"/>
                <a:gd name="connsiteY188" fmla="*/ 2867696 h 3332876"/>
                <a:gd name="connsiteX189" fmla="*/ 5424230 w 11033748"/>
                <a:gd name="connsiteY189" fmla="*/ 2867696 h 3332876"/>
                <a:gd name="connsiteX190" fmla="*/ 5424230 w 11033748"/>
                <a:gd name="connsiteY190" fmla="*/ 2779351 h 3332876"/>
                <a:gd name="connsiteX191" fmla="*/ 4939505 w 11033748"/>
                <a:gd name="connsiteY191" fmla="*/ 2282117 h 3332876"/>
                <a:gd name="connsiteX192" fmla="*/ 4416471 w 11033748"/>
                <a:gd name="connsiteY192" fmla="*/ 2807497 h 3332876"/>
                <a:gd name="connsiteX193" fmla="*/ 4927778 w 11033748"/>
                <a:gd name="connsiteY193" fmla="*/ 3332876 h 3332876"/>
                <a:gd name="connsiteX194" fmla="*/ 5384357 w 11033748"/>
                <a:gd name="connsiteY194" fmla="*/ 3080350 h 3332876"/>
                <a:gd name="connsiteX195" fmla="*/ 5184213 w 11033748"/>
                <a:gd name="connsiteY195" fmla="*/ 2980278 h 3332876"/>
                <a:gd name="connsiteX196" fmla="*/ 4931687 w 11033748"/>
                <a:gd name="connsiteY196" fmla="*/ 3116313 h 3332876"/>
                <a:gd name="connsiteX197" fmla="*/ 6084081 w 11033748"/>
                <a:gd name="connsiteY197" fmla="*/ 3332094 h 3332876"/>
                <a:gd name="connsiteX198" fmla="*/ 6539098 w 11033748"/>
                <a:gd name="connsiteY198" fmla="*/ 3065495 h 3332876"/>
                <a:gd name="connsiteX199" fmla="*/ 6330353 w 11033748"/>
                <a:gd name="connsiteY199" fmla="*/ 2951350 h 3332876"/>
                <a:gd name="connsiteX200" fmla="*/ 6081736 w 11033748"/>
                <a:gd name="connsiteY200" fmla="*/ 3095986 h 3332876"/>
                <a:gd name="connsiteX201" fmla="*/ 5817483 w 11033748"/>
                <a:gd name="connsiteY201" fmla="*/ 2807497 h 3332876"/>
                <a:gd name="connsiteX202" fmla="*/ 6081736 w 11033748"/>
                <a:gd name="connsiteY202" fmla="*/ 2519007 h 3332876"/>
                <a:gd name="connsiteX203" fmla="*/ 6312372 w 11033748"/>
                <a:gd name="connsiteY203" fmla="*/ 2655043 h 3332876"/>
                <a:gd name="connsiteX204" fmla="*/ 6528934 w 11033748"/>
                <a:gd name="connsiteY204" fmla="*/ 2530734 h 3332876"/>
                <a:gd name="connsiteX205" fmla="*/ 6084081 w 11033748"/>
                <a:gd name="connsiteY205" fmla="*/ 2282117 h 3332876"/>
                <a:gd name="connsiteX206" fmla="*/ 5561047 w 11033748"/>
                <a:gd name="connsiteY206" fmla="*/ 2807497 h 3332876"/>
                <a:gd name="connsiteX207" fmla="*/ 6084081 w 11033748"/>
                <a:gd name="connsiteY207" fmla="*/ 3332094 h 333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1033748" h="3332876">
                  <a:moveTo>
                    <a:pt x="8186381" y="869378"/>
                  </a:moveTo>
                  <a:lnTo>
                    <a:pt x="8655469" y="1402575"/>
                  </a:lnTo>
                  <a:lnTo>
                    <a:pt x="8350562" y="1402575"/>
                  </a:lnTo>
                  <a:lnTo>
                    <a:pt x="7987800" y="991341"/>
                  </a:lnTo>
                  <a:lnTo>
                    <a:pt x="7987800" y="1402575"/>
                  </a:lnTo>
                  <a:lnTo>
                    <a:pt x="7735274" y="1402575"/>
                  </a:lnTo>
                  <a:lnTo>
                    <a:pt x="7735274" y="408889"/>
                  </a:lnTo>
                  <a:lnTo>
                    <a:pt x="7987800" y="408889"/>
                  </a:lnTo>
                  <a:lnTo>
                    <a:pt x="7987800" y="769306"/>
                  </a:lnTo>
                  <a:lnTo>
                    <a:pt x="8344307" y="408889"/>
                  </a:lnTo>
                  <a:lnTo>
                    <a:pt x="8642960" y="408889"/>
                  </a:lnTo>
                  <a:lnTo>
                    <a:pt x="8186381" y="869378"/>
                  </a:lnTo>
                  <a:close/>
                  <a:moveTo>
                    <a:pt x="629361" y="677052"/>
                  </a:moveTo>
                  <a:cubicBezTo>
                    <a:pt x="813869" y="677052"/>
                    <a:pt x="898305" y="588706"/>
                    <a:pt x="898305" y="456580"/>
                  </a:cubicBezTo>
                  <a:cubicBezTo>
                    <a:pt x="898305" y="324453"/>
                    <a:pt x="813869" y="236108"/>
                    <a:pt x="629361" y="236108"/>
                  </a:cubicBezTo>
                  <a:lnTo>
                    <a:pt x="264253" y="236108"/>
                  </a:lnTo>
                  <a:lnTo>
                    <a:pt x="264253" y="677052"/>
                  </a:lnTo>
                  <a:lnTo>
                    <a:pt x="629361" y="677052"/>
                  </a:lnTo>
                  <a:moveTo>
                    <a:pt x="637179" y="0"/>
                  </a:moveTo>
                  <a:cubicBezTo>
                    <a:pt x="953814" y="0"/>
                    <a:pt x="1162558" y="162617"/>
                    <a:pt x="1162558" y="456580"/>
                  </a:cubicBezTo>
                  <a:cubicBezTo>
                    <a:pt x="1162558" y="751324"/>
                    <a:pt x="953814" y="913941"/>
                    <a:pt x="637179" y="913941"/>
                  </a:cubicBezTo>
                  <a:lnTo>
                    <a:pt x="264253" y="913941"/>
                  </a:lnTo>
                  <a:lnTo>
                    <a:pt x="264253" y="1403357"/>
                  </a:lnTo>
                  <a:lnTo>
                    <a:pt x="0" y="1403357"/>
                  </a:lnTo>
                  <a:lnTo>
                    <a:pt x="0" y="0"/>
                  </a:lnTo>
                  <a:lnTo>
                    <a:pt x="637179" y="0"/>
                  </a:lnTo>
                  <a:moveTo>
                    <a:pt x="1759083" y="1194613"/>
                  </a:moveTo>
                  <a:cubicBezTo>
                    <a:pt x="1907628" y="1194613"/>
                    <a:pt x="2046009" y="1088286"/>
                    <a:pt x="2046009" y="906123"/>
                  </a:cubicBezTo>
                  <a:cubicBezTo>
                    <a:pt x="2046009" y="723960"/>
                    <a:pt x="1907628" y="617634"/>
                    <a:pt x="1759083" y="617634"/>
                  </a:cubicBezTo>
                  <a:cubicBezTo>
                    <a:pt x="1610538" y="617634"/>
                    <a:pt x="1472157" y="723960"/>
                    <a:pt x="1472157" y="906123"/>
                  </a:cubicBezTo>
                  <a:cubicBezTo>
                    <a:pt x="1472939" y="1088286"/>
                    <a:pt x="1611320" y="1194613"/>
                    <a:pt x="1759083" y="1194613"/>
                  </a:cubicBezTo>
                  <a:moveTo>
                    <a:pt x="1759083" y="380744"/>
                  </a:moveTo>
                  <a:cubicBezTo>
                    <a:pt x="2031936" y="380744"/>
                    <a:pt x="2302444" y="557434"/>
                    <a:pt x="2302444" y="906123"/>
                  </a:cubicBezTo>
                  <a:cubicBezTo>
                    <a:pt x="2302444" y="1254813"/>
                    <a:pt x="2031936" y="1431503"/>
                    <a:pt x="1759083" y="1431503"/>
                  </a:cubicBezTo>
                  <a:cubicBezTo>
                    <a:pt x="1486230" y="1431503"/>
                    <a:pt x="1215722" y="1254813"/>
                    <a:pt x="1215722" y="906123"/>
                  </a:cubicBezTo>
                  <a:cubicBezTo>
                    <a:pt x="1216504" y="556652"/>
                    <a:pt x="1487011" y="380744"/>
                    <a:pt x="1759083" y="380744"/>
                  </a:cubicBezTo>
                  <a:moveTo>
                    <a:pt x="2947441" y="1194613"/>
                  </a:moveTo>
                  <a:cubicBezTo>
                    <a:pt x="2794988" y="1194613"/>
                    <a:pt x="2683188" y="1084377"/>
                    <a:pt x="2683188" y="906123"/>
                  </a:cubicBezTo>
                  <a:cubicBezTo>
                    <a:pt x="2683188" y="729433"/>
                    <a:pt x="2799678" y="617634"/>
                    <a:pt x="2947441" y="617634"/>
                  </a:cubicBezTo>
                  <a:cubicBezTo>
                    <a:pt x="3037350" y="617634"/>
                    <a:pt x="3115531" y="659852"/>
                    <a:pt x="3178077" y="753669"/>
                  </a:cubicBezTo>
                  <a:lnTo>
                    <a:pt x="3394639" y="629361"/>
                  </a:lnTo>
                  <a:cubicBezTo>
                    <a:pt x="3322712" y="475343"/>
                    <a:pt x="3166349" y="380744"/>
                    <a:pt x="2949787" y="380744"/>
                  </a:cubicBezTo>
                  <a:cubicBezTo>
                    <a:pt x="2667551" y="380744"/>
                    <a:pt x="2426753" y="589488"/>
                    <a:pt x="2426753" y="906123"/>
                  </a:cubicBezTo>
                  <a:cubicBezTo>
                    <a:pt x="2426753" y="1222758"/>
                    <a:pt x="2655043" y="1431503"/>
                    <a:pt x="2949787" y="1431503"/>
                  </a:cubicBezTo>
                  <a:cubicBezTo>
                    <a:pt x="3162440" y="1431503"/>
                    <a:pt x="3304730" y="1335340"/>
                    <a:pt x="3404803" y="1164904"/>
                  </a:cubicBezTo>
                  <a:lnTo>
                    <a:pt x="3196058" y="1050759"/>
                  </a:lnTo>
                  <a:cubicBezTo>
                    <a:pt x="3135858" y="1134413"/>
                    <a:pt x="3071750" y="1194613"/>
                    <a:pt x="2947441" y="1194613"/>
                  </a:cubicBezTo>
                  <a:moveTo>
                    <a:pt x="5636102" y="971796"/>
                  </a:moveTo>
                  <a:cubicBezTo>
                    <a:pt x="5624375" y="1124250"/>
                    <a:pt x="5593884" y="1157868"/>
                    <a:pt x="5541502" y="1157868"/>
                  </a:cubicBezTo>
                  <a:cubicBezTo>
                    <a:pt x="5505538" y="1157868"/>
                    <a:pt x="5489120" y="1153959"/>
                    <a:pt x="5464884" y="1147704"/>
                  </a:cubicBezTo>
                  <a:lnTo>
                    <a:pt x="5466448" y="1404921"/>
                  </a:lnTo>
                  <a:cubicBezTo>
                    <a:pt x="5466448" y="1404921"/>
                    <a:pt x="5497720" y="1414303"/>
                    <a:pt x="5556356" y="1414303"/>
                  </a:cubicBezTo>
                  <a:cubicBezTo>
                    <a:pt x="5770574" y="1414303"/>
                    <a:pt x="5851101" y="1275922"/>
                    <a:pt x="5870646" y="981177"/>
                  </a:cubicBezTo>
                  <a:lnTo>
                    <a:pt x="5894882" y="634052"/>
                  </a:lnTo>
                  <a:lnTo>
                    <a:pt x="6179463" y="634052"/>
                  </a:lnTo>
                  <a:lnTo>
                    <a:pt x="6179463" y="1399448"/>
                  </a:lnTo>
                  <a:lnTo>
                    <a:pt x="6431989" y="1399448"/>
                  </a:lnTo>
                  <a:lnTo>
                    <a:pt x="6431989" y="408889"/>
                  </a:lnTo>
                  <a:lnTo>
                    <a:pt x="5678319" y="408889"/>
                  </a:lnTo>
                  <a:lnTo>
                    <a:pt x="5636102" y="971796"/>
                  </a:lnTo>
                  <a:close/>
                  <a:moveTo>
                    <a:pt x="5170922" y="773215"/>
                  </a:moveTo>
                  <a:cubicBezTo>
                    <a:pt x="5146686" y="648906"/>
                    <a:pt x="5052868" y="573070"/>
                    <a:pt x="4912141" y="573070"/>
                  </a:cubicBezTo>
                  <a:cubicBezTo>
                    <a:pt x="4780015" y="573070"/>
                    <a:pt x="4679942" y="661415"/>
                    <a:pt x="4643197" y="773215"/>
                  </a:cubicBezTo>
                  <a:lnTo>
                    <a:pt x="5170922" y="773215"/>
                  </a:lnTo>
                  <a:close/>
                  <a:moveTo>
                    <a:pt x="4919960" y="380744"/>
                  </a:moveTo>
                  <a:cubicBezTo>
                    <a:pt x="5204540" y="380744"/>
                    <a:pt x="5404684" y="587143"/>
                    <a:pt x="5404684" y="877978"/>
                  </a:cubicBezTo>
                  <a:lnTo>
                    <a:pt x="5404684" y="966323"/>
                  </a:lnTo>
                  <a:lnTo>
                    <a:pt x="4639288" y="966323"/>
                  </a:lnTo>
                  <a:cubicBezTo>
                    <a:pt x="4654924" y="1118777"/>
                    <a:pt x="4763597" y="1214940"/>
                    <a:pt x="4912141" y="1214940"/>
                  </a:cubicBezTo>
                  <a:cubicBezTo>
                    <a:pt x="5046614" y="1214940"/>
                    <a:pt x="5102904" y="1157086"/>
                    <a:pt x="5164667" y="1078904"/>
                  </a:cubicBezTo>
                  <a:lnTo>
                    <a:pt x="5364812" y="1178977"/>
                  </a:lnTo>
                  <a:cubicBezTo>
                    <a:pt x="5264740" y="1349412"/>
                    <a:pt x="5126358" y="1431503"/>
                    <a:pt x="4907450" y="1431503"/>
                  </a:cubicBezTo>
                  <a:cubicBezTo>
                    <a:pt x="4630688" y="1431503"/>
                    <a:pt x="4396144" y="1221195"/>
                    <a:pt x="4396144" y="906123"/>
                  </a:cubicBezTo>
                  <a:cubicBezTo>
                    <a:pt x="4396144" y="591052"/>
                    <a:pt x="4631470" y="380744"/>
                    <a:pt x="4919960" y="380744"/>
                  </a:cubicBezTo>
                  <a:moveTo>
                    <a:pt x="7346712" y="773215"/>
                  </a:moveTo>
                  <a:cubicBezTo>
                    <a:pt x="7322476" y="648906"/>
                    <a:pt x="7228658" y="573070"/>
                    <a:pt x="7087931" y="573070"/>
                  </a:cubicBezTo>
                  <a:cubicBezTo>
                    <a:pt x="6955804" y="573070"/>
                    <a:pt x="6855733" y="661415"/>
                    <a:pt x="6818987" y="773215"/>
                  </a:cubicBezTo>
                  <a:lnTo>
                    <a:pt x="7346712" y="773215"/>
                  </a:lnTo>
                  <a:close/>
                  <a:moveTo>
                    <a:pt x="7096531" y="380744"/>
                  </a:moveTo>
                  <a:cubicBezTo>
                    <a:pt x="7381112" y="380744"/>
                    <a:pt x="7581256" y="587143"/>
                    <a:pt x="7581256" y="877978"/>
                  </a:cubicBezTo>
                  <a:lnTo>
                    <a:pt x="7581256" y="966323"/>
                  </a:lnTo>
                  <a:lnTo>
                    <a:pt x="6815859" y="966323"/>
                  </a:lnTo>
                  <a:cubicBezTo>
                    <a:pt x="6831496" y="1118777"/>
                    <a:pt x="6940168" y="1214940"/>
                    <a:pt x="7088713" y="1214940"/>
                  </a:cubicBezTo>
                  <a:cubicBezTo>
                    <a:pt x="7223186" y="1214940"/>
                    <a:pt x="7279476" y="1157086"/>
                    <a:pt x="7341239" y="1078904"/>
                  </a:cubicBezTo>
                  <a:lnTo>
                    <a:pt x="7541384" y="1178977"/>
                  </a:lnTo>
                  <a:cubicBezTo>
                    <a:pt x="7441311" y="1349412"/>
                    <a:pt x="7302930" y="1431503"/>
                    <a:pt x="7084022" y="1431503"/>
                  </a:cubicBezTo>
                  <a:cubicBezTo>
                    <a:pt x="6807260" y="1431503"/>
                    <a:pt x="6572715" y="1221195"/>
                    <a:pt x="6572715" y="906123"/>
                  </a:cubicBezTo>
                  <a:cubicBezTo>
                    <a:pt x="6572715" y="591052"/>
                    <a:pt x="6808041" y="380744"/>
                    <a:pt x="7096531" y="380744"/>
                  </a:cubicBezTo>
                  <a:moveTo>
                    <a:pt x="3482984" y="629361"/>
                  </a:moveTo>
                  <a:lnTo>
                    <a:pt x="3779292" y="629361"/>
                  </a:lnTo>
                  <a:lnTo>
                    <a:pt x="3779292" y="1403357"/>
                  </a:lnTo>
                  <a:lnTo>
                    <a:pt x="4031818" y="1403357"/>
                  </a:lnTo>
                  <a:lnTo>
                    <a:pt x="4031818" y="629361"/>
                  </a:lnTo>
                  <a:lnTo>
                    <a:pt x="4328126" y="629361"/>
                  </a:lnTo>
                  <a:lnTo>
                    <a:pt x="4328126" y="408889"/>
                  </a:lnTo>
                  <a:lnTo>
                    <a:pt x="3482984" y="408889"/>
                  </a:lnTo>
                  <a:lnTo>
                    <a:pt x="3482984" y="629361"/>
                  </a:lnTo>
                  <a:close/>
                  <a:moveTo>
                    <a:pt x="9156612" y="1194613"/>
                  </a:moveTo>
                  <a:cubicBezTo>
                    <a:pt x="9305157" y="1194613"/>
                    <a:pt x="9443539" y="1088286"/>
                    <a:pt x="9443539" y="906123"/>
                  </a:cubicBezTo>
                  <a:cubicBezTo>
                    <a:pt x="9443539" y="723960"/>
                    <a:pt x="9305157" y="617634"/>
                    <a:pt x="9156612" y="617634"/>
                  </a:cubicBezTo>
                  <a:cubicBezTo>
                    <a:pt x="9008067" y="617634"/>
                    <a:pt x="8869687" y="723960"/>
                    <a:pt x="8869687" y="906123"/>
                  </a:cubicBezTo>
                  <a:cubicBezTo>
                    <a:pt x="8869687" y="1088286"/>
                    <a:pt x="9008067" y="1194613"/>
                    <a:pt x="9156612" y="1194613"/>
                  </a:cubicBezTo>
                  <a:moveTo>
                    <a:pt x="9156612" y="380744"/>
                  </a:moveTo>
                  <a:cubicBezTo>
                    <a:pt x="9429466" y="380744"/>
                    <a:pt x="9699973" y="557434"/>
                    <a:pt x="9699973" y="906123"/>
                  </a:cubicBezTo>
                  <a:cubicBezTo>
                    <a:pt x="9699973" y="1254813"/>
                    <a:pt x="9429466" y="1431503"/>
                    <a:pt x="9156612" y="1431503"/>
                  </a:cubicBezTo>
                  <a:cubicBezTo>
                    <a:pt x="8883759" y="1431503"/>
                    <a:pt x="8613251" y="1254813"/>
                    <a:pt x="8613251" y="906123"/>
                  </a:cubicBezTo>
                  <a:cubicBezTo>
                    <a:pt x="8613251" y="557434"/>
                    <a:pt x="8883759" y="380744"/>
                    <a:pt x="9156612" y="380744"/>
                  </a:cubicBezTo>
                  <a:moveTo>
                    <a:pt x="10704605" y="408889"/>
                  </a:moveTo>
                  <a:lnTo>
                    <a:pt x="10430188" y="1105486"/>
                  </a:lnTo>
                  <a:lnTo>
                    <a:pt x="10155772" y="408889"/>
                  </a:lnTo>
                  <a:lnTo>
                    <a:pt x="9825845" y="408889"/>
                  </a:lnTo>
                  <a:lnTo>
                    <a:pt x="9825845" y="1401012"/>
                  </a:lnTo>
                  <a:lnTo>
                    <a:pt x="10065863" y="1401012"/>
                  </a:lnTo>
                  <a:lnTo>
                    <a:pt x="10065863" y="772433"/>
                  </a:lnTo>
                  <a:lnTo>
                    <a:pt x="10331680" y="1401012"/>
                  </a:lnTo>
                  <a:lnTo>
                    <a:pt x="10527915" y="1401012"/>
                  </a:lnTo>
                  <a:lnTo>
                    <a:pt x="10793732" y="772433"/>
                  </a:lnTo>
                  <a:lnTo>
                    <a:pt x="10793732" y="1401012"/>
                  </a:lnTo>
                  <a:lnTo>
                    <a:pt x="11033749" y="1401012"/>
                  </a:lnTo>
                  <a:lnTo>
                    <a:pt x="11033749" y="408889"/>
                  </a:lnTo>
                  <a:lnTo>
                    <a:pt x="10704605" y="408889"/>
                  </a:lnTo>
                  <a:close/>
                  <a:moveTo>
                    <a:pt x="264253" y="3067841"/>
                  </a:moveTo>
                  <a:lnTo>
                    <a:pt x="264253" y="2666770"/>
                  </a:lnTo>
                  <a:lnTo>
                    <a:pt x="570725" y="2666770"/>
                  </a:lnTo>
                  <a:cubicBezTo>
                    <a:pt x="741160" y="2666770"/>
                    <a:pt x="819342" y="2742606"/>
                    <a:pt x="819342" y="2866915"/>
                  </a:cubicBezTo>
                  <a:cubicBezTo>
                    <a:pt x="819342" y="2991223"/>
                    <a:pt x="741160" y="3067059"/>
                    <a:pt x="570725" y="3067059"/>
                  </a:cubicBezTo>
                  <a:lnTo>
                    <a:pt x="264253" y="3067059"/>
                  </a:lnTo>
                  <a:close/>
                  <a:moveTo>
                    <a:pt x="0" y="3304731"/>
                  </a:moveTo>
                  <a:lnTo>
                    <a:pt x="591052" y="3304731"/>
                  </a:lnTo>
                  <a:cubicBezTo>
                    <a:pt x="877978" y="3304731"/>
                    <a:pt x="1084377" y="3142113"/>
                    <a:pt x="1084377" y="2867696"/>
                  </a:cubicBezTo>
                  <a:cubicBezTo>
                    <a:pt x="1084377" y="2593279"/>
                    <a:pt x="877978" y="2434571"/>
                    <a:pt x="591052" y="2434571"/>
                  </a:cubicBezTo>
                  <a:lnTo>
                    <a:pt x="264253" y="2434571"/>
                  </a:lnTo>
                  <a:lnTo>
                    <a:pt x="264253" y="2133572"/>
                  </a:lnTo>
                  <a:lnTo>
                    <a:pt x="983523" y="2133572"/>
                  </a:lnTo>
                  <a:lnTo>
                    <a:pt x="983523" y="1901373"/>
                  </a:lnTo>
                  <a:lnTo>
                    <a:pt x="0" y="1901373"/>
                  </a:lnTo>
                  <a:lnTo>
                    <a:pt x="0" y="3304731"/>
                  </a:lnTo>
                  <a:close/>
                  <a:moveTo>
                    <a:pt x="1243085" y="3304731"/>
                  </a:moveTo>
                  <a:lnTo>
                    <a:pt x="1503430" y="3304731"/>
                  </a:lnTo>
                  <a:lnTo>
                    <a:pt x="1936555" y="2649570"/>
                  </a:lnTo>
                  <a:lnTo>
                    <a:pt x="1936555" y="3304731"/>
                  </a:lnTo>
                  <a:lnTo>
                    <a:pt x="2177354" y="3304731"/>
                  </a:lnTo>
                  <a:lnTo>
                    <a:pt x="2177354" y="2310262"/>
                  </a:lnTo>
                  <a:lnTo>
                    <a:pt x="1917009" y="2310262"/>
                  </a:lnTo>
                  <a:lnTo>
                    <a:pt x="1483884" y="2965423"/>
                  </a:lnTo>
                  <a:lnTo>
                    <a:pt x="1483884" y="2310262"/>
                  </a:lnTo>
                  <a:lnTo>
                    <a:pt x="1243085" y="2310262"/>
                  </a:lnTo>
                  <a:lnTo>
                    <a:pt x="1243085" y="3304731"/>
                  </a:lnTo>
                  <a:close/>
                  <a:moveTo>
                    <a:pt x="3183549" y="3015459"/>
                  </a:moveTo>
                  <a:cubicBezTo>
                    <a:pt x="3183549" y="2888805"/>
                    <a:pt x="3097549" y="2812969"/>
                    <a:pt x="2974805" y="2778569"/>
                  </a:cubicBezTo>
                  <a:cubicBezTo>
                    <a:pt x="3077222" y="2738697"/>
                    <a:pt x="3142895" y="2665988"/>
                    <a:pt x="3142895" y="2547934"/>
                  </a:cubicBezTo>
                  <a:cubicBezTo>
                    <a:pt x="3142895" y="2395480"/>
                    <a:pt x="3030314" y="2281335"/>
                    <a:pt x="2772315" y="2281335"/>
                  </a:cubicBezTo>
                  <a:cubicBezTo>
                    <a:pt x="2519789" y="2281335"/>
                    <a:pt x="2377498" y="2413462"/>
                    <a:pt x="2377498" y="2572170"/>
                  </a:cubicBezTo>
                  <a:cubicBezTo>
                    <a:pt x="2377498" y="2610479"/>
                    <a:pt x="2385316" y="2640188"/>
                    <a:pt x="2397825" y="2672243"/>
                  </a:cubicBezTo>
                  <a:lnTo>
                    <a:pt x="2612043" y="2600316"/>
                  </a:lnTo>
                  <a:cubicBezTo>
                    <a:pt x="2608134" y="2590152"/>
                    <a:pt x="2605788" y="2579989"/>
                    <a:pt x="2605788" y="2564352"/>
                  </a:cubicBezTo>
                  <a:cubicBezTo>
                    <a:pt x="2605788" y="2515880"/>
                    <a:pt x="2669897" y="2478353"/>
                    <a:pt x="2769969" y="2478353"/>
                  </a:cubicBezTo>
                  <a:cubicBezTo>
                    <a:pt x="2863787" y="2478353"/>
                    <a:pt x="2908351" y="2518225"/>
                    <a:pt x="2908351" y="2578425"/>
                  </a:cubicBezTo>
                  <a:cubicBezTo>
                    <a:pt x="2908351" y="2642534"/>
                    <a:pt x="2862223" y="2686315"/>
                    <a:pt x="2754333" y="2686315"/>
                  </a:cubicBezTo>
                  <a:lnTo>
                    <a:pt x="2678497" y="2686315"/>
                  </a:lnTo>
                  <a:lnTo>
                    <a:pt x="2678497" y="2886460"/>
                  </a:lnTo>
                  <a:lnTo>
                    <a:pt x="2760587" y="2886460"/>
                  </a:lnTo>
                  <a:cubicBezTo>
                    <a:pt x="2873169" y="2886460"/>
                    <a:pt x="2938841" y="2930242"/>
                    <a:pt x="2938841" y="3004514"/>
                  </a:cubicBezTo>
                  <a:cubicBezTo>
                    <a:pt x="2938841" y="3080350"/>
                    <a:pt x="2870823" y="3135077"/>
                    <a:pt x="2748079" y="3135077"/>
                  </a:cubicBezTo>
                  <a:cubicBezTo>
                    <a:pt x="2663642" y="3135077"/>
                    <a:pt x="2579988" y="3091295"/>
                    <a:pt x="2579988" y="3008423"/>
                  </a:cubicBezTo>
                  <a:cubicBezTo>
                    <a:pt x="2579988" y="2988096"/>
                    <a:pt x="2583898" y="2972460"/>
                    <a:pt x="2590152" y="2958387"/>
                  </a:cubicBezTo>
                  <a:lnTo>
                    <a:pt x="2377498" y="2890369"/>
                  </a:lnTo>
                  <a:cubicBezTo>
                    <a:pt x="2365771" y="2916169"/>
                    <a:pt x="2353262" y="2964641"/>
                    <a:pt x="2353262" y="3010768"/>
                  </a:cubicBezTo>
                  <a:cubicBezTo>
                    <a:pt x="2353262" y="3192931"/>
                    <a:pt x="2491643" y="3331312"/>
                    <a:pt x="2748079" y="3331312"/>
                  </a:cubicBezTo>
                  <a:cubicBezTo>
                    <a:pt x="3029532" y="3332094"/>
                    <a:pt x="3183549" y="3203877"/>
                    <a:pt x="3183549" y="3015459"/>
                  </a:cubicBezTo>
                  <a:moveTo>
                    <a:pt x="3354767" y="3304731"/>
                  </a:moveTo>
                  <a:lnTo>
                    <a:pt x="3607293" y="3304731"/>
                  </a:lnTo>
                  <a:lnTo>
                    <a:pt x="3607293" y="2902096"/>
                  </a:lnTo>
                  <a:lnTo>
                    <a:pt x="4020091" y="2902096"/>
                  </a:lnTo>
                  <a:lnTo>
                    <a:pt x="4020091" y="3304731"/>
                  </a:lnTo>
                  <a:lnTo>
                    <a:pt x="4272617" y="3304731"/>
                  </a:lnTo>
                  <a:lnTo>
                    <a:pt x="4272617" y="2310262"/>
                  </a:lnTo>
                  <a:lnTo>
                    <a:pt x="4020091" y="2310262"/>
                  </a:lnTo>
                  <a:lnTo>
                    <a:pt x="4020091" y="2680843"/>
                  </a:lnTo>
                  <a:lnTo>
                    <a:pt x="3607293" y="2680843"/>
                  </a:lnTo>
                  <a:lnTo>
                    <a:pt x="3607293" y="2310262"/>
                  </a:lnTo>
                  <a:lnTo>
                    <a:pt x="3354767" y="2310262"/>
                  </a:lnTo>
                  <a:lnTo>
                    <a:pt x="3354767" y="3304731"/>
                  </a:lnTo>
                  <a:close/>
                  <a:moveTo>
                    <a:pt x="4663524" y="2675370"/>
                  </a:moveTo>
                  <a:cubicBezTo>
                    <a:pt x="4699488" y="2562789"/>
                    <a:pt x="4799560" y="2475225"/>
                    <a:pt x="4932468" y="2475225"/>
                  </a:cubicBezTo>
                  <a:cubicBezTo>
                    <a:pt x="5072413" y="2475225"/>
                    <a:pt x="5167013" y="2551062"/>
                    <a:pt x="5191249" y="2675370"/>
                  </a:cubicBezTo>
                  <a:lnTo>
                    <a:pt x="4663524" y="2675370"/>
                  </a:lnTo>
                  <a:moveTo>
                    <a:pt x="4931687" y="3116313"/>
                  </a:moveTo>
                  <a:cubicBezTo>
                    <a:pt x="4783142" y="3116313"/>
                    <a:pt x="4675252" y="3020150"/>
                    <a:pt x="4658833" y="2867696"/>
                  </a:cubicBezTo>
                  <a:lnTo>
                    <a:pt x="5424230" y="2867696"/>
                  </a:lnTo>
                  <a:lnTo>
                    <a:pt x="5424230" y="2779351"/>
                  </a:lnTo>
                  <a:cubicBezTo>
                    <a:pt x="5424230" y="2488516"/>
                    <a:pt x="5224085" y="2282117"/>
                    <a:pt x="4939505" y="2282117"/>
                  </a:cubicBezTo>
                  <a:cubicBezTo>
                    <a:pt x="4651015" y="2282117"/>
                    <a:pt x="4416471" y="2492425"/>
                    <a:pt x="4416471" y="2807497"/>
                  </a:cubicBezTo>
                  <a:cubicBezTo>
                    <a:pt x="4416471" y="3122568"/>
                    <a:pt x="4651015" y="3332876"/>
                    <a:pt x="4927778" y="3332876"/>
                  </a:cubicBezTo>
                  <a:cubicBezTo>
                    <a:pt x="5145904" y="3332876"/>
                    <a:pt x="5284285" y="3250786"/>
                    <a:pt x="5384357" y="3080350"/>
                  </a:cubicBezTo>
                  <a:lnTo>
                    <a:pt x="5184213" y="2980278"/>
                  </a:lnTo>
                  <a:cubicBezTo>
                    <a:pt x="5122449" y="3057677"/>
                    <a:pt x="5066159" y="3116313"/>
                    <a:pt x="4931687" y="3116313"/>
                  </a:cubicBezTo>
                  <a:moveTo>
                    <a:pt x="6084081" y="3332094"/>
                  </a:moveTo>
                  <a:cubicBezTo>
                    <a:pt x="6296735" y="3332094"/>
                    <a:pt x="6439025" y="3235931"/>
                    <a:pt x="6539098" y="3065495"/>
                  </a:cubicBezTo>
                  <a:lnTo>
                    <a:pt x="6330353" y="2951350"/>
                  </a:lnTo>
                  <a:cubicBezTo>
                    <a:pt x="6270153" y="3035787"/>
                    <a:pt x="6206044" y="3095986"/>
                    <a:pt x="6081736" y="3095986"/>
                  </a:cubicBezTo>
                  <a:cubicBezTo>
                    <a:pt x="5929282" y="3095986"/>
                    <a:pt x="5817483" y="2985750"/>
                    <a:pt x="5817483" y="2807497"/>
                  </a:cubicBezTo>
                  <a:cubicBezTo>
                    <a:pt x="5817483" y="2630806"/>
                    <a:pt x="5933973" y="2519007"/>
                    <a:pt x="6081736" y="2519007"/>
                  </a:cubicBezTo>
                  <a:cubicBezTo>
                    <a:pt x="6171645" y="2519007"/>
                    <a:pt x="6249826" y="2561225"/>
                    <a:pt x="6312372" y="2655043"/>
                  </a:cubicBezTo>
                  <a:lnTo>
                    <a:pt x="6528934" y="2530734"/>
                  </a:lnTo>
                  <a:cubicBezTo>
                    <a:pt x="6457007" y="2376717"/>
                    <a:pt x="6300644" y="2282117"/>
                    <a:pt x="6084081" y="2282117"/>
                  </a:cubicBezTo>
                  <a:cubicBezTo>
                    <a:pt x="5801846" y="2282117"/>
                    <a:pt x="5561047" y="2490862"/>
                    <a:pt x="5561047" y="2807497"/>
                  </a:cubicBezTo>
                  <a:cubicBezTo>
                    <a:pt x="5561047" y="3124132"/>
                    <a:pt x="5789337" y="3332094"/>
                    <a:pt x="6084081" y="3332094"/>
                  </a:cubicBezTo>
                </a:path>
              </a:pathLst>
            </a:custGeom>
            <a:solidFill>
              <a:srgbClr val="101828"/>
            </a:solidFill>
            <a:ln w="7818" cap="flat">
              <a:noFill/>
              <a:prstDash val="solid"/>
              <a:miter/>
            </a:ln>
          </p:spPr>
          <p:txBody>
            <a:bodyPr rtlCol="0" anchor="ctr"/>
            <a:lstStyle/>
            <a:p>
              <a:endParaRPr lang="ru-RU" sz="1587" dirty="0"/>
            </a:p>
          </p:txBody>
        </p:sp>
        <p:grpSp>
          <p:nvGrpSpPr>
            <p:cNvPr id="57" name="Рисунок 25">
              <a:extLst>
                <a:ext uri="{FF2B5EF4-FFF2-40B4-BE49-F238E27FC236}">
                  <a16:creationId xmlns:a16="http://schemas.microsoft.com/office/drawing/2014/main" id="{2CBFBC97-099D-48D7-A548-2E1588126AF1}"/>
                </a:ext>
              </a:extLst>
            </p:cNvPr>
            <p:cNvGrpSpPr/>
            <p:nvPr/>
          </p:nvGrpSpPr>
          <p:grpSpPr>
            <a:xfrm>
              <a:off x="-233" y="1916027"/>
              <a:ext cx="2345677" cy="3909073"/>
              <a:chOff x="-233" y="1916027"/>
              <a:chExt cx="2345677" cy="3909073"/>
            </a:xfrm>
          </p:grpSpPr>
          <p:sp>
            <p:nvSpPr>
              <p:cNvPr id="58" name="Полилиния: фигура 57">
                <a:extLst>
                  <a:ext uri="{FF2B5EF4-FFF2-40B4-BE49-F238E27FC236}">
                    <a16:creationId xmlns:a16="http://schemas.microsoft.com/office/drawing/2014/main" id="{6E737F15-A0FA-46CB-BB9A-A9C4A675DC48}"/>
                  </a:ext>
                </a:extLst>
              </p:cNvPr>
              <p:cNvSpPr/>
              <p:nvPr/>
            </p:nvSpPr>
            <p:spPr>
              <a:xfrm>
                <a:off x="88345" y="4800141"/>
                <a:ext cx="1777846" cy="1024959"/>
              </a:xfrm>
              <a:custGeom>
                <a:avLst/>
                <a:gdLst>
                  <a:gd name="connsiteX0" fmla="*/ 1777846 w 1777846"/>
                  <a:gd name="connsiteY0" fmla="*/ 1024959 h 1024959"/>
                  <a:gd name="connsiteX1" fmla="*/ 182945 w 1777846"/>
                  <a:gd name="connsiteY1" fmla="*/ 1024959 h 1024959"/>
                  <a:gd name="connsiteX2" fmla="*/ 0 w 1777846"/>
                  <a:gd name="connsiteY2" fmla="*/ 831851 h 1024959"/>
                  <a:gd name="connsiteX3" fmla="*/ 56291 w 1777846"/>
                  <a:gd name="connsiteY3" fmla="*/ 695815 h 1024959"/>
                  <a:gd name="connsiteX4" fmla="*/ 752106 w 1777846"/>
                  <a:gd name="connsiteY4" fmla="*/ 0 h 1024959"/>
                  <a:gd name="connsiteX5" fmla="*/ 1777846 w 1777846"/>
                  <a:gd name="connsiteY5" fmla="*/ 1024959 h 10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7846" h="1024959">
                    <a:moveTo>
                      <a:pt x="1777846" y="1024959"/>
                    </a:moveTo>
                    <a:lnTo>
                      <a:pt x="182945" y="1024959"/>
                    </a:lnTo>
                    <a:cubicBezTo>
                      <a:pt x="68018" y="1024959"/>
                      <a:pt x="0" y="921759"/>
                      <a:pt x="0" y="831851"/>
                    </a:cubicBezTo>
                    <a:cubicBezTo>
                      <a:pt x="0" y="778688"/>
                      <a:pt x="21891" y="730215"/>
                      <a:pt x="56291" y="695815"/>
                    </a:cubicBezTo>
                    <a:lnTo>
                      <a:pt x="752106" y="0"/>
                    </a:lnTo>
                    <a:lnTo>
                      <a:pt x="1777846" y="1024959"/>
                    </a:lnTo>
                    <a:close/>
                  </a:path>
                </a:pathLst>
              </a:custGeom>
              <a:solidFill>
                <a:srgbClr val="FF4F12"/>
              </a:solidFill>
              <a:ln w="7818" cap="flat">
                <a:noFill/>
                <a:prstDash val="solid"/>
                <a:miter/>
              </a:ln>
            </p:spPr>
            <p:txBody>
              <a:bodyPr rtlCol="0" anchor="ctr"/>
              <a:lstStyle/>
              <a:p>
                <a:endParaRPr lang="ru-RU" sz="1587" dirty="0"/>
              </a:p>
            </p:txBody>
          </p:sp>
          <p:sp>
            <p:nvSpPr>
              <p:cNvPr id="59" name="Полилиния: фигура 58">
                <a:extLst>
                  <a:ext uri="{FF2B5EF4-FFF2-40B4-BE49-F238E27FC236}">
                    <a16:creationId xmlns:a16="http://schemas.microsoft.com/office/drawing/2014/main" id="{D85DDBE5-1A41-4E75-985C-4E1BA093A308}"/>
                  </a:ext>
                </a:extLst>
              </p:cNvPr>
              <p:cNvSpPr/>
              <p:nvPr/>
            </p:nvSpPr>
            <p:spPr>
              <a:xfrm>
                <a:off x="-233" y="1916027"/>
                <a:ext cx="2345677" cy="3909073"/>
              </a:xfrm>
              <a:custGeom>
                <a:avLst/>
                <a:gdLst>
                  <a:gd name="connsiteX0" fmla="*/ 271523 w 2345677"/>
                  <a:gd name="connsiteY0" fmla="*/ 3909074 h 3909073"/>
                  <a:gd name="connsiteX1" fmla="*/ 234 w 2345677"/>
                  <a:gd name="connsiteY1" fmla="*/ 3621366 h 3909073"/>
                  <a:gd name="connsiteX2" fmla="*/ 234 w 2345677"/>
                  <a:gd name="connsiteY2" fmla="*/ 1476848 h 3909073"/>
                  <a:gd name="connsiteX3" fmla="*/ 192560 w 2345677"/>
                  <a:gd name="connsiteY3" fmla="*/ 776342 h 3909073"/>
                  <a:gd name="connsiteX4" fmla="*/ 968902 w 2345677"/>
                  <a:gd name="connsiteY4" fmla="*/ 0 h 3909073"/>
                  <a:gd name="connsiteX5" fmla="*/ 2345678 w 2345677"/>
                  <a:gd name="connsiteY5" fmla="*/ 1379121 h 3909073"/>
                  <a:gd name="connsiteX6" fmla="*/ 144869 w 2345677"/>
                  <a:gd name="connsiteY6" fmla="*/ 3579930 h 3909073"/>
                  <a:gd name="connsiteX7" fmla="*/ 88579 w 2345677"/>
                  <a:gd name="connsiteY7" fmla="*/ 3715965 h 3909073"/>
                  <a:gd name="connsiteX8" fmla="*/ 271523 w 2345677"/>
                  <a:gd name="connsiteY8" fmla="*/ 3909074 h 39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677" h="3909073">
                    <a:moveTo>
                      <a:pt x="271523" y="3909074"/>
                    </a:moveTo>
                    <a:cubicBezTo>
                      <a:pt x="151124" y="3909074"/>
                      <a:pt x="234" y="3812910"/>
                      <a:pt x="234" y="3621366"/>
                    </a:cubicBezTo>
                    <a:lnTo>
                      <a:pt x="234" y="1476848"/>
                    </a:lnTo>
                    <a:cubicBezTo>
                      <a:pt x="234" y="1186795"/>
                      <a:pt x="-14621" y="983523"/>
                      <a:pt x="192560" y="776342"/>
                    </a:cubicBezTo>
                    <a:lnTo>
                      <a:pt x="968902" y="0"/>
                    </a:lnTo>
                    <a:lnTo>
                      <a:pt x="2345678" y="1379121"/>
                    </a:lnTo>
                    <a:lnTo>
                      <a:pt x="144869" y="3579930"/>
                    </a:lnTo>
                    <a:cubicBezTo>
                      <a:pt x="109688" y="3615111"/>
                      <a:pt x="88579" y="3662802"/>
                      <a:pt x="88579" y="3715965"/>
                    </a:cubicBezTo>
                    <a:cubicBezTo>
                      <a:pt x="88579" y="3805874"/>
                      <a:pt x="156597" y="3909074"/>
                      <a:pt x="271523" y="3909074"/>
                    </a:cubicBezTo>
                    <a:close/>
                  </a:path>
                </a:pathLst>
              </a:custGeom>
              <a:solidFill>
                <a:srgbClr val="7B939B"/>
              </a:solidFill>
              <a:ln w="7818" cap="flat">
                <a:noFill/>
                <a:prstDash val="solid"/>
                <a:miter/>
              </a:ln>
            </p:spPr>
            <p:txBody>
              <a:bodyPr rtlCol="0" anchor="ctr"/>
              <a:lstStyle/>
              <a:p>
                <a:endParaRPr lang="ru-RU" sz="1587" dirty="0"/>
              </a:p>
            </p:txBody>
          </p:sp>
        </p:grpSp>
      </p:grpSp>
      <p:grpSp>
        <p:nvGrpSpPr>
          <p:cNvPr id="60" name="Рисунок 37">
            <a:extLst>
              <a:ext uri="{FF2B5EF4-FFF2-40B4-BE49-F238E27FC236}">
                <a16:creationId xmlns:a16="http://schemas.microsoft.com/office/drawing/2014/main" id="{7622CB69-07C1-4103-AA07-DA8BCD44BB92}"/>
              </a:ext>
            </a:extLst>
          </p:cNvPr>
          <p:cNvGrpSpPr/>
          <p:nvPr userDrawn="1"/>
        </p:nvGrpSpPr>
        <p:grpSpPr>
          <a:xfrm>
            <a:off x="8137797" y="3577890"/>
            <a:ext cx="4053600" cy="3281919"/>
            <a:chOff x="9231313" y="4054942"/>
            <a:chExt cx="4598303" cy="3719507"/>
          </a:xfrm>
        </p:grpSpPr>
        <p:sp>
          <p:nvSpPr>
            <p:cNvPr id="61" name="Полилиния: фигура 60">
              <a:extLst>
                <a:ext uri="{FF2B5EF4-FFF2-40B4-BE49-F238E27FC236}">
                  <a16:creationId xmlns:a16="http://schemas.microsoft.com/office/drawing/2014/main" id="{31508D30-69F6-4029-B29F-710B5E73C67A}"/>
                </a:ext>
              </a:extLst>
            </p:cNvPr>
            <p:cNvSpPr/>
            <p:nvPr/>
          </p:nvSpPr>
          <p:spPr>
            <a:xfrm>
              <a:off x="9231313" y="4279082"/>
              <a:ext cx="4598303" cy="3495367"/>
            </a:xfrm>
            <a:custGeom>
              <a:avLst/>
              <a:gdLst>
                <a:gd name="connsiteX0" fmla="*/ 4598304 w 4598303"/>
                <a:gd name="connsiteY0" fmla="*/ 0 h 3495367"/>
                <a:gd name="connsiteX1" fmla="*/ 3593087 w 4598303"/>
                <a:gd name="connsiteY1" fmla="*/ 1534818 h 3495367"/>
                <a:gd name="connsiteX2" fmla="*/ 2779893 w 4598303"/>
                <a:gd name="connsiteY2" fmla="*/ 2152572 h 3495367"/>
                <a:gd name="connsiteX3" fmla="*/ 2290610 w 4598303"/>
                <a:gd name="connsiteY3" fmla="*/ 2391064 h 3495367"/>
                <a:gd name="connsiteX4" fmla="*/ 0 w 4598303"/>
                <a:gd name="connsiteY4" fmla="*/ 3495367 h 3495367"/>
                <a:gd name="connsiteX5" fmla="*/ 0 w 4598303"/>
                <a:gd name="connsiteY5" fmla="*/ 3495367 h 3495367"/>
                <a:gd name="connsiteX6" fmla="*/ 4598304 w 4598303"/>
                <a:gd name="connsiteY6" fmla="*/ 3495367 h 3495367"/>
                <a:gd name="connsiteX7" fmla="*/ 4598304 w 4598303"/>
                <a:gd name="connsiteY7" fmla="*/ 0 h 349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8303" h="3495367">
                  <a:moveTo>
                    <a:pt x="4598304" y="0"/>
                  </a:moveTo>
                  <a:cubicBezTo>
                    <a:pt x="4307194" y="720941"/>
                    <a:pt x="3920415" y="1215008"/>
                    <a:pt x="3593087" y="1534818"/>
                  </a:cubicBezTo>
                  <a:cubicBezTo>
                    <a:pt x="3333411" y="1789027"/>
                    <a:pt x="3119521" y="1949615"/>
                    <a:pt x="2779893" y="2152572"/>
                  </a:cubicBezTo>
                  <a:cubicBezTo>
                    <a:pt x="2635705" y="2239359"/>
                    <a:pt x="2449149" y="2314528"/>
                    <a:pt x="2290610" y="2391064"/>
                  </a:cubicBezTo>
                  <a:lnTo>
                    <a:pt x="0" y="3495367"/>
                  </a:lnTo>
                  <a:lnTo>
                    <a:pt x="0" y="3495367"/>
                  </a:lnTo>
                  <a:lnTo>
                    <a:pt x="4598304" y="3495367"/>
                  </a:lnTo>
                  <a:lnTo>
                    <a:pt x="4598304" y="0"/>
                  </a:lnTo>
                  <a:close/>
                </a:path>
              </a:pathLst>
            </a:custGeom>
            <a:solidFill>
              <a:schemeClr val="tx2"/>
            </a:solidFill>
            <a:ln w="6822" cap="flat">
              <a:noFill/>
              <a:prstDash val="solid"/>
              <a:miter/>
            </a:ln>
          </p:spPr>
          <p:txBody>
            <a:bodyPr rtlCol="0" anchor="ctr"/>
            <a:lstStyle/>
            <a:p>
              <a:endParaRPr lang="ru-RU" sz="1587" dirty="0"/>
            </a:p>
          </p:txBody>
        </p:sp>
        <p:grpSp>
          <p:nvGrpSpPr>
            <p:cNvPr id="62" name="Рисунок 37">
              <a:extLst>
                <a:ext uri="{FF2B5EF4-FFF2-40B4-BE49-F238E27FC236}">
                  <a16:creationId xmlns:a16="http://schemas.microsoft.com/office/drawing/2014/main" id="{AECD9BF9-D0BB-435E-A15C-33F69DC0333F}"/>
                </a:ext>
              </a:extLst>
            </p:cNvPr>
            <p:cNvGrpSpPr/>
            <p:nvPr/>
          </p:nvGrpSpPr>
          <p:grpSpPr>
            <a:xfrm>
              <a:off x="11334683" y="6787000"/>
              <a:ext cx="2053485" cy="554201"/>
              <a:chOff x="11334683" y="6787000"/>
              <a:chExt cx="2053485" cy="554201"/>
            </a:xfrm>
            <a:solidFill>
              <a:srgbClr val="FFFFFF"/>
            </a:solidFill>
          </p:grpSpPr>
          <p:sp>
            <p:nvSpPr>
              <p:cNvPr id="64" name="Полилиния: фигура 63">
                <a:extLst>
                  <a:ext uri="{FF2B5EF4-FFF2-40B4-BE49-F238E27FC236}">
                    <a16:creationId xmlns:a16="http://schemas.microsoft.com/office/drawing/2014/main" id="{06695C92-F869-4A8C-906B-5BEACFF8F14B}"/>
                  </a:ext>
                </a:extLst>
              </p:cNvPr>
              <p:cNvSpPr/>
              <p:nvPr/>
            </p:nvSpPr>
            <p:spPr>
              <a:xfrm>
                <a:off x="11781598" y="6787000"/>
                <a:ext cx="162638" cy="211840"/>
              </a:xfrm>
              <a:custGeom>
                <a:avLst/>
                <a:gdLst>
                  <a:gd name="connsiteX0" fmla="*/ 64919 w 162638"/>
                  <a:gd name="connsiteY0" fmla="*/ 30068 h 211840"/>
                  <a:gd name="connsiteX1" fmla="*/ 0 w 162638"/>
                  <a:gd name="connsiteY1" fmla="*/ 30068 h 211840"/>
                  <a:gd name="connsiteX2" fmla="*/ 0 w 162638"/>
                  <a:gd name="connsiteY2" fmla="*/ 0 h 211840"/>
                  <a:gd name="connsiteX3" fmla="*/ 162639 w 162638"/>
                  <a:gd name="connsiteY3" fmla="*/ 0 h 211840"/>
                  <a:gd name="connsiteX4" fmla="*/ 162639 w 162638"/>
                  <a:gd name="connsiteY4" fmla="*/ 30068 h 211840"/>
                  <a:gd name="connsiteX5" fmla="*/ 97720 w 162638"/>
                  <a:gd name="connsiteY5" fmla="*/ 30068 h 211840"/>
                  <a:gd name="connsiteX6" fmla="*/ 97720 w 162638"/>
                  <a:gd name="connsiteY6" fmla="*/ 211840 h 211840"/>
                  <a:gd name="connsiteX7" fmla="*/ 64919 w 162638"/>
                  <a:gd name="connsiteY7" fmla="*/ 211840 h 211840"/>
                  <a:gd name="connsiteX8" fmla="*/ 64919 w 162638"/>
                  <a:gd name="connsiteY8" fmla="*/ 30068 h 21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38" h="211840">
                    <a:moveTo>
                      <a:pt x="64919" y="30068"/>
                    </a:moveTo>
                    <a:lnTo>
                      <a:pt x="0" y="30068"/>
                    </a:lnTo>
                    <a:lnTo>
                      <a:pt x="0" y="0"/>
                    </a:lnTo>
                    <a:lnTo>
                      <a:pt x="162639" y="0"/>
                    </a:lnTo>
                    <a:lnTo>
                      <a:pt x="162639" y="30068"/>
                    </a:lnTo>
                    <a:lnTo>
                      <a:pt x="97720" y="30068"/>
                    </a:lnTo>
                    <a:lnTo>
                      <a:pt x="97720" y="211840"/>
                    </a:lnTo>
                    <a:lnTo>
                      <a:pt x="64919" y="211840"/>
                    </a:lnTo>
                    <a:lnTo>
                      <a:pt x="64919" y="30068"/>
                    </a:lnTo>
                    <a:close/>
                  </a:path>
                </a:pathLst>
              </a:custGeom>
              <a:solidFill>
                <a:srgbClr val="FFFFFF"/>
              </a:solidFill>
              <a:ln w="6822" cap="flat">
                <a:noFill/>
                <a:prstDash val="solid"/>
                <a:miter/>
              </a:ln>
            </p:spPr>
            <p:txBody>
              <a:bodyPr rtlCol="0" anchor="ctr"/>
              <a:lstStyle/>
              <a:p>
                <a:endParaRPr lang="ru-RU" sz="1587" dirty="0"/>
              </a:p>
            </p:txBody>
          </p:sp>
          <p:sp>
            <p:nvSpPr>
              <p:cNvPr id="65" name="Полилиния: фигура 64">
                <a:extLst>
                  <a:ext uri="{FF2B5EF4-FFF2-40B4-BE49-F238E27FC236}">
                    <a16:creationId xmlns:a16="http://schemas.microsoft.com/office/drawing/2014/main" id="{2AC4332D-8532-4AD4-AE69-60D2B4DA83B9}"/>
                  </a:ext>
                </a:extLst>
              </p:cNvPr>
              <p:cNvSpPr/>
              <p:nvPr/>
            </p:nvSpPr>
            <p:spPr>
              <a:xfrm>
                <a:off x="11933303" y="6844402"/>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3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8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3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3"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8" y="86103"/>
                    </a:lnTo>
                    <a:cubicBezTo>
                      <a:pt x="32118" y="112754"/>
                      <a:pt x="49885" y="131204"/>
                      <a:pt x="76536" y="131204"/>
                    </a:cubicBezTo>
                    <a:close/>
                    <a:moveTo>
                      <a:pt x="30751" y="61502"/>
                    </a:moveTo>
                    <a:lnTo>
                      <a:pt x="119587" y="61502"/>
                    </a:lnTo>
                    <a:cubicBezTo>
                      <a:pt x="116854" y="38268"/>
                      <a:pt x="99087" y="24601"/>
                      <a:pt x="75853" y="24601"/>
                    </a:cubicBezTo>
                    <a:cubicBezTo>
                      <a:pt x="53302" y="24601"/>
                      <a:pt x="36218"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66" name="Полилиния: фигура 65">
                <a:extLst>
                  <a:ext uri="{FF2B5EF4-FFF2-40B4-BE49-F238E27FC236}">
                    <a16:creationId xmlns:a16="http://schemas.microsoft.com/office/drawing/2014/main" id="{0B750358-5886-4EFE-8624-93242021C20E}"/>
                  </a:ext>
                </a:extLst>
              </p:cNvPr>
              <p:cNvSpPr/>
              <p:nvPr/>
            </p:nvSpPr>
            <p:spPr>
              <a:xfrm>
                <a:off x="12089791" y="6848502"/>
                <a:ext cx="142821" cy="150338"/>
              </a:xfrm>
              <a:custGeom>
                <a:avLst/>
                <a:gdLst>
                  <a:gd name="connsiteX0" fmla="*/ 100453 w 142821"/>
                  <a:gd name="connsiteY0" fmla="*/ 0 h 150338"/>
                  <a:gd name="connsiteX1" fmla="*/ 135988 w 142821"/>
                  <a:gd name="connsiteY1" fmla="*/ 0 h 150338"/>
                  <a:gd name="connsiteX2" fmla="*/ 90203 w 142821"/>
                  <a:gd name="connsiteY2" fmla="*/ 69702 h 150338"/>
                  <a:gd name="connsiteX3" fmla="*/ 142822 w 142821"/>
                  <a:gd name="connsiteY3" fmla="*/ 150338 h 150338"/>
                  <a:gd name="connsiteX4" fmla="*/ 106604 w 142821"/>
                  <a:gd name="connsiteY4" fmla="*/ 150338 h 150338"/>
                  <a:gd name="connsiteX5" fmla="*/ 71752 w 142821"/>
                  <a:gd name="connsiteY5" fmla="*/ 94987 h 150338"/>
                  <a:gd name="connsiteX6" fmla="*/ 36218 w 142821"/>
                  <a:gd name="connsiteY6" fmla="*/ 150338 h 150338"/>
                  <a:gd name="connsiteX7" fmla="*/ 0 w 142821"/>
                  <a:gd name="connsiteY7" fmla="*/ 150338 h 150338"/>
                  <a:gd name="connsiteX8" fmla="*/ 54668 w 142821"/>
                  <a:gd name="connsiteY8" fmla="*/ 71069 h 150338"/>
                  <a:gd name="connsiteX9" fmla="*/ 7517 w 142821"/>
                  <a:gd name="connsiteY9" fmla="*/ 683 h 150338"/>
                  <a:gd name="connsiteX10" fmla="*/ 43052 w 142821"/>
                  <a:gd name="connsiteY10" fmla="*/ 683 h 150338"/>
                  <a:gd name="connsiteX11" fmla="*/ 71752 w 142821"/>
                  <a:gd name="connsiteY11" fmla="*/ 46468 h 150338"/>
                  <a:gd name="connsiteX12" fmla="*/ 100453 w 142821"/>
                  <a:gd name="connsiteY12"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21" h="150338">
                    <a:moveTo>
                      <a:pt x="100453" y="0"/>
                    </a:moveTo>
                    <a:lnTo>
                      <a:pt x="135988" y="0"/>
                    </a:lnTo>
                    <a:lnTo>
                      <a:pt x="90203" y="69702"/>
                    </a:lnTo>
                    <a:lnTo>
                      <a:pt x="142822" y="150338"/>
                    </a:lnTo>
                    <a:lnTo>
                      <a:pt x="106604" y="150338"/>
                    </a:lnTo>
                    <a:lnTo>
                      <a:pt x="71752" y="94987"/>
                    </a:lnTo>
                    <a:lnTo>
                      <a:pt x="36218" y="150338"/>
                    </a:lnTo>
                    <a:lnTo>
                      <a:pt x="0" y="150338"/>
                    </a:lnTo>
                    <a:lnTo>
                      <a:pt x="54668" y="71069"/>
                    </a:lnTo>
                    <a:lnTo>
                      <a:pt x="7517" y="683"/>
                    </a:lnTo>
                    <a:lnTo>
                      <a:pt x="43052" y="683"/>
                    </a:lnTo>
                    <a:lnTo>
                      <a:pt x="71752" y="46468"/>
                    </a:lnTo>
                    <a:lnTo>
                      <a:pt x="100453" y="0"/>
                    </a:lnTo>
                    <a:close/>
                  </a:path>
                </a:pathLst>
              </a:custGeom>
              <a:solidFill>
                <a:srgbClr val="FFFFFF"/>
              </a:solidFill>
              <a:ln w="6822" cap="flat">
                <a:noFill/>
                <a:prstDash val="solid"/>
                <a:miter/>
              </a:ln>
            </p:spPr>
            <p:txBody>
              <a:bodyPr rtlCol="0" anchor="ctr"/>
              <a:lstStyle/>
              <a:p>
                <a:endParaRPr lang="ru-RU" sz="1587" dirty="0"/>
              </a:p>
            </p:txBody>
          </p:sp>
          <p:sp>
            <p:nvSpPr>
              <p:cNvPr id="67" name="Полилиния: фигура 66">
                <a:extLst>
                  <a:ext uri="{FF2B5EF4-FFF2-40B4-BE49-F238E27FC236}">
                    <a16:creationId xmlns:a16="http://schemas.microsoft.com/office/drawing/2014/main" id="{8CFFDA43-97A3-41F3-9995-1EC570477A7D}"/>
                  </a:ext>
                </a:extLst>
              </p:cNvPr>
              <p:cNvSpPr/>
              <p:nvPr/>
            </p:nvSpPr>
            <p:spPr>
              <a:xfrm>
                <a:off x="12253797" y="6848502"/>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68" name="Полилиния: фигура 67">
                <a:extLst>
                  <a:ext uri="{FF2B5EF4-FFF2-40B4-BE49-F238E27FC236}">
                    <a16:creationId xmlns:a16="http://schemas.microsoft.com/office/drawing/2014/main" id="{B0B70364-EEE5-4EF4-8D0C-A53484E096E6}"/>
                  </a:ext>
                </a:extLst>
              </p:cNvPr>
              <p:cNvSpPr/>
              <p:nvPr/>
            </p:nvSpPr>
            <p:spPr>
              <a:xfrm>
                <a:off x="12416436" y="6844402"/>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1204"/>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3885B941-085C-445B-AAC8-628F5608348F}"/>
                  </a:ext>
                </a:extLst>
              </p:cNvPr>
              <p:cNvSpPr/>
              <p:nvPr/>
            </p:nvSpPr>
            <p:spPr>
              <a:xfrm>
                <a:off x="12591375" y="6849869"/>
                <a:ext cx="142137" cy="151705"/>
              </a:xfrm>
              <a:custGeom>
                <a:avLst/>
                <a:gdLst>
                  <a:gd name="connsiteX0" fmla="*/ 0 w 142137"/>
                  <a:gd name="connsiteY0" fmla="*/ 148972 h 151705"/>
                  <a:gd name="connsiteX1" fmla="*/ 0 w 142137"/>
                  <a:gd name="connsiteY1" fmla="*/ 121637 h 151705"/>
                  <a:gd name="connsiteX2" fmla="*/ 10250 w 142137"/>
                  <a:gd name="connsiteY2" fmla="*/ 123688 h 151705"/>
                  <a:gd name="connsiteX3" fmla="*/ 25967 w 142137"/>
                  <a:gd name="connsiteY3" fmla="*/ 88836 h 151705"/>
                  <a:gd name="connsiteX4" fmla="*/ 30751 w 142137"/>
                  <a:gd name="connsiteY4" fmla="*/ 0 h 151705"/>
                  <a:gd name="connsiteX5" fmla="*/ 142138 w 142137"/>
                  <a:gd name="connsiteY5" fmla="*/ 0 h 151705"/>
                  <a:gd name="connsiteX6" fmla="*/ 142138 w 142137"/>
                  <a:gd name="connsiteY6" fmla="*/ 149655 h 151705"/>
                  <a:gd name="connsiteX7" fmla="*/ 111387 w 142137"/>
                  <a:gd name="connsiteY7" fmla="*/ 149655 h 151705"/>
                  <a:gd name="connsiteX8" fmla="*/ 111387 w 142137"/>
                  <a:gd name="connsiteY8" fmla="*/ 28018 h 151705"/>
                  <a:gd name="connsiteX9" fmla="*/ 58085 w 142137"/>
                  <a:gd name="connsiteY9" fmla="*/ 28018 h 151705"/>
                  <a:gd name="connsiteX10" fmla="*/ 54668 w 142137"/>
                  <a:gd name="connsiteY10" fmla="*/ 90203 h 151705"/>
                  <a:gd name="connsiteX11" fmla="*/ 11617 w 142137"/>
                  <a:gd name="connsiteY11" fmla="*/ 151705 h 151705"/>
                  <a:gd name="connsiteX12" fmla="*/ 0 w 142137"/>
                  <a:gd name="connsiteY12" fmla="*/ 148972 h 15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37" h="151705">
                    <a:moveTo>
                      <a:pt x="0" y="148972"/>
                    </a:moveTo>
                    <a:lnTo>
                      <a:pt x="0" y="121637"/>
                    </a:lnTo>
                    <a:cubicBezTo>
                      <a:pt x="0" y="121637"/>
                      <a:pt x="4100" y="123688"/>
                      <a:pt x="10250" y="123688"/>
                    </a:cubicBezTo>
                    <a:cubicBezTo>
                      <a:pt x="19817" y="123688"/>
                      <a:pt x="24601" y="117537"/>
                      <a:pt x="25967" y="88836"/>
                    </a:cubicBezTo>
                    <a:lnTo>
                      <a:pt x="30751" y="0"/>
                    </a:lnTo>
                    <a:lnTo>
                      <a:pt x="142138" y="0"/>
                    </a:lnTo>
                    <a:lnTo>
                      <a:pt x="142138" y="149655"/>
                    </a:lnTo>
                    <a:lnTo>
                      <a:pt x="111387" y="149655"/>
                    </a:lnTo>
                    <a:lnTo>
                      <a:pt x="111387" y="28018"/>
                    </a:lnTo>
                    <a:lnTo>
                      <a:pt x="58085" y="28018"/>
                    </a:lnTo>
                    <a:lnTo>
                      <a:pt x="54668" y="90203"/>
                    </a:lnTo>
                    <a:cubicBezTo>
                      <a:pt x="52618" y="133254"/>
                      <a:pt x="41685" y="151705"/>
                      <a:pt x="11617" y="151705"/>
                    </a:cubicBezTo>
                    <a:cubicBezTo>
                      <a:pt x="6150" y="151022"/>
                      <a:pt x="0" y="148972"/>
                      <a:pt x="0" y="148972"/>
                    </a:cubicBezTo>
                    <a:close/>
                  </a:path>
                </a:pathLst>
              </a:custGeom>
              <a:solidFill>
                <a:srgbClr val="FFFFFF"/>
              </a:solidFill>
              <a:ln w="6822" cap="flat">
                <a:noFill/>
                <a:prstDash val="solid"/>
                <a:miter/>
              </a:ln>
            </p:spPr>
            <p:txBody>
              <a:bodyPr rtlCol="0" anchor="ctr"/>
              <a:lstStyle/>
              <a:p>
                <a:endParaRPr lang="ru-RU" sz="1587" dirty="0"/>
              </a:p>
            </p:txBody>
          </p:sp>
          <p:sp>
            <p:nvSpPr>
              <p:cNvPr id="70" name="Полилиния: фигура 69">
                <a:extLst>
                  <a:ext uri="{FF2B5EF4-FFF2-40B4-BE49-F238E27FC236}">
                    <a16:creationId xmlns:a16="http://schemas.microsoft.com/office/drawing/2014/main" id="{9361E404-181E-4463-BB36-56342C153537}"/>
                  </a:ext>
                </a:extLst>
              </p:cNvPr>
              <p:cNvSpPr/>
              <p:nvPr/>
            </p:nvSpPr>
            <p:spPr>
              <a:xfrm>
                <a:off x="12764264" y="6844402"/>
                <a:ext cx="160597" cy="158538"/>
              </a:xfrm>
              <a:custGeom>
                <a:avLst/>
                <a:gdLst>
                  <a:gd name="connsiteX0" fmla="*/ 80636 w 160597"/>
                  <a:gd name="connsiteY0" fmla="*/ 158539 h 158538"/>
                  <a:gd name="connsiteX1" fmla="*/ 0 w 160597"/>
                  <a:gd name="connsiteY1" fmla="*/ 79269 h 158538"/>
                  <a:gd name="connsiteX2" fmla="*/ 80636 w 160597"/>
                  <a:gd name="connsiteY2" fmla="*/ 0 h 158538"/>
                  <a:gd name="connsiteX3" fmla="*/ 160589 w 160597"/>
                  <a:gd name="connsiteY3" fmla="*/ 79269 h 158538"/>
                  <a:gd name="connsiteX4" fmla="*/ 80636 w 160597"/>
                  <a:gd name="connsiteY4" fmla="*/ 158539 h 158538"/>
                  <a:gd name="connsiteX5" fmla="*/ 129154 w 160597"/>
                  <a:gd name="connsiteY5" fmla="*/ 79269 h 158538"/>
                  <a:gd name="connsiteX6" fmla="*/ 80636 w 160597"/>
                  <a:gd name="connsiteY6" fmla="*/ 28701 h 158538"/>
                  <a:gd name="connsiteX7" fmla="*/ 32118 w 160597"/>
                  <a:gd name="connsiteY7" fmla="*/ 79269 h 158538"/>
                  <a:gd name="connsiteX8" fmla="*/ 80636 w 160597"/>
                  <a:gd name="connsiteY8" fmla="*/ 129838 h 158538"/>
                  <a:gd name="connsiteX9" fmla="*/ 129154 w 160597"/>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97" h="158538">
                    <a:moveTo>
                      <a:pt x="80636" y="158539"/>
                    </a:moveTo>
                    <a:cubicBezTo>
                      <a:pt x="39635" y="158539"/>
                      <a:pt x="0" y="131204"/>
                      <a:pt x="0" y="79269"/>
                    </a:cubicBezTo>
                    <a:cubicBezTo>
                      <a:pt x="0" y="27334"/>
                      <a:pt x="38951" y="0"/>
                      <a:pt x="80636" y="0"/>
                    </a:cubicBezTo>
                    <a:cubicBezTo>
                      <a:pt x="121637" y="0"/>
                      <a:pt x="160589" y="27334"/>
                      <a:pt x="160589" y="79269"/>
                    </a:cubicBezTo>
                    <a:cubicBezTo>
                      <a:pt x="161272" y="131204"/>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71" name="Полилиния: фигура 70">
                <a:extLst>
                  <a:ext uri="{FF2B5EF4-FFF2-40B4-BE49-F238E27FC236}">
                    <a16:creationId xmlns:a16="http://schemas.microsoft.com/office/drawing/2014/main" id="{14CA84FC-E0C0-4C3E-B816-4EEE4BD9DC2C}"/>
                  </a:ext>
                </a:extLst>
              </p:cNvPr>
              <p:cNvSpPr/>
              <p:nvPr/>
            </p:nvSpPr>
            <p:spPr>
              <a:xfrm>
                <a:off x="12956287" y="6848502"/>
                <a:ext cx="97720" cy="149655"/>
              </a:xfrm>
              <a:custGeom>
                <a:avLst/>
                <a:gdLst>
                  <a:gd name="connsiteX0" fmla="*/ 0 w 97720"/>
                  <a:gd name="connsiteY0" fmla="*/ 0 h 149655"/>
                  <a:gd name="connsiteX1" fmla="*/ 97720 w 97720"/>
                  <a:gd name="connsiteY1" fmla="*/ 0 h 149655"/>
                  <a:gd name="connsiteX2" fmla="*/ 97720 w 97720"/>
                  <a:gd name="connsiteY2" fmla="*/ 28018 h 149655"/>
                  <a:gd name="connsiteX3" fmla="*/ 31435 w 97720"/>
                  <a:gd name="connsiteY3" fmla="*/ 28018 h 149655"/>
                  <a:gd name="connsiteX4" fmla="*/ 31435 w 97720"/>
                  <a:gd name="connsiteY4" fmla="*/ 149655 h 149655"/>
                  <a:gd name="connsiteX5" fmla="*/ 0 w 97720"/>
                  <a:gd name="connsiteY5" fmla="*/ 149655 h 149655"/>
                  <a:gd name="connsiteX6" fmla="*/ 0 w 97720"/>
                  <a:gd name="connsiteY6"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20" h="149655">
                    <a:moveTo>
                      <a:pt x="0" y="0"/>
                    </a:moveTo>
                    <a:lnTo>
                      <a:pt x="97720" y="0"/>
                    </a:lnTo>
                    <a:lnTo>
                      <a:pt x="97720" y="28018"/>
                    </a:lnTo>
                    <a:lnTo>
                      <a:pt x="31435" y="28018"/>
                    </a:lnTo>
                    <a:lnTo>
                      <a:pt x="31435"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2" name="Полилиния: фигура 71">
                <a:extLst>
                  <a:ext uri="{FF2B5EF4-FFF2-40B4-BE49-F238E27FC236}">
                    <a16:creationId xmlns:a16="http://schemas.microsoft.com/office/drawing/2014/main" id="{4F652F83-9570-4235-9A1F-833F66186931}"/>
                  </a:ext>
                </a:extLst>
              </p:cNvPr>
              <p:cNvSpPr/>
              <p:nvPr/>
            </p:nvSpPr>
            <p:spPr>
              <a:xfrm>
                <a:off x="13079291" y="6848502"/>
                <a:ext cx="134621" cy="150338"/>
              </a:xfrm>
              <a:custGeom>
                <a:avLst/>
                <a:gdLst>
                  <a:gd name="connsiteX0" fmla="*/ 0 w 134621"/>
                  <a:gd name="connsiteY0" fmla="*/ 0 h 150338"/>
                  <a:gd name="connsiteX1" fmla="*/ 30068 w 134621"/>
                  <a:gd name="connsiteY1" fmla="*/ 0 h 150338"/>
                  <a:gd name="connsiteX2" fmla="*/ 30068 w 134621"/>
                  <a:gd name="connsiteY2" fmla="*/ 107970 h 150338"/>
                  <a:gd name="connsiteX3" fmla="*/ 101820 w 134621"/>
                  <a:gd name="connsiteY3" fmla="*/ 0 h 150338"/>
                  <a:gd name="connsiteX4" fmla="*/ 134621 w 134621"/>
                  <a:gd name="connsiteY4" fmla="*/ 0 h 150338"/>
                  <a:gd name="connsiteX5" fmla="*/ 134621 w 134621"/>
                  <a:gd name="connsiteY5" fmla="*/ 149655 h 150338"/>
                  <a:gd name="connsiteX6" fmla="*/ 104554 w 134621"/>
                  <a:gd name="connsiteY6" fmla="*/ 149655 h 150338"/>
                  <a:gd name="connsiteX7" fmla="*/ 104554 w 134621"/>
                  <a:gd name="connsiteY7" fmla="*/ 41685 h 150338"/>
                  <a:gd name="connsiteX8" fmla="*/ 33485 w 134621"/>
                  <a:gd name="connsiteY8" fmla="*/ 150338 h 150338"/>
                  <a:gd name="connsiteX9" fmla="*/ 684 w 134621"/>
                  <a:gd name="connsiteY9" fmla="*/ 150338 h 150338"/>
                  <a:gd name="connsiteX10" fmla="*/ 684 w 134621"/>
                  <a:gd name="connsiteY10"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50338">
                    <a:moveTo>
                      <a:pt x="0" y="0"/>
                    </a:moveTo>
                    <a:lnTo>
                      <a:pt x="30068" y="0"/>
                    </a:lnTo>
                    <a:lnTo>
                      <a:pt x="30068" y="107970"/>
                    </a:lnTo>
                    <a:lnTo>
                      <a:pt x="101820" y="0"/>
                    </a:lnTo>
                    <a:lnTo>
                      <a:pt x="134621" y="0"/>
                    </a:lnTo>
                    <a:lnTo>
                      <a:pt x="134621" y="149655"/>
                    </a:lnTo>
                    <a:lnTo>
                      <a:pt x="104554" y="149655"/>
                    </a:lnTo>
                    <a:lnTo>
                      <a:pt x="104554" y="41685"/>
                    </a:lnTo>
                    <a:lnTo>
                      <a:pt x="33485" y="150338"/>
                    </a:lnTo>
                    <a:lnTo>
                      <a:pt x="684" y="150338"/>
                    </a:lnTo>
                    <a:lnTo>
                      <a:pt x="684" y="0"/>
                    </a:lnTo>
                    <a:close/>
                  </a:path>
                </a:pathLst>
              </a:custGeom>
              <a:solidFill>
                <a:srgbClr val="FFFFFF"/>
              </a:solidFill>
              <a:ln w="6822" cap="flat">
                <a:noFill/>
                <a:prstDash val="solid"/>
                <a:miter/>
              </a:ln>
            </p:spPr>
            <p:txBody>
              <a:bodyPr rtlCol="0" anchor="ctr"/>
              <a:lstStyle/>
              <a:p>
                <a:endParaRPr lang="ru-RU" sz="1587" dirty="0"/>
              </a:p>
            </p:txBody>
          </p:sp>
          <p:sp>
            <p:nvSpPr>
              <p:cNvPr id="73" name="Полилиния: фигура 72">
                <a:extLst>
                  <a:ext uri="{FF2B5EF4-FFF2-40B4-BE49-F238E27FC236}">
                    <a16:creationId xmlns:a16="http://schemas.microsoft.com/office/drawing/2014/main" id="{90701F68-FAD5-4398-9AF0-4E5CB795BCE4}"/>
                  </a:ext>
                </a:extLst>
              </p:cNvPr>
              <p:cNvSpPr/>
              <p:nvPr/>
            </p:nvSpPr>
            <p:spPr>
              <a:xfrm>
                <a:off x="13253547" y="6848502"/>
                <a:ext cx="134621" cy="149655"/>
              </a:xfrm>
              <a:custGeom>
                <a:avLst/>
                <a:gdLst>
                  <a:gd name="connsiteX0" fmla="*/ 0 w 134621"/>
                  <a:gd name="connsiteY0" fmla="*/ 0 h 149655"/>
                  <a:gd name="connsiteX1" fmla="*/ 30068 w 134621"/>
                  <a:gd name="connsiteY1" fmla="*/ 0 h 149655"/>
                  <a:gd name="connsiteX2" fmla="*/ 30068 w 134621"/>
                  <a:gd name="connsiteY2" fmla="*/ 107970 h 149655"/>
                  <a:gd name="connsiteX3" fmla="*/ 101820 w 134621"/>
                  <a:gd name="connsiteY3" fmla="*/ 0 h 149655"/>
                  <a:gd name="connsiteX4" fmla="*/ 134621 w 134621"/>
                  <a:gd name="connsiteY4" fmla="*/ 0 h 149655"/>
                  <a:gd name="connsiteX5" fmla="*/ 134621 w 134621"/>
                  <a:gd name="connsiteY5" fmla="*/ 149655 h 149655"/>
                  <a:gd name="connsiteX6" fmla="*/ 104554 w 134621"/>
                  <a:gd name="connsiteY6" fmla="*/ 149655 h 149655"/>
                  <a:gd name="connsiteX7" fmla="*/ 104554 w 134621"/>
                  <a:gd name="connsiteY7" fmla="*/ 41685 h 149655"/>
                  <a:gd name="connsiteX8" fmla="*/ 32801 w 134621"/>
                  <a:gd name="connsiteY8" fmla="*/ 149655 h 149655"/>
                  <a:gd name="connsiteX9" fmla="*/ 0 w 134621"/>
                  <a:gd name="connsiteY9" fmla="*/ 149655 h 149655"/>
                  <a:gd name="connsiteX10" fmla="*/ 0 w 134621"/>
                  <a:gd name="connsiteY10"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49655">
                    <a:moveTo>
                      <a:pt x="0" y="0"/>
                    </a:moveTo>
                    <a:lnTo>
                      <a:pt x="30068" y="0"/>
                    </a:lnTo>
                    <a:lnTo>
                      <a:pt x="30068" y="107970"/>
                    </a:lnTo>
                    <a:lnTo>
                      <a:pt x="101820" y="0"/>
                    </a:lnTo>
                    <a:lnTo>
                      <a:pt x="134621" y="0"/>
                    </a:lnTo>
                    <a:lnTo>
                      <a:pt x="134621" y="149655"/>
                    </a:lnTo>
                    <a:lnTo>
                      <a:pt x="104554" y="149655"/>
                    </a:lnTo>
                    <a:lnTo>
                      <a:pt x="104554" y="41685"/>
                    </a:lnTo>
                    <a:lnTo>
                      <a:pt x="32801"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4" name="Полилиния: фигура 73">
                <a:extLst>
                  <a:ext uri="{FF2B5EF4-FFF2-40B4-BE49-F238E27FC236}">
                    <a16:creationId xmlns:a16="http://schemas.microsoft.com/office/drawing/2014/main" id="{C6329A68-8FFB-47FC-8F94-A028014C9694}"/>
                  </a:ext>
                </a:extLst>
              </p:cNvPr>
              <p:cNvSpPr/>
              <p:nvPr/>
            </p:nvSpPr>
            <p:spPr>
              <a:xfrm>
                <a:off x="11334683" y="7186763"/>
                <a:ext cx="123004" cy="149655"/>
              </a:xfrm>
              <a:custGeom>
                <a:avLst/>
                <a:gdLst>
                  <a:gd name="connsiteX0" fmla="*/ 0 w 123004"/>
                  <a:gd name="connsiteY0" fmla="*/ 0 h 149655"/>
                  <a:gd name="connsiteX1" fmla="*/ 67652 w 123004"/>
                  <a:gd name="connsiteY1" fmla="*/ 0 h 149655"/>
                  <a:gd name="connsiteX2" fmla="*/ 117537 w 123004"/>
                  <a:gd name="connsiteY2" fmla="*/ 36901 h 149655"/>
                  <a:gd name="connsiteX3" fmla="*/ 94987 w 123004"/>
                  <a:gd name="connsiteY3" fmla="*/ 70386 h 149655"/>
                  <a:gd name="connsiteX4" fmla="*/ 123004 w 123004"/>
                  <a:gd name="connsiteY4" fmla="*/ 106604 h 149655"/>
                  <a:gd name="connsiteX5" fmla="*/ 69702 w 123004"/>
                  <a:gd name="connsiteY5" fmla="*/ 149655 h 149655"/>
                  <a:gd name="connsiteX6" fmla="*/ 0 w 123004"/>
                  <a:gd name="connsiteY6" fmla="*/ 149655 h 149655"/>
                  <a:gd name="connsiteX7" fmla="*/ 0 w 123004"/>
                  <a:gd name="connsiteY7" fmla="*/ 0 h 149655"/>
                  <a:gd name="connsiteX8" fmla="*/ 66286 w 123004"/>
                  <a:gd name="connsiteY8" fmla="*/ 60135 h 149655"/>
                  <a:gd name="connsiteX9" fmla="*/ 88836 w 123004"/>
                  <a:gd name="connsiteY9" fmla="*/ 42368 h 149655"/>
                  <a:gd name="connsiteX10" fmla="*/ 66969 w 123004"/>
                  <a:gd name="connsiteY10" fmla="*/ 24601 h 149655"/>
                  <a:gd name="connsiteX11" fmla="*/ 31434 w 123004"/>
                  <a:gd name="connsiteY11" fmla="*/ 24601 h 149655"/>
                  <a:gd name="connsiteX12" fmla="*/ 31434 w 123004"/>
                  <a:gd name="connsiteY12" fmla="*/ 60135 h 149655"/>
                  <a:gd name="connsiteX13" fmla="*/ 66286 w 123004"/>
                  <a:gd name="connsiteY13" fmla="*/ 60135 h 149655"/>
                  <a:gd name="connsiteX14" fmla="*/ 68336 w 123004"/>
                  <a:gd name="connsiteY14" fmla="*/ 125738 h 149655"/>
                  <a:gd name="connsiteX15" fmla="*/ 92253 w 123004"/>
                  <a:gd name="connsiteY15" fmla="*/ 105237 h 149655"/>
                  <a:gd name="connsiteX16" fmla="*/ 68336 w 123004"/>
                  <a:gd name="connsiteY16" fmla="*/ 84736 h 149655"/>
                  <a:gd name="connsiteX17" fmla="*/ 31434 w 123004"/>
                  <a:gd name="connsiteY17" fmla="*/ 84736 h 149655"/>
                  <a:gd name="connsiteX18" fmla="*/ 31434 w 123004"/>
                  <a:gd name="connsiteY18" fmla="*/ 126421 h 149655"/>
                  <a:gd name="connsiteX19" fmla="*/ 68336 w 123004"/>
                  <a:gd name="connsiteY19" fmla="*/ 126421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04" h="149655">
                    <a:moveTo>
                      <a:pt x="0" y="0"/>
                    </a:moveTo>
                    <a:lnTo>
                      <a:pt x="67652" y="0"/>
                    </a:lnTo>
                    <a:cubicBezTo>
                      <a:pt x="99770" y="0"/>
                      <a:pt x="117537" y="16401"/>
                      <a:pt x="117537" y="36901"/>
                    </a:cubicBezTo>
                    <a:cubicBezTo>
                      <a:pt x="117537" y="53985"/>
                      <a:pt x="108654" y="64236"/>
                      <a:pt x="94987" y="70386"/>
                    </a:cubicBezTo>
                    <a:cubicBezTo>
                      <a:pt x="110704" y="75169"/>
                      <a:pt x="123004" y="86786"/>
                      <a:pt x="123004" y="106604"/>
                    </a:cubicBezTo>
                    <a:cubicBezTo>
                      <a:pt x="123004" y="131888"/>
                      <a:pt x="101137" y="149655"/>
                      <a:pt x="69702" y="149655"/>
                    </a:cubicBezTo>
                    <a:lnTo>
                      <a:pt x="0" y="149655"/>
                    </a:lnTo>
                    <a:lnTo>
                      <a:pt x="0" y="0"/>
                    </a:lnTo>
                    <a:close/>
                    <a:moveTo>
                      <a:pt x="66286" y="60135"/>
                    </a:moveTo>
                    <a:cubicBezTo>
                      <a:pt x="79953" y="60135"/>
                      <a:pt x="88836" y="54669"/>
                      <a:pt x="88836" y="42368"/>
                    </a:cubicBezTo>
                    <a:cubicBezTo>
                      <a:pt x="88836" y="30068"/>
                      <a:pt x="80636" y="24601"/>
                      <a:pt x="66969" y="24601"/>
                    </a:cubicBezTo>
                    <a:lnTo>
                      <a:pt x="31434" y="24601"/>
                    </a:lnTo>
                    <a:lnTo>
                      <a:pt x="31434" y="60135"/>
                    </a:lnTo>
                    <a:lnTo>
                      <a:pt x="66286" y="60135"/>
                    </a:lnTo>
                    <a:close/>
                    <a:moveTo>
                      <a:pt x="68336" y="125738"/>
                    </a:moveTo>
                    <a:cubicBezTo>
                      <a:pt x="84053" y="125738"/>
                      <a:pt x="92253" y="117537"/>
                      <a:pt x="92253" y="105237"/>
                    </a:cubicBezTo>
                    <a:cubicBezTo>
                      <a:pt x="92253" y="92936"/>
                      <a:pt x="84053" y="84736"/>
                      <a:pt x="68336" y="84736"/>
                    </a:cubicBezTo>
                    <a:lnTo>
                      <a:pt x="31434" y="84736"/>
                    </a:lnTo>
                    <a:lnTo>
                      <a:pt x="31434" y="126421"/>
                    </a:lnTo>
                    <a:lnTo>
                      <a:pt x="68336" y="126421"/>
                    </a:lnTo>
                    <a:close/>
                  </a:path>
                </a:pathLst>
              </a:custGeom>
              <a:solidFill>
                <a:srgbClr val="FFFFFF"/>
              </a:solidFill>
              <a:ln w="6822"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CA9FC4A6-2897-4DF8-B810-05B5AA244495}"/>
                  </a:ext>
                </a:extLst>
              </p:cNvPr>
              <p:cNvSpPr/>
              <p:nvPr/>
            </p:nvSpPr>
            <p:spPr>
              <a:xfrm>
                <a:off x="1148092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FE159BBA-69B2-4383-932C-6BF323E3210E}"/>
                  </a:ext>
                </a:extLst>
              </p:cNvPr>
              <p:cNvSpPr/>
              <p:nvPr/>
            </p:nvSpPr>
            <p:spPr>
              <a:xfrm>
                <a:off x="11664744" y="7183346"/>
                <a:ext cx="121637" cy="157855"/>
              </a:xfrm>
              <a:custGeom>
                <a:avLst/>
                <a:gdLst>
                  <a:gd name="connsiteX0" fmla="*/ 121637 w 121637"/>
                  <a:gd name="connsiteY0" fmla="*/ 110020 h 157855"/>
                  <a:gd name="connsiteX1" fmla="*/ 58769 w 121637"/>
                  <a:gd name="connsiteY1" fmla="*/ 157855 h 157855"/>
                  <a:gd name="connsiteX2" fmla="*/ 0 w 121637"/>
                  <a:gd name="connsiteY2" fmla="*/ 110704 h 157855"/>
                  <a:gd name="connsiteX3" fmla="*/ 3417 w 121637"/>
                  <a:gd name="connsiteY3" fmla="*/ 93620 h 157855"/>
                  <a:gd name="connsiteX4" fmla="*/ 29384 w 121637"/>
                  <a:gd name="connsiteY4" fmla="*/ 102503 h 157855"/>
                  <a:gd name="connsiteX5" fmla="*/ 28018 w 121637"/>
                  <a:gd name="connsiteY5" fmla="*/ 110020 h 157855"/>
                  <a:gd name="connsiteX6" fmla="*/ 58769 w 121637"/>
                  <a:gd name="connsiteY6" fmla="*/ 132571 h 157855"/>
                  <a:gd name="connsiteX7" fmla="*/ 91570 w 121637"/>
                  <a:gd name="connsiteY7" fmla="*/ 108654 h 157855"/>
                  <a:gd name="connsiteX8" fmla="*/ 60819 w 121637"/>
                  <a:gd name="connsiteY8" fmla="*/ 87470 h 157855"/>
                  <a:gd name="connsiteX9" fmla="*/ 47152 w 121637"/>
                  <a:gd name="connsiteY9" fmla="*/ 87470 h 157855"/>
                  <a:gd name="connsiteX10" fmla="*/ 47152 w 121637"/>
                  <a:gd name="connsiteY10" fmla="*/ 62869 h 157855"/>
                  <a:gd name="connsiteX11" fmla="*/ 59452 w 121637"/>
                  <a:gd name="connsiteY11" fmla="*/ 62869 h 157855"/>
                  <a:gd name="connsiteX12" fmla="*/ 86103 w 121637"/>
                  <a:gd name="connsiteY12" fmla="*/ 42368 h 157855"/>
                  <a:gd name="connsiteX13" fmla="*/ 60135 w 121637"/>
                  <a:gd name="connsiteY13" fmla="*/ 23917 h 157855"/>
                  <a:gd name="connsiteX14" fmla="*/ 31434 w 121637"/>
                  <a:gd name="connsiteY14" fmla="*/ 40318 h 157855"/>
                  <a:gd name="connsiteX15" fmla="*/ 32118 w 121637"/>
                  <a:gd name="connsiteY15" fmla="*/ 46468 h 157855"/>
                  <a:gd name="connsiteX16" fmla="*/ 6150 w 121637"/>
                  <a:gd name="connsiteY16" fmla="*/ 56035 h 157855"/>
                  <a:gd name="connsiteX17" fmla="*/ 3417 w 121637"/>
                  <a:gd name="connsiteY17" fmla="*/ 41685 h 157855"/>
                  <a:gd name="connsiteX18" fmla="*/ 60819 w 121637"/>
                  <a:gd name="connsiteY18" fmla="*/ 0 h 157855"/>
                  <a:gd name="connsiteX19" fmla="*/ 115487 w 121637"/>
                  <a:gd name="connsiteY19" fmla="*/ 40318 h 157855"/>
                  <a:gd name="connsiteX20" fmla="*/ 90203 w 121637"/>
                  <a:gd name="connsiteY20" fmla="*/ 75169 h 157855"/>
                  <a:gd name="connsiteX21" fmla="*/ 121637 w 121637"/>
                  <a:gd name="connsiteY21" fmla="*/ 110020 h 15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37" h="157855">
                    <a:moveTo>
                      <a:pt x="121637" y="110020"/>
                    </a:moveTo>
                    <a:cubicBezTo>
                      <a:pt x="121637" y="136671"/>
                      <a:pt x="99770" y="157855"/>
                      <a:pt x="58769" y="157855"/>
                    </a:cubicBezTo>
                    <a:cubicBezTo>
                      <a:pt x="21184" y="157855"/>
                      <a:pt x="0" y="138038"/>
                      <a:pt x="0" y="110704"/>
                    </a:cubicBezTo>
                    <a:cubicBezTo>
                      <a:pt x="0" y="103870"/>
                      <a:pt x="2050" y="97037"/>
                      <a:pt x="3417" y="93620"/>
                    </a:cubicBezTo>
                    <a:lnTo>
                      <a:pt x="29384" y="102503"/>
                    </a:lnTo>
                    <a:cubicBezTo>
                      <a:pt x="28701" y="104554"/>
                      <a:pt x="28018" y="107287"/>
                      <a:pt x="28018" y="110020"/>
                    </a:cubicBezTo>
                    <a:cubicBezTo>
                      <a:pt x="28018" y="125054"/>
                      <a:pt x="43051" y="132571"/>
                      <a:pt x="58769" y="132571"/>
                    </a:cubicBezTo>
                    <a:cubicBezTo>
                      <a:pt x="79953" y="132571"/>
                      <a:pt x="91570" y="122321"/>
                      <a:pt x="91570" y="108654"/>
                    </a:cubicBezTo>
                    <a:cubicBezTo>
                      <a:pt x="91570" y="95670"/>
                      <a:pt x="80636" y="87470"/>
                      <a:pt x="60819" y="87470"/>
                    </a:cubicBezTo>
                    <a:lnTo>
                      <a:pt x="47152" y="87470"/>
                    </a:lnTo>
                    <a:lnTo>
                      <a:pt x="47152" y="62869"/>
                    </a:lnTo>
                    <a:lnTo>
                      <a:pt x="59452" y="62869"/>
                    </a:lnTo>
                    <a:cubicBezTo>
                      <a:pt x="77903" y="62869"/>
                      <a:pt x="86103" y="53985"/>
                      <a:pt x="86103" y="42368"/>
                    </a:cubicBezTo>
                    <a:cubicBezTo>
                      <a:pt x="86103" y="31434"/>
                      <a:pt x="77219" y="23917"/>
                      <a:pt x="60135" y="23917"/>
                    </a:cubicBezTo>
                    <a:cubicBezTo>
                      <a:pt x="42368" y="23917"/>
                      <a:pt x="31434" y="31434"/>
                      <a:pt x="31434" y="40318"/>
                    </a:cubicBezTo>
                    <a:cubicBezTo>
                      <a:pt x="31434" y="43735"/>
                      <a:pt x="32118" y="45785"/>
                      <a:pt x="32118" y="46468"/>
                    </a:cubicBezTo>
                    <a:lnTo>
                      <a:pt x="6150" y="56035"/>
                    </a:lnTo>
                    <a:cubicBezTo>
                      <a:pt x="4783" y="53302"/>
                      <a:pt x="3417" y="48518"/>
                      <a:pt x="3417" y="41685"/>
                    </a:cubicBezTo>
                    <a:cubicBezTo>
                      <a:pt x="3417" y="18451"/>
                      <a:pt x="24601" y="0"/>
                      <a:pt x="60819" y="0"/>
                    </a:cubicBezTo>
                    <a:cubicBezTo>
                      <a:pt x="98403" y="0"/>
                      <a:pt x="115487" y="17767"/>
                      <a:pt x="115487" y="40318"/>
                    </a:cubicBezTo>
                    <a:cubicBezTo>
                      <a:pt x="115487" y="57402"/>
                      <a:pt x="105920" y="69019"/>
                      <a:pt x="90203" y="75169"/>
                    </a:cubicBezTo>
                    <a:cubicBezTo>
                      <a:pt x="108654" y="79269"/>
                      <a:pt x="121637" y="90887"/>
                      <a:pt x="121637" y="110020"/>
                    </a:cubicBezTo>
                    <a:close/>
                  </a:path>
                </a:pathLst>
              </a:custGeom>
              <a:solidFill>
                <a:srgbClr val="FFFFFF"/>
              </a:solidFill>
              <a:ln w="6822"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59177BAA-7562-46FA-99C0-922168464E24}"/>
                  </a:ext>
                </a:extLst>
              </p:cNvPr>
              <p:cNvSpPr/>
              <p:nvPr/>
            </p:nvSpPr>
            <p:spPr>
              <a:xfrm>
                <a:off x="11819182" y="7186763"/>
                <a:ext cx="173572" cy="149655"/>
              </a:xfrm>
              <a:custGeom>
                <a:avLst/>
                <a:gdLst>
                  <a:gd name="connsiteX0" fmla="*/ 0 w 173572"/>
                  <a:gd name="connsiteY0" fmla="*/ 0 h 149655"/>
                  <a:gd name="connsiteX1" fmla="*/ 42368 w 173572"/>
                  <a:gd name="connsiteY1" fmla="*/ 0 h 149655"/>
                  <a:gd name="connsiteX2" fmla="*/ 86786 w 173572"/>
                  <a:gd name="connsiteY2" fmla="*/ 114121 h 149655"/>
                  <a:gd name="connsiteX3" fmla="*/ 131204 w 173572"/>
                  <a:gd name="connsiteY3" fmla="*/ 0 h 149655"/>
                  <a:gd name="connsiteX4" fmla="*/ 173572 w 173572"/>
                  <a:gd name="connsiteY4" fmla="*/ 0 h 149655"/>
                  <a:gd name="connsiteX5" fmla="*/ 173572 w 173572"/>
                  <a:gd name="connsiteY5" fmla="*/ 149655 h 149655"/>
                  <a:gd name="connsiteX6" fmla="*/ 143505 w 173572"/>
                  <a:gd name="connsiteY6" fmla="*/ 149655 h 149655"/>
                  <a:gd name="connsiteX7" fmla="*/ 143505 w 173572"/>
                  <a:gd name="connsiteY7" fmla="*/ 43735 h 149655"/>
                  <a:gd name="connsiteX8" fmla="*/ 100453 w 173572"/>
                  <a:gd name="connsiteY8" fmla="*/ 149655 h 149655"/>
                  <a:gd name="connsiteX9" fmla="*/ 74486 w 173572"/>
                  <a:gd name="connsiteY9" fmla="*/ 149655 h 149655"/>
                  <a:gd name="connsiteX10" fmla="*/ 30751 w 173572"/>
                  <a:gd name="connsiteY10" fmla="*/ 43052 h 149655"/>
                  <a:gd name="connsiteX11" fmla="*/ 30751 w 173572"/>
                  <a:gd name="connsiteY11" fmla="*/ 149655 h 149655"/>
                  <a:gd name="connsiteX12" fmla="*/ 683 w 173572"/>
                  <a:gd name="connsiteY12" fmla="*/ 149655 h 149655"/>
                  <a:gd name="connsiteX13" fmla="*/ 683 w 173572"/>
                  <a:gd name="connsiteY13"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572" h="149655">
                    <a:moveTo>
                      <a:pt x="0" y="0"/>
                    </a:moveTo>
                    <a:lnTo>
                      <a:pt x="42368" y="0"/>
                    </a:lnTo>
                    <a:lnTo>
                      <a:pt x="86786" y="114121"/>
                    </a:lnTo>
                    <a:lnTo>
                      <a:pt x="131204" y="0"/>
                    </a:lnTo>
                    <a:lnTo>
                      <a:pt x="173572" y="0"/>
                    </a:lnTo>
                    <a:lnTo>
                      <a:pt x="173572" y="149655"/>
                    </a:lnTo>
                    <a:lnTo>
                      <a:pt x="143505" y="149655"/>
                    </a:lnTo>
                    <a:lnTo>
                      <a:pt x="143505" y="43735"/>
                    </a:lnTo>
                    <a:lnTo>
                      <a:pt x="100453" y="149655"/>
                    </a:lnTo>
                    <a:lnTo>
                      <a:pt x="74486" y="149655"/>
                    </a:lnTo>
                    <a:lnTo>
                      <a:pt x="30751" y="43052"/>
                    </a:lnTo>
                    <a:lnTo>
                      <a:pt x="30751" y="149655"/>
                    </a:lnTo>
                    <a:lnTo>
                      <a:pt x="683" y="149655"/>
                    </a:lnTo>
                    <a:lnTo>
                      <a:pt x="683" y="0"/>
                    </a:lnTo>
                    <a:close/>
                  </a:path>
                </a:pathLst>
              </a:custGeom>
              <a:solidFill>
                <a:srgbClr val="FFFFFF"/>
              </a:solidFill>
              <a:ln w="6822"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2450AFAE-4C72-49C6-9949-7B76BB99C543}"/>
                  </a:ext>
                </a:extLst>
              </p:cNvPr>
              <p:cNvSpPr/>
              <p:nvPr/>
            </p:nvSpPr>
            <p:spPr>
              <a:xfrm>
                <a:off x="12022822"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79" name="Полилиния: фигура 78">
                <a:extLst>
                  <a:ext uri="{FF2B5EF4-FFF2-40B4-BE49-F238E27FC236}">
                    <a16:creationId xmlns:a16="http://schemas.microsoft.com/office/drawing/2014/main" id="{5FA2D6D6-4E2C-49FB-8F5A-906C9459EE27}"/>
                  </a:ext>
                </a:extLst>
              </p:cNvPr>
              <p:cNvSpPr/>
              <p:nvPr/>
            </p:nvSpPr>
            <p:spPr>
              <a:xfrm>
                <a:off x="12190245" y="7186763"/>
                <a:ext cx="210473" cy="149655"/>
              </a:xfrm>
              <a:custGeom>
                <a:avLst/>
                <a:gdLst>
                  <a:gd name="connsiteX0" fmla="*/ 171522 w 210473"/>
                  <a:gd name="connsiteY0" fmla="*/ 149655 h 149655"/>
                  <a:gd name="connsiteX1" fmla="*/ 120271 w 210473"/>
                  <a:gd name="connsiteY1" fmla="*/ 84053 h 149655"/>
                  <a:gd name="connsiteX2" fmla="*/ 120271 w 210473"/>
                  <a:gd name="connsiteY2" fmla="*/ 149655 h 149655"/>
                  <a:gd name="connsiteX3" fmla="*/ 88836 w 210473"/>
                  <a:gd name="connsiteY3" fmla="*/ 149655 h 149655"/>
                  <a:gd name="connsiteX4" fmla="*/ 88836 w 210473"/>
                  <a:gd name="connsiteY4" fmla="*/ 83370 h 149655"/>
                  <a:gd name="connsiteX5" fmla="*/ 37585 w 210473"/>
                  <a:gd name="connsiteY5" fmla="*/ 149655 h 149655"/>
                  <a:gd name="connsiteX6" fmla="*/ 0 w 210473"/>
                  <a:gd name="connsiteY6" fmla="*/ 149655 h 149655"/>
                  <a:gd name="connsiteX7" fmla="*/ 62869 w 210473"/>
                  <a:gd name="connsiteY7" fmla="*/ 70386 h 149655"/>
                  <a:gd name="connsiteX8" fmla="*/ 1367 w 210473"/>
                  <a:gd name="connsiteY8" fmla="*/ 0 h 149655"/>
                  <a:gd name="connsiteX9" fmla="*/ 41685 w 210473"/>
                  <a:gd name="connsiteY9" fmla="*/ 0 h 149655"/>
                  <a:gd name="connsiteX10" fmla="*/ 89520 w 210473"/>
                  <a:gd name="connsiteY10" fmla="*/ 58085 h 149655"/>
                  <a:gd name="connsiteX11" fmla="*/ 89520 w 210473"/>
                  <a:gd name="connsiteY11" fmla="*/ 0 h 149655"/>
                  <a:gd name="connsiteX12" fmla="*/ 120954 w 210473"/>
                  <a:gd name="connsiteY12" fmla="*/ 0 h 149655"/>
                  <a:gd name="connsiteX13" fmla="*/ 120954 w 210473"/>
                  <a:gd name="connsiteY13" fmla="*/ 58085 h 149655"/>
                  <a:gd name="connsiteX14" fmla="*/ 168789 w 210473"/>
                  <a:gd name="connsiteY14" fmla="*/ 0 h 149655"/>
                  <a:gd name="connsiteX15" fmla="*/ 209107 w 210473"/>
                  <a:gd name="connsiteY15" fmla="*/ 0 h 149655"/>
                  <a:gd name="connsiteX16" fmla="*/ 147605 w 210473"/>
                  <a:gd name="connsiteY16" fmla="*/ 70386 h 149655"/>
                  <a:gd name="connsiteX17" fmla="*/ 210474 w 210473"/>
                  <a:gd name="connsiteY17" fmla="*/ 149655 h 149655"/>
                  <a:gd name="connsiteX18" fmla="*/ 171522 w 210473"/>
                  <a:gd name="connsiteY18" fmla="*/ 149655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473" h="149655">
                    <a:moveTo>
                      <a:pt x="171522" y="149655"/>
                    </a:moveTo>
                    <a:lnTo>
                      <a:pt x="120271" y="84053"/>
                    </a:lnTo>
                    <a:lnTo>
                      <a:pt x="120271" y="149655"/>
                    </a:lnTo>
                    <a:lnTo>
                      <a:pt x="88836" y="149655"/>
                    </a:lnTo>
                    <a:lnTo>
                      <a:pt x="88836" y="83370"/>
                    </a:lnTo>
                    <a:lnTo>
                      <a:pt x="37585" y="149655"/>
                    </a:lnTo>
                    <a:lnTo>
                      <a:pt x="0" y="149655"/>
                    </a:lnTo>
                    <a:lnTo>
                      <a:pt x="62869" y="70386"/>
                    </a:lnTo>
                    <a:lnTo>
                      <a:pt x="1367" y="0"/>
                    </a:lnTo>
                    <a:lnTo>
                      <a:pt x="41685" y="0"/>
                    </a:lnTo>
                    <a:lnTo>
                      <a:pt x="89520" y="58085"/>
                    </a:lnTo>
                    <a:lnTo>
                      <a:pt x="89520" y="0"/>
                    </a:lnTo>
                    <a:lnTo>
                      <a:pt x="120954" y="0"/>
                    </a:lnTo>
                    <a:lnTo>
                      <a:pt x="120954" y="58085"/>
                    </a:lnTo>
                    <a:lnTo>
                      <a:pt x="168789" y="0"/>
                    </a:lnTo>
                    <a:lnTo>
                      <a:pt x="209107" y="0"/>
                    </a:lnTo>
                    <a:lnTo>
                      <a:pt x="147605" y="70386"/>
                    </a:lnTo>
                    <a:lnTo>
                      <a:pt x="210474" y="149655"/>
                    </a:lnTo>
                    <a:lnTo>
                      <a:pt x="171522" y="149655"/>
                    </a:lnTo>
                    <a:close/>
                  </a:path>
                </a:pathLst>
              </a:custGeom>
              <a:solidFill>
                <a:srgbClr val="FFFFFF"/>
              </a:solidFill>
              <a:ln w="6822"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501D7818-3C6D-4E28-8497-BE1EFB0A554B}"/>
                  </a:ext>
                </a:extLst>
              </p:cNvPr>
              <p:cNvSpPr/>
              <p:nvPr/>
            </p:nvSpPr>
            <p:spPr>
              <a:xfrm>
                <a:off x="12423953" y="7186763"/>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C01D87BA-8D15-499D-A82F-7CD2FD906E46}"/>
                  </a:ext>
                </a:extLst>
              </p:cNvPr>
              <p:cNvSpPr/>
              <p:nvPr/>
            </p:nvSpPr>
            <p:spPr>
              <a:xfrm>
                <a:off x="1258659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4" y="28701"/>
                      <a:pt x="80636" y="28701"/>
                    </a:cubicBezTo>
                    <a:cubicBezTo>
                      <a:pt x="54668" y="28701"/>
                      <a:pt x="32118" y="48518"/>
                      <a:pt x="32118" y="79269"/>
                    </a:cubicBezTo>
                    <a:cubicBezTo>
                      <a:pt x="32118" y="110020"/>
                      <a:pt x="54668" y="129838"/>
                      <a:pt x="80636" y="129838"/>
                    </a:cubicBezTo>
                    <a:cubicBezTo>
                      <a:pt x="106604"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64BF0020-F21E-452C-8339-6D94A0F1E550}"/>
                  </a:ext>
                </a:extLst>
              </p:cNvPr>
              <p:cNvSpPr/>
              <p:nvPr/>
            </p:nvSpPr>
            <p:spPr>
              <a:xfrm>
                <a:off x="12769047" y="7182663"/>
                <a:ext cx="144871" cy="158538"/>
              </a:xfrm>
              <a:custGeom>
                <a:avLst/>
                <a:gdLst>
                  <a:gd name="connsiteX0" fmla="*/ 77902 w 144871"/>
                  <a:gd name="connsiteY0" fmla="*/ 158539 h 158538"/>
                  <a:gd name="connsiteX1" fmla="*/ 0 w 144871"/>
                  <a:gd name="connsiteY1" fmla="*/ 79269 h 158538"/>
                  <a:gd name="connsiteX2" fmla="*/ 77902 w 144871"/>
                  <a:gd name="connsiteY2" fmla="*/ 0 h 158538"/>
                  <a:gd name="connsiteX3" fmla="*/ 143505 w 144871"/>
                  <a:gd name="connsiteY3" fmla="*/ 37585 h 158538"/>
                  <a:gd name="connsiteX4" fmla="*/ 117537 w 144871"/>
                  <a:gd name="connsiteY4" fmla="*/ 52618 h 158538"/>
                  <a:gd name="connsiteX5" fmla="*/ 77902 w 144871"/>
                  <a:gd name="connsiteY5" fmla="*/ 28701 h 158538"/>
                  <a:gd name="connsiteX6" fmla="*/ 32118 w 144871"/>
                  <a:gd name="connsiteY6" fmla="*/ 78586 h 158538"/>
                  <a:gd name="connsiteX7" fmla="*/ 77902 w 144871"/>
                  <a:gd name="connsiteY7" fmla="*/ 128471 h 158538"/>
                  <a:gd name="connsiteX8" fmla="*/ 119587 w 144871"/>
                  <a:gd name="connsiteY8" fmla="*/ 104553 h 158538"/>
                  <a:gd name="connsiteX9" fmla="*/ 144872 w 144871"/>
                  <a:gd name="connsiteY9" fmla="*/ 118904 h 158538"/>
                  <a:gd name="connsiteX10" fmla="*/ 77902 w 144871"/>
                  <a:gd name="connsiteY10" fmla="*/ 15853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71" h="158538">
                    <a:moveTo>
                      <a:pt x="77902" y="158539"/>
                    </a:moveTo>
                    <a:cubicBezTo>
                      <a:pt x="33484" y="158539"/>
                      <a:pt x="0" y="126421"/>
                      <a:pt x="0" y="79269"/>
                    </a:cubicBezTo>
                    <a:cubicBezTo>
                      <a:pt x="0" y="32118"/>
                      <a:pt x="36218" y="0"/>
                      <a:pt x="77902" y="0"/>
                    </a:cubicBezTo>
                    <a:cubicBezTo>
                      <a:pt x="110020" y="0"/>
                      <a:pt x="132571" y="14350"/>
                      <a:pt x="143505" y="37585"/>
                    </a:cubicBezTo>
                    <a:lnTo>
                      <a:pt x="117537" y="52618"/>
                    </a:lnTo>
                    <a:cubicBezTo>
                      <a:pt x="107287" y="36218"/>
                      <a:pt x="93620" y="28701"/>
                      <a:pt x="77902" y="28701"/>
                    </a:cubicBezTo>
                    <a:cubicBezTo>
                      <a:pt x="51935" y="28701"/>
                      <a:pt x="32118" y="47835"/>
                      <a:pt x="32118" y="78586"/>
                    </a:cubicBezTo>
                    <a:cubicBezTo>
                      <a:pt x="32118" y="109337"/>
                      <a:pt x="51252" y="128471"/>
                      <a:pt x="77902" y="128471"/>
                    </a:cubicBezTo>
                    <a:cubicBezTo>
                      <a:pt x="98403" y="128471"/>
                      <a:pt x="110020" y="118221"/>
                      <a:pt x="119587" y="104553"/>
                    </a:cubicBezTo>
                    <a:lnTo>
                      <a:pt x="144872" y="118904"/>
                    </a:lnTo>
                    <a:cubicBezTo>
                      <a:pt x="130521" y="143505"/>
                      <a:pt x="109337" y="158539"/>
                      <a:pt x="77902" y="158539"/>
                    </a:cubicBezTo>
                    <a:close/>
                  </a:path>
                </a:pathLst>
              </a:custGeom>
              <a:solidFill>
                <a:srgbClr val="FFFFFF"/>
              </a:solidFill>
              <a:ln w="6822"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C69E0D54-A60C-41BD-B944-F81E540F77DF}"/>
                  </a:ext>
                </a:extLst>
              </p:cNvPr>
              <p:cNvSpPr/>
              <p:nvPr/>
            </p:nvSpPr>
            <p:spPr>
              <a:xfrm>
                <a:off x="12933053" y="7186763"/>
                <a:ext cx="125054" cy="149655"/>
              </a:xfrm>
              <a:custGeom>
                <a:avLst/>
                <a:gdLst>
                  <a:gd name="connsiteX0" fmla="*/ 47151 w 125054"/>
                  <a:gd name="connsiteY0" fmla="*/ 28018 h 149655"/>
                  <a:gd name="connsiteX1" fmla="*/ 0 w 125054"/>
                  <a:gd name="connsiteY1" fmla="*/ 28018 h 149655"/>
                  <a:gd name="connsiteX2" fmla="*/ 0 w 125054"/>
                  <a:gd name="connsiteY2" fmla="*/ 0 h 149655"/>
                  <a:gd name="connsiteX3" fmla="*/ 125054 w 125054"/>
                  <a:gd name="connsiteY3" fmla="*/ 0 h 149655"/>
                  <a:gd name="connsiteX4" fmla="*/ 125054 w 125054"/>
                  <a:gd name="connsiteY4" fmla="*/ 28018 h 149655"/>
                  <a:gd name="connsiteX5" fmla="*/ 77902 w 125054"/>
                  <a:gd name="connsiteY5" fmla="*/ 28018 h 149655"/>
                  <a:gd name="connsiteX6" fmla="*/ 77902 w 125054"/>
                  <a:gd name="connsiteY6" fmla="*/ 149655 h 149655"/>
                  <a:gd name="connsiteX7" fmla="*/ 46468 w 125054"/>
                  <a:gd name="connsiteY7" fmla="*/ 149655 h 149655"/>
                  <a:gd name="connsiteX8" fmla="*/ 46468 w 125054"/>
                  <a:gd name="connsiteY8" fmla="*/ 28018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54" h="149655">
                    <a:moveTo>
                      <a:pt x="47151" y="28018"/>
                    </a:moveTo>
                    <a:lnTo>
                      <a:pt x="0" y="28018"/>
                    </a:lnTo>
                    <a:lnTo>
                      <a:pt x="0" y="0"/>
                    </a:lnTo>
                    <a:lnTo>
                      <a:pt x="125054" y="0"/>
                    </a:lnTo>
                    <a:lnTo>
                      <a:pt x="125054" y="28018"/>
                    </a:lnTo>
                    <a:lnTo>
                      <a:pt x="77902" y="28018"/>
                    </a:lnTo>
                    <a:lnTo>
                      <a:pt x="77902" y="149655"/>
                    </a:lnTo>
                    <a:lnTo>
                      <a:pt x="46468" y="149655"/>
                    </a:lnTo>
                    <a:lnTo>
                      <a:pt x="46468" y="28018"/>
                    </a:lnTo>
                    <a:close/>
                  </a:path>
                </a:pathLst>
              </a:custGeom>
              <a:solidFill>
                <a:srgbClr val="FFFFFF"/>
              </a:solidFill>
              <a:ln w="6822"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57AC0A4F-D56E-4FC8-A3F4-CD6E2419EBC6}"/>
                  </a:ext>
                </a:extLst>
              </p:cNvPr>
              <p:cNvSpPr/>
              <p:nvPr/>
            </p:nvSpPr>
            <p:spPr>
              <a:xfrm>
                <a:off x="13073141" y="7182663"/>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2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7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2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2"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7" y="86103"/>
                    </a:lnTo>
                    <a:cubicBezTo>
                      <a:pt x="32118" y="112070"/>
                      <a:pt x="49885" y="131204"/>
                      <a:pt x="76536" y="131204"/>
                    </a:cubicBezTo>
                    <a:close/>
                    <a:moveTo>
                      <a:pt x="30751" y="61502"/>
                    </a:moveTo>
                    <a:lnTo>
                      <a:pt x="119587" y="61502"/>
                    </a:lnTo>
                    <a:cubicBezTo>
                      <a:pt x="116854" y="38268"/>
                      <a:pt x="99087" y="24601"/>
                      <a:pt x="75852" y="24601"/>
                    </a:cubicBezTo>
                    <a:cubicBezTo>
                      <a:pt x="53302" y="24601"/>
                      <a:pt x="35535"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7CA9B034-6780-4798-A980-D2E3FFDC756E}"/>
                  </a:ext>
                </a:extLst>
              </p:cNvPr>
              <p:cNvSpPr/>
              <p:nvPr/>
            </p:nvSpPr>
            <p:spPr>
              <a:xfrm>
                <a:off x="13253547" y="7132778"/>
                <a:ext cx="134621" cy="203640"/>
              </a:xfrm>
              <a:custGeom>
                <a:avLst/>
                <a:gdLst>
                  <a:gd name="connsiteX0" fmla="*/ 0 w 134621"/>
                  <a:gd name="connsiteY0" fmla="*/ 53985 h 203640"/>
                  <a:gd name="connsiteX1" fmla="*/ 30068 w 134621"/>
                  <a:gd name="connsiteY1" fmla="*/ 53985 h 203640"/>
                  <a:gd name="connsiteX2" fmla="*/ 30068 w 134621"/>
                  <a:gd name="connsiteY2" fmla="*/ 161956 h 203640"/>
                  <a:gd name="connsiteX3" fmla="*/ 101820 w 134621"/>
                  <a:gd name="connsiteY3" fmla="*/ 53985 h 203640"/>
                  <a:gd name="connsiteX4" fmla="*/ 134621 w 134621"/>
                  <a:gd name="connsiteY4" fmla="*/ 53985 h 203640"/>
                  <a:gd name="connsiteX5" fmla="*/ 134621 w 134621"/>
                  <a:gd name="connsiteY5" fmla="*/ 203640 h 203640"/>
                  <a:gd name="connsiteX6" fmla="*/ 104554 w 134621"/>
                  <a:gd name="connsiteY6" fmla="*/ 203640 h 203640"/>
                  <a:gd name="connsiteX7" fmla="*/ 104554 w 134621"/>
                  <a:gd name="connsiteY7" fmla="*/ 95670 h 203640"/>
                  <a:gd name="connsiteX8" fmla="*/ 32801 w 134621"/>
                  <a:gd name="connsiteY8" fmla="*/ 203640 h 203640"/>
                  <a:gd name="connsiteX9" fmla="*/ 0 w 134621"/>
                  <a:gd name="connsiteY9" fmla="*/ 203640 h 203640"/>
                  <a:gd name="connsiteX10" fmla="*/ 0 w 134621"/>
                  <a:gd name="connsiteY10" fmla="*/ 53985 h 203640"/>
                  <a:gd name="connsiteX11" fmla="*/ 34168 w 134621"/>
                  <a:gd name="connsiteY11" fmla="*/ 0 h 203640"/>
                  <a:gd name="connsiteX12" fmla="*/ 55352 w 134621"/>
                  <a:gd name="connsiteY12" fmla="*/ 0 h 203640"/>
                  <a:gd name="connsiteX13" fmla="*/ 66969 w 134621"/>
                  <a:gd name="connsiteY13" fmla="*/ 12984 h 203640"/>
                  <a:gd name="connsiteX14" fmla="*/ 78586 w 134621"/>
                  <a:gd name="connsiteY14" fmla="*/ 0 h 203640"/>
                  <a:gd name="connsiteX15" fmla="*/ 99770 w 134621"/>
                  <a:gd name="connsiteY15" fmla="*/ 0 h 203640"/>
                  <a:gd name="connsiteX16" fmla="*/ 66969 w 134621"/>
                  <a:gd name="connsiteY16" fmla="*/ 32801 h 203640"/>
                  <a:gd name="connsiteX17" fmla="*/ 34168 w 134621"/>
                  <a:gd name="connsiteY17" fmla="*/ 0 h 2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21" h="203640">
                    <a:moveTo>
                      <a:pt x="0" y="53985"/>
                    </a:moveTo>
                    <a:lnTo>
                      <a:pt x="30068" y="53985"/>
                    </a:lnTo>
                    <a:lnTo>
                      <a:pt x="30068" y="161956"/>
                    </a:lnTo>
                    <a:lnTo>
                      <a:pt x="101820" y="53985"/>
                    </a:lnTo>
                    <a:lnTo>
                      <a:pt x="134621" y="53985"/>
                    </a:lnTo>
                    <a:lnTo>
                      <a:pt x="134621" y="203640"/>
                    </a:lnTo>
                    <a:lnTo>
                      <a:pt x="104554" y="203640"/>
                    </a:lnTo>
                    <a:lnTo>
                      <a:pt x="104554" y="95670"/>
                    </a:lnTo>
                    <a:lnTo>
                      <a:pt x="32801" y="203640"/>
                    </a:lnTo>
                    <a:lnTo>
                      <a:pt x="0" y="203640"/>
                    </a:lnTo>
                    <a:lnTo>
                      <a:pt x="0" y="53985"/>
                    </a:lnTo>
                    <a:close/>
                    <a:moveTo>
                      <a:pt x="34168" y="0"/>
                    </a:moveTo>
                    <a:lnTo>
                      <a:pt x="55352" y="0"/>
                    </a:lnTo>
                    <a:cubicBezTo>
                      <a:pt x="55352" y="7517"/>
                      <a:pt x="59452" y="12984"/>
                      <a:pt x="66969" y="12984"/>
                    </a:cubicBezTo>
                    <a:cubicBezTo>
                      <a:pt x="74486" y="12984"/>
                      <a:pt x="78586" y="7517"/>
                      <a:pt x="78586" y="0"/>
                    </a:cubicBezTo>
                    <a:lnTo>
                      <a:pt x="99770" y="0"/>
                    </a:lnTo>
                    <a:cubicBezTo>
                      <a:pt x="99770" y="19134"/>
                      <a:pt x="86786" y="32801"/>
                      <a:pt x="66969" y="32801"/>
                    </a:cubicBezTo>
                    <a:cubicBezTo>
                      <a:pt x="47152" y="32801"/>
                      <a:pt x="34168" y="19134"/>
                      <a:pt x="34168" y="0"/>
                    </a:cubicBezTo>
                    <a:close/>
                  </a:path>
                </a:pathLst>
              </a:custGeom>
              <a:solidFill>
                <a:srgbClr val="FFFFFF"/>
              </a:solidFill>
              <a:ln w="6822" cap="flat">
                <a:noFill/>
                <a:prstDash val="solid"/>
                <a:miter/>
              </a:ln>
            </p:spPr>
            <p:txBody>
              <a:bodyPr rtlCol="0" anchor="ctr"/>
              <a:lstStyle/>
              <a:p>
                <a:endParaRPr lang="ru-RU" sz="1587" dirty="0"/>
              </a:p>
            </p:txBody>
          </p:sp>
        </p:grpSp>
        <p:sp>
          <p:nvSpPr>
            <p:cNvPr id="63" name="Полилиния: фигура 62">
              <a:extLst>
                <a:ext uri="{FF2B5EF4-FFF2-40B4-BE49-F238E27FC236}">
                  <a16:creationId xmlns:a16="http://schemas.microsoft.com/office/drawing/2014/main" id="{0878F7A9-5FDA-4375-ABD1-18E04F9C571A}"/>
                </a:ext>
              </a:extLst>
            </p:cNvPr>
            <p:cNvSpPr/>
            <p:nvPr/>
          </p:nvSpPr>
          <p:spPr>
            <a:xfrm>
              <a:off x="11519872" y="4054942"/>
              <a:ext cx="2309744" cy="2615887"/>
            </a:xfrm>
            <a:custGeom>
              <a:avLst/>
              <a:gdLst>
                <a:gd name="connsiteX0" fmla="*/ 2309744 w 2309744"/>
                <a:gd name="connsiteY0" fmla="*/ 0 h 2615887"/>
                <a:gd name="connsiteX1" fmla="*/ 350562 w 2309744"/>
                <a:gd name="connsiteY1" fmla="*/ 2452566 h 2615887"/>
                <a:gd name="connsiteX2" fmla="*/ 2050 w 2309744"/>
                <a:gd name="connsiteY2" fmla="*/ 2615205 h 2615887"/>
                <a:gd name="connsiteX3" fmla="*/ 0 w 2309744"/>
                <a:gd name="connsiteY3" fmla="*/ 2615888 h 2615887"/>
                <a:gd name="connsiteX4" fmla="*/ 0 w 2309744"/>
                <a:gd name="connsiteY4" fmla="*/ 2615888 h 2615887"/>
                <a:gd name="connsiteX5" fmla="*/ 2309744 w 2309744"/>
                <a:gd name="connsiteY5" fmla="*/ 1107721 h 2615887"/>
                <a:gd name="connsiteX6" fmla="*/ 2309744 w 2309744"/>
                <a:gd name="connsiteY6" fmla="*/ 0 h 261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9744" h="2615887">
                  <a:moveTo>
                    <a:pt x="2309744" y="0"/>
                  </a:moveTo>
                  <a:cubicBezTo>
                    <a:pt x="2039818" y="1072869"/>
                    <a:pt x="1316144" y="1946199"/>
                    <a:pt x="350562" y="2452566"/>
                  </a:cubicBezTo>
                  <a:cubicBezTo>
                    <a:pt x="236441" y="2509284"/>
                    <a:pt x="112754" y="2561903"/>
                    <a:pt x="2050" y="2615205"/>
                  </a:cubicBezTo>
                  <a:lnTo>
                    <a:pt x="0" y="2615888"/>
                  </a:lnTo>
                  <a:lnTo>
                    <a:pt x="0" y="2615888"/>
                  </a:lnTo>
                  <a:cubicBezTo>
                    <a:pt x="880846" y="2287877"/>
                    <a:pt x="1668073" y="1768526"/>
                    <a:pt x="2309744" y="1107721"/>
                  </a:cubicBezTo>
                  <a:lnTo>
                    <a:pt x="2309744" y="0"/>
                  </a:lnTo>
                  <a:close/>
                </a:path>
              </a:pathLst>
            </a:custGeom>
            <a:solidFill>
              <a:schemeClr val="accent3"/>
            </a:solidFill>
            <a:ln w="6822" cap="flat">
              <a:noFill/>
              <a:prstDash val="solid"/>
              <a:miter/>
            </a:ln>
          </p:spPr>
          <p:txBody>
            <a:bodyPr rtlCol="0" anchor="ctr"/>
            <a:lstStyle/>
            <a:p>
              <a:endParaRPr lang="ru-RU" sz="1587" dirty="0"/>
            </a:p>
          </p:txBody>
        </p:sp>
      </p:grpSp>
    </p:spTree>
    <p:extLst>
      <p:ext uri="{BB962C8B-B14F-4D97-AF65-F5344CB8AC3E}">
        <p14:creationId xmlns:p14="http://schemas.microsoft.com/office/powerpoint/2010/main" val="16066204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Последний">
    <p:spTree>
      <p:nvGrpSpPr>
        <p:cNvPr id="1" name=""/>
        <p:cNvGrpSpPr/>
        <p:nvPr/>
      </p:nvGrpSpPr>
      <p:grpSpPr>
        <a:xfrm>
          <a:off x="0" y="0"/>
          <a:ext cx="0" cy="0"/>
          <a:chOff x="0" y="0"/>
          <a:chExt cx="0" cy="0"/>
        </a:xfrm>
      </p:grpSpPr>
      <p:sp>
        <p:nvSpPr>
          <p:cNvPr id="6" name="Текст 4">
            <a:extLst>
              <a:ext uri="{FF2B5EF4-FFF2-40B4-BE49-F238E27FC236}">
                <a16:creationId xmlns:a16="http://schemas.microsoft.com/office/drawing/2014/main" id="{C501FE79-70EC-4AC1-96B5-91D2AD0BC038}"/>
              </a:ext>
            </a:extLst>
          </p:cNvPr>
          <p:cNvSpPr>
            <a:spLocks noGrp="1"/>
          </p:cNvSpPr>
          <p:nvPr>
            <p:ph type="body" sz="quarter" idx="19" hasCustomPrompt="1"/>
          </p:nvPr>
        </p:nvSpPr>
        <p:spPr>
          <a:xfrm>
            <a:off x="417517" y="4679858"/>
            <a:ext cx="6122833" cy="486055"/>
          </a:xfrm>
          <a:prstGeom prst="rect">
            <a:avLst/>
          </a:prstGeom>
        </p:spPr>
        <p:txBody>
          <a:bodyPr lIns="0" tIns="0" rIns="0" bIns="0"/>
          <a:lstStyle>
            <a:lvl1pPr>
              <a:lnSpc>
                <a:spcPct val="100000"/>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30" name="Текст 4">
            <a:extLst>
              <a:ext uri="{FF2B5EF4-FFF2-40B4-BE49-F238E27FC236}">
                <a16:creationId xmlns:a16="http://schemas.microsoft.com/office/drawing/2014/main" id="{D3C12843-01DD-4290-83A2-5A4C97140B95}"/>
              </a:ext>
            </a:extLst>
          </p:cNvPr>
          <p:cNvSpPr>
            <a:spLocks noGrp="1"/>
          </p:cNvSpPr>
          <p:nvPr>
            <p:ph type="body" sz="quarter" idx="20" hasCustomPrompt="1"/>
          </p:nvPr>
        </p:nvSpPr>
        <p:spPr>
          <a:xfrm>
            <a:off x="417517" y="5266769"/>
            <a:ext cx="6122833" cy="904875"/>
          </a:xfrm>
          <a:prstGeom prst="rect">
            <a:avLst/>
          </a:prstGeom>
        </p:spPr>
        <p:txBody>
          <a:bodyPr lIns="0" tIns="0" rIns="0" bIns="0"/>
          <a:lstStyle>
            <a:lvl1pPr>
              <a:lnSpc>
                <a:spcPct val="100000"/>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34" name="Текст 22">
            <a:extLst>
              <a:ext uri="{FF2B5EF4-FFF2-40B4-BE49-F238E27FC236}">
                <a16:creationId xmlns:a16="http://schemas.microsoft.com/office/drawing/2014/main" id="{3C4609A3-4467-4771-A7F8-7B68348E96AE}"/>
              </a:ext>
            </a:extLst>
          </p:cNvPr>
          <p:cNvSpPr>
            <a:spLocks noGrp="1"/>
          </p:cNvSpPr>
          <p:nvPr>
            <p:ph type="body" sz="quarter" idx="14" hasCustomPrompt="1"/>
          </p:nvPr>
        </p:nvSpPr>
        <p:spPr>
          <a:xfrm>
            <a:off x="417516" y="2481065"/>
            <a:ext cx="3706193" cy="1139219"/>
          </a:xfrm>
          <a:prstGeom prst="rect">
            <a:avLst/>
          </a:prstGeom>
          <a:noFill/>
        </p:spPr>
        <p:txBody>
          <a:bodyPr wrap="none" lIns="0" tIns="36000" rIns="108000" bIns="0">
            <a:spAutoFit/>
          </a:bodyPr>
          <a:lstStyle>
            <a:lvl1pPr>
              <a:lnSpc>
                <a:spcPts val="4319"/>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59" name="Рисунок 25">
            <a:extLst>
              <a:ext uri="{FF2B5EF4-FFF2-40B4-BE49-F238E27FC236}">
                <a16:creationId xmlns:a16="http://schemas.microsoft.com/office/drawing/2014/main" id="{824F7092-0B54-4889-9C33-F5A9055AD5B9}"/>
              </a:ext>
            </a:extLst>
          </p:cNvPr>
          <p:cNvGrpSpPr/>
          <p:nvPr userDrawn="1"/>
        </p:nvGrpSpPr>
        <p:grpSpPr>
          <a:xfrm>
            <a:off x="419833" y="417146"/>
            <a:ext cx="2645659" cy="753911"/>
            <a:chOff x="-233" y="1916027"/>
            <a:chExt cx="13832096" cy="3938000"/>
          </a:xfrm>
        </p:grpSpPr>
        <p:sp>
          <p:nvSpPr>
            <p:cNvPr id="60" name="Полилиния: фигура 59">
              <a:extLst>
                <a:ext uri="{FF2B5EF4-FFF2-40B4-BE49-F238E27FC236}">
                  <a16:creationId xmlns:a16="http://schemas.microsoft.com/office/drawing/2014/main" id="{8B265CDA-E7FA-4DCC-9230-6008A9450231}"/>
                </a:ext>
              </a:extLst>
            </p:cNvPr>
            <p:cNvSpPr/>
            <p:nvPr/>
          </p:nvSpPr>
          <p:spPr>
            <a:xfrm>
              <a:off x="2798114" y="2521151"/>
              <a:ext cx="11033748" cy="3332876"/>
            </a:xfrm>
            <a:custGeom>
              <a:avLst/>
              <a:gdLst>
                <a:gd name="connsiteX0" fmla="*/ 8186381 w 11033748"/>
                <a:gd name="connsiteY0" fmla="*/ 869378 h 3332876"/>
                <a:gd name="connsiteX1" fmla="*/ 8655469 w 11033748"/>
                <a:gd name="connsiteY1" fmla="*/ 1402575 h 3332876"/>
                <a:gd name="connsiteX2" fmla="*/ 8350562 w 11033748"/>
                <a:gd name="connsiteY2" fmla="*/ 1402575 h 3332876"/>
                <a:gd name="connsiteX3" fmla="*/ 7987800 w 11033748"/>
                <a:gd name="connsiteY3" fmla="*/ 991341 h 3332876"/>
                <a:gd name="connsiteX4" fmla="*/ 7987800 w 11033748"/>
                <a:gd name="connsiteY4" fmla="*/ 1402575 h 3332876"/>
                <a:gd name="connsiteX5" fmla="*/ 7735274 w 11033748"/>
                <a:gd name="connsiteY5" fmla="*/ 1402575 h 3332876"/>
                <a:gd name="connsiteX6" fmla="*/ 7735274 w 11033748"/>
                <a:gd name="connsiteY6" fmla="*/ 408889 h 3332876"/>
                <a:gd name="connsiteX7" fmla="*/ 7987800 w 11033748"/>
                <a:gd name="connsiteY7" fmla="*/ 408889 h 3332876"/>
                <a:gd name="connsiteX8" fmla="*/ 7987800 w 11033748"/>
                <a:gd name="connsiteY8" fmla="*/ 769306 h 3332876"/>
                <a:gd name="connsiteX9" fmla="*/ 8344307 w 11033748"/>
                <a:gd name="connsiteY9" fmla="*/ 408889 h 3332876"/>
                <a:gd name="connsiteX10" fmla="*/ 8642960 w 11033748"/>
                <a:gd name="connsiteY10" fmla="*/ 408889 h 3332876"/>
                <a:gd name="connsiteX11" fmla="*/ 8186381 w 11033748"/>
                <a:gd name="connsiteY11" fmla="*/ 869378 h 3332876"/>
                <a:gd name="connsiteX12" fmla="*/ 629361 w 11033748"/>
                <a:gd name="connsiteY12" fmla="*/ 677052 h 3332876"/>
                <a:gd name="connsiteX13" fmla="*/ 898305 w 11033748"/>
                <a:gd name="connsiteY13" fmla="*/ 456580 h 3332876"/>
                <a:gd name="connsiteX14" fmla="*/ 629361 w 11033748"/>
                <a:gd name="connsiteY14" fmla="*/ 236108 h 3332876"/>
                <a:gd name="connsiteX15" fmla="*/ 264253 w 11033748"/>
                <a:gd name="connsiteY15" fmla="*/ 236108 h 3332876"/>
                <a:gd name="connsiteX16" fmla="*/ 264253 w 11033748"/>
                <a:gd name="connsiteY16" fmla="*/ 677052 h 3332876"/>
                <a:gd name="connsiteX17" fmla="*/ 629361 w 11033748"/>
                <a:gd name="connsiteY17" fmla="*/ 677052 h 3332876"/>
                <a:gd name="connsiteX18" fmla="*/ 637179 w 11033748"/>
                <a:gd name="connsiteY18" fmla="*/ 0 h 3332876"/>
                <a:gd name="connsiteX19" fmla="*/ 1162558 w 11033748"/>
                <a:gd name="connsiteY19" fmla="*/ 456580 h 3332876"/>
                <a:gd name="connsiteX20" fmla="*/ 637179 w 11033748"/>
                <a:gd name="connsiteY20" fmla="*/ 913941 h 3332876"/>
                <a:gd name="connsiteX21" fmla="*/ 264253 w 11033748"/>
                <a:gd name="connsiteY21" fmla="*/ 913941 h 3332876"/>
                <a:gd name="connsiteX22" fmla="*/ 264253 w 11033748"/>
                <a:gd name="connsiteY22" fmla="*/ 1403357 h 3332876"/>
                <a:gd name="connsiteX23" fmla="*/ 0 w 11033748"/>
                <a:gd name="connsiteY23" fmla="*/ 1403357 h 3332876"/>
                <a:gd name="connsiteX24" fmla="*/ 0 w 11033748"/>
                <a:gd name="connsiteY24" fmla="*/ 0 h 3332876"/>
                <a:gd name="connsiteX25" fmla="*/ 637179 w 11033748"/>
                <a:gd name="connsiteY25" fmla="*/ 0 h 3332876"/>
                <a:gd name="connsiteX26" fmla="*/ 1759083 w 11033748"/>
                <a:gd name="connsiteY26" fmla="*/ 1194613 h 3332876"/>
                <a:gd name="connsiteX27" fmla="*/ 2046009 w 11033748"/>
                <a:gd name="connsiteY27" fmla="*/ 906123 h 3332876"/>
                <a:gd name="connsiteX28" fmla="*/ 1759083 w 11033748"/>
                <a:gd name="connsiteY28" fmla="*/ 617634 h 3332876"/>
                <a:gd name="connsiteX29" fmla="*/ 1472157 w 11033748"/>
                <a:gd name="connsiteY29" fmla="*/ 906123 h 3332876"/>
                <a:gd name="connsiteX30" fmla="*/ 1759083 w 11033748"/>
                <a:gd name="connsiteY30" fmla="*/ 1194613 h 3332876"/>
                <a:gd name="connsiteX31" fmla="*/ 1759083 w 11033748"/>
                <a:gd name="connsiteY31" fmla="*/ 380744 h 3332876"/>
                <a:gd name="connsiteX32" fmla="*/ 2302444 w 11033748"/>
                <a:gd name="connsiteY32" fmla="*/ 906123 h 3332876"/>
                <a:gd name="connsiteX33" fmla="*/ 1759083 w 11033748"/>
                <a:gd name="connsiteY33" fmla="*/ 1431503 h 3332876"/>
                <a:gd name="connsiteX34" fmla="*/ 1215722 w 11033748"/>
                <a:gd name="connsiteY34" fmla="*/ 906123 h 3332876"/>
                <a:gd name="connsiteX35" fmla="*/ 1759083 w 11033748"/>
                <a:gd name="connsiteY35" fmla="*/ 380744 h 3332876"/>
                <a:gd name="connsiteX36" fmla="*/ 2947441 w 11033748"/>
                <a:gd name="connsiteY36" fmla="*/ 1194613 h 3332876"/>
                <a:gd name="connsiteX37" fmla="*/ 2683188 w 11033748"/>
                <a:gd name="connsiteY37" fmla="*/ 906123 h 3332876"/>
                <a:gd name="connsiteX38" fmla="*/ 2947441 w 11033748"/>
                <a:gd name="connsiteY38" fmla="*/ 617634 h 3332876"/>
                <a:gd name="connsiteX39" fmla="*/ 3178077 w 11033748"/>
                <a:gd name="connsiteY39" fmla="*/ 753669 h 3332876"/>
                <a:gd name="connsiteX40" fmla="*/ 3394639 w 11033748"/>
                <a:gd name="connsiteY40" fmla="*/ 629361 h 3332876"/>
                <a:gd name="connsiteX41" fmla="*/ 2949787 w 11033748"/>
                <a:gd name="connsiteY41" fmla="*/ 380744 h 3332876"/>
                <a:gd name="connsiteX42" fmla="*/ 2426753 w 11033748"/>
                <a:gd name="connsiteY42" fmla="*/ 906123 h 3332876"/>
                <a:gd name="connsiteX43" fmla="*/ 2949787 w 11033748"/>
                <a:gd name="connsiteY43" fmla="*/ 1431503 h 3332876"/>
                <a:gd name="connsiteX44" fmla="*/ 3404803 w 11033748"/>
                <a:gd name="connsiteY44" fmla="*/ 1164904 h 3332876"/>
                <a:gd name="connsiteX45" fmla="*/ 3196058 w 11033748"/>
                <a:gd name="connsiteY45" fmla="*/ 1050759 h 3332876"/>
                <a:gd name="connsiteX46" fmla="*/ 2947441 w 11033748"/>
                <a:gd name="connsiteY46" fmla="*/ 1194613 h 3332876"/>
                <a:gd name="connsiteX47" fmla="*/ 5636102 w 11033748"/>
                <a:gd name="connsiteY47" fmla="*/ 971796 h 3332876"/>
                <a:gd name="connsiteX48" fmla="*/ 5541502 w 11033748"/>
                <a:gd name="connsiteY48" fmla="*/ 1157868 h 3332876"/>
                <a:gd name="connsiteX49" fmla="*/ 5464884 w 11033748"/>
                <a:gd name="connsiteY49" fmla="*/ 1147704 h 3332876"/>
                <a:gd name="connsiteX50" fmla="*/ 5466448 w 11033748"/>
                <a:gd name="connsiteY50" fmla="*/ 1404921 h 3332876"/>
                <a:gd name="connsiteX51" fmla="*/ 5556356 w 11033748"/>
                <a:gd name="connsiteY51" fmla="*/ 1414303 h 3332876"/>
                <a:gd name="connsiteX52" fmla="*/ 5870646 w 11033748"/>
                <a:gd name="connsiteY52" fmla="*/ 981177 h 3332876"/>
                <a:gd name="connsiteX53" fmla="*/ 5894882 w 11033748"/>
                <a:gd name="connsiteY53" fmla="*/ 634052 h 3332876"/>
                <a:gd name="connsiteX54" fmla="*/ 6179463 w 11033748"/>
                <a:gd name="connsiteY54" fmla="*/ 634052 h 3332876"/>
                <a:gd name="connsiteX55" fmla="*/ 6179463 w 11033748"/>
                <a:gd name="connsiteY55" fmla="*/ 1399448 h 3332876"/>
                <a:gd name="connsiteX56" fmla="*/ 6431989 w 11033748"/>
                <a:gd name="connsiteY56" fmla="*/ 1399448 h 3332876"/>
                <a:gd name="connsiteX57" fmla="*/ 6431989 w 11033748"/>
                <a:gd name="connsiteY57" fmla="*/ 408889 h 3332876"/>
                <a:gd name="connsiteX58" fmla="*/ 5678319 w 11033748"/>
                <a:gd name="connsiteY58" fmla="*/ 408889 h 3332876"/>
                <a:gd name="connsiteX59" fmla="*/ 5636102 w 11033748"/>
                <a:gd name="connsiteY59" fmla="*/ 971796 h 3332876"/>
                <a:gd name="connsiteX60" fmla="*/ 5170922 w 11033748"/>
                <a:gd name="connsiteY60" fmla="*/ 773215 h 3332876"/>
                <a:gd name="connsiteX61" fmla="*/ 4912141 w 11033748"/>
                <a:gd name="connsiteY61" fmla="*/ 573070 h 3332876"/>
                <a:gd name="connsiteX62" fmla="*/ 4643197 w 11033748"/>
                <a:gd name="connsiteY62" fmla="*/ 773215 h 3332876"/>
                <a:gd name="connsiteX63" fmla="*/ 5170922 w 11033748"/>
                <a:gd name="connsiteY63" fmla="*/ 773215 h 3332876"/>
                <a:gd name="connsiteX64" fmla="*/ 4919960 w 11033748"/>
                <a:gd name="connsiteY64" fmla="*/ 380744 h 3332876"/>
                <a:gd name="connsiteX65" fmla="*/ 5404684 w 11033748"/>
                <a:gd name="connsiteY65" fmla="*/ 877978 h 3332876"/>
                <a:gd name="connsiteX66" fmla="*/ 5404684 w 11033748"/>
                <a:gd name="connsiteY66" fmla="*/ 966323 h 3332876"/>
                <a:gd name="connsiteX67" fmla="*/ 4639288 w 11033748"/>
                <a:gd name="connsiteY67" fmla="*/ 966323 h 3332876"/>
                <a:gd name="connsiteX68" fmla="*/ 4912141 w 11033748"/>
                <a:gd name="connsiteY68" fmla="*/ 1214940 h 3332876"/>
                <a:gd name="connsiteX69" fmla="*/ 5164667 w 11033748"/>
                <a:gd name="connsiteY69" fmla="*/ 1078904 h 3332876"/>
                <a:gd name="connsiteX70" fmla="*/ 5364812 w 11033748"/>
                <a:gd name="connsiteY70" fmla="*/ 1178977 h 3332876"/>
                <a:gd name="connsiteX71" fmla="*/ 4907450 w 11033748"/>
                <a:gd name="connsiteY71" fmla="*/ 1431503 h 3332876"/>
                <a:gd name="connsiteX72" fmla="*/ 4396144 w 11033748"/>
                <a:gd name="connsiteY72" fmla="*/ 906123 h 3332876"/>
                <a:gd name="connsiteX73" fmla="*/ 4919960 w 11033748"/>
                <a:gd name="connsiteY73" fmla="*/ 380744 h 3332876"/>
                <a:gd name="connsiteX74" fmla="*/ 7346712 w 11033748"/>
                <a:gd name="connsiteY74" fmla="*/ 773215 h 3332876"/>
                <a:gd name="connsiteX75" fmla="*/ 7087931 w 11033748"/>
                <a:gd name="connsiteY75" fmla="*/ 573070 h 3332876"/>
                <a:gd name="connsiteX76" fmla="*/ 6818987 w 11033748"/>
                <a:gd name="connsiteY76" fmla="*/ 773215 h 3332876"/>
                <a:gd name="connsiteX77" fmla="*/ 7346712 w 11033748"/>
                <a:gd name="connsiteY77" fmla="*/ 773215 h 3332876"/>
                <a:gd name="connsiteX78" fmla="*/ 7096531 w 11033748"/>
                <a:gd name="connsiteY78" fmla="*/ 380744 h 3332876"/>
                <a:gd name="connsiteX79" fmla="*/ 7581256 w 11033748"/>
                <a:gd name="connsiteY79" fmla="*/ 877978 h 3332876"/>
                <a:gd name="connsiteX80" fmla="*/ 7581256 w 11033748"/>
                <a:gd name="connsiteY80" fmla="*/ 966323 h 3332876"/>
                <a:gd name="connsiteX81" fmla="*/ 6815859 w 11033748"/>
                <a:gd name="connsiteY81" fmla="*/ 966323 h 3332876"/>
                <a:gd name="connsiteX82" fmla="*/ 7088713 w 11033748"/>
                <a:gd name="connsiteY82" fmla="*/ 1214940 h 3332876"/>
                <a:gd name="connsiteX83" fmla="*/ 7341239 w 11033748"/>
                <a:gd name="connsiteY83" fmla="*/ 1078904 h 3332876"/>
                <a:gd name="connsiteX84" fmla="*/ 7541384 w 11033748"/>
                <a:gd name="connsiteY84" fmla="*/ 1178977 h 3332876"/>
                <a:gd name="connsiteX85" fmla="*/ 7084022 w 11033748"/>
                <a:gd name="connsiteY85" fmla="*/ 1431503 h 3332876"/>
                <a:gd name="connsiteX86" fmla="*/ 6572715 w 11033748"/>
                <a:gd name="connsiteY86" fmla="*/ 906123 h 3332876"/>
                <a:gd name="connsiteX87" fmla="*/ 7096531 w 11033748"/>
                <a:gd name="connsiteY87" fmla="*/ 380744 h 3332876"/>
                <a:gd name="connsiteX88" fmla="*/ 3482984 w 11033748"/>
                <a:gd name="connsiteY88" fmla="*/ 629361 h 3332876"/>
                <a:gd name="connsiteX89" fmla="*/ 3779292 w 11033748"/>
                <a:gd name="connsiteY89" fmla="*/ 629361 h 3332876"/>
                <a:gd name="connsiteX90" fmla="*/ 3779292 w 11033748"/>
                <a:gd name="connsiteY90" fmla="*/ 1403357 h 3332876"/>
                <a:gd name="connsiteX91" fmla="*/ 4031818 w 11033748"/>
                <a:gd name="connsiteY91" fmla="*/ 1403357 h 3332876"/>
                <a:gd name="connsiteX92" fmla="*/ 4031818 w 11033748"/>
                <a:gd name="connsiteY92" fmla="*/ 629361 h 3332876"/>
                <a:gd name="connsiteX93" fmla="*/ 4328126 w 11033748"/>
                <a:gd name="connsiteY93" fmla="*/ 629361 h 3332876"/>
                <a:gd name="connsiteX94" fmla="*/ 4328126 w 11033748"/>
                <a:gd name="connsiteY94" fmla="*/ 408889 h 3332876"/>
                <a:gd name="connsiteX95" fmla="*/ 3482984 w 11033748"/>
                <a:gd name="connsiteY95" fmla="*/ 408889 h 3332876"/>
                <a:gd name="connsiteX96" fmla="*/ 3482984 w 11033748"/>
                <a:gd name="connsiteY96" fmla="*/ 629361 h 3332876"/>
                <a:gd name="connsiteX97" fmla="*/ 9156612 w 11033748"/>
                <a:gd name="connsiteY97" fmla="*/ 1194613 h 3332876"/>
                <a:gd name="connsiteX98" fmla="*/ 9443539 w 11033748"/>
                <a:gd name="connsiteY98" fmla="*/ 906123 h 3332876"/>
                <a:gd name="connsiteX99" fmla="*/ 9156612 w 11033748"/>
                <a:gd name="connsiteY99" fmla="*/ 617634 h 3332876"/>
                <a:gd name="connsiteX100" fmla="*/ 8869687 w 11033748"/>
                <a:gd name="connsiteY100" fmla="*/ 906123 h 3332876"/>
                <a:gd name="connsiteX101" fmla="*/ 9156612 w 11033748"/>
                <a:gd name="connsiteY101" fmla="*/ 1194613 h 3332876"/>
                <a:gd name="connsiteX102" fmla="*/ 9156612 w 11033748"/>
                <a:gd name="connsiteY102" fmla="*/ 380744 h 3332876"/>
                <a:gd name="connsiteX103" fmla="*/ 9699973 w 11033748"/>
                <a:gd name="connsiteY103" fmla="*/ 906123 h 3332876"/>
                <a:gd name="connsiteX104" fmla="*/ 9156612 w 11033748"/>
                <a:gd name="connsiteY104" fmla="*/ 1431503 h 3332876"/>
                <a:gd name="connsiteX105" fmla="*/ 8613251 w 11033748"/>
                <a:gd name="connsiteY105" fmla="*/ 906123 h 3332876"/>
                <a:gd name="connsiteX106" fmla="*/ 9156612 w 11033748"/>
                <a:gd name="connsiteY106" fmla="*/ 380744 h 3332876"/>
                <a:gd name="connsiteX107" fmla="*/ 10704605 w 11033748"/>
                <a:gd name="connsiteY107" fmla="*/ 408889 h 3332876"/>
                <a:gd name="connsiteX108" fmla="*/ 10430188 w 11033748"/>
                <a:gd name="connsiteY108" fmla="*/ 1105486 h 3332876"/>
                <a:gd name="connsiteX109" fmla="*/ 10155772 w 11033748"/>
                <a:gd name="connsiteY109" fmla="*/ 408889 h 3332876"/>
                <a:gd name="connsiteX110" fmla="*/ 9825845 w 11033748"/>
                <a:gd name="connsiteY110" fmla="*/ 408889 h 3332876"/>
                <a:gd name="connsiteX111" fmla="*/ 9825845 w 11033748"/>
                <a:gd name="connsiteY111" fmla="*/ 1401012 h 3332876"/>
                <a:gd name="connsiteX112" fmla="*/ 10065863 w 11033748"/>
                <a:gd name="connsiteY112" fmla="*/ 1401012 h 3332876"/>
                <a:gd name="connsiteX113" fmla="*/ 10065863 w 11033748"/>
                <a:gd name="connsiteY113" fmla="*/ 772433 h 3332876"/>
                <a:gd name="connsiteX114" fmla="*/ 10331680 w 11033748"/>
                <a:gd name="connsiteY114" fmla="*/ 1401012 h 3332876"/>
                <a:gd name="connsiteX115" fmla="*/ 10527915 w 11033748"/>
                <a:gd name="connsiteY115" fmla="*/ 1401012 h 3332876"/>
                <a:gd name="connsiteX116" fmla="*/ 10793732 w 11033748"/>
                <a:gd name="connsiteY116" fmla="*/ 772433 h 3332876"/>
                <a:gd name="connsiteX117" fmla="*/ 10793732 w 11033748"/>
                <a:gd name="connsiteY117" fmla="*/ 1401012 h 3332876"/>
                <a:gd name="connsiteX118" fmla="*/ 11033749 w 11033748"/>
                <a:gd name="connsiteY118" fmla="*/ 1401012 h 3332876"/>
                <a:gd name="connsiteX119" fmla="*/ 11033749 w 11033748"/>
                <a:gd name="connsiteY119" fmla="*/ 408889 h 3332876"/>
                <a:gd name="connsiteX120" fmla="*/ 10704605 w 11033748"/>
                <a:gd name="connsiteY120" fmla="*/ 408889 h 3332876"/>
                <a:gd name="connsiteX121" fmla="*/ 264253 w 11033748"/>
                <a:gd name="connsiteY121" fmla="*/ 3067841 h 3332876"/>
                <a:gd name="connsiteX122" fmla="*/ 264253 w 11033748"/>
                <a:gd name="connsiteY122" fmla="*/ 2666770 h 3332876"/>
                <a:gd name="connsiteX123" fmla="*/ 570725 w 11033748"/>
                <a:gd name="connsiteY123" fmla="*/ 2666770 h 3332876"/>
                <a:gd name="connsiteX124" fmla="*/ 819342 w 11033748"/>
                <a:gd name="connsiteY124" fmla="*/ 2866915 h 3332876"/>
                <a:gd name="connsiteX125" fmla="*/ 570725 w 11033748"/>
                <a:gd name="connsiteY125" fmla="*/ 3067059 h 3332876"/>
                <a:gd name="connsiteX126" fmla="*/ 264253 w 11033748"/>
                <a:gd name="connsiteY126" fmla="*/ 3067059 h 3332876"/>
                <a:gd name="connsiteX127" fmla="*/ 0 w 11033748"/>
                <a:gd name="connsiteY127" fmla="*/ 3304731 h 3332876"/>
                <a:gd name="connsiteX128" fmla="*/ 591052 w 11033748"/>
                <a:gd name="connsiteY128" fmla="*/ 3304731 h 3332876"/>
                <a:gd name="connsiteX129" fmla="*/ 1084377 w 11033748"/>
                <a:gd name="connsiteY129" fmla="*/ 2867696 h 3332876"/>
                <a:gd name="connsiteX130" fmla="*/ 591052 w 11033748"/>
                <a:gd name="connsiteY130" fmla="*/ 2434571 h 3332876"/>
                <a:gd name="connsiteX131" fmla="*/ 264253 w 11033748"/>
                <a:gd name="connsiteY131" fmla="*/ 2434571 h 3332876"/>
                <a:gd name="connsiteX132" fmla="*/ 264253 w 11033748"/>
                <a:gd name="connsiteY132" fmla="*/ 2133572 h 3332876"/>
                <a:gd name="connsiteX133" fmla="*/ 983523 w 11033748"/>
                <a:gd name="connsiteY133" fmla="*/ 2133572 h 3332876"/>
                <a:gd name="connsiteX134" fmla="*/ 983523 w 11033748"/>
                <a:gd name="connsiteY134" fmla="*/ 1901373 h 3332876"/>
                <a:gd name="connsiteX135" fmla="*/ 0 w 11033748"/>
                <a:gd name="connsiteY135" fmla="*/ 1901373 h 3332876"/>
                <a:gd name="connsiteX136" fmla="*/ 0 w 11033748"/>
                <a:gd name="connsiteY136" fmla="*/ 3304731 h 3332876"/>
                <a:gd name="connsiteX137" fmla="*/ 1243085 w 11033748"/>
                <a:gd name="connsiteY137" fmla="*/ 3304731 h 3332876"/>
                <a:gd name="connsiteX138" fmla="*/ 1503430 w 11033748"/>
                <a:gd name="connsiteY138" fmla="*/ 3304731 h 3332876"/>
                <a:gd name="connsiteX139" fmla="*/ 1936555 w 11033748"/>
                <a:gd name="connsiteY139" fmla="*/ 2649570 h 3332876"/>
                <a:gd name="connsiteX140" fmla="*/ 1936555 w 11033748"/>
                <a:gd name="connsiteY140" fmla="*/ 3304731 h 3332876"/>
                <a:gd name="connsiteX141" fmla="*/ 2177354 w 11033748"/>
                <a:gd name="connsiteY141" fmla="*/ 3304731 h 3332876"/>
                <a:gd name="connsiteX142" fmla="*/ 2177354 w 11033748"/>
                <a:gd name="connsiteY142" fmla="*/ 2310262 h 3332876"/>
                <a:gd name="connsiteX143" fmla="*/ 1917009 w 11033748"/>
                <a:gd name="connsiteY143" fmla="*/ 2310262 h 3332876"/>
                <a:gd name="connsiteX144" fmla="*/ 1483884 w 11033748"/>
                <a:gd name="connsiteY144" fmla="*/ 2965423 h 3332876"/>
                <a:gd name="connsiteX145" fmla="*/ 1483884 w 11033748"/>
                <a:gd name="connsiteY145" fmla="*/ 2310262 h 3332876"/>
                <a:gd name="connsiteX146" fmla="*/ 1243085 w 11033748"/>
                <a:gd name="connsiteY146" fmla="*/ 2310262 h 3332876"/>
                <a:gd name="connsiteX147" fmla="*/ 1243085 w 11033748"/>
                <a:gd name="connsiteY147" fmla="*/ 3304731 h 3332876"/>
                <a:gd name="connsiteX148" fmla="*/ 3183549 w 11033748"/>
                <a:gd name="connsiteY148" fmla="*/ 3015459 h 3332876"/>
                <a:gd name="connsiteX149" fmla="*/ 2974805 w 11033748"/>
                <a:gd name="connsiteY149" fmla="*/ 2778569 h 3332876"/>
                <a:gd name="connsiteX150" fmla="*/ 3142895 w 11033748"/>
                <a:gd name="connsiteY150" fmla="*/ 2547934 h 3332876"/>
                <a:gd name="connsiteX151" fmla="*/ 2772315 w 11033748"/>
                <a:gd name="connsiteY151" fmla="*/ 2281335 h 3332876"/>
                <a:gd name="connsiteX152" fmla="*/ 2377498 w 11033748"/>
                <a:gd name="connsiteY152" fmla="*/ 2572170 h 3332876"/>
                <a:gd name="connsiteX153" fmla="*/ 2397825 w 11033748"/>
                <a:gd name="connsiteY153" fmla="*/ 2672243 h 3332876"/>
                <a:gd name="connsiteX154" fmla="*/ 2612043 w 11033748"/>
                <a:gd name="connsiteY154" fmla="*/ 2600316 h 3332876"/>
                <a:gd name="connsiteX155" fmla="*/ 2605788 w 11033748"/>
                <a:gd name="connsiteY155" fmla="*/ 2564352 h 3332876"/>
                <a:gd name="connsiteX156" fmla="*/ 2769969 w 11033748"/>
                <a:gd name="connsiteY156" fmla="*/ 2478353 h 3332876"/>
                <a:gd name="connsiteX157" fmla="*/ 2908351 w 11033748"/>
                <a:gd name="connsiteY157" fmla="*/ 2578425 h 3332876"/>
                <a:gd name="connsiteX158" fmla="*/ 2754333 w 11033748"/>
                <a:gd name="connsiteY158" fmla="*/ 2686315 h 3332876"/>
                <a:gd name="connsiteX159" fmla="*/ 2678497 w 11033748"/>
                <a:gd name="connsiteY159" fmla="*/ 2686315 h 3332876"/>
                <a:gd name="connsiteX160" fmla="*/ 2678497 w 11033748"/>
                <a:gd name="connsiteY160" fmla="*/ 2886460 h 3332876"/>
                <a:gd name="connsiteX161" fmla="*/ 2760587 w 11033748"/>
                <a:gd name="connsiteY161" fmla="*/ 2886460 h 3332876"/>
                <a:gd name="connsiteX162" fmla="*/ 2938841 w 11033748"/>
                <a:gd name="connsiteY162" fmla="*/ 3004514 h 3332876"/>
                <a:gd name="connsiteX163" fmla="*/ 2748079 w 11033748"/>
                <a:gd name="connsiteY163" fmla="*/ 3135077 h 3332876"/>
                <a:gd name="connsiteX164" fmla="*/ 2579988 w 11033748"/>
                <a:gd name="connsiteY164" fmla="*/ 3008423 h 3332876"/>
                <a:gd name="connsiteX165" fmla="*/ 2590152 w 11033748"/>
                <a:gd name="connsiteY165" fmla="*/ 2958387 h 3332876"/>
                <a:gd name="connsiteX166" fmla="*/ 2377498 w 11033748"/>
                <a:gd name="connsiteY166" fmla="*/ 2890369 h 3332876"/>
                <a:gd name="connsiteX167" fmla="*/ 2353262 w 11033748"/>
                <a:gd name="connsiteY167" fmla="*/ 3010768 h 3332876"/>
                <a:gd name="connsiteX168" fmla="*/ 2748079 w 11033748"/>
                <a:gd name="connsiteY168" fmla="*/ 3331312 h 3332876"/>
                <a:gd name="connsiteX169" fmla="*/ 3183549 w 11033748"/>
                <a:gd name="connsiteY169" fmla="*/ 3015459 h 3332876"/>
                <a:gd name="connsiteX170" fmla="*/ 3354767 w 11033748"/>
                <a:gd name="connsiteY170" fmla="*/ 3304731 h 3332876"/>
                <a:gd name="connsiteX171" fmla="*/ 3607293 w 11033748"/>
                <a:gd name="connsiteY171" fmla="*/ 3304731 h 3332876"/>
                <a:gd name="connsiteX172" fmla="*/ 3607293 w 11033748"/>
                <a:gd name="connsiteY172" fmla="*/ 2902096 h 3332876"/>
                <a:gd name="connsiteX173" fmla="*/ 4020091 w 11033748"/>
                <a:gd name="connsiteY173" fmla="*/ 2902096 h 3332876"/>
                <a:gd name="connsiteX174" fmla="*/ 4020091 w 11033748"/>
                <a:gd name="connsiteY174" fmla="*/ 3304731 h 3332876"/>
                <a:gd name="connsiteX175" fmla="*/ 4272617 w 11033748"/>
                <a:gd name="connsiteY175" fmla="*/ 3304731 h 3332876"/>
                <a:gd name="connsiteX176" fmla="*/ 4272617 w 11033748"/>
                <a:gd name="connsiteY176" fmla="*/ 2310262 h 3332876"/>
                <a:gd name="connsiteX177" fmla="*/ 4020091 w 11033748"/>
                <a:gd name="connsiteY177" fmla="*/ 2310262 h 3332876"/>
                <a:gd name="connsiteX178" fmla="*/ 4020091 w 11033748"/>
                <a:gd name="connsiteY178" fmla="*/ 2680843 h 3332876"/>
                <a:gd name="connsiteX179" fmla="*/ 3607293 w 11033748"/>
                <a:gd name="connsiteY179" fmla="*/ 2680843 h 3332876"/>
                <a:gd name="connsiteX180" fmla="*/ 3607293 w 11033748"/>
                <a:gd name="connsiteY180" fmla="*/ 2310262 h 3332876"/>
                <a:gd name="connsiteX181" fmla="*/ 3354767 w 11033748"/>
                <a:gd name="connsiteY181" fmla="*/ 2310262 h 3332876"/>
                <a:gd name="connsiteX182" fmla="*/ 3354767 w 11033748"/>
                <a:gd name="connsiteY182" fmla="*/ 3304731 h 3332876"/>
                <a:gd name="connsiteX183" fmla="*/ 4663524 w 11033748"/>
                <a:gd name="connsiteY183" fmla="*/ 2675370 h 3332876"/>
                <a:gd name="connsiteX184" fmla="*/ 4932468 w 11033748"/>
                <a:gd name="connsiteY184" fmla="*/ 2475225 h 3332876"/>
                <a:gd name="connsiteX185" fmla="*/ 5191249 w 11033748"/>
                <a:gd name="connsiteY185" fmla="*/ 2675370 h 3332876"/>
                <a:gd name="connsiteX186" fmla="*/ 4663524 w 11033748"/>
                <a:gd name="connsiteY186" fmla="*/ 2675370 h 3332876"/>
                <a:gd name="connsiteX187" fmla="*/ 4931687 w 11033748"/>
                <a:gd name="connsiteY187" fmla="*/ 3116313 h 3332876"/>
                <a:gd name="connsiteX188" fmla="*/ 4658833 w 11033748"/>
                <a:gd name="connsiteY188" fmla="*/ 2867696 h 3332876"/>
                <a:gd name="connsiteX189" fmla="*/ 5424230 w 11033748"/>
                <a:gd name="connsiteY189" fmla="*/ 2867696 h 3332876"/>
                <a:gd name="connsiteX190" fmla="*/ 5424230 w 11033748"/>
                <a:gd name="connsiteY190" fmla="*/ 2779351 h 3332876"/>
                <a:gd name="connsiteX191" fmla="*/ 4939505 w 11033748"/>
                <a:gd name="connsiteY191" fmla="*/ 2282117 h 3332876"/>
                <a:gd name="connsiteX192" fmla="*/ 4416471 w 11033748"/>
                <a:gd name="connsiteY192" fmla="*/ 2807497 h 3332876"/>
                <a:gd name="connsiteX193" fmla="*/ 4927778 w 11033748"/>
                <a:gd name="connsiteY193" fmla="*/ 3332876 h 3332876"/>
                <a:gd name="connsiteX194" fmla="*/ 5384357 w 11033748"/>
                <a:gd name="connsiteY194" fmla="*/ 3080350 h 3332876"/>
                <a:gd name="connsiteX195" fmla="*/ 5184213 w 11033748"/>
                <a:gd name="connsiteY195" fmla="*/ 2980278 h 3332876"/>
                <a:gd name="connsiteX196" fmla="*/ 4931687 w 11033748"/>
                <a:gd name="connsiteY196" fmla="*/ 3116313 h 3332876"/>
                <a:gd name="connsiteX197" fmla="*/ 6084081 w 11033748"/>
                <a:gd name="connsiteY197" fmla="*/ 3332094 h 3332876"/>
                <a:gd name="connsiteX198" fmla="*/ 6539098 w 11033748"/>
                <a:gd name="connsiteY198" fmla="*/ 3065495 h 3332876"/>
                <a:gd name="connsiteX199" fmla="*/ 6330353 w 11033748"/>
                <a:gd name="connsiteY199" fmla="*/ 2951350 h 3332876"/>
                <a:gd name="connsiteX200" fmla="*/ 6081736 w 11033748"/>
                <a:gd name="connsiteY200" fmla="*/ 3095986 h 3332876"/>
                <a:gd name="connsiteX201" fmla="*/ 5817483 w 11033748"/>
                <a:gd name="connsiteY201" fmla="*/ 2807497 h 3332876"/>
                <a:gd name="connsiteX202" fmla="*/ 6081736 w 11033748"/>
                <a:gd name="connsiteY202" fmla="*/ 2519007 h 3332876"/>
                <a:gd name="connsiteX203" fmla="*/ 6312372 w 11033748"/>
                <a:gd name="connsiteY203" fmla="*/ 2655043 h 3332876"/>
                <a:gd name="connsiteX204" fmla="*/ 6528934 w 11033748"/>
                <a:gd name="connsiteY204" fmla="*/ 2530734 h 3332876"/>
                <a:gd name="connsiteX205" fmla="*/ 6084081 w 11033748"/>
                <a:gd name="connsiteY205" fmla="*/ 2282117 h 3332876"/>
                <a:gd name="connsiteX206" fmla="*/ 5561047 w 11033748"/>
                <a:gd name="connsiteY206" fmla="*/ 2807497 h 3332876"/>
                <a:gd name="connsiteX207" fmla="*/ 6084081 w 11033748"/>
                <a:gd name="connsiteY207" fmla="*/ 3332094 h 333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1033748" h="3332876">
                  <a:moveTo>
                    <a:pt x="8186381" y="869378"/>
                  </a:moveTo>
                  <a:lnTo>
                    <a:pt x="8655469" y="1402575"/>
                  </a:lnTo>
                  <a:lnTo>
                    <a:pt x="8350562" y="1402575"/>
                  </a:lnTo>
                  <a:lnTo>
                    <a:pt x="7987800" y="991341"/>
                  </a:lnTo>
                  <a:lnTo>
                    <a:pt x="7987800" y="1402575"/>
                  </a:lnTo>
                  <a:lnTo>
                    <a:pt x="7735274" y="1402575"/>
                  </a:lnTo>
                  <a:lnTo>
                    <a:pt x="7735274" y="408889"/>
                  </a:lnTo>
                  <a:lnTo>
                    <a:pt x="7987800" y="408889"/>
                  </a:lnTo>
                  <a:lnTo>
                    <a:pt x="7987800" y="769306"/>
                  </a:lnTo>
                  <a:lnTo>
                    <a:pt x="8344307" y="408889"/>
                  </a:lnTo>
                  <a:lnTo>
                    <a:pt x="8642960" y="408889"/>
                  </a:lnTo>
                  <a:lnTo>
                    <a:pt x="8186381" y="869378"/>
                  </a:lnTo>
                  <a:close/>
                  <a:moveTo>
                    <a:pt x="629361" y="677052"/>
                  </a:moveTo>
                  <a:cubicBezTo>
                    <a:pt x="813869" y="677052"/>
                    <a:pt x="898305" y="588706"/>
                    <a:pt x="898305" y="456580"/>
                  </a:cubicBezTo>
                  <a:cubicBezTo>
                    <a:pt x="898305" y="324453"/>
                    <a:pt x="813869" y="236108"/>
                    <a:pt x="629361" y="236108"/>
                  </a:cubicBezTo>
                  <a:lnTo>
                    <a:pt x="264253" y="236108"/>
                  </a:lnTo>
                  <a:lnTo>
                    <a:pt x="264253" y="677052"/>
                  </a:lnTo>
                  <a:lnTo>
                    <a:pt x="629361" y="677052"/>
                  </a:lnTo>
                  <a:moveTo>
                    <a:pt x="637179" y="0"/>
                  </a:moveTo>
                  <a:cubicBezTo>
                    <a:pt x="953814" y="0"/>
                    <a:pt x="1162558" y="162617"/>
                    <a:pt x="1162558" y="456580"/>
                  </a:cubicBezTo>
                  <a:cubicBezTo>
                    <a:pt x="1162558" y="751324"/>
                    <a:pt x="953814" y="913941"/>
                    <a:pt x="637179" y="913941"/>
                  </a:cubicBezTo>
                  <a:lnTo>
                    <a:pt x="264253" y="913941"/>
                  </a:lnTo>
                  <a:lnTo>
                    <a:pt x="264253" y="1403357"/>
                  </a:lnTo>
                  <a:lnTo>
                    <a:pt x="0" y="1403357"/>
                  </a:lnTo>
                  <a:lnTo>
                    <a:pt x="0" y="0"/>
                  </a:lnTo>
                  <a:lnTo>
                    <a:pt x="637179" y="0"/>
                  </a:lnTo>
                  <a:moveTo>
                    <a:pt x="1759083" y="1194613"/>
                  </a:moveTo>
                  <a:cubicBezTo>
                    <a:pt x="1907628" y="1194613"/>
                    <a:pt x="2046009" y="1088286"/>
                    <a:pt x="2046009" y="906123"/>
                  </a:cubicBezTo>
                  <a:cubicBezTo>
                    <a:pt x="2046009" y="723960"/>
                    <a:pt x="1907628" y="617634"/>
                    <a:pt x="1759083" y="617634"/>
                  </a:cubicBezTo>
                  <a:cubicBezTo>
                    <a:pt x="1610538" y="617634"/>
                    <a:pt x="1472157" y="723960"/>
                    <a:pt x="1472157" y="906123"/>
                  </a:cubicBezTo>
                  <a:cubicBezTo>
                    <a:pt x="1472939" y="1088286"/>
                    <a:pt x="1611320" y="1194613"/>
                    <a:pt x="1759083" y="1194613"/>
                  </a:cubicBezTo>
                  <a:moveTo>
                    <a:pt x="1759083" y="380744"/>
                  </a:moveTo>
                  <a:cubicBezTo>
                    <a:pt x="2031936" y="380744"/>
                    <a:pt x="2302444" y="557434"/>
                    <a:pt x="2302444" y="906123"/>
                  </a:cubicBezTo>
                  <a:cubicBezTo>
                    <a:pt x="2302444" y="1254813"/>
                    <a:pt x="2031936" y="1431503"/>
                    <a:pt x="1759083" y="1431503"/>
                  </a:cubicBezTo>
                  <a:cubicBezTo>
                    <a:pt x="1486230" y="1431503"/>
                    <a:pt x="1215722" y="1254813"/>
                    <a:pt x="1215722" y="906123"/>
                  </a:cubicBezTo>
                  <a:cubicBezTo>
                    <a:pt x="1216504" y="556652"/>
                    <a:pt x="1487011" y="380744"/>
                    <a:pt x="1759083" y="380744"/>
                  </a:cubicBezTo>
                  <a:moveTo>
                    <a:pt x="2947441" y="1194613"/>
                  </a:moveTo>
                  <a:cubicBezTo>
                    <a:pt x="2794988" y="1194613"/>
                    <a:pt x="2683188" y="1084377"/>
                    <a:pt x="2683188" y="906123"/>
                  </a:cubicBezTo>
                  <a:cubicBezTo>
                    <a:pt x="2683188" y="729433"/>
                    <a:pt x="2799678" y="617634"/>
                    <a:pt x="2947441" y="617634"/>
                  </a:cubicBezTo>
                  <a:cubicBezTo>
                    <a:pt x="3037350" y="617634"/>
                    <a:pt x="3115531" y="659852"/>
                    <a:pt x="3178077" y="753669"/>
                  </a:cubicBezTo>
                  <a:lnTo>
                    <a:pt x="3394639" y="629361"/>
                  </a:lnTo>
                  <a:cubicBezTo>
                    <a:pt x="3322712" y="475343"/>
                    <a:pt x="3166349" y="380744"/>
                    <a:pt x="2949787" y="380744"/>
                  </a:cubicBezTo>
                  <a:cubicBezTo>
                    <a:pt x="2667551" y="380744"/>
                    <a:pt x="2426753" y="589488"/>
                    <a:pt x="2426753" y="906123"/>
                  </a:cubicBezTo>
                  <a:cubicBezTo>
                    <a:pt x="2426753" y="1222758"/>
                    <a:pt x="2655043" y="1431503"/>
                    <a:pt x="2949787" y="1431503"/>
                  </a:cubicBezTo>
                  <a:cubicBezTo>
                    <a:pt x="3162440" y="1431503"/>
                    <a:pt x="3304730" y="1335340"/>
                    <a:pt x="3404803" y="1164904"/>
                  </a:cubicBezTo>
                  <a:lnTo>
                    <a:pt x="3196058" y="1050759"/>
                  </a:lnTo>
                  <a:cubicBezTo>
                    <a:pt x="3135858" y="1134413"/>
                    <a:pt x="3071750" y="1194613"/>
                    <a:pt x="2947441" y="1194613"/>
                  </a:cubicBezTo>
                  <a:moveTo>
                    <a:pt x="5636102" y="971796"/>
                  </a:moveTo>
                  <a:cubicBezTo>
                    <a:pt x="5624375" y="1124250"/>
                    <a:pt x="5593884" y="1157868"/>
                    <a:pt x="5541502" y="1157868"/>
                  </a:cubicBezTo>
                  <a:cubicBezTo>
                    <a:pt x="5505538" y="1157868"/>
                    <a:pt x="5489120" y="1153959"/>
                    <a:pt x="5464884" y="1147704"/>
                  </a:cubicBezTo>
                  <a:lnTo>
                    <a:pt x="5466448" y="1404921"/>
                  </a:lnTo>
                  <a:cubicBezTo>
                    <a:pt x="5466448" y="1404921"/>
                    <a:pt x="5497720" y="1414303"/>
                    <a:pt x="5556356" y="1414303"/>
                  </a:cubicBezTo>
                  <a:cubicBezTo>
                    <a:pt x="5770574" y="1414303"/>
                    <a:pt x="5851101" y="1275922"/>
                    <a:pt x="5870646" y="981177"/>
                  </a:cubicBezTo>
                  <a:lnTo>
                    <a:pt x="5894882" y="634052"/>
                  </a:lnTo>
                  <a:lnTo>
                    <a:pt x="6179463" y="634052"/>
                  </a:lnTo>
                  <a:lnTo>
                    <a:pt x="6179463" y="1399448"/>
                  </a:lnTo>
                  <a:lnTo>
                    <a:pt x="6431989" y="1399448"/>
                  </a:lnTo>
                  <a:lnTo>
                    <a:pt x="6431989" y="408889"/>
                  </a:lnTo>
                  <a:lnTo>
                    <a:pt x="5678319" y="408889"/>
                  </a:lnTo>
                  <a:lnTo>
                    <a:pt x="5636102" y="971796"/>
                  </a:lnTo>
                  <a:close/>
                  <a:moveTo>
                    <a:pt x="5170922" y="773215"/>
                  </a:moveTo>
                  <a:cubicBezTo>
                    <a:pt x="5146686" y="648906"/>
                    <a:pt x="5052868" y="573070"/>
                    <a:pt x="4912141" y="573070"/>
                  </a:cubicBezTo>
                  <a:cubicBezTo>
                    <a:pt x="4780015" y="573070"/>
                    <a:pt x="4679942" y="661415"/>
                    <a:pt x="4643197" y="773215"/>
                  </a:cubicBezTo>
                  <a:lnTo>
                    <a:pt x="5170922" y="773215"/>
                  </a:lnTo>
                  <a:close/>
                  <a:moveTo>
                    <a:pt x="4919960" y="380744"/>
                  </a:moveTo>
                  <a:cubicBezTo>
                    <a:pt x="5204540" y="380744"/>
                    <a:pt x="5404684" y="587143"/>
                    <a:pt x="5404684" y="877978"/>
                  </a:cubicBezTo>
                  <a:lnTo>
                    <a:pt x="5404684" y="966323"/>
                  </a:lnTo>
                  <a:lnTo>
                    <a:pt x="4639288" y="966323"/>
                  </a:lnTo>
                  <a:cubicBezTo>
                    <a:pt x="4654924" y="1118777"/>
                    <a:pt x="4763597" y="1214940"/>
                    <a:pt x="4912141" y="1214940"/>
                  </a:cubicBezTo>
                  <a:cubicBezTo>
                    <a:pt x="5046614" y="1214940"/>
                    <a:pt x="5102904" y="1157086"/>
                    <a:pt x="5164667" y="1078904"/>
                  </a:cubicBezTo>
                  <a:lnTo>
                    <a:pt x="5364812" y="1178977"/>
                  </a:lnTo>
                  <a:cubicBezTo>
                    <a:pt x="5264740" y="1349412"/>
                    <a:pt x="5126358" y="1431503"/>
                    <a:pt x="4907450" y="1431503"/>
                  </a:cubicBezTo>
                  <a:cubicBezTo>
                    <a:pt x="4630688" y="1431503"/>
                    <a:pt x="4396144" y="1221195"/>
                    <a:pt x="4396144" y="906123"/>
                  </a:cubicBezTo>
                  <a:cubicBezTo>
                    <a:pt x="4396144" y="591052"/>
                    <a:pt x="4631470" y="380744"/>
                    <a:pt x="4919960" y="380744"/>
                  </a:cubicBezTo>
                  <a:moveTo>
                    <a:pt x="7346712" y="773215"/>
                  </a:moveTo>
                  <a:cubicBezTo>
                    <a:pt x="7322476" y="648906"/>
                    <a:pt x="7228658" y="573070"/>
                    <a:pt x="7087931" y="573070"/>
                  </a:cubicBezTo>
                  <a:cubicBezTo>
                    <a:pt x="6955804" y="573070"/>
                    <a:pt x="6855733" y="661415"/>
                    <a:pt x="6818987" y="773215"/>
                  </a:cubicBezTo>
                  <a:lnTo>
                    <a:pt x="7346712" y="773215"/>
                  </a:lnTo>
                  <a:close/>
                  <a:moveTo>
                    <a:pt x="7096531" y="380744"/>
                  </a:moveTo>
                  <a:cubicBezTo>
                    <a:pt x="7381112" y="380744"/>
                    <a:pt x="7581256" y="587143"/>
                    <a:pt x="7581256" y="877978"/>
                  </a:cubicBezTo>
                  <a:lnTo>
                    <a:pt x="7581256" y="966323"/>
                  </a:lnTo>
                  <a:lnTo>
                    <a:pt x="6815859" y="966323"/>
                  </a:lnTo>
                  <a:cubicBezTo>
                    <a:pt x="6831496" y="1118777"/>
                    <a:pt x="6940168" y="1214940"/>
                    <a:pt x="7088713" y="1214940"/>
                  </a:cubicBezTo>
                  <a:cubicBezTo>
                    <a:pt x="7223186" y="1214940"/>
                    <a:pt x="7279476" y="1157086"/>
                    <a:pt x="7341239" y="1078904"/>
                  </a:cubicBezTo>
                  <a:lnTo>
                    <a:pt x="7541384" y="1178977"/>
                  </a:lnTo>
                  <a:cubicBezTo>
                    <a:pt x="7441311" y="1349412"/>
                    <a:pt x="7302930" y="1431503"/>
                    <a:pt x="7084022" y="1431503"/>
                  </a:cubicBezTo>
                  <a:cubicBezTo>
                    <a:pt x="6807260" y="1431503"/>
                    <a:pt x="6572715" y="1221195"/>
                    <a:pt x="6572715" y="906123"/>
                  </a:cubicBezTo>
                  <a:cubicBezTo>
                    <a:pt x="6572715" y="591052"/>
                    <a:pt x="6808041" y="380744"/>
                    <a:pt x="7096531" y="380744"/>
                  </a:cubicBezTo>
                  <a:moveTo>
                    <a:pt x="3482984" y="629361"/>
                  </a:moveTo>
                  <a:lnTo>
                    <a:pt x="3779292" y="629361"/>
                  </a:lnTo>
                  <a:lnTo>
                    <a:pt x="3779292" y="1403357"/>
                  </a:lnTo>
                  <a:lnTo>
                    <a:pt x="4031818" y="1403357"/>
                  </a:lnTo>
                  <a:lnTo>
                    <a:pt x="4031818" y="629361"/>
                  </a:lnTo>
                  <a:lnTo>
                    <a:pt x="4328126" y="629361"/>
                  </a:lnTo>
                  <a:lnTo>
                    <a:pt x="4328126" y="408889"/>
                  </a:lnTo>
                  <a:lnTo>
                    <a:pt x="3482984" y="408889"/>
                  </a:lnTo>
                  <a:lnTo>
                    <a:pt x="3482984" y="629361"/>
                  </a:lnTo>
                  <a:close/>
                  <a:moveTo>
                    <a:pt x="9156612" y="1194613"/>
                  </a:moveTo>
                  <a:cubicBezTo>
                    <a:pt x="9305157" y="1194613"/>
                    <a:pt x="9443539" y="1088286"/>
                    <a:pt x="9443539" y="906123"/>
                  </a:cubicBezTo>
                  <a:cubicBezTo>
                    <a:pt x="9443539" y="723960"/>
                    <a:pt x="9305157" y="617634"/>
                    <a:pt x="9156612" y="617634"/>
                  </a:cubicBezTo>
                  <a:cubicBezTo>
                    <a:pt x="9008067" y="617634"/>
                    <a:pt x="8869687" y="723960"/>
                    <a:pt x="8869687" y="906123"/>
                  </a:cubicBezTo>
                  <a:cubicBezTo>
                    <a:pt x="8869687" y="1088286"/>
                    <a:pt x="9008067" y="1194613"/>
                    <a:pt x="9156612" y="1194613"/>
                  </a:cubicBezTo>
                  <a:moveTo>
                    <a:pt x="9156612" y="380744"/>
                  </a:moveTo>
                  <a:cubicBezTo>
                    <a:pt x="9429466" y="380744"/>
                    <a:pt x="9699973" y="557434"/>
                    <a:pt x="9699973" y="906123"/>
                  </a:cubicBezTo>
                  <a:cubicBezTo>
                    <a:pt x="9699973" y="1254813"/>
                    <a:pt x="9429466" y="1431503"/>
                    <a:pt x="9156612" y="1431503"/>
                  </a:cubicBezTo>
                  <a:cubicBezTo>
                    <a:pt x="8883759" y="1431503"/>
                    <a:pt x="8613251" y="1254813"/>
                    <a:pt x="8613251" y="906123"/>
                  </a:cubicBezTo>
                  <a:cubicBezTo>
                    <a:pt x="8613251" y="557434"/>
                    <a:pt x="8883759" y="380744"/>
                    <a:pt x="9156612" y="380744"/>
                  </a:cubicBezTo>
                  <a:moveTo>
                    <a:pt x="10704605" y="408889"/>
                  </a:moveTo>
                  <a:lnTo>
                    <a:pt x="10430188" y="1105486"/>
                  </a:lnTo>
                  <a:lnTo>
                    <a:pt x="10155772" y="408889"/>
                  </a:lnTo>
                  <a:lnTo>
                    <a:pt x="9825845" y="408889"/>
                  </a:lnTo>
                  <a:lnTo>
                    <a:pt x="9825845" y="1401012"/>
                  </a:lnTo>
                  <a:lnTo>
                    <a:pt x="10065863" y="1401012"/>
                  </a:lnTo>
                  <a:lnTo>
                    <a:pt x="10065863" y="772433"/>
                  </a:lnTo>
                  <a:lnTo>
                    <a:pt x="10331680" y="1401012"/>
                  </a:lnTo>
                  <a:lnTo>
                    <a:pt x="10527915" y="1401012"/>
                  </a:lnTo>
                  <a:lnTo>
                    <a:pt x="10793732" y="772433"/>
                  </a:lnTo>
                  <a:lnTo>
                    <a:pt x="10793732" y="1401012"/>
                  </a:lnTo>
                  <a:lnTo>
                    <a:pt x="11033749" y="1401012"/>
                  </a:lnTo>
                  <a:lnTo>
                    <a:pt x="11033749" y="408889"/>
                  </a:lnTo>
                  <a:lnTo>
                    <a:pt x="10704605" y="408889"/>
                  </a:lnTo>
                  <a:close/>
                  <a:moveTo>
                    <a:pt x="264253" y="3067841"/>
                  </a:moveTo>
                  <a:lnTo>
                    <a:pt x="264253" y="2666770"/>
                  </a:lnTo>
                  <a:lnTo>
                    <a:pt x="570725" y="2666770"/>
                  </a:lnTo>
                  <a:cubicBezTo>
                    <a:pt x="741160" y="2666770"/>
                    <a:pt x="819342" y="2742606"/>
                    <a:pt x="819342" y="2866915"/>
                  </a:cubicBezTo>
                  <a:cubicBezTo>
                    <a:pt x="819342" y="2991223"/>
                    <a:pt x="741160" y="3067059"/>
                    <a:pt x="570725" y="3067059"/>
                  </a:cubicBezTo>
                  <a:lnTo>
                    <a:pt x="264253" y="3067059"/>
                  </a:lnTo>
                  <a:close/>
                  <a:moveTo>
                    <a:pt x="0" y="3304731"/>
                  </a:moveTo>
                  <a:lnTo>
                    <a:pt x="591052" y="3304731"/>
                  </a:lnTo>
                  <a:cubicBezTo>
                    <a:pt x="877978" y="3304731"/>
                    <a:pt x="1084377" y="3142113"/>
                    <a:pt x="1084377" y="2867696"/>
                  </a:cubicBezTo>
                  <a:cubicBezTo>
                    <a:pt x="1084377" y="2593279"/>
                    <a:pt x="877978" y="2434571"/>
                    <a:pt x="591052" y="2434571"/>
                  </a:cubicBezTo>
                  <a:lnTo>
                    <a:pt x="264253" y="2434571"/>
                  </a:lnTo>
                  <a:lnTo>
                    <a:pt x="264253" y="2133572"/>
                  </a:lnTo>
                  <a:lnTo>
                    <a:pt x="983523" y="2133572"/>
                  </a:lnTo>
                  <a:lnTo>
                    <a:pt x="983523" y="1901373"/>
                  </a:lnTo>
                  <a:lnTo>
                    <a:pt x="0" y="1901373"/>
                  </a:lnTo>
                  <a:lnTo>
                    <a:pt x="0" y="3304731"/>
                  </a:lnTo>
                  <a:close/>
                  <a:moveTo>
                    <a:pt x="1243085" y="3304731"/>
                  </a:moveTo>
                  <a:lnTo>
                    <a:pt x="1503430" y="3304731"/>
                  </a:lnTo>
                  <a:lnTo>
                    <a:pt x="1936555" y="2649570"/>
                  </a:lnTo>
                  <a:lnTo>
                    <a:pt x="1936555" y="3304731"/>
                  </a:lnTo>
                  <a:lnTo>
                    <a:pt x="2177354" y="3304731"/>
                  </a:lnTo>
                  <a:lnTo>
                    <a:pt x="2177354" y="2310262"/>
                  </a:lnTo>
                  <a:lnTo>
                    <a:pt x="1917009" y="2310262"/>
                  </a:lnTo>
                  <a:lnTo>
                    <a:pt x="1483884" y="2965423"/>
                  </a:lnTo>
                  <a:lnTo>
                    <a:pt x="1483884" y="2310262"/>
                  </a:lnTo>
                  <a:lnTo>
                    <a:pt x="1243085" y="2310262"/>
                  </a:lnTo>
                  <a:lnTo>
                    <a:pt x="1243085" y="3304731"/>
                  </a:lnTo>
                  <a:close/>
                  <a:moveTo>
                    <a:pt x="3183549" y="3015459"/>
                  </a:moveTo>
                  <a:cubicBezTo>
                    <a:pt x="3183549" y="2888805"/>
                    <a:pt x="3097549" y="2812969"/>
                    <a:pt x="2974805" y="2778569"/>
                  </a:cubicBezTo>
                  <a:cubicBezTo>
                    <a:pt x="3077222" y="2738697"/>
                    <a:pt x="3142895" y="2665988"/>
                    <a:pt x="3142895" y="2547934"/>
                  </a:cubicBezTo>
                  <a:cubicBezTo>
                    <a:pt x="3142895" y="2395480"/>
                    <a:pt x="3030314" y="2281335"/>
                    <a:pt x="2772315" y="2281335"/>
                  </a:cubicBezTo>
                  <a:cubicBezTo>
                    <a:pt x="2519789" y="2281335"/>
                    <a:pt x="2377498" y="2413462"/>
                    <a:pt x="2377498" y="2572170"/>
                  </a:cubicBezTo>
                  <a:cubicBezTo>
                    <a:pt x="2377498" y="2610479"/>
                    <a:pt x="2385316" y="2640188"/>
                    <a:pt x="2397825" y="2672243"/>
                  </a:cubicBezTo>
                  <a:lnTo>
                    <a:pt x="2612043" y="2600316"/>
                  </a:lnTo>
                  <a:cubicBezTo>
                    <a:pt x="2608134" y="2590152"/>
                    <a:pt x="2605788" y="2579989"/>
                    <a:pt x="2605788" y="2564352"/>
                  </a:cubicBezTo>
                  <a:cubicBezTo>
                    <a:pt x="2605788" y="2515880"/>
                    <a:pt x="2669897" y="2478353"/>
                    <a:pt x="2769969" y="2478353"/>
                  </a:cubicBezTo>
                  <a:cubicBezTo>
                    <a:pt x="2863787" y="2478353"/>
                    <a:pt x="2908351" y="2518225"/>
                    <a:pt x="2908351" y="2578425"/>
                  </a:cubicBezTo>
                  <a:cubicBezTo>
                    <a:pt x="2908351" y="2642534"/>
                    <a:pt x="2862223" y="2686315"/>
                    <a:pt x="2754333" y="2686315"/>
                  </a:cubicBezTo>
                  <a:lnTo>
                    <a:pt x="2678497" y="2686315"/>
                  </a:lnTo>
                  <a:lnTo>
                    <a:pt x="2678497" y="2886460"/>
                  </a:lnTo>
                  <a:lnTo>
                    <a:pt x="2760587" y="2886460"/>
                  </a:lnTo>
                  <a:cubicBezTo>
                    <a:pt x="2873169" y="2886460"/>
                    <a:pt x="2938841" y="2930242"/>
                    <a:pt x="2938841" y="3004514"/>
                  </a:cubicBezTo>
                  <a:cubicBezTo>
                    <a:pt x="2938841" y="3080350"/>
                    <a:pt x="2870823" y="3135077"/>
                    <a:pt x="2748079" y="3135077"/>
                  </a:cubicBezTo>
                  <a:cubicBezTo>
                    <a:pt x="2663642" y="3135077"/>
                    <a:pt x="2579988" y="3091295"/>
                    <a:pt x="2579988" y="3008423"/>
                  </a:cubicBezTo>
                  <a:cubicBezTo>
                    <a:pt x="2579988" y="2988096"/>
                    <a:pt x="2583898" y="2972460"/>
                    <a:pt x="2590152" y="2958387"/>
                  </a:cubicBezTo>
                  <a:lnTo>
                    <a:pt x="2377498" y="2890369"/>
                  </a:lnTo>
                  <a:cubicBezTo>
                    <a:pt x="2365771" y="2916169"/>
                    <a:pt x="2353262" y="2964641"/>
                    <a:pt x="2353262" y="3010768"/>
                  </a:cubicBezTo>
                  <a:cubicBezTo>
                    <a:pt x="2353262" y="3192931"/>
                    <a:pt x="2491643" y="3331312"/>
                    <a:pt x="2748079" y="3331312"/>
                  </a:cubicBezTo>
                  <a:cubicBezTo>
                    <a:pt x="3029532" y="3332094"/>
                    <a:pt x="3183549" y="3203877"/>
                    <a:pt x="3183549" y="3015459"/>
                  </a:cubicBezTo>
                  <a:moveTo>
                    <a:pt x="3354767" y="3304731"/>
                  </a:moveTo>
                  <a:lnTo>
                    <a:pt x="3607293" y="3304731"/>
                  </a:lnTo>
                  <a:lnTo>
                    <a:pt x="3607293" y="2902096"/>
                  </a:lnTo>
                  <a:lnTo>
                    <a:pt x="4020091" y="2902096"/>
                  </a:lnTo>
                  <a:lnTo>
                    <a:pt x="4020091" y="3304731"/>
                  </a:lnTo>
                  <a:lnTo>
                    <a:pt x="4272617" y="3304731"/>
                  </a:lnTo>
                  <a:lnTo>
                    <a:pt x="4272617" y="2310262"/>
                  </a:lnTo>
                  <a:lnTo>
                    <a:pt x="4020091" y="2310262"/>
                  </a:lnTo>
                  <a:lnTo>
                    <a:pt x="4020091" y="2680843"/>
                  </a:lnTo>
                  <a:lnTo>
                    <a:pt x="3607293" y="2680843"/>
                  </a:lnTo>
                  <a:lnTo>
                    <a:pt x="3607293" y="2310262"/>
                  </a:lnTo>
                  <a:lnTo>
                    <a:pt x="3354767" y="2310262"/>
                  </a:lnTo>
                  <a:lnTo>
                    <a:pt x="3354767" y="3304731"/>
                  </a:lnTo>
                  <a:close/>
                  <a:moveTo>
                    <a:pt x="4663524" y="2675370"/>
                  </a:moveTo>
                  <a:cubicBezTo>
                    <a:pt x="4699488" y="2562789"/>
                    <a:pt x="4799560" y="2475225"/>
                    <a:pt x="4932468" y="2475225"/>
                  </a:cubicBezTo>
                  <a:cubicBezTo>
                    <a:pt x="5072413" y="2475225"/>
                    <a:pt x="5167013" y="2551062"/>
                    <a:pt x="5191249" y="2675370"/>
                  </a:cubicBezTo>
                  <a:lnTo>
                    <a:pt x="4663524" y="2675370"/>
                  </a:lnTo>
                  <a:moveTo>
                    <a:pt x="4931687" y="3116313"/>
                  </a:moveTo>
                  <a:cubicBezTo>
                    <a:pt x="4783142" y="3116313"/>
                    <a:pt x="4675252" y="3020150"/>
                    <a:pt x="4658833" y="2867696"/>
                  </a:cubicBezTo>
                  <a:lnTo>
                    <a:pt x="5424230" y="2867696"/>
                  </a:lnTo>
                  <a:lnTo>
                    <a:pt x="5424230" y="2779351"/>
                  </a:lnTo>
                  <a:cubicBezTo>
                    <a:pt x="5424230" y="2488516"/>
                    <a:pt x="5224085" y="2282117"/>
                    <a:pt x="4939505" y="2282117"/>
                  </a:cubicBezTo>
                  <a:cubicBezTo>
                    <a:pt x="4651015" y="2282117"/>
                    <a:pt x="4416471" y="2492425"/>
                    <a:pt x="4416471" y="2807497"/>
                  </a:cubicBezTo>
                  <a:cubicBezTo>
                    <a:pt x="4416471" y="3122568"/>
                    <a:pt x="4651015" y="3332876"/>
                    <a:pt x="4927778" y="3332876"/>
                  </a:cubicBezTo>
                  <a:cubicBezTo>
                    <a:pt x="5145904" y="3332876"/>
                    <a:pt x="5284285" y="3250786"/>
                    <a:pt x="5384357" y="3080350"/>
                  </a:cubicBezTo>
                  <a:lnTo>
                    <a:pt x="5184213" y="2980278"/>
                  </a:lnTo>
                  <a:cubicBezTo>
                    <a:pt x="5122449" y="3057677"/>
                    <a:pt x="5066159" y="3116313"/>
                    <a:pt x="4931687" y="3116313"/>
                  </a:cubicBezTo>
                  <a:moveTo>
                    <a:pt x="6084081" y="3332094"/>
                  </a:moveTo>
                  <a:cubicBezTo>
                    <a:pt x="6296735" y="3332094"/>
                    <a:pt x="6439025" y="3235931"/>
                    <a:pt x="6539098" y="3065495"/>
                  </a:cubicBezTo>
                  <a:lnTo>
                    <a:pt x="6330353" y="2951350"/>
                  </a:lnTo>
                  <a:cubicBezTo>
                    <a:pt x="6270153" y="3035787"/>
                    <a:pt x="6206044" y="3095986"/>
                    <a:pt x="6081736" y="3095986"/>
                  </a:cubicBezTo>
                  <a:cubicBezTo>
                    <a:pt x="5929282" y="3095986"/>
                    <a:pt x="5817483" y="2985750"/>
                    <a:pt x="5817483" y="2807497"/>
                  </a:cubicBezTo>
                  <a:cubicBezTo>
                    <a:pt x="5817483" y="2630806"/>
                    <a:pt x="5933973" y="2519007"/>
                    <a:pt x="6081736" y="2519007"/>
                  </a:cubicBezTo>
                  <a:cubicBezTo>
                    <a:pt x="6171645" y="2519007"/>
                    <a:pt x="6249826" y="2561225"/>
                    <a:pt x="6312372" y="2655043"/>
                  </a:cubicBezTo>
                  <a:lnTo>
                    <a:pt x="6528934" y="2530734"/>
                  </a:lnTo>
                  <a:cubicBezTo>
                    <a:pt x="6457007" y="2376717"/>
                    <a:pt x="6300644" y="2282117"/>
                    <a:pt x="6084081" y="2282117"/>
                  </a:cubicBezTo>
                  <a:cubicBezTo>
                    <a:pt x="5801846" y="2282117"/>
                    <a:pt x="5561047" y="2490862"/>
                    <a:pt x="5561047" y="2807497"/>
                  </a:cubicBezTo>
                  <a:cubicBezTo>
                    <a:pt x="5561047" y="3124132"/>
                    <a:pt x="5789337" y="3332094"/>
                    <a:pt x="6084081" y="3332094"/>
                  </a:cubicBezTo>
                </a:path>
              </a:pathLst>
            </a:custGeom>
            <a:solidFill>
              <a:srgbClr val="101828"/>
            </a:solidFill>
            <a:ln w="7818" cap="flat">
              <a:noFill/>
              <a:prstDash val="solid"/>
              <a:miter/>
            </a:ln>
          </p:spPr>
          <p:txBody>
            <a:bodyPr rtlCol="0" anchor="ctr"/>
            <a:lstStyle/>
            <a:p>
              <a:endParaRPr lang="ru-RU" sz="1587" dirty="0"/>
            </a:p>
          </p:txBody>
        </p:sp>
        <p:grpSp>
          <p:nvGrpSpPr>
            <p:cNvPr id="61" name="Рисунок 25">
              <a:extLst>
                <a:ext uri="{FF2B5EF4-FFF2-40B4-BE49-F238E27FC236}">
                  <a16:creationId xmlns:a16="http://schemas.microsoft.com/office/drawing/2014/main" id="{F2597825-2995-403E-A872-DDD1D81760B7}"/>
                </a:ext>
              </a:extLst>
            </p:cNvPr>
            <p:cNvGrpSpPr/>
            <p:nvPr/>
          </p:nvGrpSpPr>
          <p:grpSpPr>
            <a:xfrm>
              <a:off x="-233" y="1916027"/>
              <a:ext cx="2345677" cy="3909073"/>
              <a:chOff x="-233" y="1916027"/>
              <a:chExt cx="2345677" cy="3909073"/>
            </a:xfrm>
          </p:grpSpPr>
          <p:sp>
            <p:nvSpPr>
              <p:cNvPr id="62" name="Полилиния: фигура 61">
                <a:extLst>
                  <a:ext uri="{FF2B5EF4-FFF2-40B4-BE49-F238E27FC236}">
                    <a16:creationId xmlns:a16="http://schemas.microsoft.com/office/drawing/2014/main" id="{6E02F7DC-8BA8-47A2-8A38-AEC0CB8FE70E}"/>
                  </a:ext>
                </a:extLst>
              </p:cNvPr>
              <p:cNvSpPr/>
              <p:nvPr/>
            </p:nvSpPr>
            <p:spPr>
              <a:xfrm>
                <a:off x="88345" y="4800141"/>
                <a:ext cx="1777846" cy="1024959"/>
              </a:xfrm>
              <a:custGeom>
                <a:avLst/>
                <a:gdLst>
                  <a:gd name="connsiteX0" fmla="*/ 1777846 w 1777846"/>
                  <a:gd name="connsiteY0" fmla="*/ 1024959 h 1024959"/>
                  <a:gd name="connsiteX1" fmla="*/ 182945 w 1777846"/>
                  <a:gd name="connsiteY1" fmla="*/ 1024959 h 1024959"/>
                  <a:gd name="connsiteX2" fmla="*/ 0 w 1777846"/>
                  <a:gd name="connsiteY2" fmla="*/ 831851 h 1024959"/>
                  <a:gd name="connsiteX3" fmla="*/ 56291 w 1777846"/>
                  <a:gd name="connsiteY3" fmla="*/ 695815 h 1024959"/>
                  <a:gd name="connsiteX4" fmla="*/ 752106 w 1777846"/>
                  <a:gd name="connsiteY4" fmla="*/ 0 h 1024959"/>
                  <a:gd name="connsiteX5" fmla="*/ 1777846 w 1777846"/>
                  <a:gd name="connsiteY5" fmla="*/ 1024959 h 10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7846" h="1024959">
                    <a:moveTo>
                      <a:pt x="1777846" y="1024959"/>
                    </a:moveTo>
                    <a:lnTo>
                      <a:pt x="182945" y="1024959"/>
                    </a:lnTo>
                    <a:cubicBezTo>
                      <a:pt x="68018" y="1024959"/>
                      <a:pt x="0" y="921759"/>
                      <a:pt x="0" y="831851"/>
                    </a:cubicBezTo>
                    <a:cubicBezTo>
                      <a:pt x="0" y="778688"/>
                      <a:pt x="21891" y="730215"/>
                      <a:pt x="56291" y="695815"/>
                    </a:cubicBezTo>
                    <a:lnTo>
                      <a:pt x="752106" y="0"/>
                    </a:lnTo>
                    <a:lnTo>
                      <a:pt x="1777846" y="1024959"/>
                    </a:lnTo>
                    <a:close/>
                  </a:path>
                </a:pathLst>
              </a:custGeom>
              <a:solidFill>
                <a:srgbClr val="FF4F12"/>
              </a:solidFill>
              <a:ln w="7818" cap="flat">
                <a:noFill/>
                <a:prstDash val="solid"/>
                <a:miter/>
              </a:ln>
            </p:spPr>
            <p:txBody>
              <a:bodyPr rtlCol="0" anchor="ctr"/>
              <a:lstStyle/>
              <a:p>
                <a:endParaRPr lang="ru-RU" sz="1587" dirty="0"/>
              </a:p>
            </p:txBody>
          </p:sp>
          <p:sp>
            <p:nvSpPr>
              <p:cNvPr id="63" name="Полилиния: фигура 62">
                <a:extLst>
                  <a:ext uri="{FF2B5EF4-FFF2-40B4-BE49-F238E27FC236}">
                    <a16:creationId xmlns:a16="http://schemas.microsoft.com/office/drawing/2014/main" id="{F342FB6E-5003-4EEF-918A-1B62F9BE5E53}"/>
                  </a:ext>
                </a:extLst>
              </p:cNvPr>
              <p:cNvSpPr/>
              <p:nvPr/>
            </p:nvSpPr>
            <p:spPr>
              <a:xfrm>
                <a:off x="-233" y="1916027"/>
                <a:ext cx="2345677" cy="3909073"/>
              </a:xfrm>
              <a:custGeom>
                <a:avLst/>
                <a:gdLst>
                  <a:gd name="connsiteX0" fmla="*/ 271523 w 2345677"/>
                  <a:gd name="connsiteY0" fmla="*/ 3909074 h 3909073"/>
                  <a:gd name="connsiteX1" fmla="*/ 234 w 2345677"/>
                  <a:gd name="connsiteY1" fmla="*/ 3621366 h 3909073"/>
                  <a:gd name="connsiteX2" fmla="*/ 234 w 2345677"/>
                  <a:gd name="connsiteY2" fmla="*/ 1476848 h 3909073"/>
                  <a:gd name="connsiteX3" fmla="*/ 192560 w 2345677"/>
                  <a:gd name="connsiteY3" fmla="*/ 776342 h 3909073"/>
                  <a:gd name="connsiteX4" fmla="*/ 968902 w 2345677"/>
                  <a:gd name="connsiteY4" fmla="*/ 0 h 3909073"/>
                  <a:gd name="connsiteX5" fmla="*/ 2345678 w 2345677"/>
                  <a:gd name="connsiteY5" fmla="*/ 1379121 h 3909073"/>
                  <a:gd name="connsiteX6" fmla="*/ 144869 w 2345677"/>
                  <a:gd name="connsiteY6" fmla="*/ 3579930 h 3909073"/>
                  <a:gd name="connsiteX7" fmla="*/ 88579 w 2345677"/>
                  <a:gd name="connsiteY7" fmla="*/ 3715965 h 3909073"/>
                  <a:gd name="connsiteX8" fmla="*/ 271523 w 2345677"/>
                  <a:gd name="connsiteY8" fmla="*/ 3909074 h 39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677" h="3909073">
                    <a:moveTo>
                      <a:pt x="271523" y="3909074"/>
                    </a:moveTo>
                    <a:cubicBezTo>
                      <a:pt x="151124" y="3909074"/>
                      <a:pt x="234" y="3812910"/>
                      <a:pt x="234" y="3621366"/>
                    </a:cubicBezTo>
                    <a:lnTo>
                      <a:pt x="234" y="1476848"/>
                    </a:lnTo>
                    <a:cubicBezTo>
                      <a:pt x="234" y="1186795"/>
                      <a:pt x="-14621" y="983523"/>
                      <a:pt x="192560" y="776342"/>
                    </a:cubicBezTo>
                    <a:lnTo>
                      <a:pt x="968902" y="0"/>
                    </a:lnTo>
                    <a:lnTo>
                      <a:pt x="2345678" y="1379121"/>
                    </a:lnTo>
                    <a:lnTo>
                      <a:pt x="144869" y="3579930"/>
                    </a:lnTo>
                    <a:cubicBezTo>
                      <a:pt x="109688" y="3615111"/>
                      <a:pt x="88579" y="3662802"/>
                      <a:pt x="88579" y="3715965"/>
                    </a:cubicBezTo>
                    <a:cubicBezTo>
                      <a:pt x="88579" y="3805874"/>
                      <a:pt x="156597" y="3909074"/>
                      <a:pt x="271523" y="3909074"/>
                    </a:cubicBezTo>
                    <a:close/>
                  </a:path>
                </a:pathLst>
              </a:custGeom>
              <a:solidFill>
                <a:srgbClr val="7B939B"/>
              </a:solidFill>
              <a:ln w="7818" cap="flat">
                <a:noFill/>
                <a:prstDash val="solid"/>
                <a:miter/>
              </a:ln>
            </p:spPr>
            <p:txBody>
              <a:bodyPr rtlCol="0" anchor="ctr"/>
              <a:lstStyle/>
              <a:p>
                <a:endParaRPr lang="ru-RU" sz="1587" dirty="0"/>
              </a:p>
            </p:txBody>
          </p:sp>
        </p:grpSp>
      </p:grpSp>
      <p:grpSp>
        <p:nvGrpSpPr>
          <p:cNvPr id="64" name="Рисунок 37">
            <a:extLst>
              <a:ext uri="{FF2B5EF4-FFF2-40B4-BE49-F238E27FC236}">
                <a16:creationId xmlns:a16="http://schemas.microsoft.com/office/drawing/2014/main" id="{27CEEDDE-8D97-4CC1-96C0-6B9D75E76F4D}"/>
              </a:ext>
            </a:extLst>
          </p:cNvPr>
          <p:cNvGrpSpPr/>
          <p:nvPr userDrawn="1"/>
        </p:nvGrpSpPr>
        <p:grpSpPr>
          <a:xfrm>
            <a:off x="8137797" y="3577890"/>
            <a:ext cx="4053600" cy="3281919"/>
            <a:chOff x="9231313" y="4054942"/>
            <a:chExt cx="4598303" cy="3719507"/>
          </a:xfrm>
        </p:grpSpPr>
        <p:sp>
          <p:nvSpPr>
            <p:cNvPr id="65" name="Полилиния: фигура 64">
              <a:extLst>
                <a:ext uri="{FF2B5EF4-FFF2-40B4-BE49-F238E27FC236}">
                  <a16:creationId xmlns:a16="http://schemas.microsoft.com/office/drawing/2014/main" id="{367465BE-B539-41F5-889E-30A5054E2F1E}"/>
                </a:ext>
              </a:extLst>
            </p:cNvPr>
            <p:cNvSpPr/>
            <p:nvPr/>
          </p:nvSpPr>
          <p:spPr>
            <a:xfrm>
              <a:off x="9231313" y="4279082"/>
              <a:ext cx="4598303" cy="3495367"/>
            </a:xfrm>
            <a:custGeom>
              <a:avLst/>
              <a:gdLst>
                <a:gd name="connsiteX0" fmla="*/ 4598304 w 4598303"/>
                <a:gd name="connsiteY0" fmla="*/ 0 h 3495367"/>
                <a:gd name="connsiteX1" fmla="*/ 3593087 w 4598303"/>
                <a:gd name="connsiteY1" fmla="*/ 1534818 h 3495367"/>
                <a:gd name="connsiteX2" fmla="*/ 2779893 w 4598303"/>
                <a:gd name="connsiteY2" fmla="*/ 2152572 h 3495367"/>
                <a:gd name="connsiteX3" fmla="*/ 2290610 w 4598303"/>
                <a:gd name="connsiteY3" fmla="*/ 2391064 h 3495367"/>
                <a:gd name="connsiteX4" fmla="*/ 0 w 4598303"/>
                <a:gd name="connsiteY4" fmla="*/ 3495367 h 3495367"/>
                <a:gd name="connsiteX5" fmla="*/ 0 w 4598303"/>
                <a:gd name="connsiteY5" fmla="*/ 3495367 h 3495367"/>
                <a:gd name="connsiteX6" fmla="*/ 4598304 w 4598303"/>
                <a:gd name="connsiteY6" fmla="*/ 3495367 h 3495367"/>
                <a:gd name="connsiteX7" fmla="*/ 4598304 w 4598303"/>
                <a:gd name="connsiteY7" fmla="*/ 0 h 349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8303" h="3495367">
                  <a:moveTo>
                    <a:pt x="4598304" y="0"/>
                  </a:moveTo>
                  <a:cubicBezTo>
                    <a:pt x="4307194" y="720941"/>
                    <a:pt x="3920415" y="1215008"/>
                    <a:pt x="3593087" y="1534818"/>
                  </a:cubicBezTo>
                  <a:cubicBezTo>
                    <a:pt x="3333411" y="1789027"/>
                    <a:pt x="3119521" y="1949615"/>
                    <a:pt x="2779893" y="2152572"/>
                  </a:cubicBezTo>
                  <a:cubicBezTo>
                    <a:pt x="2635705" y="2239359"/>
                    <a:pt x="2449149" y="2314528"/>
                    <a:pt x="2290610" y="2391064"/>
                  </a:cubicBezTo>
                  <a:lnTo>
                    <a:pt x="0" y="3495367"/>
                  </a:lnTo>
                  <a:lnTo>
                    <a:pt x="0" y="3495367"/>
                  </a:lnTo>
                  <a:lnTo>
                    <a:pt x="4598304" y="3495367"/>
                  </a:lnTo>
                  <a:lnTo>
                    <a:pt x="4598304" y="0"/>
                  </a:lnTo>
                  <a:close/>
                </a:path>
              </a:pathLst>
            </a:custGeom>
            <a:solidFill>
              <a:schemeClr val="tx2"/>
            </a:solidFill>
            <a:ln w="6822" cap="flat">
              <a:noFill/>
              <a:prstDash val="solid"/>
              <a:miter/>
            </a:ln>
          </p:spPr>
          <p:txBody>
            <a:bodyPr rtlCol="0" anchor="ctr"/>
            <a:lstStyle/>
            <a:p>
              <a:endParaRPr lang="ru-RU" sz="1587" dirty="0"/>
            </a:p>
          </p:txBody>
        </p:sp>
        <p:grpSp>
          <p:nvGrpSpPr>
            <p:cNvPr id="66" name="Рисунок 37">
              <a:extLst>
                <a:ext uri="{FF2B5EF4-FFF2-40B4-BE49-F238E27FC236}">
                  <a16:creationId xmlns:a16="http://schemas.microsoft.com/office/drawing/2014/main" id="{CC8EF4E9-F907-4463-A048-E2F6EB7DC194}"/>
                </a:ext>
              </a:extLst>
            </p:cNvPr>
            <p:cNvGrpSpPr/>
            <p:nvPr/>
          </p:nvGrpSpPr>
          <p:grpSpPr>
            <a:xfrm>
              <a:off x="11334683" y="6787000"/>
              <a:ext cx="2053485" cy="554201"/>
              <a:chOff x="11334683" y="6787000"/>
              <a:chExt cx="2053485" cy="554201"/>
            </a:xfrm>
            <a:solidFill>
              <a:srgbClr val="FFFFFF"/>
            </a:solidFill>
          </p:grpSpPr>
          <p:sp>
            <p:nvSpPr>
              <p:cNvPr id="68" name="Полилиния: фигура 67">
                <a:extLst>
                  <a:ext uri="{FF2B5EF4-FFF2-40B4-BE49-F238E27FC236}">
                    <a16:creationId xmlns:a16="http://schemas.microsoft.com/office/drawing/2014/main" id="{5CD1B0CD-1072-4B92-B44C-159026C8DBD7}"/>
                  </a:ext>
                </a:extLst>
              </p:cNvPr>
              <p:cNvSpPr/>
              <p:nvPr/>
            </p:nvSpPr>
            <p:spPr>
              <a:xfrm>
                <a:off x="11781598" y="6787000"/>
                <a:ext cx="162638" cy="211840"/>
              </a:xfrm>
              <a:custGeom>
                <a:avLst/>
                <a:gdLst>
                  <a:gd name="connsiteX0" fmla="*/ 64919 w 162638"/>
                  <a:gd name="connsiteY0" fmla="*/ 30068 h 211840"/>
                  <a:gd name="connsiteX1" fmla="*/ 0 w 162638"/>
                  <a:gd name="connsiteY1" fmla="*/ 30068 h 211840"/>
                  <a:gd name="connsiteX2" fmla="*/ 0 w 162638"/>
                  <a:gd name="connsiteY2" fmla="*/ 0 h 211840"/>
                  <a:gd name="connsiteX3" fmla="*/ 162639 w 162638"/>
                  <a:gd name="connsiteY3" fmla="*/ 0 h 211840"/>
                  <a:gd name="connsiteX4" fmla="*/ 162639 w 162638"/>
                  <a:gd name="connsiteY4" fmla="*/ 30068 h 211840"/>
                  <a:gd name="connsiteX5" fmla="*/ 97720 w 162638"/>
                  <a:gd name="connsiteY5" fmla="*/ 30068 h 211840"/>
                  <a:gd name="connsiteX6" fmla="*/ 97720 w 162638"/>
                  <a:gd name="connsiteY6" fmla="*/ 211840 h 211840"/>
                  <a:gd name="connsiteX7" fmla="*/ 64919 w 162638"/>
                  <a:gd name="connsiteY7" fmla="*/ 211840 h 211840"/>
                  <a:gd name="connsiteX8" fmla="*/ 64919 w 162638"/>
                  <a:gd name="connsiteY8" fmla="*/ 30068 h 21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38" h="211840">
                    <a:moveTo>
                      <a:pt x="64919" y="30068"/>
                    </a:moveTo>
                    <a:lnTo>
                      <a:pt x="0" y="30068"/>
                    </a:lnTo>
                    <a:lnTo>
                      <a:pt x="0" y="0"/>
                    </a:lnTo>
                    <a:lnTo>
                      <a:pt x="162639" y="0"/>
                    </a:lnTo>
                    <a:lnTo>
                      <a:pt x="162639" y="30068"/>
                    </a:lnTo>
                    <a:lnTo>
                      <a:pt x="97720" y="30068"/>
                    </a:lnTo>
                    <a:lnTo>
                      <a:pt x="97720" y="211840"/>
                    </a:lnTo>
                    <a:lnTo>
                      <a:pt x="64919" y="211840"/>
                    </a:lnTo>
                    <a:lnTo>
                      <a:pt x="64919" y="30068"/>
                    </a:lnTo>
                    <a:close/>
                  </a:path>
                </a:pathLst>
              </a:custGeom>
              <a:solidFill>
                <a:srgbClr val="FFFFFF"/>
              </a:solidFill>
              <a:ln w="6822"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4EFCFF63-64AC-4A89-BE2B-47F582012655}"/>
                  </a:ext>
                </a:extLst>
              </p:cNvPr>
              <p:cNvSpPr/>
              <p:nvPr/>
            </p:nvSpPr>
            <p:spPr>
              <a:xfrm>
                <a:off x="11933303" y="6844402"/>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3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8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3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3"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8" y="86103"/>
                    </a:lnTo>
                    <a:cubicBezTo>
                      <a:pt x="32118" y="112754"/>
                      <a:pt x="49885" y="131204"/>
                      <a:pt x="76536" y="131204"/>
                    </a:cubicBezTo>
                    <a:close/>
                    <a:moveTo>
                      <a:pt x="30751" y="61502"/>
                    </a:moveTo>
                    <a:lnTo>
                      <a:pt x="119587" y="61502"/>
                    </a:lnTo>
                    <a:cubicBezTo>
                      <a:pt x="116854" y="38268"/>
                      <a:pt x="99087" y="24601"/>
                      <a:pt x="75853" y="24601"/>
                    </a:cubicBezTo>
                    <a:cubicBezTo>
                      <a:pt x="53302" y="24601"/>
                      <a:pt x="36218"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70" name="Полилиния: фигура 69">
                <a:extLst>
                  <a:ext uri="{FF2B5EF4-FFF2-40B4-BE49-F238E27FC236}">
                    <a16:creationId xmlns:a16="http://schemas.microsoft.com/office/drawing/2014/main" id="{67BA3BAA-5C9F-4EB8-BBBD-88804D2BCB92}"/>
                  </a:ext>
                </a:extLst>
              </p:cNvPr>
              <p:cNvSpPr/>
              <p:nvPr/>
            </p:nvSpPr>
            <p:spPr>
              <a:xfrm>
                <a:off x="12089791" y="6848502"/>
                <a:ext cx="142821" cy="150338"/>
              </a:xfrm>
              <a:custGeom>
                <a:avLst/>
                <a:gdLst>
                  <a:gd name="connsiteX0" fmla="*/ 100453 w 142821"/>
                  <a:gd name="connsiteY0" fmla="*/ 0 h 150338"/>
                  <a:gd name="connsiteX1" fmla="*/ 135988 w 142821"/>
                  <a:gd name="connsiteY1" fmla="*/ 0 h 150338"/>
                  <a:gd name="connsiteX2" fmla="*/ 90203 w 142821"/>
                  <a:gd name="connsiteY2" fmla="*/ 69702 h 150338"/>
                  <a:gd name="connsiteX3" fmla="*/ 142822 w 142821"/>
                  <a:gd name="connsiteY3" fmla="*/ 150338 h 150338"/>
                  <a:gd name="connsiteX4" fmla="*/ 106604 w 142821"/>
                  <a:gd name="connsiteY4" fmla="*/ 150338 h 150338"/>
                  <a:gd name="connsiteX5" fmla="*/ 71752 w 142821"/>
                  <a:gd name="connsiteY5" fmla="*/ 94987 h 150338"/>
                  <a:gd name="connsiteX6" fmla="*/ 36218 w 142821"/>
                  <a:gd name="connsiteY6" fmla="*/ 150338 h 150338"/>
                  <a:gd name="connsiteX7" fmla="*/ 0 w 142821"/>
                  <a:gd name="connsiteY7" fmla="*/ 150338 h 150338"/>
                  <a:gd name="connsiteX8" fmla="*/ 54668 w 142821"/>
                  <a:gd name="connsiteY8" fmla="*/ 71069 h 150338"/>
                  <a:gd name="connsiteX9" fmla="*/ 7517 w 142821"/>
                  <a:gd name="connsiteY9" fmla="*/ 683 h 150338"/>
                  <a:gd name="connsiteX10" fmla="*/ 43052 w 142821"/>
                  <a:gd name="connsiteY10" fmla="*/ 683 h 150338"/>
                  <a:gd name="connsiteX11" fmla="*/ 71752 w 142821"/>
                  <a:gd name="connsiteY11" fmla="*/ 46468 h 150338"/>
                  <a:gd name="connsiteX12" fmla="*/ 100453 w 142821"/>
                  <a:gd name="connsiteY12"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21" h="150338">
                    <a:moveTo>
                      <a:pt x="100453" y="0"/>
                    </a:moveTo>
                    <a:lnTo>
                      <a:pt x="135988" y="0"/>
                    </a:lnTo>
                    <a:lnTo>
                      <a:pt x="90203" y="69702"/>
                    </a:lnTo>
                    <a:lnTo>
                      <a:pt x="142822" y="150338"/>
                    </a:lnTo>
                    <a:lnTo>
                      <a:pt x="106604" y="150338"/>
                    </a:lnTo>
                    <a:lnTo>
                      <a:pt x="71752" y="94987"/>
                    </a:lnTo>
                    <a:lnTo>
                      <a:pt x="36218" y="150338"/>
                    </a:lnTo>
                    <a:lnTo>
                      <a:pt x="0" y="150338"/>
                    </a:lnTo>
                    <a:lnTo>
                      <a:pt x="54668" y="71069"/>
                    </a:lnTo>
                    <a:lnTo>
                      <a:pt x="7517" y="683"/>
                    </a:lnTo>
                    <a:lnTo>
                      <a:pt x="43052" y="683"/>
                    </a:lnTo>
                    <a:lnTo>
                      <a:pt x="71752" y="46468"/>
                    </a:lnTo>
                    <a:lnTo>
                      <a:pt x="100453" y="0"/>
                    </a:lnTo>
                    <a:close/>
                  </a:path>
                </a:pathLst>
              </a:custGeom>
              <a:solidFill>
                <a:srgbClr val="FFFFFF"/>
              </a:solidFill>
              <a:ln w="6822" cap="flat">
                <a:noFill/>
                <a:prstDash val="solid"/>
                <a:miter/>
              </a:ln>
            </p:spPr>
            <p:txBody>
              <a:bodyPr rtlCol="0" anchor="ctr"/>
              <a:lstStyle/>
              <a:p>
                <a:endParaRPr lang="ru-RU" sz="1587" dirty="0"/>
              </a:p>
            </p:txBody>
          </p:sp>
          <p:sp>
            <p:nvSpPr>
              <p:cNvPr id="71" name="Полилиния: фигура 70">
                <a:extLst>
                  <a:ext uri="{FF2B5EF4-FFF2-40B4-BE49-F238E27FC236}">
                    <a16:creationId xmlns:a16="http://schemas.microsoft.com/office/drawing/2014/main" id="{BA89D9EB-77D1-4FDE-83E5-58756456CDF2}"/>
                  </a:ext>
                </a:extLst>
              </p:cNvPr>
              <p:cNvSpPr/>
              <p:nvPr/>
            </p:nvSpPr>
            <p:spPr>
              <a:xfrm>
                <a:off x="12253797" y="6848502"/>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2" name="Полилиния: фигура 71">
                <a:extLst>
                  <a:ext uri="{FF2B5EF4-FFF2-40B4-BE49-F238E27FC236}">
                    <a16:creationId xmlns:a16="http://schemas.microsoft.com/office/drawing/2014/main" id="{A4AC09ED-E17D-4660-9F20-7E809E87754D}"/>
                  </a:ext>
                </a:extLst>
              </p:cNvPr>
              <p:cNvSpPr/>
              <p:nvPr/>
            </p:nvSpPr>
            <p:spPr>
              <a:xfrm>
                <a:off x="12416436" y="6844402"/>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1204"/>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73" name="Полилиния: фигура 72">
                <a:extLst>
                  <a:ext uri="{FF2B5EF4-FFF2-40B4-BE49-F238E27FC236}">
                    <a16:creationId xmlns:a16="http://schemas.microsoft.com/office/drawing/2014/main" id="{7D6604E1-788E-4980-A0B4-504FEEC7D199}"/>
                  </a:ext>
                </a:extLst>
              </p:cNvPr>
              <p:cNvSpPr/>
              <p:nvPr/>
            </p:nvSpPr>
            <p:spPr>
              <a:xfrm>
                <a:off x="12591375" y="6849869"/>
                <a:ext cx="142137" cy="151705"/>
              </a:xfrm>
              <a:custGeom>
                <a:avLst/>
                <a:gdLst>
                  <a:gd name="connsiteX0" fmla="*/ 0 w 142137"/>
                  <a:gd name="connsiteY0" fmla="*/ 148972 h 151705"/>
                  <a:gd name="connsiteX1" fmla="*/ 0 w 142137"/>
                  <a:gd name="connsiteY1" fmla="*/ 121637 h 151705"/>
                  <a:gd name="connsiteX2" fmla="*/ 10250 w 142137"/>
                  <a:gd name="connsiteY2" fmla="*/ 123688 h 151705"/>
                  <a:gd name="connsiteX3" fmla="*/ 25967 w 142137"/>
                  <a:gd name="connsiteY3" fmla="*/ 88836 h 151705"/>
                  <a:gd name="connsiteX4" fmla="*/ 30751 w 142137"/>
                  <a:gd name="connsiteY4" fmla="*/ 0 h 151705"/>
                  <a:gd name="connsiteX5" fmla="*/ 142138 w 142137"/>
                  <a:gd name="connsiteY5" fmla="*/ 0 h 151705"/>
                  <a:gd name="connsiteX6" fmla="*/ 142138 w 142137"/>
                  <a:gd name="connsiteY6" fmla="*/ 149655 h 151705"/>
                  <a:gd name="connsiteX7" fmla="*/ 111387 w 142137"/>
                  <a:gd name="connsiteY7" fmla="*/ 149655 h 151705"/>
                  <a:gd name="connsiteX8" fmla="*/ 111387 w 142137"/>
                  <a:gd name="connsiteY8" fmla="*/ 28018 h 151705"/>
                  <a:gd name="connsiteX9" fmla="*/ 58085 w 142137"/>
                  <a:gd name="connsiteY9" fmla="*/ 28018 h 151705"/>
                  <a:gd name="connsiteX10" fmla="*/ 54668 w 142137"/>
                  <a:gd name="connsiteY10" fmla="*/ 90203 h 151705"/>
                  <a:gd name="connsiteX11" fmla="*/ 11617 w 142137"/>
                  <a:gd name="connsiteY11" fmla="*/ 151705 h 151705"/>
                  <a:gd name="connsiteX12" fmla="*/ 0 w 142137"/>
                  <a:gd name="connsiteY12" fmla="*/ 148972 h 15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37" h="151705">
                    <a:moveTo>
                      <a:pt x="0" y="148972"/>
                    </a:moveTo>
                    <a:lnTo>
                      <a:pt x="0" y="121637"/>
                    </a:lnTo>
                    <a:cubicBezTo>
                      <a:pt x="0" y="121637"/>
                      <a:pt x="4100" y="123688"/>
                      <a:pt x="10250" y="123688"/>
                    </a:cubicBezTo>
                    <a:cubicBezTo>
                      <a:pt x="19817" y="123688"/>
                      <a:pt x="24601" y="117537"/>
                      <a:pt x="25967" y="88836"/>
                    </a:cubicBezTo>
                    <a:lnTo>
                      <a:pt x="30751" y="0"/>
                    </a:lnTo>
                    <a:lnTo>
                      <a:pt x="142138" y="0"/>
                    </a:lnTo>
                    <a:lnTo>
                      <a:pt x="142138" y="149655"/>
                    </a:lnTo>
                    <a:lnTo>
                      <a:pt x="111387" y="149655"/>
                    </a:lnTo>
                    <a:lnTo>
                      <a:pt x="111387" y="28018"/>
                    </a:lnTo>
                    <a:lnTo>
                      <a:pt x="58085" y="28018"/>
                    </a:lnTo>
                    <a:lnTo>
                      <a:pt x="54668" y="90203"/>
                    </a:lnTo>
                    <a:cubicBezTo>
                      <a:pt x="52618" y="133254"/>
                      <a:pt x="41685" y="151705"/>
                      <a:pt x="11617" y="151705"/>
                    </a:cubicBezTo>
                    <a:cubicBezTo>
                      <a:pt x="6150" y="151022"/>
                      <a:pt x="0" y="148972"/>
                      <a:pt x="0" y="148972"/>
                    </a:cubicBezTo>
                    <a:close/>
                  </a:path>
                </a:pathLst>
              </a:custGeom>
              <a:solidFill>
                <a:srgbClr val="FFFFFF"/>
              </a:solidFill>
              <a:ln w="6822" cap="flat">
                <a:noFill/>
                <a:prstDash val="solid"/>
                <a:miter/>
              </a:ln>
            </p:spPr>
            <p:txBody>
              <a:bodyPr rtlCol="0" anchor="ctr"/>
              <a:lstStyle/>
              <a:p>
                <a:endParaRPr lang="ru-RU" sz="1587" dirty="0"/>
              </a:p>
            </p:txBody>
          </p:sp>
          <p:sp>
            <p:nvSpPr>
              <p:cNvPr id="74" name="Полилиния: фигура 73">
                <a:extLst>
                  <a:ext uri="{FF2B5EF4-FFF2-40B4-BE49-F238E27FC236}">
                    <a16:creationId xmlns:a16="http://schemas.microsoft.com/office/drawing/2014/main" id="{0906095B-8728-48A9-B7AE-B6F1550205B3}"/>
                  </a:ext>
                </a:extLst>
              </p:cNvPr>
              <p:cNvSpPr/>
              <p:nvPr/>
            </p:nvSpPr>
            <p:spPr>
              <a:xfrm>
                <a:off x="12764264" y="6844402"/>
                <a:ext cx="160597" cy="158538"/>
              </a:xfrm>
              <a:custGeom>
                <a:avLst/>
                <a:gdLst>
                  <a:gd name="connsiteX0" fmla="*/ 80636 w 160597"/>
                  <a:gd name="connsiteY0" fmla="*/ 158539 h 158538"/>
                  <a:gd name="connsiteX1" fmla="*/ 0 w 160597"/>
                  <a:gd name="connsiteY1" fmla="*/ 79269 h 158538"/>
                  <a:gd name="connsiteX2" fmla="*/ 80636 w 160597"/>
                  <a:gd name="connsiteY2" fmla="*/ 0 h 158538"/>
                  <a:gd name="connsiteX3" fmla="*/ 160589 w 160597"/>
                  <a:gd name="connsiteY3" fmla="*/ 79269 h 158538"/>
                  <a:gd name="connsiteX4" fmla="*/ 80636 w 160597"/>
                  <a:gd name="connsiteY4" fmla="*/ 158539 h 158538"/>
                  <a:gd name="connsiteX5" fmla="*/ 129154 w 160597"/>
                  <a:gd name="connsiteY5" fmla="*/ 79269 h 158538"/>
                  <a:gd name="connsiteX6" fmla="*/ 80636 w 160597"/>
                  <a:gd name="connsiteY6" fmla="*/ 28701 h 158538"/>
                  <a:gd name="connsiteX7" fmla="*/ 32118 w 160597"/>
                  <a:gd name="connsiteY7" fmla="*/ 79269 h 158538"/>
                  <a:gd name="connsiteX8" fmla="*/ 80636 w 160597"/>
                  <a:gd name="connsiteY8" fmla="*/ 129838 h 158538"/>
                  <a:gd name="connsiteX9" fmla="*/ 129154 w 160597"/>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97" h="158538">
                    <a:moveTo>
                      <a:pt x="80636" y="158539"/>
                    </a:moveTo>
                    <a:cubicBezTo>
                      <a:pt x="39635" y="158539"/>
                      <a:pt x="0" y="131204"/>
                      <a:pt x="0" y="79269"/>
                    </a:cubicBezTo>
                    <a:cubicBezTo>
                      <a:pt x="0" y="27334"/>
                      <a:pt x="38951" y="0"/>
                      <a:pt x="80636" y="0"/>
                    </a:cubicBezTo>
                    <a:cubicBezTo>
                      <a:pt x="121637" y="0"/>
                      <a:pt x="160589" y="27334"/>
                      <a:pt x="160589" y="79269"/>
                    </a:cubicBezTo>
                    <a:cubicBezTo>
                      <a:pt x="161272" y="131204"/>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E7446DD7-4D3A-4932-AAAC-393EB4EF91F1}"/>
                  </a:ext>
                </a:extLst>
              </p:cNvPr>
              <p:cNvSpPr/>
              <p:nvPr/>
            </p:nvSpPr>
            <p:spPr>
              <a:xfrm>
                <a:off x="12956287" y="6848502"/>
                <a:ext cx="97720" cy="149655"/>
              </a:xfrm>
              <a:custGeom>
                <a:avLst/>
                <a:gdLst>
                  <a:gd name="connsiteX0" fmla="*/ 0 w 97720"/>
                  <a:gd name="connsiteY0" fmla="*/ 0 h 149655"/>
                  <a:gd name="connsiteX1" fmla="*/ 97720 w 97720"/>
                  <a:gd name="connsiteY1" fmla="*/ 0 h 149655"/>
                  <a:gd name="connsiteX2" fmla="*/ 97720 w 97720"/>
                  <a:gd name="connsiteY2" fmla="*/ 28018 h 149655"/>
                  <a:gd name="connsiteX3" fmla="*/ 31435 w 97720"/>
                  <a:gd name="connsiteY3" fmla="*/ 28018 h 149655"/>
                  <a:gd name="connsiteX4" fmla="*/ 31435 w 97720"/>
                  <a:gd name="connsiteY4" fmla="*/ 149655 h 149655"/>
                  <a:gd name="connsiteX5" fmla="*/ 0 w 97720"/>
                  <a:gd name="connsiteY5" fmla="*/ 149655 h 149655"/>
                  <a:gd name="connsiteX6" fmla="*/ 0 w 97720"/>
                  <a:gd name="connsiteY6"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20" h="149655">
                    <a:moveTo>
                      <a:pt x="0" y="0"/>
                    </a:moveTo>
                    <a:lnTo>
                      <a:pt x="97720" y="0"/>
                    </a:lnTo>
                    <a:lnTo>
                      <a:pt x="97720" y="28018"/>
                    </a:lnTo>
                    <a:lnTo>
                      <a:pt x="31435" y="28018"/>
                    </a:lnTo>
                    <a:lnTo>
                      <a:pt x="31435"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5FE67EC7-F69E-4626-AB37-D6E09324CC2D}"/>
                  </a:ext>
                </a:extLst>
              </p:cNvPr>
              <p:cNvSpPr/>
              <p:nvPr/>
            </p:nvSpPr>
            <p:spPr>
              <a:xfrm>
                <a:off x="13079291" y="6848502"/>
                <a:ext cx="134621" cy="150338"/>
              </a:xfrm>
              <a:custGeom>
                <a:avLst/>
                <a:gdLst>
                  <a:gd name="connsiteX0" fmla="*/ 0 w 134621"/>
                  <a:gd name="connsiteY0" fmla="*/ 0 h 150338"/>
                  <a:gd name="connsiteX1" fmla="*/ 30068 w 134621"/>
                  <a:gd name="connsiteY1" fmla="*/ 0 h 150338"/>
                  <a:gd name="connsiteX2" fmla="*/ 30068 w 134621"/>
                  <a:gd name="connsiteY2" fmla="*/ 107970 h 150338"/>
                  <a:gd name="connsiteX3" fmla="*/ 101820 w 134621"/>
                  <a:gd name="connsiteY3" fmla="*/ 0 h 150338"/>
                  <a:gd name="connsiteX4" fmla="*/ 134621 w 134621"/>
                  <a:gd name="connsiteY4" fmla="*/ 0 h 150338"/>
                  <a:gd name="connsiteX5" fmla="*/ 134621 w 134621"/>
                  <a:gd name="connsiteY5" fmla="*/ 149655 h 150338"/>
                  <a:gd name="connsiteX6" fmla="*/ 104554 w 134621"/>
                  <a:gd name="connsiteY6" fmla="*/ 149655 h 150338"/>
                  <a:gd name="connsiteX7" fmla="*/ 104554 w 134621"/>
                  <a:gd name="connsiteY7" fmla="*/ 41685 h 150338"/>
                  <a:gd name="connsiteX8" fmla="*/ 33485 w 134621"/>
                  <a:gd name="connsiteY8" fmla="*/ 150338 h 150338"/>
                  <a:gd name="connsiteX9" fmla="*/ 684 w 134621"/>
                  <a:gd name="connsiteY9" fmla="*/ 150338 h 150338"/>
                  <a:gd name="connsiteX10" fmla="*/ 684 w 134621"/>
                  <a:gd name="connsiteY10"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50338">
                    <a:moveTo>
                      <a:pt x="0" y="0"/>
                    </a:moveTo>
                    <a:lnTo>
                      <a:pt x="30068" y="0"/>
                    </a:lnTo>
                    <a:lnTo>
                      <a:pt x="30068" y="107970"/>
                    </a:lnTo>
                    <a:lnTo>
                      <a:pt x="101820" y="0"/>
                    </a:lnTo>
                    <a:lnTo>
                      <a:pt x="134621" y="0"/>
                    </a:lnTo>
                    <a:lnTo>
                      <a:pt x="134621" y="149655"/>
                    </a:lnTo>
                    <a:lnTo>
                      <a:pt x="104554" y="149655"/>
                    </a:lnTo>
                    <a:lnTo>
                      <a:pt x="104554" y="41685"/>
                    </a:lnTo>
                    <a:lnTo>
                      <a:pt x="33485" y="150338"/>
                    </a:lnTo>
                    <a:lnTo>
                      <a:pt x="684" y="150338"/>
                    </a:lnTo>
                    <a:lnTo>
                      <a:pt x="684" y="0"/>
                    </a:lnTo>
                    <a:close/>
                  </a:path>
                </a:pathLst>
              </a:custGeom>
              <a:solidFill>
                <a:srgbClr val="FFFFFF"/>
              </a:solidFill>
              <a:ln w="6822"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087BDFE5-FBAB-4C2A-AB02-8E65D7FE70FD}"/>
                  </a:ext>
                </a:extLst>
              </p:cNvPr>
              <p:cNvSpPr/>
              <p:nvPr/>
            </p:nvSpPr>
            <p:spPr>
              <a:xfrm>
                <a:off x="13253547" y="6848502"/>
                <a:ext cx="134621" cy="149655"/>
              </a:xfrm>
              <a:custGeom>
                <a:avLst/>
                <a:gdLst>
                  <a:gd name="connsiteX0" fmla="*/ 0 w 134621"/>
                  <a:gd name="connsiteY0" fmla="*/ 0 h 149655"/>
                  <a:gd name="connsiteX1" fmla="*/ 30068 w 134621"/>
                  <a:gd name="connsiteY1" fmla="*/ 0 h 149655"/>
                  <a:gd name="connsiteX2" fmla="*/ 30068 w 134621"/>
                  <a:gd name="connsiteY2" fmla="*/ 107970 h 149655"/>
                  <a:gd name="connsiteX3" fmla="*/ 101820 w 134621"/>
                  <a:gd name="connsiteY3" fmla="*/ 0 h 149655"/>
                  <a:gd name="connsiteX4" fmla="*/ 134621 w 134621"/>
                  <a:gd name="connsiteY4" fmla="*/ 0 h 149655"/>
                  <a:gd name="connsiteX5" fmla="*/ 134621 w 134621"/>
                  <a:gd name="connsiteY5" fmla="*/ 149655 h 149655"/>
                  <a:gd name="connsiteX6" fmla="*/ 104554 w 134621"/>
                  <a:gd name="connsiteY6" fmla="*/ 149655 h 149655"/>
                  <a:gd name="connsiteX7" fmla="*/ 104554 w 134621"/>
                  <a:gd name="connsiteY7" fmla="*/ 41685 h 149655"/>
                  <a:gd name="connsiteX8" fmla="*/ 32801 w 134621"/>
                  <a:gd name="connsiteY8" fmla="*/ 149655 h 149655"/>
                  <a:gd name="connsiteX9" fmla="*/ 0 w 134621"/>
                  <a:gd name="connsiteY9" fmla="*/ 149655 h 149655"/>
                  <a:gd name="connsiteX10" fmla="*/ 0 w 134621"/>
                  <a:gd name="connsiteY10"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49655">
                    <a:moveTo>
                      <a:pt x="0" y="0"/>
                    </a:moveTo>
                    <a:lnTo>
                      <a:pt x="30068" y="0"/>
                    </a:lnTo>
                    <a:lnTo>
                      <a:pt x="30068" y="107970"/>
                    </a:lnTo>
                    <a:lnTo>
                      <a:pt x="101820" y="0"/>
                    </a:lnTo>
                    <a:lnTo>
                      <a:pt x="134621" y="0"/>
                    </a:lnTo>
                    <a:lnTo>
                      <a:pt x="134621" y="149655"/>
                    </a:lnTo>
                    <a:lnTo>
                      <a:pt x="104554" y="149655"/>
                    </a:lnTo>
                    <a:lnTo>
                      <a:pt x="104554" y="41685"/>
                    </a:lnTo>
                    <a:lnTo>
                      <a:pt x="32801"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1C45E9B9-8C18-49B3-9F5E-2A08D56A3BE6}"/>
                  </a:ext>
                </a:extLst>
              </p:cNvPr>
              <p:cNvSpPr/>
              <p:nvPr/>
            </p:nvSpPr>
            <p:spPr>
              <a:xfrm>
                <a:off x="11334683" y="7186763"/>
                <a:ext cx="123004" cy="149655"/>
              </a:xfrm>
              <a:custGeom>
                <a:avLst/>
                <a:gdLst>
                  <a:gd name="connsiteX0" fmla="*/ 0 w 123004"/>
                  <a:gd name="connsiteY0" fmla="*/ 0 h 149655"/>
                  <a:gd name="connsiteX1" fmla="*/ 67652 w 123004"/>
                  <a:gd name="connsiteY1" fmla="*/ 0 h 149655"/>
                  <a:gd name="connsiteX2" fmla="*/ 117537 w 123004"/>
                  <a:gd name="connsiteY2" fmla="*/ 36901 h 149655"/>
                  <a:gd name="connsiteX3" fmla="*/ 94987 w 123004"/>
                  <a:gd name="connsiteY3" fmla="*/ 70386 h 149655"/>
                  <a:gd name="connsiteX4" fmla="*/ 123004 w 123004"/>
                  <a:gd name="connsiteY4" fmla="*/ 106604 h 149655"/>
                  <a:gd name="connsiteX5" fmla="*/ 69702 w 123004"/>
                  <a:gd name="connsiteY5" fmla="*/ 149655 h 149655"/>
                  <a:gd name="connsiteX6" fmla="*/ 0 w 123004"/>
                  <a:gd name="connsiteY6" fmla="*/ 149655 h 149655"/>
                  <a:gd name="connsiteX7" fmla="*/ 0 w 123004"/>
                  <a:gd name="connsiteY7" fmla="*/ 0 h 149655"/>
                  <a:gd name="connsiteX8" fmla="*/ 66286 w 123004"/>
                  <a:gd name="connsiteY8" fmla="*/ 60135 h 149655"/>
                  <a:gd name="connsiteX9" fmla="*/ 88836 w 123004"/>
                  <a:gd name="connsiteY9" fmla="*/ 42368 h 149655"/>
                  <a:gd name="connsiteX10" fmla="*/ 66969 w 123004"/>
                  <a:gd name="connsiteY10" fmla="*/ 24601 h 149655"/>
                  <a:gd name="connsiteX11" fmla="*/ 31434 w 123004"/>
                  <a:gd name="connsiteY11" fmla="*/ 24601 h 149655"/>
                  <a:gd name="connsiteX12" fmla="*/ 31434 w 123004"/>
                  <a:gd name="connsiteY12" fmla="*/ 60135 h 149655"/>
                  <a:gd name="connsiteX13" fmla="*/ 66286 w 123004"/>
                  <a:gd name="connsiteY13" fmla="*/ 60135 h 149655"/>
                  <a:gd name="connsiteX14" fmla="*/ 68336 w 123004"/>
                  <a:gd name="connsiteY14" fmla="*/ 125738 h 149655"/>
                  <a:gd name="connsiteX15" fmla="*/ 92253 w 123004"/>
                  <a:gd name="connsiteY15" fmla="*/ 105237 h 149655"/>
                  <a:gd name="connsiteX16" fmla="*/ 68336 w 123004"/>
                  <a:gd name="connsiteY16" fmla="*/ 84736 h 149655"/>
                  <a:gd name="connsiteX17" fmla="*/ 31434 w 123004"/>
                  <a:gd name="connsiteY17" fmla="*/ 84736 h 149655"/>
                  <a:gd name="connsiteX18" fmla="*/ 31434 w 123004"/>
                  <a:gd name="connsiteY18" fmla="*/ 126421 h 149655"/>
                  <a:gd name="connsiteX19" fmla="*/ 68336 w 123004"/>
                  <a:gd name="connsiteY19" fmla="*/ 126421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04" h="149655">
                    <a:moveTo>
                      <a:pt x="0" y="0"/>
                    </a:moveTo>
                    <a:lnTo>
                      <a:pt x="67652" y="0"/>
                    </a:lnTo>
                    <a:cubicBezTo>
                      <a:pt x="99770" y="0"/>
                      <a:pt x="117537" y="16401"/>
                      <a:pt x="117537" y="36901"/>
                    </a:cubicBezTo>
                    <a:cubicBezTo>
                      <a:pt x="117537" y="53985"/>
                      <a:pt x="108654" y="64236"/>
                      <a:pt x="94987" y="70386"/>
                    </a:cubicBezTo>
                    <a:cubicBezTo>
                      <a:pt x="110704" y="75169"/>
                      <a:pt x="123004" y="86786"/>
                      <a:pt x="123004" y="106604"/>
                    </a:cubicBezTo>
                    <a:cubicBezTo>
                      <a:pt x="123004" y="131888"/>
                      <a:pt x="101137" y="149655"/>
                      <a:pt x="69702" y="149655"/>
                    </a:cubicBezTo>
                    <a:lnTo>
                      <a:pt x="0" y="149655"/>
                    </a:lnTo>
                    <a:lnTo>
                      <a:pt x="0" y="0"/>
                    </a:lnTo>
                    <a:close/>
                    <a:moveTo>
                      <a:pt x="66286" y="60135"/>
                    </a:moveTo>
                    <a:cubicBezTo>
                      <a:pt x="79953" y="60135"/>
                      <a:pt x="88836" y="54669"/>
                      <a:pt x="88836" y="42368"/>
                    </a:cubicBezTo>
                    <a:cubicBezTo>
                      <a:pt x="88836" y="30068"/>
                      <a:pt x="80636" y="24601"/>
                      <a:pt x="66969" y="24601"/>
                    </a:cubicBezTo>
                    <a:lnTo>
                      <a:pt x="31434" y="24601"/>
                    </a:lnTo>
                    <a:lnTo>
                      <a:pt x="31434" y="60135"/>
                    </a:lnTo>
                    <a:lnTo>
                      <a:pt x="66286" y="60135"/>
                    </a:lnTo>
                    <a:close/>
                    <a:moveTo>
                      <a:pt x="68336" y="125738"/>
                    </a:moveTo>
                    <a:cubicBezTo>
                      <a:pt x="84053" y="125738"/>
                      <a:pt x="92253" y="117537"/>
                      <a:pt x="92253" y="105237"/>
                    </a:cubicBezTo>
                    <a:cubicBezTo>
                      <a:pt x="92253" y="92936"/>
                      <a:pt x="84053" y="84736"/>
                      <a:pt x="68336" y="84736"/>
                    </a:cubicBezTo>
                    <a:lnTo>
                      <a:pt x="31434" y="84736"/>
                    </a:lnTo>
                    <a:lnTo>
                      <a:pt x="31434" y="126421"/>
                    </a:lnTo>
                    <a:lnTo>
                      <a:pt x="68336" y="126421"/>
                    </a:lnTo>
                    <a:close/>
                  </a:path>
                </a:pathLst>
              </a:custGeom>
              <a:solidFill>
                <a:srgbClr val="FFFFFF"/>
              </a:solidFill>
              <a:ln w="6822" cap="flat">
                <a:noFill/>
                <a:prstDash val="solid"/>
                <a:miter/>
              </a:ln>
            </p:spPr>
            <p:txBody>
              <a:bodyPr rtlCol="0" anchor="ctr"/>
              <a:lstStyle/>
              <a:p>
                <a:endParaRPr lang="ru-RU" sz="1587" dirty="0"/>
              </a:p>
            </p:txBody>
          </p:sp>
          <p:sp>
            <p:nvSpPr>
              <p:cNvPr id="79" name="Полилиния: фигура 78">
                <a:extLst>
                  <a:ext uri="{FF2B5EF4-FFF2-40B4-BE49-F238E27FC236}">
                    <a16:creationId xmlns:a16="http://schemas.microsoft.com/office/drawing/2014/main" id="{FA4C9C9A-9402-4D1D-AAFD-7D2D7C355FA3}"/>
                  </a:ext>
                </a:extLst>
              </p:cNvPr>
              <p:cNvSpPr/>
              <p:nvPr/>
            </p:nvSpPr>
            <p:spPr>
              <a:xfrm>
                <a:off x="1148092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97320805-A53F-41DA-8F0C-18E1F5A3947A}"/>
                  </a:ext>
                </a:extLst>
              </p:cNvPr>
              <p:cNvSpPr/>
              <p:nvPr/>
            </p:nvSpPr>
            <p:spPr>
              <a:xfrm>
                <a:off x="11664744" y="7183346"/>
                <a:ext cx="121637" cy="157855"/>
              </a:xfrm>
              <a:custGeom>
                <a:avLst/>
                <a:gdLst>
                  <a:gd name="connsiteX0" fmla="*/ 121637 w 121637"/>
                  <a:gd name="connsiteY0" fmla="*/ 110020 h 157855"/>
                  <a:gd name="connsiteX1" fmla="*/ 58769 w 121637"/>
                  <a:gd name="connsiteY1" fmla="*/ 157855 h 157855"/>
                  <a:gd name="connsiteX2" fmla="*/ 0 w 121637"/>
                  <a:gd name="connsiteY2" fmla="*/ 110704 h 157855"/>
                  <a:gd name="connsiteX3" fmla="*/ 3417 w 121637"/>
                  <a:gd name="connsiteY3" fmla="*/ 93620 h 157855"/>
                  <a:gd name="connsiteX4" fmla="*/ 29384 w 121637"/>
                  <a:gd name="connsiteY4" fmla="*/ 102503 h 157855"/>
                  <a:gd name="connsiteX5" fmla="*/ 28018 w 121637"/>
                  <a:gd name="connsiteY5" fmla="*/ 110020 h 157855"/>
                  <a:gd name="connsiteX6" fmla="*/ 58769 w 121637"/>
                  <a:gd name="connsiteY6" fmla="*/ 132571 h 157855"/>
                  <a:gd name="connsiteX7" fmla="*/ 91570 w 121637"/>
                  <a:gd name="connsiteY7" fmla="*/ 108654 h 157855"/>
                  <a:gd name="connsiteX8" fmla="*/ 60819 w 121637"/>
                  <a:gd name="connsiteY8" fmla="*/ 87470 h 157855"/>
                  <a:gd name="connsiteX9" fmla="*/ 47152 w 121637"/>
                  <a:gd name="connsiteY9" fmla="*/ 87470 h 157855"/>
                  <a:gd name="connsiteX10" fmla="*/ 47152 w 121637"/>
                  <a:gd name="connsiteY10" fmla="*/ 62869 h 157855"/>
                  <a:gd name="connsiteX11" fmla="*/ 59452 w 121637"/>
                  <a:gd name="connsiteY11" fmla="*/ 62869 h 157855"/>
                  <a:gd name="connsiteX12" fmla="*/ 86103 w 121637"/>
                  <a:gd name="connsiteY12" fmla="*/ 42368 h 157855"/>
                  <a:gd name="connsiteX13" fmla="*/ 60135 w 121637"/>
                  <a:gd name="connsiteY13" fmla="*/ 23917 h 157855"/>
                  <a:gd name="connsiteX14" fmla="*/ 31434 w 121637"/>
                  <a:gd name="connsiteY14" fmla="*/ 40318 h 157855"/>
                  <a:gd name="connsiteX15" fmla="*/ 32118 w 121637"/>
                  <a:gd name="connsiteY15" fmla="*/ 46468 h 157855"/>
                  <a:gd name="connsiteX16" fmla="*/ 6150 w 121637"/>
                  <a:gd name="connsiteY16" fmla="*/ 56035 h 157855"/>
                  <a:gd name="connsiteX17" fmla="*/ 3417 w 121637"/>
                  <a:gd name="connsiteY17" fmla="*/ 41685 h 157855"/>
                  <a:gd name="connsiteX18" fmla="*/ 60819 w 121637"/>
                  <a:gd name="connsiteY18" fmla="*/ 0 h 157855"/>
                  <a:gd name="connsiteX19" fmla="*/ 115487 w 121637"/>
                  <a:gd name="connsiteY19" fmla="*/ 40318 h 157855"/>
                  <a:gd name="connsiteX20" fmla="*/ 90203 w 121637"/>
                  <a:gd name="connsiteY20" fmla="*/ 75169 h 157855"/>
                  <a:gd name="connsiteX21" fmla="*/ 121637 w 121637"/>
                  <a:gd name="connsiteY21" fmla="*/ 110020 h 15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37" h="157855">
                    <a:moveTo>
                      <a:pt x="121637" y="110020"/>
                    </a:moveTo>
                    <a:cubicBezTo>
                      <a:pt x="121637" y="136671"/>
                      <a:pt x="99770" y="157855"/>
                      <a:pt x="58769" y="157855"/>
                    </a:cubicBezTo>
                    <a:cubicBezTo>
                      <a:pt x="21184" y="157855"/>
                      <a:pt x="0" y="138038"/>
                      <a:pt x="0" y="110704"/>
                    </a:cubicBezTo>
                    <a:cubicBezTo>
                      <a:pt x="0" y="103870"/>
                      <a:pt x="2050" y="97037"/>
                      <a:pt x="3417" y="93620"/>
                    </a:cubicBezTo>
                    <a:lnTo>
                      <a:pt x="29384" y="102503"/>
                    </a:lnTo>
                    <a:cubicBezTo>
                      <a:pt x="28701" y="104554"/>
                      <a:pt x="28018" y="107287"/>
                      <a:pt x="28018" y="110020"/>
                    </a:cubicBezTo>
                    <a:cubicBezTo>
                      <a:pt x="28018" y="125054"/>
                      <a:pt x="43051" y="132571"/>
                      <a:pt x="58769" y="132571"/>
                    </a:cubicBezTo>
                    <a:cubicBezTo>
                      <a:pt x="79953" y="132571"/>
                      <a:pt x="91570" y="122321"/>
                      <a:pt x="91570" y="108654"/>
                    </a:cubicBezTo>
                    <a:cubicBezTo>
                      <a:pt x="91570" y="95670"/>
                      <a:pt x="80636" y="87470"/>
                      <a:pt x="60819" y="87470"/>
                    </a:cubicBezTo>
                    <a:lnTo>
                      <a:pt x="47152" y="87470"/>
                    </a:lnTo>
                    <a:lnTo>
                      <a:pt x="47152" y="62869"/>
                    </a:lnTo>
                    <a:lnTo>
                      <a:pt x="59452" y="62869"/>
                    </a:lnTo>
                    <a:cubicBezTo>
                      <a:pt x="77903" y="62869"/>
                      <a:pt x="86103" y="53985"/>
                      <a:pt x="86103" y="42368"/>
                    </a:cubicBezTo>
                    <a:cubicBezTo>
                      <a:pt x="86103" y="31434"/>
                      <a:pt x="77219" y="23917"/>
                      <a:pt x="60135" y="23917"/>
                    </a:cubicBezTo>
                    <a:cubicBezTo>
                      <a:pt x="42368" y="23917"/>
                      <a:pt x="31434" y="31434"/>
                      <a:pt x="31434" y="40318"/>
                    </a:cubicBezTo>
                    <a:cubicBezTo>
                      <a:pt x="31434" y="43735"/>
                      <a:pt x="32118" y="45785"/>
                      <a:pt x="32118" y="46468"/>
                    </a:cubicBezTo>
                    <a:lnTo>
                      <a:pt x="6150" y="56035"/>
                    </a:lnTo>
                    <a:cubicBezTo>
                      <a:pt x="4783" y="53302"/>
                      <a:pt x="3417" y="48518"/>
                      <a:pt x="3417" y="41685"/>
                    </a:cubicBezTo>
                    <a:cubicBezTo>
                      <a:pt x="3417" y="18451"/>
                      <a:pt x="24601" y="0"/>
                      <a:pt x="60819" y="0"/>
                    </a:cubicBezTo>
                    <a:cubicBezTo>
                      <a:pt x="98403" y="0"/>
                      <a:pt x="115487" y="17767"/>
                      <a:pt x="115487" y="40318"/>
                    </a:cubicBezTo>
                    <a:cubicBezTo>
                      <a:pt x="115487" y="57402"/>
                      <a:pt x="105920" y="69019"/>
                      <a:pt x="90203" y="75169"/>
                    </a:cubicBezTo>
                    <a:cubicBezTo>
                      <a:pt x="108654" y="79269"/>
                      <a:pt x="121637" y="90887"/>
                      <a:pt x="121637" y="110020"/>
                    </a:cubicBezTo>
                    <a:close/>
                  </a:path>
                </a:pathLst>
              </a:custGeom>
              <a:solidFill>
                <a:srgbClr val="FFFFFF"/>
              </a:solidFill>
              <a:ln w="6822"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3DB00BB2-8516-4521-B3A9-19B9F55C138B}"/>
                  </a:ext>
                </a:extLst>
              </p:cNvPr>
              <p:cNvSpPr/>
              <p:nvPr/>
            </p:nvSpPr>
            <p:spPr>
              <a:xfrm>
                <a:off x="11819182" y="7186763"/>
                <a:ext cx="173572" cy="149655"/>
              </a:xfrm>
              <a:custGeom>
                <a:avLst/>
                <a:gdLst>
                  <a:gd name="connsiteX0" fmla="*/ 0 w 173572"/>
                  <a:gd name="connsiteY0" fmla="*/ 0 h 149655"/>
                  <a:gd name="connsiteX1" fmla="*/ 42368 w 173572"/>
                  <a:gd name="connsiteY1" fmla="*/ 0 h 149655"/>
                  <a:gd name="connsiteX2" fmla="*/ 86786 w 173572"/>
                  <a:gd name="connsiteY2" fmla="*/ 114121 h 149655"/>
                  <a:gd name="connsiteX3" fmla="*/ 131204 w 173572"/>
                  <a:gd name="connsiteY3" fmla="*/ 0 h 149655"/>
                  <a:gd name="connsiteX4" fmla="*/ 173572 w 173572"/>
                  <a:gd name="connsiteY4" fmla="*/ 0 h 149655"/>
                  <a:gd name="connsiteX5" fmla="*/ 173572 w 173572"/>
                  <a:gd name="connsiteY5" fmla="*/ 149655 h 149655"/>
                  <a:gd name="connsiteX6" fmla="*/ 143505 w 173572"/>
                  <a:gd name="connsiteY6" fmla="*/ 149655 h 149655"/>
                  <a:gd name="connsiteX7" fmla="*/ 143505 w 173572"/>
                  <a:gd name="connsiteY7" fmla="*/ 43735 h 149655"/>
                  <a:gd name="connsiteX8" fmla="*/ 100453 w 173572"/>
                  <a:gd name="connsiteY8" fmla="*/ 149655 h 149655"/>
                  <a:gd name="connsiteX9" fmla="*/ 74486 w 173572"/>
                  <a:gd name="connsiteY9" fmla="*/ 149655 h 149655"/>
                  <a:gd name="connsiteX10" fmla="*/ 30751 w 173572"/>
                  <a:gd name="connsiteY10" fmla="*/ 43052 h 149655"/>
                  <a:gd name="connsiteX11" fmla="*/ 30751 w 173572"/>
                  <a:gd name="connsiteY11" fmla="*/ 149655 h 149655"/>
                  <a:gd name="connsiteX12" fmla="*/ 683 w 173572"/>
                  <a:gd name="connsiteY12" fmla="*/ 149655 h 149655"/>
                  <a:gd name="connsiteX13" fmla="*/ 683 w 173572"/>
                  <a:gd name="connsiteY13"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572" h="149655">
                    <a:moveTo>
                      <a:pt x="0" y="0"/>
                    </a:moveTo>
                    <a:lnTo>
                      <a:pt x="42368" y="0"/>
                    </a:lnTo>
                    <a:lnTo>
                      <a:pt x="86786" y="114121"/>
                    </a:lnTo>
                    <a:lnTo>
                      <a:pt x="131204" y="0"/>
                    </a:lnTo>
                    <a:lnTo>
                      <a:pt x="173572" y="0"/>
                    </a:lnTo>
                    <a:lnTo>
                      <a:pt x="173572" y="149655"/>
                    </a:lnTo>
                    <a:lnTo>
                      <a:pt x="143505" y="149655"/>
                    </a:lnTo>
                    <a:lnTo>
                      <a:pt x="143505" y="43735"/>
                    </a:lnTo>
                    <a:lnTo>
                      <a:pt x="100453" y="149655"/>
                    </a:lnTo>
                    <a:lnTo>
                      <a:pt x="74486" y="149655"/>
                    </a:lnTo>
                    <a:lnTo>
                      <a:pt x="30751" y="43052"/>
                    </a:lnTo>
                    <a:lnTo>
                      <a:pt x="30751" y="149655"/>
                    </a:lnTo>
                    <a:lnTo>
                      <a:pt x="683" y="149655"/>
                    </a:lnTo>
                    <a:lnTo>
                      <a:pt x="683" y="0"/>
                    </a:lnTo>
                    <a:close/>
                  </a:path>
                </a:pathLst>
              </a:custGeom>
              <a:solidFill>
                <a:srgbClr val="FFFFFF"/>
              </a:solidFill>
              <a:ln w="6822"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CE358251-4951-44A4-887F-944D5E1830FD}"/>
                  </a:ext>
                </a:extLst>
              </p:cNvPr>
              <p:cNvSpPr/>
              <p:nvPr/>
            </p:nvSpPr>
            <p:spPr>
              <a:xfrm>
                <a:off x="12022822"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D4B16E97-DCC5-49BD-8678-00E33B18381E}"/>
                  </a:ext>
                </a:extLst>
              </p:cNvPr>
              <p:cNvSpPr/>
              <p:nvPr/>
            </p:nvSpPr>
            <p:spPr>
              <a:xfrm>
                <a:off x="12190245" y="7186763"/>
                <a:ext cx="210473" cy="149655"/>
              </a:xfrm>
              <a:custGeom>
                <a:avLst/>
                <a:gdLst>
                  <a:gd name="connsiteX0" fmla="*/ 171522 w 210473"/>
                  <a:gd name="connsiteY0" fmla="*/ 149655 h 149655"/>
                  <a:gd name="connsiteX1" fmla="*/ 120271 w 210473"/>
                  <a:gd name="connsiteY1" fmla="*/ 84053 h 149655"/>
                  <a:gd name="connsiteX2" fmla="*/ 120271 w 210473"/>
                  <a:gd name="connsiteY2" fmla="*/ 149655 h 149655"/>
                  <a:gd name="connsiteX3" fmla="*/ 88836 w 210473"/>
                  <a:gd name="connsiteY3" fmla="*/ 149655 h 149655"/>
                  <a:gd name="connsiteX4" fmla="*/ 88836 w 210473"/>
                  <a:gd name="connsiteY4" fmla="*/ 83370 h 149655"/>
                  <a:gd name="connsiteX5" fmla="*/ 37585 w 210473"/>
                  <a:gd name="connsiteY5" fmla="*/ 149655 h 149655"/>
                  <a:gd name="connsiteX6" fmla="*/ 0 w 210473"/>
                  <a:gd name="connsiteY6" fmla="*/ 149655 h 149655"/>
                  <a:gd name="connsiteX7" fmla="*/ 62869 w 210473"/>
                  <a:gd name="connsiteY7" fmla="*/ 70386 h 149655"/>
                  <a:gd name="connsiteX8" fmla="*/ 1367 w 210473"/>
                  <a:gd name="connsiteY8" fmla="*/ 0 h 149655"/>
                  <a:gd name="connsiteX9" fmla="*/ 41685 w 210473"/>
                  <a:gd name="connsiteY9" fmla="*/ 0 h 149655"/>
                  <a:gd name="connsiteX10" fmla="*/ 89520 w 210473"/>
                  <a:gd name="connsiteY10" fmla="*/ 58085 h 149655"/>
                  <a:gd name="connsiteX11" fmla="*/ 89520 w 210473"/>
                  <a:gd name="connsiteY11" fmla="*/ 0 h 149655"/>
                  <a:gd name="connsiteX12" fmla="*/ 120954 w 210473"/>
                  <a:gd name="connsiteY12" fmla="*/ 0 h 149655"/>
                  <a:gd name="connsiteX13" fmla="*/ 120954 w 210473"/>
                  <a:gd name="connsiteY13" fmla="*/ 58085 h 149655"/>
                  <a:gd name="connsiteX14" fmla="*/ 168789 w 210473"/>
                  <a:gd name="connsiteY14" fmla="*/ 0 h 149655"/>
                  <a:gd name="connsiteX15" fmla="*/ 209107 w 210473"/>
                  <a:gd name="connsiteY15" fmla="*/ 0 h 149655"/>
                  <a:gd name="connsiteX16" fmla="*/ 147605 w 210473"/>
                  <a:gd name="connsiteY16" fmla="*/ 70386 h 149655"/>
                  <a:gd name="connsiteX17" fmla="*/ 210474 w 210473"/>
                  <a:gd name="connsiteY17" fmla="*/ 149655 h 149655"/>
                  <a:gd name="connsiteX18" fmla="*/ 171522 w 210473"/>
                  <a:gd name="connsiteY18" fmla="*/ 149655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473" h="149655">
                    <a:moveTo>
                      <a:pt x="171522" y="149655"/>
                    </a:moveTo>
                    <a:lnTo>
                      <a:pt x="120271" y="84053"/>
                    </a:lnTo>
                    <a:lnTo>
                      <a:pt x="120271" y="149655"/>
                    </a:lnTo>
                    <a:lnTo>
                      <a:pt x="88836" y="149655"/>
                    </a:lnTo>
                    <a:lnTo>
                      <a:pt x="88836" y="83370"/>
                    </a:lnTo>
                    <a:lnTo>
                      <a:pt x="37585" y="149655"/>
                    </a:lnTo>
                    <a:lnTo>
                      <a:pt x="0" y="149655"/>
                    </a:lnTo>
                    <a:lnTo>
                      <a:pt x="62869" y="70386"/>
                    </a:lnTo>
                    <a:lnTo>
                      <a:pt x="1367" y="0"/>
                    </a:lnTo>
                    <a:lnTo>
                      <a:pt x="41685" y="0"/>
                    </a:lnTo>
                    <a:lnTo>
                      <a:pt x="89520" y="58085"/>
                    </a:lnTo>
                    <a:lnTo>
                      <a:pt x="89520" y="0"/>
                    </a:lnTo>
                    <a:lnTo>
                      <a:pt x="120954" y="0"/>
                    </a:lnTo>
                    <a:lnTo>
                      <a:pt x="120954" y="58085"/>
                    </a:lnTo>
                    <a:lnTo>
                      <a:pt x="168789" y="0"/>
                    </a:lnTo>
                    <a:lnTo>
                      <a:pt x="209107" y="0"/>
                    </a:lnTo>
                    <a:lnTo>
                      <a:pt x="147605" y="70386"/>
                    </a:lnTo>
                    <a:lnTo>
                      <a:pt x="210474" y="149655"/>
                    </a:lnTo>
                    <a:lnTo>
                      <a:pt x="171522" y="149655"/>
                    </a:lnTo>
                    <a:close/>
                  </a:path>
                </a:pathLst>
              </a:custGeom>
              <a:solidFill>
                <a:srgbClr val="FFFFFF"/>
              </a:solidFill>
              <a:ln w="6822"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AAB2C34D-DD5F-4AB2-9FBD-99303BA26512}"/>
                  </a:ext>
                </a:extLst>
              </p:cNvPr>
              <p:cNvSpPr/>
              <p:nvPr/>
            </p:nvSpPr>
            <p:spPr>
              <a:xfrm>
                <a:off x="12423953" y="7186763"/>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C8891026-B7C3-45AD-82DF-E4E0C3E7C83C}"/>
                  </a:ext>
                </a:extLst>
              </p:cNvPr>
              <p:cNvSpPr/>
              <p:nvPr/>
            </p:nvSpPr>
            <p:spPr>
              <a:xfrm>
                <a:off x="1258659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4" y="28701"/>
                      <a:pt x="80636" y="28701"/>
                    </a:cubicBezTo>
                    <a:cubicBezTo>
                      <a:pt x="54668" y="28701"/>
                      <a:pt x="32118" y="48518"/>
                      <a:pt x="32118" y="79269"/>
                    </a:cubicBezTo>
                    <a:cubicBezTo>
                      <a:pt x="32118" y="110020"/>
                      <a:pt x="54668" y="129838"/>
                      <a:pt x="80636" y="129838"/>
                    </a:cubicBezTo>
                    <a:cubicBezTo>
                      <a:pt x="106604"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6" name="Полилиния: фигура 85">
                <a:extLst>
                  <a:ext uri="{FF2B5EF4-FFF2-40B4-BE49-F238E27FC236}">
                    <a16:creationId xmlns:a16="http://schemas.microsoft.com/office/drawing/2014/main" id="{939EA79D-24AA-42C1-80F7-36A986415746}"/>
                  </a:ext>
                </a:extLst>
              </p:cNvPr>
              <p:cNvSpPr/>
              <p:nvPr/>
            </p:nvSpPr>
            <p:spPr>
              <a:xfrm>
                <a:off x="12769047" y="7182663"/>
                <a:ext cx="144871" cy="158538"/>
              </a:xfrm>
              <a:custGeom>
                <a:avLst/>
                <a:gdLst>
                  <a:gd name="connsiteX0" fmla="*/ 77902 w 144871"/>
                  <a:gd name="connsiteY0" fmla="*/ 158539 h 158538"/>
                  <a:gd name="connsiteX1" fmla="*/ 0 w 144871"/>
                  <a:gd name="connsiteY1" fmla="*/ 79269 h 158538"/>
                  <a:gd name="connsiteX2" fmla="*/ 77902 w 144871"/>
                  <a:gd name="connsiteY2" fmla="*/ 0 h 158538"/>
                  <a:gd name="connsiteX3" fmla="*/ 143505 w 144871"/>
                  <a:gd name="connsiteY3" fmla="*/ 37585 h 158538"/>
                  <a:gd name="connsiteX4" fmla="*/ 117537 w 144871"/>
                  <a:gd name="connsiteY4" fmla="*/ 52618 h 158538"/>
                  <a:gd name="connsiteX5" fmla="*/ 77902 w 144871"/>
                  <a:gd name="connsiteY5" fmla="*/ 28701 h 158538"/>
                  <a:gd name="connsiteX6" fmla="*/ 32118 w 144871"/>
                  <a:gd name="connsiteY6" fmla="*/ 78586 h 158538"/>
                  <a:gd name="connsiteX7" fmla="*/ 77902 w 144871"/>
                  <a:gd name="connsiteY7" fmla="*/ 128471 h 158538"/>
                  <a:gd name="connsiteX8" fmla="*/ 119587 w 144871"/>
                  <a:gd name="connsiteY8" fmla="*/ 104553 h 158538"/>
                  <a:gd name="connsiteX9" fmla="*/ 144872 w 144871"/>
                  <a:gd name="connsiteY9" fmla="*/ 118904 h 158538"/>
                  <a:gd name="connsiteX10" fmla="*/ 77902 w 144871"/>
                  <a:gd name="connsiteY10" fmla="*/ 15853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71" h="158538">
                    <a:moveTo>
                      <a:pt x="77902" y="158539"/>
                    </a:moveTo>
                    <a:cubicBezTo>
                      <a:pt x="33484" y="158539"/>
                      <a:pt x="0" y="126421"/>
                      <a:pt x="0" y="79269"/>
                    </a:cubicBezTo>
                    <a:cubicBezTo>
                      <a:pt x="0" y="32118"/>
                      <a:pt x="36218" y="0"/>
                      <a:pt x="77902" y="0"/>
                    </a:cubicBezTo>
                    <a:cubicBezTo>
                      <a:pt x="110020" y="0"/>
                      <a:pt x="132571" y="14350"/>
                      <a:pt x="143505" y="37585"/>
                    </a:cubicBezTo>
                    <a:lnTo>
                      <a:pt x="117537" y="52618"/>
                    </a:lnTo>
                    <a:cubicBezTo>
                      <a:pt x="107287" y="36218"/>
                      <a:pt x="93620" y="28701"/>
                      <a:pt x="77902" y="28701"/>
                    </a:cubicBezTo>
                    <a:cubicBezTo>
                      <a:pt x="51935" y="28701"/>
                      <a:pt x="32118" y="47835"/>
                      <a:pt x="32118" y="78586"/>
                    </a:cubicBezTo>
                    <a:cubicBezTo>
                      <a:pt x="32118" y="109337"/>
                      <a:pt x="51252" y="128471"/>
                      <a:pt x="77902" y="128471"/>
                    </a:cubicBezTo>
                    <a:cubicBezTo>
                      <a:pt x="98403" y="128471"/>
                      <a:pt x="110020" y="118221"/>
                      <a:pt x="119587" y="104553"/>
                    </a:cubicBezTo>
                    <a:lnTo>
                      <a:pt x="144872" y="118904"/>
                    </a:lnTo>
                    <a:cubicBezTo>
                      <a:pt x="130521" y="143505"/>
                      <a:pt x="109337" y="158539"/>
                      <a:pt x="77902" y="158539"/>
                    </a:cubicBezTo>
                    <a:close/>
                  </a:path>
                </a:pathLst>
              </a:custGeom>
              <a:solidFill>
                <a:srgbClr val="FFFFFF"/>
              </a:solidFill>
              <a:ln w="6822" cap="flat">
                <a:noFill/>
                <a:prstDash val="solid"/>
                <a:miter/>
              </a:ln>
            </p:spPr>
            <p:txBody>
              <a:bodyPr rtlCol="0" anchor="ctr"/>
              <a:lstStyle/>
              <a:p>
                <a:endParaRPr lang="ru-RU" sz="1587" dirty="0"/>
              </a:p>
            </p:txBody>
          </p:sp>
          <p:sp>
            <p:nvSpPr>
              <p:cNvPr id="87" name="Полилиния: фигура 86">
                <a:extLst>
                  <a:ext uri="{FF2B5EF4-FFF2-40B4-BE49-F238E27FC236}">
                    <a16:creationId xmlns:a16="http://schemas.microsoft.com/office/drawing/2014/main" id="{2634BBC8-6B34-422A-9C2D-5BE09EBEFA2A}"/>
                  </a:ext>
                </a:extLst>
              </p:cNvPr>
              <p:cNvSpPr/>
              <p:nvPr/>
            </p:nvSpPr>
            <p:spPr>
              <a:xfrm>
                <a:off x="12933053" y="7186763"/>
                <a:ext cx="125054" cy="149655"/>
              </a:xfrm>
              <a:custGeom>
                <a:avLst/>
                <a:gdLst>
                  <a:gd name="connsiteX0" fmla="*/ 47151 w 125054"/>
                  <a:gd name="connsiteY0" fmla="*/ 28018 h 149655"/>
                  <a:gd name="connsiteX1" fmla="*/ 0 w 125054"/>
                  <a:gd name="connsiteY1" fmla="*/ 28018 h 149655"/>
                  <a:gd name="connsiteX2" fmla="*/ 0 w 125054"/>
                  <a:gd name="connsiteY2" fmla="*/ 0 h 149655"/>
                  <a:gd name="connsiteX3" fmla="*/ 125054 w 125054"/>
                  <a:gd name="connsiteY3" fmla="*/ 0 h 149655"/>
                  <a:gd name="connsiteX4" fmla="*/ 125054 w 125054"/>
                  <a:gd name="connsiteY4" fmla="*/ 28018 h 149655"/>
                  <a:gd name="connsiteX5" fmla="*/ 77902 w 125054"/>
                  <a:gd name="connsiteY5" fmla="*/ 28018 h 149655"/>
                  <a:gd name="connsiteX6" fmla="*/ 77902 w 125054"/>
                  <a:gd name="connsiteY6" fmla="*/ 149655 h 149655"/>
                  <a:gd name="connsiteX7" fmla="*/ 46468 w 125054"/>
                  <a:gd name="connsiteY7" fmla="*/ 149655 h 149655"/>
                  <a:gd name="connsiteX8" fmla="*/ 46468 w 125054"/>
                  <a:gd name="connsiteY8" fmla="*/ 28018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54" h="149655">
                    <a:moveTo>
                      <a:pt x="47151" y="28018"/>
                    </a:moveTo>
                    <a:lnTo>
                      <a:pt x="0" y="28018"/>
                    </a:lnTo>
                    <a:lnTo>
                      <a:pt x="0" y="0"/>
                    </a:lnTo>
                    <a:lnTo>
                      <a:pt x="125054" y="0"/>
                    </a:lnTo>
                    <a:lnTo>
                      <a:pt x="125054" y="28018"/>
                    </a:lnTo>
                    <a:lnTo>
                      <a:pt x="77902" y="28018"/>
                    </a:lnTo>
                    <a:lnTo>
                      <a:pt x="77902" y="149655"/>
                    </a:lnTo>
                    <a:lnTo>
                      <a:pt x="46468" y="149655"/>
                    </a:lnTo>
                    <a:lnTo>
                      <a:pt x="46468" y="28018"/>
                    </a:lnTo>
                    <a:close/>
                  </a:path>
                </a:pathLst>
              </a:custGeom>
              <a:solidFill>
                <a:srgbClr val="FFFFFF"/>
              </a:solidFill>
              <a:ln w="6822" cap="flat">
                <a:noFill/>
                <a:prstDash val="solid"/>
                <a:miter/>
              </a:ln>
            </p:spPr>
            <p:txBody>
              <a:bodyPr rtlCol="0" anchor="ctr"/>
              <a:lstStyle/>
              <a:p>
                <a:endParaRPr lang="ru-RU" sz="1587" dirty="0"/>
              </a:p>
            </p:txBody>
          </p:sp>
          <p:sp>
            <p:nvSpPr>
              <p:cNvPr id="88" name="Полилиния: фигура 87">
                <a:extLst>
                  <a:ext uri="{FF2B5EF4-FFF2-40B4-BE49-F238E27FC236}">
                    <a16:creationId xmlns:a16="http://schemas.microsoft.com/office/drawing/2014/main" id="{27E1ADB6-1720-4EEF-9863-3864BFC05333}"/>
                  </a:ext>
                </a:extLst>
              </p:cNvPr>
              <p:cNvSpPr/>
              <p:nvPr/>
            </p:nvSpPr>
            <p:spPr>
              <a:xfrm>
                <a:off x="13073141" y="7182663"/>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2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7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2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2"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7" y="86103"/>
                    </a:lnTo>
                    <a:cubicBezTo>
                      <a:pt x="32118" y="112070"/>
                      <a:pt x="49885" y="131204"/>
                      <a:pt x="76536" y="131204"/>
                    </a:cubicBezTo>
                    <a:close/>
                    <a:moveTo>
                      <a:pt x="30751" y="61502"/>
                    </a:moveTo>
                    <a:lnTo>
                      <a:pt x="119587" y="61502"/>
                    </a:lnTo>
                    <a:cubicBezTo>
                      <a:pt x="116854" y="38268"/>
                      <a:pt x="99087" y="24601"/>
                      <a:pt x="75852" y="24601"/>
                    </a:cubicBezTo>
                    <a:cubicBezTo>
                      <a:pt x="53302" y="24601"/>
                      <a:pt x="35535"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89" name="Полилиния: фигура 88">
                <a:extLst>
                  <a:ext uri="{FF2B5EF4-FFF2-40B4-BE49-F238E27FC236}">
                    <a16:creationId xmlns:a16="http://schemas.microsoft.com/office/drawing/2014/main" id="{472CA380-C86B-48D2-956A-B8449AC5A99C}"/>
                  </a:ext>
                </a:extLst>
              </p:cNvPr>
              <p:cNvSpPr/>
              <p:nvPr/>
            </p:nvSpPr>
            <p:spPr>
              <a:xfrm>
                <a:off x="13253547" y="7132778"/>
                <a:ext cx="134621" cy="203640"/>
              </a:xfrm>
              <a:custGeom>
                <a:avLst/>
                <a:gdLst>
                  <a:gd name="connsiteX0" fmla="*/ 0 w 134621"/>
                  <a:gd name="connsiteY0" fmla="*/ 53985 h 203640"/>
                  <a:gd name="connsiteX1" fmla="*/ 30068 w 134621"/>
                  <a:gd name="connsiteY1" fmla="*/ 53985 h 203640"/>
                  <a:gd name="connsiteX2" fmla="*/ 30068 w 134621"/>
                  <a:gd name="connsiteY2" fmla="*/ 161956 h 203640"/>
                  <a:gd name="connsiteX3" fmla="*/ 101820 w 134621"/>
                  <a:gd name="connsiteY3" fmla="*/ 53985 h 203640"/>
                  <a:gd name="connsiteX4" fmla="*/ 134621 w 134621"/>
                  <a:gd name="connsiteY4" fmla="*/ 53985 h 203640"/>
                  <a:gd name="connsiteX5" fmla="*/ 134621 w 134621"/>
                  <a:gd name="connsiteY5" fmla="*/ 203640 h 203640"/>
                  <a:gd name="connsiteX6" fmla="*/ 104554 w 134621"/>
                  <a:gd name="connsiteY6" fmla="*/ 203640 h 203640"/>
                  <a:gd name="connsiteX7" fmla="*/ 104554 w 134621"/>
                  <a:gd name="connsiteY7" fmla="*/ 95670 h 203640"/>
                  <a:gd name="connsiteX8" fmla="*/ 32801 w 134621"/>
                  <a:gd name="connsiteY8" fmla="*/ 203640 h 203640"/>
                  <a:gd name="connsiteX9" fmla="*/ 0 w 134621"/>
                  <a:gd name="connsiteY9" fmla="*/ 203640 h 203640"/>
                  <a:gd name="connsiteX10" fmla="*/ 0 w 134621"/>
                  <a:gd name="connsiteY10" fmla="*/ 53985 h 203640"/>
                  <a:gd name="connsiteX11" fmla="*/ 34168 w 134621"/>
                  <a:gd name="connsiteY11" fmla="*/ 0 h 203640"/>
                  <a:gd name="connsiteX12" fmla="*/ 55352 w 134621"/>
                  <a:gd name="connsiteY12" fmla="*/ 0 h 203640"/>
                  <a:gd name="connsiteX13" fmla="*/ 66969 w 134621"/>
                  <a:gd name="connsiteY13" fmla="*/ 12984 h 203640"/>
                  <a:gd name="connsiteX14" fmla="*/ 78586 w 134621"/>
                  <a:gd name="connsiteY14" fmla="*/ 0 h 203640"/>
                  <a:gd name="connsiteX15" fmla="*/ 99770 w 134621"/>
                  <a:gd name="connsiteY15" fmla="*/ 0 h 203640"/>
                  <a:gd name="connsiteX16" fmla="*/ 66969 w 134621"/>
                  <a:gd name="connsiteY16" fmla="*/ 32801 h 203640"/>
                  <a:gd name="connsiteX17" fmla="*/ 34168 w 134621"/>
                  <a:gd name="connsiteY17" fmla="*/ 0 h 2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21" h="203640">
                    <a:moveTo>
                      <a:pt x="0" y="53985"/>
                    </a:moveTo>
                    <a:lnTo>
                      <a:pt x="30068" y="53985"/>
                    </a:lnTo>
                    <a:lnTo>
                      <a:pt x="30068" y="161956"/>
                    </a:lnTo>
                    <a:lnTo>
                      <a:pt x="101820" y="53985"/>
                    </a:lnTo>
                    <a:lnTo>
                      <a:pt x="134621" y="53985"/>
                    </a:lnTo>
                    <a:lnTo>
                      <a:pt x="134621" y="203640"/>
                    </a:lnTo>
                    <a:lnTo>
                      <a:pt x="104554" y="203640"/>
                    </a:lnTo>
                    <a:lnTo>
                      <a:pt x="104554" y="95670"/>
                    </a:lnTo>
                    <a:lnTo>
                      <a:pt x="32801" y="203640"/>
                    </a:lnTo>
                    <a:lnTo>
                      <a:pt x="0" y="203640"/>
                    </a:lnTo>
                    <a:lnTo>
                      <a:pt x="0" y="53985"/>
                    </a:lnTo>
                    <a:close/>
                    <a:moveTo>
                      <a:pt x="34168" y="0"/>
                    </a:moveTo>
                    <a:lnTo>
                      <a:pt x="55352" y="0"/>
                    </a:lnTo>
                    <a:cubicBezTo>
                      <a:pt x="55352" y="7517"/>
                      <a:pt x="59452" y="12984"/>
                      <a:pt x="66969" y="12984"/>
                    </a:cubicBezTo>
                    <a:cubicBezTo>
                      <a:pt x="74486" y="12984"/>
                      <a:pt x="78586" y="7517"/>
                      <a:pt x="78586" y="0"/>
                    </a:cubicBezTo>
                    <a:lnTo>
                      <a:pt x="99770" y="0"/>
                    </a:lnTo>
                    <a:cubicBezTo>
                      <a:pt x="99770" y="19134"/>
                      <a:pt x="86786" y="32801"/>
                      <a:pt x="66969" y="32801"/>
                    </a:cubicBezTo>
                    <a:cubicBezTo>
                      <a:pt x="47152" y="32801"/>
                      <a:pt x="34168" y="19134"/>
                      <a:pt x="34168" y="0"/>
                    </a:cubicBezTo>
                    <a:close/>
                  </a:path>
                </a:pathLst>
              </a:custGeom>
              <a:solidFill>
                <a:srgbClr val="FFFFFF"/>
              </a:solidFill>
              <a:ln w="6822" cap="flat">
                <a:noFill/>
                <a:prstDash val="solid"/>
                <a:miter/>
              </a:ln>
            </p:spPr>
            <p:txBody>
              <a:bodyPr rtlCol="0" anchor="ctr"/>
              <a:lstStyle/>
              <a:p>
                <a:endParaRPr lang="ru-RU" sz="1587" dirty="0"/>
              </a:p>
            </p:txBody>
          </p:sp>
        </p:grpSp>
        <p:sp>
          <p:nvSpPr>
            <p:cNvPr id="67" name="Полилиния: фигура 66">
              <a:extLst>
                <a:ext uri="{FF2B5EF4-FFF2-40B4-BE49-F238E27FC236}">
                  <a16:creationId xmlns:a16="http://schemas.microsoft.com/office/drawing/2014/main" id="{A237A418-DB6C-4605-A3BE-A3983D00F66C}"/>
                </a:ext>
              </a:extLst>
            </p:cNvPr>
            <p:cNvSpPr/>
            <p:nvPr/>
          </p:nvSpPr>
          <p:spPr>
            <a:xfrm>
              <a:off x="11519872" y="4054942"/>
              <a:ext cx="2309744" cy="2615887"/>
            </a:xfrm>
            <a:custGeom>
              <a:avLst/>
              <a:gdLst>
                <a:gd name="connsiteX0" fmla="*/ 2309744 w 2309744"/>
                <a:gd name="connsiteY0" fmla="*/ 0 h 2615887"/>
                <a:gd name="connsiteX1" fmla="*/ 350562 w 2309744"/>
                <a:gd name="connsiteY1" fmla="*/ 2452566 h 2615887"/>
                <a:gd name="connsiteX2" fmla="*/ 2050 w 2309744"/>
                <a:gd name="connsiteY2" fmla="*/ 2615205 h 2615887"/>
                <a:gd name="connsiteX3" fmla="*/ 0 w 2309744"/>
                <a:gd name="connsiteY3" fmla="*/ 2615888 h 2615887"/>
                <a:gd name="connsiteX4" fmla="*/ 0 w 2309744"/>
                <a:gd name="connsiteY4" fmla="*/ 2615888 h 2615887"/>
                <a:gd name="connsiteX5" fmla="*/ 2309744 w 2309744"/>
                <a:gd name="connsiteY5" fmla="*/ 1107721 h 2615887"/>
                <a:gd name="connsiteX6" fmla="*/ 2309744 w 2309744"/>
                <a:gd name="connsiteY6" fmla="*/ 0 h 261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9744" h="2615887">
                  <a:moveTo>
                    <a:pt x="2309744" y="0"/>
                  </a:moveTo>
                  <a:cubicBezTo>
                    <a:pt x="2039818" y="1072869"/>
                    <a:pt x="1316144" y="1946199"/>
                    <a:pt x="350562" y="2452566"/>
                  </a:cubicBezTo>
                  <a:cubicBezTo>
                    <a:pt x="236441" y="2509284"/>
                    <a:pt x="112754" y="2561903"/>
                    <a:pt x="2050" y="2615205"/>
                  </a:cubicBezTo>
                  <a:lnTo>
                    <a:pt x="0" y="2615888"/>
                  </a:lnTo>
                  <a:lnTo>
                    <a:pt x="0" y="2615888"/>
                  </a:lnTo>
                  <a:cubicBezTo>
                    <a:pt x="880846" y="2287877"/>
                    <a:pt x="1668073" y="1768526"/>
                    <a:pt x="2309744" y="1107721"/>
                  </a:cubicBezTo>
                  <a:lnTo>
                    <a:pt x="2309744" y="0"/>
                  </a:lnTo>
                  <a:close/>
                </a:path>
              </a:pathLst>
            </a:custGeom>
            <a:solidFill>
              <a:schemeClr val="accent3"/>
            </a:solidFill>
            <a:ln w="6822" cap="flat">
              <a:noFill/>
              <a:prstDash val="solid"/>
              <a:miter/>
            </a:ln>
          </p:spPr>
          <p:txBody>
            <a:bodyPr rtlCol="0" anchor="ctr"/>
            <a:lstStyle/>
            <a:p>
              <a:endParaRPr lang="ru-RU" sz="1587" dirty="0"/>
            </a:p>
          </p:txBody>
        </p:sp>
      </p:grpSp>
    </p:spTree>
    <p:extLst>
      <p:ext uri="{BB962C8B-B14F-4D97-AF65-F5344CB8AC3E}">
        <p14:creationId xmlns:p14="http://schemas.microsoft.com/office/powerpoint/2010/main" val="70253873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Последний">
    <p:spTree>
      <p:nvGrpSpPr>
        <p:cNvPr id="1" name=""/>
        <p:cNvGrpSpPr/>
        <p:nvPr/>
      </p:nvGrpSpPr>
      <p:grpSpPr>
        <a:xfrm>
          <a:off x="0" y="0"/>
          <a:ext cx="0" cy="0"/>
          <a:chOff x="0" y="0"/>
          <a:chExt cx="0" cy="0"/>
        </a:xfrm>
      </p:grpSpPr>
      <p:sp>
        <p:nvSpPr>
          <p:cNvPr id="13" name="Рисунок 12">
            <a:extLst>
              <a:ext uri="{FF2B5EF4-FFF2-40B4-BE49-F238E27FC236}">
                <a16:creationId xmlns:a16="http://schemas.microsoft.com/office/drawing/2014/main" id="{76660D03-C562-4E3E-8978-BC128859DD84}"/>
              </a:ext>
            </a:extLst>
          </p:cNvPr>
          <p:cNvSpPr>
            <a:spLocks noGrp="1"/>
          </p:cNvSpPr>
          <p:nvPr>
            <p:ph type="pic" sz="quarter" idx="15" hasCustomPrompt="1"/>
          </p:nvPr>
        </p:nvSpPr>
        <p:spPr>
          <a:xfrm>
            <a:off x="417037" y="4445589"/>
            <a:ext cx="1701731"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chemeClr val="tx2">
              <a:lumMod val="20000"/>
              <a:lumOff val="80000"/>
            </a:schemeClr>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38" name="Текст 4">
            <a:extLst>
              <a:ext uri="{FF2B5EF4-FFF2-40B4-BE49-F238E27FC236}">
                <a16:creationId xmlns:a16="http://schemas.microsoft.com/office/drawing/2014/main" id="{587D5529-71C0-442A-AB1D-B4197AD53F85}"/>
              </a:ext>
            </a:extLst>
          </p:cNvPr>
          <p:cNvSpPr>
            <a:spLocks noGrp="1"/>
          </p:cNvSpPr>
          <p:nvPr>
            <p:ph type="body" sz="quarter" idx="22" hasCustomPrompt="1"/>
          </p:nvPr>
        </p:nvSpPr>
        <p:spPr>
          <a:xfrm>
            <a:off x="2351078" y="4797803"/>
            <a:ext cx="3202839" cy="54065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39" name="Текст 4">
            <a:extLst>
              <a:ext uri="{FF2B5EF4-FFF2-40B4-BE49-F238E27FC236}">
                <a16:creationId xmlns:a16="http://schemas.microsoft.com/office/drawing/2014/main" id="{9579E708-6905-4A40-BD31-9040E9E04B57}"/>
              </a:ext>
            </a:extLst>
          </p:cNvPr>
          <p:cNvSpPr>
            <a:spLocks noGrp="1"/>
          </p:cNvSpPr>
          <p:nvPr>
            <p:ph type="body" sz="quarter" idx="23" hasCustomPrompt="1"/>
          </p:nvPr>
        </p:nvSpPr>
        <p:spPr>
          <a:xfrm>
            <a:off x="2351078" y="5413159"/>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36" name="Текст 22">
            <a:extLst>
              <a:ext uri="{FF2B5EF4-FFF2-40B4-BE49-F238E27FC236}">
                <a16:creationId xmlns:a16="http://schemas.microsoft.com/office/drawing/2014/main" id="{6A0ED10B-823A-4A3A-A360-0B6B1D5E5A5C}"/>
              </a:ext>
            </a:extLst>
          </p:cNvPr>
          <p:cNvSpPr>
            <a:spLocks noGrp="1"/>
          </p:cNvSpPr>
          <p:nvPr>
            <p:ph type="body" sz="quarter" idx="14" hasCustomPrompt="1"/>
          </p:nvPr>
        </p:nvSpPr>
        <p:spPr>
          <a:xfrm>
            <a:off x="417516" y="2481065"/>
            <a:ext cx="3706193" cy="1139219"/>
          </a:xfrm>
          <a:prstGeom prst="rect">
            <a:avLst/>
          </a:prstGeom>
          <a:noFill/>
        </p:spPr>
        <p:txBody>
          <a:bodyPr wrap="none" lIns="0" tIns="36000" rIns="108000" bIns="0">
            <a:spAutoFit/>
          </a:bodyPr>
          <a:lstStyle>
            <a:lvl1pPr>
              <a:lnSpc>
                <a:spcPts val="4319"/>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54" name="Рисунок 25">
            <a:extLst>
              <a:ext uri="{FF2B5EF4-FFF2-40B4-BE49-F238E27FC236}">
                <a16:creationId xmlns:a16="http://schemas.microsoft.com/office/drawing/2014/main" id="{2A191DF7-AAC1-4781-8600-920531FDCCAC}"/>
              </a:ext>
            </a:extLst>
          </p:cNvPr>
          <p:cNvGrpSpPr/>
          <p:nvPr userDrawn="1"/>
        </p:nvGrpSpPr>
        <p:grpSpPr>
          <a:xfrm>
            <a:off x="419833" y="417146"/>
            <a:ext cx="2645659" cy="753911"/>
            <a:chOff x="-233" y="1916027"/>
            <a:chExt cx="13832096" cy="3938000"/>
          </a:xfrm>
        </p:grpSpPr>
        <p:sp>
          <p:nvSpPr>
            <p:cNvPr id="55" name="Полилиния: фигура 54">
              <a:extLst>
                <a:ext uri="{FF2B5EF4-FFF2-40B4-BE49-F238E27FC236}">
                  <a16:creationId xmlns:a16="http://schemas.microsoft.com/office/drawing/2014/main" id="{36E71FB1-83DA-4846-A62B-63329A6CFCFD}"/>
                </a:ext>
              </a:extLst>
            </p:cNvPr>
            <p:cNvSpPr/>
            <p:nvPr/>
          </p:nvSpPr>
          <p:spPr>
            <a:xfrm>
              <a:off x="2798114" y="2521151"/>
              <a:ext cx="11033748" cy="3332876"/>
            </a:xfrm>
            <a:custGeom>
              <a:avLst/>
              <a:gdLst>
                <a:gd name="connsiteX0" fmla="*/ 8186381 w 11033748"/>
                <a:gd name="connsiteY0" fmla="*/ 869378 h 3332876"/>
                <a:gd name="connsiteX1" fmla="*/ 8655469 w 11033748"/>
                <a:gd name="connsiteY1" fmla="*/ 1402575 h 3332876"/>
                <a:gd name="connsiteX2" fmla="*/ 8350562 w 11033748"/>
                <a:gd name="connsiteY2" fmla="*/ 1402575 h 3332876"/>
                <a:gd name="connsiteX3" fmla="*/ 7987800 w 11033748"/>
                <a:gd name="connsiteY3" fmla="*/ 991341 h 3332876"/>
                <a:gd name="connsiteX4" fmla="*/ 7987800 w 11033748"/>
                <a:gd name="connsiteY4" fmla="*/ 1402575 h 3332876"/>
                <a:gd name="connsiteX5" fmla="*/ 7735274 w 11033748"/>
                <a:gd name="connsiteY5" fmla="*/ 1402575 h 3332876"/>
                <a:gd name="connsiteX6" fmla="*/ 7735274 w 11033748"/>
                <a:gd name="connsiteY6" fmla="*/ 408889 h 3332876"/>
                <a:gd name="connsiteX7" fmla="*/ 7987800 w 11033748"/>
                <a:gd name="connsiteY7" fmla="*/ 408889 h 3332876"/>
                <a:gd name="connsiteX8" fmla="*/ 7987800 w 11033748"/>
                <a:gd name="connsiteY8" fmla="*/ 769306 h 3332876"/>
                <a:gd name="connsiteX9" fmla="*/ 8344307 w 11033748"/>
                <a:gd name="connsiteY9" fmla="*/ 408889 h 3332876"/>
                <a:gd name="connsiteX10" fmla="*/ 8642960 w 11033748"/>
                <a:gd name="connsiteY10" fmla="*/ 408889 h 3332876"/>
                <a:gd name="connsiteX11" fmla="*/ 8186381 w 11033748"/>
                <a:gd name="connsiteY11" fmla="*/ 869378 h 3332876"/>
                <a:gd name="connsiteX12" fmla="*/ 629361 w 11033748"/>
                <a:gd name="connsiteY12" fmla="*/ 677052 h 3332876"/>
                <a:gd name="connsiteX13" fmla="*/ 898305 w 11033748"/>
                <a:gd name="connsiteY13" fmla="*/ 456580 h 3332876"/>
                <a:gd name="connsiteX14" fmla="*/ 629361 w 11033748"/>
                <a:gd name="connsiteY14" fmla="*/ 236108 h 3332876"/>
                <a:gd name="connsiteX15" fmla="*/ 264253 w 11033748"/>
                <a:gd name="connsiteY15" fmla="*/ 236108 h 3332876"/>
                <a:gd name="connsiteX16" fmla="*/ 264253 w 11033748"/>
                <a:gd name="connsiteY16" fmla="*/ 677052 h 3332876"/>
                <a:gd name="connsiteX17" fmla="*/ 629361 w 11033748"/>
                <a:gd name="connsiteY17" fmla="*/ 677052 h 3332876"/>
                <a:gd name="connsiteX18" fmla="*/ 637179 w 11033748"/>
                <a:gd name="connsiteY18" fmla="*/ 0 h 3332876"/>
                <a:gd name="connsiteX19" fmla="*/ 1162558 w 11033748"/>
                <a:gd name="connsiteY19" fmla="*/ 456580 h 3332876"/>
                <a:gd name="connsiteX20" fmla="*/ 637179 w 11033748"/>
                <a:gd name="connsiteY20" fmla="*/ 913941 h 3332876"/>
                <a:gd name="connsiteX21" fmla="*/ 264253 w 11033748"/>
                <a:gd name="connsiteY21" fmla="*/ 913941 h 3332876"/>
                <a:gd name="connsiteX22" fmla="*/ 264253 w 11033748"/>
                <a:gd name="connsiteY22" fmla="*/ 1403357 h 3332876"/>
                <a:gd name="connsiteX23" fmla="*/ 0 w 11033748"/>
                <a:gd name="connsiteY23" fmla="*/ 1403357 h 3332876"/>
                <a:gd name="connsiteX24" fmla="*/ 0 w 11033748"/>
                <a:gd name="connsiteY24" fmla="*/ 0 h 3332876"/>
                <a:gd name="connsiteX25" fmla="*/ 637179 w 11033748"/>
                <a:gd name="connsiteY25" fmla="*/ 0 h 3332876"/>
                <a:gd name="connsiteX26" fmla="*/ 1759083 w 11033748"/>
                <a:gd name="connsiteY26" fmla="*/ 1194613 h 3332876"/>
                <a:gd name="connsiteX27" fmla="*/ 2046009 w 11033748"/>
                <a:gd name="connsiteY27" fmla="*/ 906123 h 3332876"/>
                <a:gd name="connsiteX28" fmla="*/ 1759083 w 11033748"/>
                <a:gd name="connsiteY28" fmla="*/ 617634 h 3332876"/>
                <a:gd name="connsiteX29" fmla="*/ 1472157 w 11033748"/>
                <a:gd name="connsiteY29" fmla="*/ 906123 h 3332876"/>
                <a:gd name="connsiteX30" fmla="*/ 1759083 w 11033748"/>
                <a:gd name="connsiteY30" fmla="*/ 1194613 h 3332876"/>
                <a:gd name="connsiteX31" fmla="*/ 1759083 w 11033748"/>
                <a:gd name="connsiteY31" fmla="*/ 380744 h 3332876"/>
                <a:gd name="connsiteX32" fmla="*/ 2302444 w 11033748"/>
                <a:gd name="connsiteY32" fmla="*/ 906123 h 3332876"/>
                <a:gd name="connsiteX33" fmla="*/ 1759083 w 11033748"/>
                <a:gd name="connsiteY33" fmla="*/ 1431503 h 3332876"/>
                <a:gd name="connsiteX34" fmla="*/ 1215722 w 11033748"/>
                <a:gd name="connsiteY34" fmla="*/ 906123 h 3332876"/>
                <a:gd name="connsiteX35" fmla="*/ 1759083 w 11033748"/>
                <a:gd name="connsiteY35" fmla="*/ 380744 h 3332876"/>
                <a:gd name="connsiteX36" fmla="*/ 2947441 w 11033748"/>
                <a:gd name="connsiteY36" fmla="*/ 1194613 h 3332876"/>
                <a:gd name="connsiteX37" fmla="*/ 2683188 w 11033748"/>
                <a:gd name="connsiteY37" fmla="*/ 906123 h 3332876"/>
                <a:gd name="connsiteX38" fmla="*/ 2947441 w 11033748"/>
                <a:gd name="connsiteY38" fmla="*/ 617634 h 3332876"/>
                <a:gd name="connsiteX39" fmla="*/ 3178077 w 11033748"/>
                <a:gd name="connsiteY39" fmla="*/ 753669 h 3332876"/>
                <a:gd name="connsiteX40" fmla="*/ 3394639 w 11033748"/>
                <a:gd name="connsiteY40" fmla="*/ 629361 h 3332876"/>
                <a:gd name="connsiteX41" fmla="*/ 2949787 w 11033748"/>
                <a:gd name="connsiteY41" fmla="*/ 380744 h 3332876"/>
                <a:gd name="connsiteX42" fmla="*/ 2426753 w 11033748"/>
                <a:gd name="connsiteY42" fmla="*/ 906123 h 3332876"/>
                <a:gd name="connsiteX43" fmla="*/ 2949787 w 11033748"/>
                <a:gd name="connsiteY43" fmla="*/ 1431503 h 3332876"/>
                <a:gd name="connsiteX44" fmla="*/ 3404803 w 11033748"/>
                <a:gd name="connsiteY44" fmla="*/ 1164904 h 3332876"/>
                <a:gd name="connsiteX45" fmla="*/ 3196058 w 11033748"/>
                <a:gd name="connsiteY45" fmla="*/ 1050759 h 3332876"/>
                <a:gd name="connsiteX46" fmla="*/ 2947441 w 11033748"/>
                <a:gd name="connsiteY46" fmla="*/ 1194613 h 3332876"/>
                <a:gd name="connsiteX47" fmla="*/ 5636102 w 11033748"/>
                <a:gd name="connsiteY47" fmla="*/ 971796 h 3332876"/>
                <a:gd name="connsiteX48" fmla="*/ 5541502 w 11033748"/>
                <a:gd name="connsiteY48" fmla="*/ 1157868 h 3332876"/>
                <a:gd name="connsiteX49" fmla="*/ 5464884 w 11033748"/>
                <a:gd name="connsiteY49" fmla="*/ 1147704 h 3332876"/>
                <a:gd name="connsiteX50" fmla="*/ 5466448 w 11033748"/>
                <a:gd name="connsiteY50" fmla="*/ 1404921 h 3332876"/>
                <a:gd name="connsiteX51" fmla="*/ 5556356 w 11033748"/>
                <a:gd name="connsiteY51" fmla="*/ 1414303 h 3332876"/>
                <a:gd name="connsiteX52" fmla="*/ 5870646 w 11033748"/>
                <a:gd name="connsiteY52" fmla="*/ 981177 h 3332876"/>
                <a:gd name="connsiteX53" fmla="*/ 5894882 w 11033748"/>
                <a:gd name="connsiteY53" fmla="*/ 634052 h 3332876"/>
                <a:gd name="connsiteX54" fmla="*/ 6179463 w 11033748"/>
                <a:gd name="connsiteY54" fmla="*/ 634052 h 3332876"/>
                <a:gd name="connsiteX55" fmla="*/ 6179463 w 11033748"/>
                <a:gd name="connsiteY55" fmla="*/ 1399448 h 3332876"/>
                <a:gd name="connsiteX56" fmla="*/ 6431989 w 11033748"/>
                <a:gd name="connsiteY56" fmla="*/ 1399448 h 3332876"/>
                <a:gd name="connsiteX57" fmla="*/ 6431989 w 11033748"/>
                <a:gd name="connsiteY57" fmla="*/ 408889 h 3332876"/>
                <a:gd name="connsiteX58" fmla="*/ 5678319 w 11033748"/>
                <a:gd name="connsiteY58" fmla="*/ 408889 h 3332876"/>
                <a:gd name="connsiteX59" fmla="*/ 5636102 w 11033748"/>
                <a:gd name="connsiteY59" fmla="*/ 971796 h 3332876"/>
                <a:gd name="connsiteX60" fmla="*/ 5170922 w 11033748"/>
                <a:gd name="connsiteY60" fmla="*/ 773215 h 3332876"/>
                <a:gd name="connsiteX61" fmla="*/ 4912141 w 11033748"/>
                <a:gd name="connsiteY61" fmla="*/ 573070 h 3332876"/>
                <a:gd name="connsiteX62" fmla="*/ 4643197 w 11033748"/>
                <a:gd name="connsiteY62" fmla="*/ 773215 h 3332876"/>
                <a:gd name="connsiteX63" fmla="*/ 5170922 w 11033748"/>
                <a:gd name="connsiteY63" fmla="*/ 773215 h 3332876"/>
                <a:gd name="connsiteX64" fmla="*/ 4919960 w 11033748"/>
                <a:gd name="connsiteY64" fmla="*/ 380744 h 3332876"/>
                <a:gd name="connsiteX65" fmla="*/ 5404684 w 11033748"/>
                <a:gd name="connsiteY65" fmla="*/ 877978 h 3332876"/>
                <a:gd name="connsiteX66" fmla="*/ 5404684 w 11033748"/>
                <a:gd name="connsiteY66" fmla="*/ 966323 h 3332876"/>
                <a:gd name="connsiteX67" fmla="*/ 4639288 w 11033748"/>
                <a:gd name="connsiteY67" fmla="*/ 966323 h 3332876"/>
                <a:gd name="connsiteX68" fmla="*/ 4912141 w 11033748"/>
                <a:gd name="connsiteY68" fmla="*/ 1214940 h 3332876"/>
                <a:gd name="connsiteX69" fmla="*/ 5164667 w 11033748"/>
                <a:gd name="connsiteY69" fmla="*/ 1078904 h 3332876"/>
                <a:gd name="connsiteX70" fmla="*/ 5364812 w 11033748"/>
                <a:gd name="connsiteY70" fmla="*/ 1178977 h 3332876"/>
                <a:gd name="connsiteX71" fmla="*/ 4907450 w 11033748"/>
                <a:gd name="connsiteY71" fmla="*/ 1431503 h 3332876"/>
                <a:gd name="connsiteX72" fmla="*/ 4396144 w 11033748"/>
                <a:gd name="connsiteY72" fmla="*/ 906123 h 3332876"/>
                <a:gd name="connsiteX73" fmla="*/ 4919960 w 11033748"/>
                <a:gd name="connsiteY73" fmla="*/ 380744 h 3332876"/>
                <a:gd name="connsiteX74" fmla="*/ 7346712 w 11033748"/>
                <a:gd name="connsiteY74" fmla="*/ 773215 h 3332876"/>
                <a:gd name="connsiteX75" fmla="*/ 7087931 w 11033748"/>
                <a:gd name="connsiteY75" fmla="*/ 573070 h 3332876"/>
                <a:gd name="connsiteX76" fmla="*/ 6818987 w 11033748"/>
                <a:gd name="connsiteY76" fmla="*/ 773215 h 3332876"/>
                <a:gd name="connsiteX77" fmla="*/ 7346712 w 11033748"/>
                <a:gd name="connsiteY77" fmla="*/ 773215 h 3332876"/>
                <a:gd name="connsiteX78" fmla="*/ 7096531 w 11033748"/>
                <a:gd name="connsiteY78" fmla="*/ 380744 h 3332876"/>
                <a:gd name="connsiteX79" fmla="*/ 7581256 w 11033748"/>
                <a:gd name="connsiteY79" fmla="*/ 877978 h 3332876"/>
                <a:gd name="connsiteX80" fmla="*/ 7581256 w 11033748"/>
                <a:gd name="connsiteY80" fmla="*/ 966323 h 3332876"/>
                <a:gd name="connsiteX81" fmla="*/ 6815859 w 11033748"/>
                <a:gd name="connsiteY81" fmla="*/ 966323 h 3332876"/>
                <a:gd name="connsiteX82" fmla="*/ 7088713 w 11033748"/>
                <a:gd name="connsiteY82" fmla="*/ 1214940 h 3332876"/>
                <a:gd name="connsiteX83" fmla="*/ 7341239 w 11033748"/>
                <a:gd name="connsiteY83" fmla="*/ 1078904 h 3332876"/>
                <a:gd name="connsiteX84" fmla="*/ 7541384 w 11033748"/>
                <a:gd name="connsiteY84" fmla="*/ 1178977 h 3332876"/>
                <a:gd name="connsiteX85" fmla="*/ 7084022 w 11033748"/>
                <a:gd name="connsiteY85" fmla="*/ 1431503 h 3332876"/>
                <a:gd name="connsiteX86" fmla="*/ 6572715 w 11033748"/>
                <a:gd name="connsiteY86" fmla="*/ 906123 h 3332876"/>
                <a:gd name="connsiteX87" fmla="*/ 7096531 w 11033748"/>
                <a:gd name="connsiteY87" fmla="*/ 380744 h 3332876"/>
                <a:gd name="connsiteX88" fmla="*/ 3482984 w 11033748"/>
                <a:gd name="connsiteY88" fmla="*/ 629361 h 3332876"/>
                <a:gd name="connsiteX89" fmla="*/ 3779292 w 11033748"/>
                <a:gd name="connsiteY89" fmla="*/ 629361 h 3332876"/>
                <a:gd name="connsiteX90" fmla="*/ 3779292 w 11033748"/>
                <a:gd name="connsiteY90" fmla="*/ 1403357 h 3332876"/>
                <a:gd name="connsiteX91" fmla="*/ 4031818 w 11033748"/>
                <a:gd name="connsiteY91" fmla="*/ 1403357 h 3332876"/>
                <a:gd name="connsiteX92" fmla="*/ 4031818 w 11033748"/>
                <a:gd name="connsiteY92" fmla="*/ 629361 h 3332876"/>
                <a:gd name="connsiteX93" fmla="*/ 4328126 w 11033748"/>
                <a:gd name="connsiteY93" fmla="*/ 629361 h 3332876"/>
                <a:gd name="connsiteX94" fmla="*/ 4328126 w 11033748"/>
                <a:gd name="connsiteY94" fmla="*/ 408889 h 3332876"/>
                <a:gd name="connsiteX95" fmla="*/ 3482984 w 11033748"/>
                <a:gd name="connsiteY95" fmla="*/ 408889 h 3332876"/>
                <a:gd name="connsiteX96" fmla="*/ 3482984 w 11033748"/>
                <a:gd name="connsiteY96" fmla="*/ 629361 h 3332876"/>
                <a:gd name="connsiteX97" fmla="*/ 9156612 w 11033748"/>
                <a:gd name="connsiteY97" fmla="*/ 1194613 h 3332876"/>
                <a:gd name="connsiteX98" fmla="*/ 9443539 w 11033748"/>
                <a:gd name="connsiteY98" fmla="*/ 906123 h 3332876"/>
                <a:gd name="connsiteX99" fmla="*/ 9156612 w 11033748"/>
                <a:gd name="connsiteY99" fmla="*/ 617634 h 3332876"/>
                <a:gd name="connsiteX100" fmla="*/ 8869687 w 11033748"/>
                <a:gd name="connsiteY100" fmla="*/ 906123 h 3332876"/>
                <a:gd name="connsiteX101" fmla="*/ 9156612 w 11033748"/>
                <a:gd name="connsiteY101" fmla="*/ 1194613 h 3332876"/>
                <a:gd name="connsiteX102" fmla="*/ 9156612 w 11033748"/>
                <a:gd name="connsiteY102" fmla="*/ 380744 h 3332876"/>
                <a:gd name="connsiteX103" fmla="*/ 9699973 w 11033748"/>
                <a:gd name="connsiteY103" fmla="*/ 906123 h 3332876"/>
                <a:gd name="connsiteX104" fmla="*/ 9156612 w 11033748"/>
                <a:gd name="connsiteY104" fmla="*/ 1431503 h 3332876"/>
                <a:gd name="connsiteX105" fmla="*/ 8613251 w 11033748"/>
                <a:gd name="connsiteY105" fmla="*/ 906123 h 3332876"/>
                <a:gd name="connsiteX106" fmla="*/ 9156612 w 11033748"/>
                <a:gd name="connsiteY106" fmla="*/ 380744 h 3332876"/>
                <a:gd name="connsiteX107" fmla="*/ 10704605 w 11033748"/>
                <a:gd name="connsiteY107" fmla="*/ 408889 h 3332876"/>
                <a:gd name="connsiteX108" fmla="*/ 10430188 w 11033748"/>
                <a:gd name="connsiteY108" fmla="*/ 1105486 h 3332876"/>
                <a:gd name="connsiteX109" fmla="*/ 10155772 w 11033748"/>
                <a:gd name="connsiteY109" fmla="*/ 408889 h 3332876"/>
                <a:gd name="connsiteX110" fmla="*/ 9825845 w 11033748"/>
                <a:gd name="connsiteY110" fmla="*/ 408889 h 3332876"/>
                <a:gd name="connsiteX111" fmla="*/ 9825845 w 11033748"/>
                <a:gd name="connsiteY111" fmla="*/ 1401012 h 3332876"/>
                <a:gd name="connsiteX112" fmla="*/ 10065863 w 11033748"/>
                <a:gd name="connsiteY112" fmla="*/ 1401012 h 3332876"/>
                <a:gd name="connsiteX113" fmla="*/ 10065863 w 11033748"/>
                <a:gd name="connsiteY113" fmla="*/ 772433 h 3332876"/>
                <a:gd name="connsiteX114" fmla="*/ 10331680 w 11033748"/>
                <a:gd name="connsiteY114" fmla="*/ 1401012 h 3332876"/>
                <a:gd name="connsiteX115" fmla="*/ 10527915 w 11033748"/>
                <a:gd name="connsiteY115" fmla="*/ 1401012 h 3332876"/>
                <a:gd name="connsiteX116" fmla="*/ 10793732 w 11033748"/>
                <a:gd name="connsiteY116" fmla="*/ 772433 h 3332876"/>
                <a:gd name="connsiteX117" fmla="*/ 10793732 w 11033748"/>
                <a:gd name="connsiteY117" fmla="*/ 1401012 h 3332876"/>
                <a:gd name="connsiteX118" fmla="*/ 11033749 w 11033748"/>
                <a:gd name="connsiteY118" fmla="*/ 1401012 h 3332876"/>
                <a:gd name="connsiteX119" fmla="*/ 11033749 w 11033748"/>
                <a:gd name="connsiteY119" fmla="*/ 408889 h 3332876"/>
                <a:gd name="connsiteX120" fmla="*/ 10704605 w 11033748"/>
                <a:gd name="connsiteY120" fmla="*/ 408889 h 3332876"/>
                <a:gd name="connsiteX121" fmla="*/ 264253 w 11033748"/>
                <a:gd name="connsiteY121" fmla="*/ 3067841 h 3332876"/>
                <a:gd name="connsiteX122" fmla="*/ 264253 w 11033748"/>
                <a:gd name="connsiteY122" fmla="*/ 2666770 h 3332876"/>
                <a:gd name="connsiteX123" fmla="*/ 570725 w 11033748"/>
                <a:gd name="connsiteY123" fmla="*/ 2666770 h 3332876"/>
                <a:gd name="connsiteX124" fmla="*/ 819342 w 11033748"/>
                <a:gd name="connsiteY124" fmla="*/ 2866915 h 3332876"/>
                <a:gd name="connsiteX125" fmla="*/ 570725 w 11033748"/>
                <a:gd name="connsiteY125" fmla="*/ 3067059 h 3332876"/>
                <a:gd name="connsiteX126" fmla="*/ 264253 w 11033748"/>
                <a:gd name="connsiteY126" fmla="*/ 3067059 h 3332876"/>
                <a:gd name="connsiteX127" fmla="*/ 0 w 11033748"/>
                <a:gd name="connsiteY127" fmla="*/ 3304731 h 3332876"/>
                <a:gd name="connsiteX128" fmla="*/ 591052 w 11033748"/>
                <a:gd name="connsiteY128" fmla="*/ 3304731 h 3332876"/>
                <a:gd name="connsiteX129" fmla="*/ 1084377 w 11033748"/>
                <a:gd name="connsiteY129" fmla="*/ 2867696 h 3332876"/>
                <a:gd name="connsiteX130" fmla="*/ 591052 w 11033748"/>
                <a:gd name="connsiteY130" fmla="*/ 2434571 h 3332876"/>
                <a:gd name="connsiteX131" fmla="*/ 264253 w 11033748"/>
                <a:gd name="connsiteY131" fmla="*/ 2434571 h 3332876"/>
                <a:gd name="connsiteX132" fmla="*/ 264253 w 11033748"/>
                <a:gd name="connsiteY132" fmla="*/ 2133572 h 3332876"/>
                <a:gd name="connsiteX133" fmla="*/ 983523 w 11033748"/>
                <a:gd name="connsiteY133" fmla="*/ 2133572 h 3332876"/>
                <a:gd name="connsiteX134" fmla="*/ 983523 w 11033748"/>
                <a:gd name="connsiteY134" fmla="*/ 1901373 h 3332876"/>
                <a:gd name="connsiteX135" fmla="*/ 0 w 11033748"/>
                <a:gd name="connsiteY135" fmla="*/ 1901373 h 3332876"/>
                <a:gd name="connsiteX136" fmla="*/ 0 w 11033748"/>
                <a:gd name="connsiteY136" fmla="*/ 3304731 h 3332876"/>
                <a:gd name="connsiteX137" fmla="*/ 1243085 w 11033748"/>
                <a:gd name="connsiteY137" fmla="*/ 3304731 h 3332876"/>
                <a:gd name="connsiteX138" fmla="*/ 1503430 w 11033748"/>
                <a:gd name="connsiteY138" fmla="*/ 3304731 h 3332876"/>
                <a:gd name="connsiteX139" fmla="*/ 1936555 w 11033748"/>
                <a:gd name="connsiteY139" fmla="*/ 2649570 h 3332876"/>
                <a:gd name="connsiteX140" fmla="*/ 1936555 w 11033748"/>
                <a:gd name="connsiteY140" fmla="*/ 3304731 h 3332876"/>
                <a:gd name="connsiteX141" fmla="*/ 2177354 w 11033748"/>
                <a:gd name="connsiteY141" fmla="*/ 3304731 h 3332876"/>
                <a:gd name="connsiteX142" fmla="*/ 2177354 w 11033748"/>
                <a:gd name="connsiteY142" fmla="*/ 2310262 h 3332876"/>
                <a:gd name="connsiteX143" fmla="*/ 1917009 w 11033748"/>
                <a:gd name="connsiteY143" fmla="*/ 2310262 h 3332876"/>
                <a:gd name="connsiteX144" fmla="*/ 1483884 w 11033748"/>
                <a:gd name="connsiteY144" fmla="*/ 2965423 h 3332876"/>
                <a:gd name="connsiteX145" fmla="*/ 1483884 w 11033748"/>
                <a:gd name="connsiteY145" fmla="*/ 2310262 h 3332876"/>
                <a:gd name="connsiteX146" fmla="*/ 1243085 w 11033748"/>
                <a:gd name="connsiteY146" fmla="*/ 2310262 h 3332876"/>
                <a:gd name="connsiteX147" fmla="*/ 1243085 w 11033748"/>
                <a:gd name="connsiteY147" fmla="*/ 3304731 h 3332876"/>
                <a:gd name="connsiteX148" fmla="*/ 3183549 w 11033748"/>
                <a:gd name="connsiteY148" fmla="*/ 3015459 h 3332876"/>
                <a:gd name="connsiteX149" fmla="*/ 2974805 w 11033748"/>
                <a:gd name="connsiteY149" fmla="*/ 2778569 h 3332876"/>
                <a:gd name="connsiteX150" fmla="*/ 3142895 w 11033748"/>
                <a:gd name="connsiteY150" fmla="*/ 2547934 h 3332876"/>
                <a:gd name="connsiteX151" fmla="*/ 2772315 w 11033748"/>
                <a:gd name="connsiteY151" fmla="*/ 2281335 h 3332876"/>
                <a:gd name="connsiteX152" fmla="*/ 2377498 w 11033748"/>
                <a:gd name="connsiteY152" fmla="*/ 2572170 h 3332876"/>
                <a:gd name="connsiteX153" fmla="*/ 2397825 w 11033748"/>
                <a:gd name="connsiteY153" fmla="*/ 2672243 h 3332876"/>
                <a:gd name="connsiteX154" fmla="*/ 2612043 w 11033748"/>
                <a:gd name="connsiteY154" fmla="*/ 2600316 h 3332876"/>
                <a:gd name="connsiteX155" fmla="*/ 2605788 w 11033748"/>
                <a:gd name="connsiteY155" fmla="*/ 2564352 h 3332876"/>
                <a:gd name="connsiteX156" fmla="*/ 2769969 w 11033748"/>
                <a:gd name="connsiteY156" fmla="*/ 2478353 h 3332876"/>
                <a:gd name="connsiteX157" fmla="*/ 2908351 w 11033748"/>
                <a:gd name="connsiteY157" fmla="*/ 2578425 h 3332876"/>
                <a:gd name="connsiteX158" fmla="*/ 2754333 w 11033748"/>
                <a:gd name="connsiteY158" fmla="*/ 2686315 h 3332876"/>
                <a:gd name="connsiteX159" fmla="*/ 2678497 w 11033748"/>
                <a:gd name="connsiteY159" fmla="*/ 2686315 h 3332876"/>
                <a:gd name="connsiteX160" fmla="*/ 2678497 w 11033748"/>
                <a:gd name="connsiteY160" fmla="*/ 2886460 h 3332876"/>
                <a:gd name="connsiteX161" fmla="*/ 2760587 w 11033748"/>
                <a:gd name="connsiteY161" fmla="*/ 2886460 h 3332876"/>
                <a:gd name="connsiteX162" fmla="*/ 2938841 w 11033748"/>
                <a:gd name="connsiteY162" fmla="*/ 3004514 h 3332876"/>
                <a:gd name="connsiteX163" fmla="*/ 2748079 w 11033748"/>
                <a:gd name="connsiteY163" fmla="*/ 3135077 h 3332876"/>
                <a:gd name="connsiteX164" fmla="*/ 2579988 w 11033748"/>
                <a:gd name="connsiteY164" fmla="*/ 3008423 h 3332876"/>
                <a:gd name="connsiteX165" fmla="*/ 2590152 w 11033748"/>
                <a:gd name="connsiteY165" fmla="*/ 2958387 h 3332876"/>
                <a:gd name="connsiteX166" fmla="*/ 2377498 w 11033748"/>
                <a:gd name="connsiteY166" fmla="*/ 2890369 h 3332876"/>
                <a:gd name="connsiteX167" fmla="*/ 2353262 w 11033748"/>
                <a:gd name="connsiteY167" fmla="*/ 3010768 h 3332876"/>
                <a:gd name="connsiteX168" fmla="*/ 2748079 w 11033748"/>
                <a:gd name="connsiteY168" fmla="*/ 3331312 h 3332876"/>
                <a:gd name="connsiteX169" fmla="*/ 3183549 w 11033748"/>
                <a:gd name="connsiteY169" fmla="*/ 3015459 h 3332876"/>
                <a:gd name="connsiteX170" fmla="*/ 3354767 w 11033748"/>
                <a:gd name="connsiteY170" fmla="*/ 3304731 h 3332876"/>
                <a:gd name="connsiteX171" fmla="*/ 3607293 w 11033748"/>
                <a:gd name="connsiteY171" fmla="*/ 3304731 h 3332876"/>
                <a:gd name="connsiteX172" fmla="*/ 3607293 w 11033748"/>
                <a:gd name="connsiteY172" fmla="*/ 2902096 h 3332876"/>
                <a:gd name="connsiteX173" fmla="*/ 4020091 w 11033748"/>
                <a:gd name="connsiteY173" fmla="*/ 2902096 h 3332876"/>
                <a:gd name="connsiteX174" fmla="*/ 4020091 w 11033748"/>
                <a:gd name="connsiteY174" fmla="*/ 3304731 h 3332876"/>
                <a:gd name="connsiteX175" fmla="*/ 4272617 w 11033748"/>
                <a:gd name="connsiteY175" fmla="*/ 3304731 h 3332876"/>
                <a:gd name="connsiteX176" fmla="*/ 4272617 w 11033748"/>
                <a:gd name="connsiteY176" fmla="*/ 2310262 h 3332876"/>
                <a:gd name="connsiteX177" fmla="*/ 4020091 w 11033748"/>
                <a:gd name="connsiteY177" fmla="*/ 2310262 h 3332876"/>
                <a:gd name="connsiteX178" fmla="*/ 4020091 w 11033748"/>
                <a:gd name="connsiteY178" fmla="*/ 2680843 h 3332876"/>
                <a:gd name="connsiteX179" fmla="*/ 3607293 w 11033748"/>
                <a:gd name="connsiteY179" fmla="*/ 2680843 h 3332876"/>
                <a:gd name="connsiteX180" fmla="*/ 3607293 w 11033748"/>
                <a:gd name="connsiteY180" fmla="*/ 2310262 h 3332876"/>
                <a:gd name="connsiteX181" fmla="*/ 3354767 w 11033748"/>
                <a:gd name="connsiteY181" fmla="*/ 2310262 h 3332876"/>
                <a:gd name="connsiteX182" fmla="*/ 3354767 w 11033748"/>
                <a:gd name="connsiteY182" fmla="*/ 3304731 h 3332876"/>
                <a:gd name="connsiteX183" fmla="*/ 4663524 w 11033748"/>
                <a:gd name="connsiteY183" fmla="*/ 2675370 h 3332876"/>
                <a:gd name="connsiteX184" fmla="*/ 4932468 w 11033748"/>
                <a:gd name="connsiteY184" fmla="*/ 2475225 h 3332876"/>
                <a:gd name="connsiteX185" fmla="*/ 5191249 w 11033748"/>
                <a:gd name="connsiteY185" fmla="*/ 2675370 h 3332876"/>
                <a:gd name="connsiteX186" fmla="*/ 4663524 w 11033748"/>
                <a:gd name="connsiteY186" fmla="*/ 2675370 h 3332876"/>
                <a:gd name="connsiteX187" fmla="*/ 4931687 w 11033748"/>
                <a:gd name="connsiteY187" fmla="*/ 3116313 h 3332876"/>
                <a:gd name="connsiteX188" fmla="*/ 4658833 w 11033748"/>
                <a:gd name="connsiteY188" fmla="*/ 2867696 h 3332876"/>
                <a:gd name="connsiteX189" fmla="*/ 5424230 w 11033748"/>
                <a:gd name="connsiteY189" fmla="*/ 2867696 h 3332876"/>
                <a:gd name="connsiteX190" fmla="*/ 5424230 w 11033748"/>
                <a:gd name="connsiteY190" fmla="*/ 2779351 h 3332876"/>
                <a:gd name="connsiteX191" fmla="*/ 4939505 w 11033748"/>
                <a:gd name="connsiteY191" fmla="*/ 2282117 h 3332876"/>
                <a:gd name="connsiteX192" fmla="*/ 4416471 w 11033748"/>
                <a:gd name="connsiteY192" fmla="*/ 2807497 h 3332876"/>
                <a:gd name="connsiteX193" fmla="*/ 4927778 w 11033748"/>
                <a:gd name="connsiteY193" fmla="*/ 3332876 h 3332876"/>
                <a:gd name="connsiteX194" fmla="*/ 5384357 w 11033748"/>
                <a:gd name="connsiteY194" fmla="*/ 3080350 h 3332876"/>
                <a:gd name="connsiteX195" fmla="*/ 5184213 w 11033748"/>
                <a:gd name="connsiteY195" fmla="*/ 2980278 h 3332876"/>
                <a:gd name="connsiteX196" fmla="*/ 4931687 w 11033748"/>
                <a:gd name="connsiteY196" fmla="*/ 3116313 h 3332876"/>
                <a:gd name="connsiteX197" fmla="*/ 6084081 w 11033748"/>
                <a:gd name="connsiteY197" fmla="*/ 3332094 h 3332876"/>
                <a:gd name="connsiteX198" fmla="*/ 6539098 w 11033748"/>
                <a:gd name="connsiteY198" fmla="*/ 3065495 h 3332876"/>
                <a:gd name="connsiteX199" fmla="*/ 6330353 w 11033748"/>
                <a:gd name="connsiteY199" fmla="*/ 2951350 h 3332876"/>
                <a:gd name="connsiteX200" fmla="*/ 6081736 w 11033748"/>
                <a:gd name="connsiteY200" fmla="*/ 3095986 h 3332876"/>
                <a:gd name="connsiteX201" fmla="*/ 5817483 w 11033748"/>
                <a:gd name="connsiteY201" fmla="*/ 2807497 h 3332876"/>
                <a:gd name="connsiteX202" fmla="*/ 6081736 w 11033748"/>
                <a:gd name="connsiteY202" fmla="*/ 2519007 h 3332876"/>
                <a:gd name="connsiteX203" fmla="*/ 6312372 w 11033748"/>
                <a:gd name="connsiteY203" fmla="*/ 2655043 h 3332876"/>
                <a:gd name="connsiteX204" fmla="*/ 6528934 w 11033748"/>
                <a:gd name="connsiteY204" fmla="*/ 2530734 h 3332876"/>
                <a:gd name="connsiteX205" fmla="*/ 6084081 w 11033748"/>
                <a:gd name="connsiteY205" fmla="*/ 2282117 h 3332876"/>
                <a:gd name="connsiteX206" fmla="*/ 5561047 w 11033748"/>
                <a:gd name="connsiteY206" fmla="*/ 2807497 h 3332876"/>
                <a:gd name="connsiteX207" fmla="*/ 6084081 w 11033748"/>
                <a:gd name="connsiteY207" fmla="*/ 3332094 h 333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1033748" h="3332876">
                  <a:moveTo>
                    <a:pt x="8186381" y="869378"/>
                  </a:moveTo>
                  <a:lnTo>
                    <a:pt x="8655469" y="1402575"/>
                  </a:lnTo>
                  <a:lnTo>
                    <a:pt x="8350562" y="1402575"/>
                  </a:lnTo>
                  <a:lnTo>
                    <a:pt x="7987800" y="991341"/>
                  </a:lnTo>
                  <a:lnTo>
                    <a:pt x="7987800" y="1402575"/>
                  </a:lnTo>
                  <a:lnTo>
                    <a:pt x="7735274" y="1402575"/>
                  </a:lnTo>
                  <a:lnTo>
                    <a:pt x="7735274" y="408889"/>
                  </a:lnTo>
                  <a:lnTo>
                    <a:pt x="7987800" y="408889"/>
                  </a:lnTo>
                  <a:lnTo>
                    <a:pt x="7987800" y="769306"/>
                  </a:lnTo>
                  <a:lnTo>
                    <a:pt x="8344307" y="408889"/>
                  </a:lnTo>
                  <a:lnTo>
                    <a:pt x="8642960" y="408889"/>
                  </a:lnTo>
                  <a:lnTo>
                    <a:pt x="8186381" y="869378"/>
                  </a:lnTo>
                  <a:close/>
                  <a:moveTo>
                    <a:pt x="629361" y="677052"/>
                  </a:moveTo>
                  <a:cubicBezTo>
                    <a:pt x="813869" y="677052"/>
                    <a:pt x="898305" y="588706"/>
                    <a:pt x="898305" y="456580"/>
                  </a:cubicBezTo>
                  <a:cubicBezTo>
                    <a:pt x="898305" y="324453"/>
                    <a:pt x="813869" y="236108"/>
                    <a:pt x="629361" y="236108"/>
                  </a:cubicBezTo>
                  <a:lnTo>
                    <a:pt x="264253" y="236108"/>
                  </a:lnTo>
                  <a:lnTo>
                    <a:pt x="264253" y="677052"/>
                  </a:lnTo>
                  <a:lnTo>
                    <a:pt x="629361" y="677052"/>
                  </a:lnTo>
                  <a:moveTo>
                    <a:pt x="637179" y="0"/>
                  </a:moveTo>
                  <a:cubicBezTo>
                    <a:pt x="953814" y="0"/>
                    <a:pt x="1162558" y="162617"/>
                    <a:pt x="1162558" y="456580"/>
                  </a:cubicBezTo>
                  <a:cubicBezTo>
                    <a:pt x="1162558" y="751324"/>
                    <a:pt x="953814" y="913941"/>
                    <a:pt x="637179" y="913941"/>
                  </a:cubicBezTo>
                  <a:lnTo>
                    <a:pt x="264253" y="913941"/>
                  </a:lnTo>
                  <a:lnTo>
                    <a:pt x="264253" y="1403357"/>
                  </a:lnTo>
                  <a:lnTo>
                    <a:pt x="0" y="1403357"/>
                  </a:lnTo>
                  <a:lnTo>
                    <a:pt x="0" y="0"/>
                  </a:lnTo>
                  <a:lnTo>
                    <a:pt x="637179" y="0"/>
                  </a:lnTo>
                  <a:moveTo>
                    <a:pt x="1759083" y="1194613"/>
                  </a:moveTo>
                  <a:cubicBezTo>
                    <a:pt x="1907628" y="1194613"/>
                    <a:pt x="2046009" y="1088286"/>
                    <a:pt x="2046009" y="906123"/>
                  </a:cubicBezTo>
                  <a:cubicBezTo>
                    <a:pt x="2046009" y="723960"/>
                    <a:pt x="1907628" y="617634"/>
                    <a:pt x="1759083" y="617634"/>
                  </a:cubicBezTo>
                  <a:cubicBezTo>
                    <a:pt x="1610538" y="617634"/>
                    <a:pt x="1472157" y="723960"/>
                    <a:pt x="1472157" y="906123"/>
                  </a:cubicBezTo>
                  <a:cubicBezTo>
                    <a:pt x="1472939" y="1088286"/>
                    <a:pt x="1611320" y="1194613"/>
                    <a:pt x="1759083" y="1194613"/>
                  </a:cubicBezTo>
                  <a:moveTo>
                    <a:pt x="1759083" y="380744"/>
                  </a:moveTo>
                  <a:cubicBezTo>
                    <a:pt x="2031936" y="380744"/>
                    <a:pt x="2302444" y="557434"/>
                    <a:pt x="2302444" y="906123"/>
                  </a:cubicBezTo>
                  <a:cubicBezTo>
                    <a:pt x="2302444" y="1254813"/>
                    <a:pt x="2031936" y="1431503"/>
                    <a:pt x="1759083" y="1431503"/>
                  </a:cubicBezTo>
                  <a:cubicBezTo>
                    <a:pt x="1486230" y="1431503"/>
                    <a:pt x="1215722" y="1254813"/>
                    <a:pt x="1215722" y="906123"/>
                  </a:cubicBezTo>
                  <a:cubicBezTo>
                    <a:pt x="1216504" y="556652"/>
                    <a:pt x="1487011" y="380744"/>
                    <a:pt x="1759083" y="380744"/>
                  </a:cubicBezTo>
                  <a:moveTo>
                    <a:pt x="2947441" y="1194613"/>
                  </a:moveTo>
                  <a:cubicBezTo>
                    <a:pt x="2794988" y="1194613"/>
                    <a:pt x="2683188" y="1084377"/>
                    <a:pt x="2683188" y="906123"/>
                  </a:cubicBezTo>
                  <a:cubicBezTo>
                    <a:pt x="2683188" y="729433"/>
                    <a:pt x="2799678" y="617634"/>
                    <a:pt x="2947441" y="617634"/>
                  </a:cubicBezTo>
                  <a:cubicBezTo>
                    <a:pt x="3037350" y="617634"/>
                    <a:pt x="3115531" y="659852"/>
                    <a:pt x="3178077" y="753669"/>
                  </a:cubicBezTo>
                  <a:lnTo>
                    <a:pt x="3394639" y="629361"/>
                  </a:lnTo>
                  <a:cubicBezTo>
                    <a:pt x="3322712" y="475343"/>
                    <a:pt x="3166349" y="380744"/>
                    <a:pt x="2949787" y="380744"/>
                  </a:cubicBezTo>
                  <a:cubicBezTo>
                    <a:pt x="2667551" y="380744"/>
                    <a:pt x="2426753" y="589488"/>
                    <a:pt x="2426753" y="906123"/>
                  </a:cubicBezTo>
                  <a:cubicBezTo>
                    <a:pt x="2426753" y="1222758"/>
                    <a:pt x="2655043" y="1431503"/>
                    <a:pt x="2949787" y="1431503"/>
                  </a:cubicBezTo>
                  <a:cubicBezTo>
                    <a:pt x="3162440" y="1431503"/>
                    <a:pt x="3304730" y="1335340"/>
                    <a:pt x="3404803" y="1164904"/>
                  </a:cubicBezTo>
                  <a:lnTo>
                    <a:pt x="3196058" y="1050759"/>
                  </a:lnTo>
                  <a:cubicBezTo>
                    <a:pt x="3135858" y="1134413"/>
                    <a:pt x="3071750" y="1194613"/>
                    <a:pt x="2947441" y="1194613"/>
                  </a:cubicBezTo>
                  <a:moveTo>
                    <a:pt x="5636102" y="971796"/>
                  </a:moveTo>
                  <a:cubicBezTo>
                    <a:pt x="5624375" y="1124250"/>
                    <a:pt x="5593884" y="1157868"/>
                    <a:pt x="5541502" y="1157868"/>
                  </a:cubicBezTo>
                  <a:cubicBezTo>
                    <a:pt x="5505538" y="1157868"/>
                    <a:pt x="5489120" y="1153959"/>
                    <a:pt x="5464884" y="1147704"/>
                  </a:cubicBezTo>
                  <a:lnTo>
                    <a:pt x="5466448" y="1404921"/>
                  </a:lnTo>
                  <a:cubicBezTo>
                    <a:pt x="5466448" y="1404921"/>
                    <a:pt x="5497720" y="1414303"/>
                    <a:pt x="5556356" y="1414303"/>
                  </a:cubicBezTo>
                  <a:cubicBezTo>
                    <a:pt x="5770574" y="1414303"/>
                    <a:pt x="5851101" y="1275922"/>
                    <a:pt x="5870646" y="981177"/>
                  </a:cubicBezTo>
                  <a:lnTo>
                    <a:pt x="5894882" y="634052"/>
                  </a:lnTo>
                  <a:lnTo>
                    <a:pt x="6179463" y="634052"/>
                  </a:lnTo>
                  <a:lnTo>
                    <a:pt x="6179463" y="1399448"/>
                  </a:lnTo>
                  <a:lnTo>
                    <a:pt x="6431989" y="1399448"/>
                  </a:lnTo>
                  <a:lnTo>
                    <a:pt x="6431989" y="408889"/>
                  </a:lnTo>
                  <a:lnTo>
                    <a:pt x="5678319" y="408889"/>
                  </a:lnTo>
                  <a:lnTo>
                    <a:pt x="5636102" y="971796"/>
                  </a:lnTo>
                  <a:close/>
                  <a:moveTo>
                    <a:pt x="5170922" y="773215"/>
                  </a:moveTo>
                  <a:cubicBezTo>
                    <a:pt x="5146686" y="648906"/>
                    <a:pt x="5052868" y="573070"/>
                    <a:pt x="4912141" y="573070"/>
                  </a:cubicBezTo>
                  <a:cubicBezTo>
                    <a:pt x="4780015" y="573070"/>
                    <a:pt x="4679942" y="661415"/>
                    <a:pt x="4643197" y="773215"/>
                  </a:cubicBezTo>
                  <a:lnTo>
                    <a:pt x="5170922" y="773215"/>
                  </a:lnTo>
                  <a:close/>
                  <a:moveTo>
                    <a:pt x="4919960" y="380744"/>
                  </a:moveTo>
                  <a:cubicBezTo>
                    <a:pt x="5204540" y="380744"/>
                    <a:pt x="5404684" y="587143"/>
                    <a:pt x="5404684" y="877978"/>
                  </a:cubicBezTo>
                  <a:lnTo>
                    <a:pt x="5404684" y="966323"/>
                  </a:lnTo>
                  <a:lnTo>
                    <a:pt x="4639288" y="966323"/>
                  </a:lnTo>
                  <a:cubicBezTo>
                    <a:pt x="4654924" y="1118777"/>
                    <a:pt x="4763597" y="1214940"/>
                    <a:pt x="4912141" y="1214940"/>
                  </a:cubicBezTo>
                  <a:cubicBezTo>
                    <a:pt x="5046614" y="1214940"/>
                    <a:pt x="5102904" y="1157086"/>
                    <a:pt x="5164667" y="1078904"/>
                  </a:cubicBezTo>
                  <a:lnTo>
                    <a:pt x="5364812" y="1178977"/>
                  </a:lnTo>
                  <a:cubicBezTo>
                    <a:pt x="5264740" y="1349412"/>
                    <a:pt x="5126358" y="1431503"/>
                    <a:pt x="4907450" y="1431503"/>
                  </a:cubicBezTo>
                  <a:cubicBezTo>
                    <a:pt x="4630688" y="1431503"/>
                    <a:pt x="4396144" y="1221195"/>
                    <a:pt x="4396144" y="906123"/>
                  </a:cubicBezTo>
                  <a:cubicBezTo>
                    <a:pt x="4396144" y="591052"/>
                    <a:pt x="4631470" y="380744"/>
                    <a:pt x="4919960" y="380744"/>
                  </a:cubicBezTo>
                  <a:moveTo>
                    <a:pt x="7346712" y="773215"/>
                  </a:moveTo>
                  <a:cubicBezTo>
                    <a:pt x="7322476" y="648906"/>
                    <a:pt x="7228658" y="573070"/>
                    <a:pt x="7087931" y="573070"/>
                  </a:cubicBezTo>
                  <a:cubicBezTo>
                    <a:pt x="6955804" y="573070"/>
                    <a:pt x="6855733" y="661415"/>
                    <a:pt x="6818987" y="773215"/>
                  </a:cubicBezTo>
                  <a:lnTo>
                    <a:pt x="7346712" y="773215"/>
                  </a:lnTo>
                  <a:close/>
                  <a:moveTo>
                    <a:pt x="7096531" y="380744"/>
                  </a:moveTo>
                  <a:cubicBezTo>
                    <a:pt x="7381112" y="380744"/>
                    <a:pt x="7581256" y="587143"/>
                    <a:pt x="7581256" y="877978"/>
                  </a:cubicBezTo>
                  <a:lnTo>
                    <a:pt x="7581256" y="966323"/>
                  </a:lnTo>
                  <a:lnTo>
                    <a:pt x="6815859" y="966323"/>
                  </a:lnTo>
                  <a:cubicBezTo>
                    <a:pt x="6831496" y="1118777"/>
                    <a:pt x="6940168" y="1214940"/>
                    <a:pt x="7088713" y="1214940"/>
                  </a:cubicBezTo>
                  <a:cubicBezTo>
                    <a:pt x="7223186" y="1214940"/>
                    <a:pt x="7279476" y="1157086"/>
                    <a:pt x="7341239" y="1078904"/>
                  </a:cubicBezTo>
                  <a:lnTo>
                    <a:pt x="7541384" y="1178977"/>
                  </a:lnTo>
                  <a:cubicBezTo>
                    <a:pt x="7441311" y="1349412"/>
                    <a:pt x="7302930" y="1431503"/>
                    <a:pt x="7084022" y="1431503"/>
                  </a:cubicBezTo>
                  <a:cubicBezTo>
                    <a:pt x="6807260" y="1431503"/>
                    <a:pt x="6572715" y="1221195"/>
                    <a:pt x="6572715" y="906123"/>
                  </a:cubicBezTo>
                  <a:cubicBezTo>
                    <a:pt x="6572715" y="591052"/>
                    <a:pt x="6808041" y="380744"/>
                    <a:pt x="7096531" y="380744"/>
                  </a:cubicBezTo>
                  <a:moveTo>
                    <a:pt x="3482984" y="629361"/>
                  </a:moveTo>
                  <a:lnTo>
                    <a:pt x="3779292" y="629361"/>
                  </a:lnTo>
                  <a:lnTo>
                    <a:pt x="3779292" y="1403357"/>
                  </a:lnTo>
                  <a:lnTo>
                    <a:pt x="4031818" y="1403357"/>
                  </a:lnTo>
                  <a:lnTo>
                    <a:pt x="4031818" y="629361"/>
                  </a:lnTo>
                  <a:lnTo>
                    <a:pt x="4328126" y="629361"/>
                  </a:lnTo>
                  <a:lnTo>
                    <a:pt x="4328126" y="408889"/>
                  </a:lnTo>
                  <a:lnTo>
                    <a:pt x="3482984" y="408889"/>
                  </a:lnTo>
                  <a:lnTo>
                    <a:pt x="3482984" y="629361"/>
                  </a:lnTo>
                  <a:close/>
                  <a:moveTo>
                    <a:pt x="9156612" y="1194613"/>
                  </a:moveTo>
                  <a:cubicBezTo>
                    <a:pt x="9305157" y="1194613"/>
                    <a:pt x="9443539" y="1088286"/>
                    <a:pt x="9443539" y="906123"/>
                  </a:cubicBezTo>
                  <a:cubicBezTo>
                    <a:pt x="9443539" y="723960"/>
                    <a:pt x="9305157" y="617634"/>
                    <a:pt x="9156612" y="617634"/>
                  </a:cubicBezTo>
                  <a:cubicBezTo>
                    <a:pt x="9008067" y="617634"/>
                    <a:pt x="8869687" y="723960"/>
                    <a:pt x="8869687" y="906123"/>
                  </a:cubicBezTo>
                  <a:cubicBezTo>
                    <a:pt x="8869687" y="1088286"/>
                    <a:pt x="9008067" y="1194613"/>
                    <a:pt x="9156612" y="1194613"/>
                  </a:cubicBezTo>
                  <a:moveTo>
                    <a:pt x="9156612" y="380744"/>
                  </a:moveTo>
                  <a:cubicBezTo>
                    <a:pt x="9429466" y="380744"/>
                    <a:pt x="9699973" y="557434"/>
                    <a:pt x="9699973" y="906123"/>
                  </a:cubicBezTo>
                  <a:cubicBezTo>
                    <a:pt x="9699973" y="1254813"/>
                    <a:pt x="9429466" y="1431503"/>
                    <a:pt x="9156612" y="1431503"/>
                  </a:cubicBezTo>
                  <a:cubicBezTo>
                    <a:pt x="8883759" y="1431503"/>
                    <a:pt x="8613251" y="1254813"/>
                    <a:pt x="8613251" y="906123"/>
                  </a:cubicBezTo>
                  <a:cubicBezTo>
                    <a:pt x="8613251" y="557434"/>
                    <a:pt x="8883759" y="380744"/>
                    <a:pt x="9156612" y="380744"/>
                  </a:cubicBezTo>
                  <a:moveTo>
                    <a:pt x="10704605" y="408889"/>
                  </a:moveTo>
                  <a:lnTo>
                    <a:pt x="10430188" y="1105486"/>
                  </a:lnTo>
                  <a:lnTo>
                    <a:pt x="10155772" y="408889"/>
                  </a:lnTo>
                  <a:lnTo>
                    <a:pt x="9825845" y="408889"/>
                  </a:lnTo>
                  <a:lnTo>
                    <a:pt x="9825845" y="1401012"/>
                  </a:lnTo>
                  <a:lnTo>
                    <a:pt x="10065863" y="1401012"/>
                  </a:lnTo>
                  <a:lnTo>
                    <a:pt x="10065863" y="772433"/>
                  </a:lnTo>
                  <a:lnTo>
                    <a:pt x="10331680" y="1401012"/>
                  </a:lnTo>
                  <a:lnTo>
                    <a:pt x="10527915" y="1401012"/>
                  </a:lnTo>
                  <a:lnTo>
                    <a:pt x="10793732" y="772433"/>
                  </a:lnTo>
                  <a:lnTo>
                    <a:pt x="10793732" y="1401012"/>
                  </a:lnTo>
                  <a:lnTo>
                    <a:pt x="11033749" y="1401012"/>
                  </a:lnTo>
                  <a:lnTo>
                    <a:pt x="11033749" y="408889"/>
                  </a:lnTo>
                  <a:lnTo>
                    <a:pt x="10704605" y="408889"/>
                  </a:lnTo>
                  <a:close/>
                  <a:moveTo>
                    <a:pt x="264253" y="3067841"/>
                  </a:moveTo>
                  <a:lnTo>
                    <a:pt x="264253" y="2666770"/>
                  </a:lnTo>
                  <a:lnTo>
                    <a:pt x="570725" y="2666770"/>
                  </a:lnTo>
                  <a:cubicBezTo>
                    <a:pt x="741160" y="2666770"/>
                    <a:pt x="819342" y="2742606"/>
                    <a:pt x="819342" y="2866915"/>
                  </a:cubicBezTo>
                  <a:cubicBezTo>
                    <a:pt x="819342" y="2991223"/>
                    <a:pt x="741160" y="3067059"/>
                    <a:pt x="570725" y="3067059"/>
                  </a:cubicBezTo>
                  <a:lnTo>
                    <a:pt x="264253" y="3067059"/>
                  </a:lnTo>
                  <a:close/>
                  <a:moveTo>
                    <a:pt x="0" y="3304731"/>
                  </a:moveTo>
                  <a:lnTo>
                    <a:pt x="591052" y="3304731"/>
                  </a:lnTo>
                  <a:cubicBezTo>
                    <a:pt x="877978" y="3304731"/>
                    <a:pt x="1084377" y="3142113"/>
                    <a:pt x="1084377" y="2867696"/>
                  </a:cubicBezTo>
                  <a:cubicBezTo>
                    <a:pt x="1084377" y="2593279"/>
                    <a:pt x="877978" y="2434571"/>
                    <a:pt x="591052" y="2434571"/>
                  </a:cubicBezTo>
                  <a:lnTo>
                    <a:pt x="264253" y="2434571"/>
                  </a:lnTo>
                  <a:lnTo>
                    <a:pt x="264253" y="2133572"/>
                  </a:lnTo>
                  <a:lnTo>
                    <a:pt x="983523" y="2133572"/>
                  </a:lnTo>
                  <a:lnTo>
                    <a:pt x="983523" y="1901373"/>
                  </a:lnTo>
                  <a:lnTo>
                    <a:pt x="0" y="1901373"/>
                  </a:lnTo>
                  <a:lnTo>
                    <a:pt x="0" y="3304731"/>
                  </a:lnTo>
                  <a:close/>
                  <a:moveTo>
                    <a:pt x="1243085" y="3304731"/>
                  </a:moveTo>
                  <a:lnTo>
                    <a:pt x="1503430" y="3304731"/>
                  </a:lnTo>
                  <a:lnTo>
                    <a:pt x="1936555" y="2649570"/>
                  </a:lnTo>
                  <a:lnTo>
                    <a:pt x="1936555" y="3304731"/>
                  </a:lnTo>
                  <a:lnTo>
                    <a:pt x="2177354" y="3304731"/>
                  </a:lnTo>
                  <a:lnTo>
                    <a:pt x="2177354" y="2310262"/>
                  </a:lnTo>
                  <a:lnTo>
                    <a:pt x="1917009" y="2310262"/>
                  </a:lnTo>
                  <a:lnTo>
                    <a:pt x="1483884" y="2965423"/>
                  </a:lnTo>
                  <a:lnTo>
                    <a:pt x="1483884" y="2310262"/>
                  </a:lnTo>
                  <a:lnTo>
                    <a:pt x="1243085" y="2310262"/>
                  </a:lnTo>
                  <a:lnTo>
                    <a:pt x="1243085" y="3304731"/>
                  </a:lnTo>
                  <a:close/>
                  <a:moveTo>
                    <a:pt x="3183549" y="3015459"/>
                  </a:moveTo>
                  <a:cubicBezTo>
                    <a:pt x="3183549" y="2888805"/>
                    <a:pt x="3097549" y="2812969"/>
                    <a:pt x="2974805" y="2778569"/>
                  </a:cubicBezTo>
                  <a:cubicBezTo>
                    <a:pt x="3077222" y="2738697"/>
                    <a:pt x="3142895" y="2665988"/>
                    <a:pt x="3142895" y="2547934"/>
                  </a:cubicBezTo>
                  <a:cubicBezTo>
                    <a:pt x="3142895" y="2395480"/>
                    <a:pt x="3030314" y="2281335"/>
                    <a:pt x="2772315" y="2281335"/>
                  </a:cubicBezTo>
                  <a:cubicBezTo>
                    <a:pt x="2519789" y="2281335"/>
                    <a:pt x="2377498" y="2413462"/>
                    <a:pt x="2377498" y="2572170"/>
                  </a:cubicBezTo>
                  <a:cubicBezTo>
                    <a:pt x="2377498" y="2610479"/>
                    <a:pt x="2385316" y="2640188"/>
                    <a:pt x="2397825" y="2672243"/>
                  </a:cubicBezTo>
                  <a:lnTo>
                    <a:pt x="2612043" y="2600316"/>
                  </a:lnTo>
                  <a:cubicBezTo>
                    <a:pt x="2608134" y="2590152"/>
                    <a:pt x="2605788" y="2579989"/>
                    <a:pt x="2605788" y="2564352"/>
                  </a:cubicBezTo>
                  <a:cubicBezTo>
                    <a:pt x="2605788" y="2515880"/>
                    <a:pt x="2669897" y="2478353"/>
                    <a:pt x="2769969" y="2478353"/>
                  </a:cubicBezTo>
                  <a:cubicBezTo>
                    <a:pt x="2863787" y="2478353"/>
                    <a:pt x="2908351" y="2518225"/>
                    <a:pt x="2908351" y="2578425"/>
                  </a:cubicBezTo>
                  <a:cubicBezTo>
                    <a:pt x="2908351" y="2642534"/>
                    <a:pt x="2862223" y="2686315"/>
                    <a:pt x="2754333" y="2686315"/>
                  </a:cubicBezTo>
                  <a:lnTo>
                    <a:pt x="2678497" y="2686315"/>
                  </a:lnTo>
                  <a:lnTo>
                    <a:pt x="2678497" y="2886460"/>
                  </a:lnTo>
                  <a:lnTo>
                    <a:pt x="2760587" y="2886460"/>
                  </a:lnTo>
                  <a:cubicBezTo>
                    <a:pt x="2873169" y="2886460"/>
                    <a:pt x="2938841" y="2930242"/>
                    <a:pt x="2938841" y="3004514"/>
                  </a:cubicBezTo>
                  <a:cubicBezTo>
                    <a:pt x="2938841" y="3080350"/>
                    <a:pt x="2870823" y="3135077"/>
                    <a:pt x="2748079" y="3135077"/>
                  </a:cubicBezTo>
                  <a:cubicBezTo>
                    <a:pt x="2663642" y="3135077"/>
                    <a:pt x="2579988" y="3091295"/>
                    <a:pt x="2579988" y="3008423"/>
                  </a:cubicBezTo>
                  <a:cubicBezTo>
                    <a:pt x="2579988" y="2988096"/>
                    <a:pt x="2583898" y="2972460"/>
                    <a:pt x="2590152" y="2958387"/>
                  </a:cubicBezTo>
                  <a:lnTo>
                    <a:pt x="2377498" y="2890369"/>
                  </a:lnTo>
                  <a:cubicBezTo>
                    <a:pt x="2365771" y="2916169"/>
                    <a:pt x="2353262" y="2964641"/>
                    <a:pt x="2353262" y="3010768"/>
                  </a:cubicBezTo>
                  <a:cubicBezTo>
                    <a:pt x="2353262" y="3192931"/>
                    <a:pt x="2491643" y="3331312"/>
                    <a:pt x="2748079" y="3331312"/>
                  </a:cubicBezTo>
                  <a:cubicBezTo>
                    <a:pt x="3029532" y="3332094"/>
                    <a:pt x="3183549" y="3203877"/>
                    <a:pt x="3183549" y="3015459"/>
                  </a:cubicBezTo>
                  <a:moveTo>
                    <a:pt x="3354767" y="3304731"/>
                  </a:moveTo>
                  <a:lnTo>
                    <a:pt x="3607293" y="3304731"/>
                  </a:lnTo>
                  <a:lnTo>
                    <a:pt x="3607293" y="2902096"/>
                  </a:lnTo>
                  <a:lnTo>
                    <a:pt x="4020091" y="2902096"/>
                  </a:lnTo>
                  <a:lnTo>
                    <a:pt x="4020091" y="3304731"/>
                  </a:lnTo>
                  <a:lnTo>
                    <a:pt x="4272617" y="3304731"/>
                  </a:lnTo>
                  <a:lnTo>
                    <a:pt x="4272617" y="2310262"/>
                  </a:lnTo>
                  <a:lnTo>
                    <a:pt x="4020091" y="2310262"/>
                  </a:lnTo>
                  <a:lnTo>
                    <a:pt x="4020091" y="2680843"/>
                  </a:lnTo>
                  <a:lnTo>
                    <a:pt x="3607293" y="2680843"/>
                  </a:lnTo>
                  <a:lnTo>
                    <a:pt x="3607293" y="2310262"/>
                  </a:lnTo>
                  <a:lnTo>
                    <a:pt x="3354767" y="2310262"/>
                  </a:lnTo>
                  <a:lnTo>
                    <a:pt x="3354767" y="3304731"/>
                  </a:lnTo>
                  <a:close/>
                  <a:moveTo>
                    <a:pt x="4663524" y="2675370"/>
                  </a:moveTo>
                  <a:cubicBezTo>
                    <a:pt x="4699488" y="2562789"/>
                    <a:pt x="4799560" y="2475225"/>
                    <a:pt x="4932468" y="2475225"/>
                  </a:cubicBezTo>
                  <a:cubicBezTo>
                    <a:pt x="5072413" y="2475225"/>
                    <a:pt x="5167013" y="2551062"/>
                    <a:pt x="5191249" y="2675370"/>
                  </a:cubicBezTo>
                  <a:lnTo>
                    <a:pt x="4663524" y="2675370"/>
                  </a:lnTo>
                  <a:moveTo>
                    <a:pt x="4931687" y="3116313"/>
                  </a:moveTo>
                  <a:cubicBezTo>
                    <a:pt x="4783142" y="3116313"/>
                    <a:pt x="4675252" y="3020150"/>
                    <a:pt x="4658833" y="2867696"/>
                  </a:cubicBezTo>
                  <a:lnTo>
                    <a:pt x="5424230" y="2867696"/>
                  </a:lnTo>
                  <a:lnTo>
                    <a:pt x="5424230" y="2779351"/>
                  </a:lnTo>
                  <a:cubicBezTo>
                    <a:pt x="5424230" y="2488516"/>
                    <a:pt x="5224085" y="2282117"/>
                    <a:pt x="4939505" y="2282117"/>
                  </a:cubicBezTo>
                  <a:cubicBezTo>
                    <a:pt x="4651015" y="2282117"/>
                    <a:pt x="4416471" y="2492425"/>
                    <a:pt x="4416471" y="2807497"/>
                  </a:cubicBezTo>
                  <a:cubicBezTo>
                    <a:pt x="4416471" y="3122568"/>
                    <a:pt x="4651015" y="3332876"/>
                    <a:pt x="4927778" y="3332876"/>
                  </a:cubicBezTo>
                  <a:cubicBezTo>
                    <a:pt x="5145904" y="3332876"/>
                    <a:pt x="5284285" y="3250786"/>
                    <a:pt x="5384357" y="3080350"/>
                  </a:cubicBezTo>
                  <a:lnTo>
                    <a:pt x="5184213" y="2980278"/>
                  </a:lnTo>
                  <a:cubicBezTo>
                    <a:pt x="5122449" y="3057677"/>
                    <a:pt x="5066159" y="3116313"/>
                    <a:pt x="4931687" y="3116313"/>
                  </a:cubicBezTo>
                  <a:moveTo>
                    <a:pt x="6084081" y="3332094"/>
                  </a:moveTo>
                  <a:cubicBezTo>
                    <a:pt x="6296735" y="3332094"/>
                    <a:pt x="6439025" y="3235931"/>
                    <a:pt x="6539098" y="3065495"/>
                  </a:cubicBezTo>
                  <a:lnTo>
                    <a:pt x="6330353" y="2951350"/>
                  </a:lnTo>
                  <a:cubicBezTo>
                    <a:pt x="6270153" y="3035787"/>
                    <a:pt x="6206044" y="3095986"/>
                    <a:pt x="6081736" y="3095986"/>
                  </a:cubicBezTo>
                  <a:cubicBezTo>
                    <a:pt x="5929282" y="3095986"/>
                    <a:pt x="5817483" y="2985750"/>
                    <a:pt x="5817483" y="2807497"/>
                  </a:cubicBezTo>
                  <a:cubicBezTo>
                    <a:pt x="5817483" y="2630806"/>
                    <a:pt x="5933973" y="2519007"/>
                    <a:pt x="6081736" y="2519007"/>
                  </a:cubicBezTo>
                  <a:cubicBezTo>
                    <a:pt x="6171645" y="2519007"/>
                    <a:pt x="6249826" y="2561225"/>
                    <a:pt x="6312372" y="2655043"/>
                  </a:cubicBezTo>
                  <a:lnTo>
                    <a:pt x="6528934" y="2530734"/>
                  </a:lnTo>
                  <a:cubicBezTo>
                    <a:pt x="6457007" y="2376717"/>
                    <a:pt x="6300644" y="2282117"/>
                    <a:pt x="6084081" y="2282117"/>
                  </a:cubicBezTo>
                  <a:cubicBezTo>
                    <a:pt x="5801846" y="2282117"/>
                    <a:pt x="5561047" y="2490862"/>
                    <a:pt x="5561047" y="2807497"/>
                  </a:cubicBezTo>
                  <a:cubicBezTo>
                    <a:pt x="5561047" y="3124132"/>
                    <a:pt x="5789337" y="3332094"/>
                    <a:pt x="6084081" y="3332094"/>
                  </a:cubicBezTo>
                </a:path>
              </a:pathLst>
            </a:custGeom>
            <a:solidFill>
              <a:srgbClr val="101828"/>
            </a:solidFill>
            <a:ln w="7818" cap="flat">
              <a:noFill/>
              <a:prstDash val="solid"/>
              <a:miter/>
            </a:ln>
          </p:spPr>
          <p:txBody>
            <a:bodyPr rtlCol="0" anchor="ctr"/>
            <a:lstStyle/>
            <a:p>
              <a:endParaRPr lang="ru-RU" sz="1587" dirty="0"/>
            </a:p>
          </p:txBody>
        </p:sp>
        <p:grpSp>
          <p:nvGrpSpPr>
            <p:cNvPr id="56" name="Рисунок 25">
              <a:extLst>
                <a:ext uri="{FF2B5EF4-FFF2-40B4-BE49-F238E27FC236}">
                  <a16:creationId xmlns:a16="http://schemas.microsoft.com/office/drawing/2014/main" id="{1F812E4B-0688-43BA-B1D4-42C1607F0231}"/>
                </a:ext>
              </a:extLst>
            </p:cNvPr>
            <p:cNvGrpSpPr/>
            <p:nvPr/>
          </p:nvGrpSpPr>
          <p:grpSpPr>
            <a:xfrm>
              <a:off x="-233" y="1916027"/>
              <a:ext cx="2345677" cy="3909073"/>
              <a:chOff x="-233" y="1916027"/>
              <a:chExt cx="2345677" cy="3909073"/>
            </a:xfrm>
          </p:grpSpPr>
          <p:sp>
            <p:nvSpPr>
              <p:cNvPr id="57" name="Полилиния: фигура 56">
                <a:extLst>
                  <a:ext uri="{FF2B5EF4-FFF2-40B4-BE49-F238E27FC236}">
                    <a16:creationId xmlns:a16="http://schemas.microsoft.com/office/drawing/2014/main" id="{E7DD0E64-954A-4F7D-B8E8-712949112FE3}"/>
                  </a:ext>
                </a:extLst>
              </p:cNvPr>
              <p:cNvSpPr/>
              <p:nvPr/>
            </p:nvSpPr>
            <p:spPr>
              <a:xfrm>
                <a:off x="88345" y="4800141"/>
                <a:ext cx="1777846" cy="1024959"/>
              </a:xfrm>
              <a:custGeom>
                <a:avLst/>
                <a:gdLst>
                  <a:gd name="connsiteX0" fmla="*/ 1777846 w 1777846"/>
                  <a:gd name="connsiteY0" fmla="*/ 1024959 h 1024959"/>
                  <a:gd name="connsiteX1" fmla="*/ 182945 w 1777846"/>
                  <a:gd name="connsiteY1" fmla="*/ 1024959 h 1024959"/>
                  <a:gd name="connsiteX2" fmla="*/ 0 w 1777846"/>
                  <a:gd name="connsiteY2" fmla="*/ 831851 h 1024959"/>
                  <a:gd name="connsiteX3" fmla="*/ 56291 w 1777846"/>
                  <a:gd name="connsiteY3" fmla="*/ 695815 h 1024959"/>
                  <a:gd name="connsiteX4" fmla="*/ 752106 w 1777846"/>
                  <a:gd name="connsiteY4" fmla="*/ 0 h 1024959"/>
                  <a:gd name="connsiteX5" fmla="*/ 1777846 w 1777846"/>
                  <a:gd name="connsiteY5" fmla="*/ 1024959 h 10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7846" h="1024959">
                    <a:moveTo>
                      <a:pt x="1777846" y="1024959"/>
                    </a:moveTo>
                    <a:lnTo>
                      <a:pt x="182945" y="1024959"/>
                    </a:lnTo>
                    <a:cubicBezTo>
                      <a:pt x="68018" y="1024959"/>
                      <a:pt x="0" y="921759"/>
                      <a:pt x="0" y="831851"/>
                    </a:cubicBezTo>
                    <a:cubicBezTo>
                      <a:pt x="0" y="778688"/>
                      <a:pt x="21891" y="730215"/>
                      <a:pt x="56291" y="695815"/>
                    </a:cubicBezTo>
                    <a:lnTo>
                      <a:pt x="752106" y="0"/>
                    </a:lnTo>
                    <a:lnTo>
                      <a:pt x="1777846" y="1024959"/>
                    </a:lnTo>
                    <a:close/>
                  </a:path>
                </a:pathLst>
              </a:custGeom>
              <a:solidFill>
                <a:srgbClr val="FF4F12"/>
              </a:solidFill>
              <a:ln w="7818" cap="flat">
                <a:noFill/>
                <a:prstDash val="solid"/>
                <a:miter/>
              </a:ln>
            </p:spPr>
            <p:txBody>
              <a:bodyPr rtlCol="0" anchor="ctr"/>
              <a:lstStyle/>
              <a:p>
                <a:endParaRPr lang="ru-RU" sz="1587" dirty="0"/>
              </a:p>
            </p:txBody>
          </p:sp>
          <p:sp>
            <p:nvSpPr>
              <p:cNvPr id="58" name="Полилиния: фигура 57">
                <a:extLst>
                  <a:ext uri="{FF2B5EF4-FFF2-40B4-BE49-F238E27FC236}">
                    <a16:creationId xmlns:a16="http://schemas.microsoft.com/office/drawing/2014/main" id="{F5944F25-2AEA-4AA1-80F7-31E2B0EB48F3}"/>
                  </a:ext>
                </a:extLst>
              </p:cNvPr>
              <p:cNvSpPr/>
              <p:nvPr/>
            </p:nvSpPr>
            <p:spPr>
              <a:xfrm>
                <a:off x="-233" y="1916027"/>
                <a:ext cx="2345677" cy="3909073"/>
              </a:xfrm>
              <a:custGeom>
                <a:avLst/>
                <a:gdLst>
                  <a:gd name="connsiteX0" fmla="*/ 271523 w 2345677"/>
                  <a:gd name="connsiteY0" fmla="*/ 3909074 h 3909073"/>
                  <a:gd name="connsiteX1" fmla="*/ 234 w 2345677"/>
                  <a:gd name="connsiteY1" fmla="*/ 3621366 h 3909073"/>
                  <a:gd name="connsiteX2" fmla="*/ 234 w 2345677"/>
                  <a:gd name="connsiteY2" fmla="*/ 1476848 h 3909073"/>
                  <a:gd name="connsiteX3" fmla="*/ 192560 w 2345677"/>
                  <a:gd name="connsiteY3" fmla="*/ 776342 h 3909073"/>
                  <a:gd name="connsiteX4" fmla="*/ 968902 w 2345677"/>
                  <a:gd name="connsiteY4" fmla="*/ 0 h 3909073"/>
                  <a:gd name="connsiteX5" fmla="*/ 2345678 w 2345677"/>
                  <a:gd name="connsiteY5" fmla="*/ 1379121 h 3909073"/>
                  <a:gd name="connsiteX6" fmla="*/ 144869 w 2345677"/>
                  <a:gd name="connsiteY6" fmla="*/ 3579930 h 3909073"/>
                  <a:gd name="connsiteX7" fmla="*/ 88579 w 2345677"/>
                  <a:gd name="connsiteY7" fmla="*/ 3715965 h 3909073"/>
                  <a:gd name="connsiteX8" fmla="*/ 271523 w 2345677"/>
                  <a:gd name="connsiteY8" fmla="*/ 3909074 h 39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677" h="3909073">
                    <a:moveTo>
                      <a:pt x="271523" y="3909074"/>
                    </a:moveTo>
                    <a:cubicBezTo>
                      <a:pt x="151124" y="3909074"/>
                      <a:pt x="234" y="3812910"/>
                      <a:pt x="234" y="3621366"/>
                    </a:cubicBezTo>
                    <a:lnTo>
                      <a:pt x="234" y="1476848"/>
                    </a:lnTo>
                    <a:cubicBezTo>
                      <a:pt x="234" y="1186795"/>
                      <a:pt x="-14621" y="983523"/>
                      <a:pt x="192560" y="776342"/>
                    </a:cubicBezTo>
                    <a:lnTo>
                      <a:pt x="968902" y="0"/>
                    </a:lnTo>
                    <a:lnTo>
                      <a:pt x="2345678" y="1379121"/>
                    </a:lnTo>
                    <a:lnTo>
                      <a:pt x="144869" y="3579930"/>
                    </a:lnTo>
                    <a:cubicBezTo>
                      <a:pt x="109688" y="3615111"/>
                      <a:pt x="88579" y="3662802"/>
                      <a:pt x="88579" y="3715965"/>
                    </a:cubicBezTo>
                    <a:cubicBezTo>
                      <a:pt x="88579" y="3805874"/>
                      <a:pt x="156597" y="3909074"/>
                      <a:pt x="271523" y="3909074"/>
                    </a:cubicBezTo>
                    <a:close/>
                  </a:path>
                </a:pathLst>
              </a:custGeom>
              <a:solidFill>
                <a:srgbClr val="7B939B"/>
              </a:solidFill>
              <a:ln w="7818" cap="flat">
                <a:noFill/>
                <a:prstDash val="solid"/>
                <a:miter/>
              </a:ln>
            </p:spPr>
            <p:txBody>
              <a:bodyPr rtlCol="0" anchor="ctr"/>
              <a:lstStyle/>
              <a:p>
                <a:endParaRPr lang="ru-RU" sz="1587" dirty="0"/>
              </a:p>
            </p:txBody>
          </p:sp>
        </p:grpSp>
      </p:grpSp>
      <p:grpSp>
        <p:nvGrpSpPr>
          <p:cNvPr id="70" name="Рисунок 37">
            <a:extLst>
              <a:ext uri="{FF2B5EF4-FFF2-40B4-BE49-F238E27FC236}">
                <a16:creationId xmlns:a16="http://schemas.microsoft.com/office/drawing/2014/main" id="{D7CECE7A-3966-4321-A912-92460983293B}"/>
              </a:ext>
            </a:extLst>
          </p:cNvPr>
          <p:cNvGrpSpPr/>
          <p:nvPr userDrawn="1"/>
        </p:nvGrpSpPr>
        <p:grpSpPr>
          <a:xfrm>
            <a:off x="8137797" y="3577890"/>
            <a:ext cx="4053600" cy="3281919"/>
            <a:chOff x="9231313" y="4054942"/>
            <a:chExt cx="4598303" cy="3719507"/>
          </a:xfrm>
        </p:grpSpPr>
        <p:sp>
          <p:nvSpPr>
            <p:cNvPr id="71" name="Полилиния: фигура 70">
              <a:extLst>
                <a:ext uri="{FF2B5EF4-FFF2-40B4-BE49-F238E27FC236}">
                  <a16:creationId xmlns:a16="http://schemas.microsoft.com/office/drawing/2014/main" id="{45498225-C91B-468A-BDD4-4CDF9D83478C}"/>
                </a:ext>
              </a:extLst>
            </p:cNvPr>
            <p:cNvSpPr/>
            <p:nvPr/>
          </p:nvSpPr>
          <p:spPr>
            <a:xfrm>
              <a:off x="9231313" y="4279082"/>
              <a:ext cx="4598303" cy="3495367"/>
            </a:xfrm>
            <a:custGeom>
              <a:avLst/>
              <a:gdLst>
                <a:gd name="connsiteX0" fmla="*/ 4598304 w 4598303"/>
                <a:gd name="connsiteY0" fmla="*/ 0 h 3495367"/>
                <a:gd name="connsiteX1" fmla="*/ 3593087 w 4598303"/>
                <a:gd name="connsiteY1" fmla="*/ 1534818 h 3495367"/>
                <a:gd name="connsiteX2" fmla="*/ 2779893 w 4598303"/>
                <a:gd name="connsiteY2" fmla="*/ 2152572 h 3495367"/>
                <a:gd name="connsiteX3" fmla="*/ 2290610 w 4598303"/>
                <a:gd name="connsiteY3" fmla="*/ 2391064 h 3495367"/>
                <a:gd name="connsiteX4" fmla="*/ 0 w 4598303"/>
                <a:gd name="connsiteY4" fmla="*/ 3495367 h 3495367"/>
                <a:gd name="connsiteX5" fmla="*/ 0 w 4598303"/>
                <a:gd name="connsiteY5" fmla="*/ 3495367 h 3495367"/>
                <a:gd name="connsiteX6" fmla="*/ 4598304 w 4598303"/>
                <a:gd name="connsiteY6" fmla="*/ 3495367 h 3495367"/>
                <a:gd name="connsiteX7" fmla="*/ 4598304 w 4598303"/>
                <a:gd name="connsiteY7" fmla="*/ 0 h 349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8303" h="3495367">
                  <a:moveTo>
                    <a:pt x="4598304" y="0"/>
                  </a:moveTo>
                  <a:cubicBezTo>
                    <a:pt x="4307194" y="720941"/>
                    <a:pt x="3920415" y="1215008"/>
                    <a:pt x="3593087" y="1534818"/>
                  </a:cubicBezTo>
                  <a:cubicBezTo>
                    <a:pt x="3333411" y="1789027"/>
                    <a:pt x="3119521" y="1949615"/>
                    <a:pt x="2779893" y="2152572"/>
                  </a:cubicBezTo>
                  <a:cubicBezTo>
                    <a:pt x="2635705" y="2239359"/>
                    <a:pt x="2449149" y="2314528"/>
                    <a:pt x="2290610" y="2391064"/>
                  </a:cubicBezTo>
                  <a:lnTo>
                    <a:pt x="0" y="3495367"/>
                  </a:lnTo>
                  <a:lnTo>
                    <a:pt x="0" y="3495367"/>
                  </a:lnTo>
                  <a:lnTo>
                    <a:pt x="4598304" y="3495367"/>
                  </a:lnTo>
                  <a:lnTo>
                    <a:pt x="4598304" y="0"/>
                  </a:lnTo>
                  <a:close/>
                </a:path>
              </a:pathLst>
            </a:custGeom>
            <a:solidFill>
              <a:schemeClr val="tx2"/>
            </a:solidFill>
            <a:ln w="6822" cap="flat">
              <a:noFill/>
              <a:prstDash val="solid"/>
              <a:miter/>
            </a:ln>
          </p:spPr>
          <p:txBody>
            <a:bodyPr rtlCol="0" anchor="ctr"/>
            <a:lstStyle/>
            <a:p>
              <a:endParaRPr lang="ru-RU" sz="1587" dirty="0"/>
            </a:p>
          </p:txBody>
        </p:sp>
        <p:grpSp>
          <p:nvGrpSpPr>
            <p:cNvPr id="72" name="Рисунок 37">
              <a:extLst>
                <a:ext uri="{FF2B5EF4-FFF2-40B4-BE49-F238E27FC236}">
                  <a16:creationId xmlns:a16="http://schemas.microsoft.com/office/drawing/2014/main" id="{E65CC0C5-D744-4C8E-8DCB-516C8086D347}"/>
                </a:ext>
              </a:extLst>
            </p:cNvPr>
            <p:cNvGrpSpPr/>
            <p:nvPr/>
          </p:nvGrpSpPr>
          <p:grpSpPr>
            <a:xfrm>
              <a:off x="11334683" y="6787000"/>
              <a:ext cx="2053485" cy="554201"/>
              <a:chOff x="11334683" y="6787000"/>
              <a:chExt cx="2053485" cy="554201"/>
            </a:xfrm>
            <a:solidFill>
              <a:srgbClr val="FFFFFF"/>
            </a:solidFill>
          </p:grpSpPr>
          <p:sp>
            <p:nvSpPr>
              <p:cNvPr id="74" name="Полилиния: фигура 73">
                <a:extLst>
                  <a:ext uri="{FF2B5EF4-FFF2-40B4-BE49-F238E27FC236}">
                    <a16:creationId xmlns:a16="http://schemas.microsoft.com/office/drawing/2014/main" id="{BA8ACF98-EE68-43AB-8714-45E841EFFDDB}"/>
                  </a:ext>
                </a:extLst>
              </p:cNvPr>
              <p:cNvSpPr/>
              <p:nvPr/>
            </p:nvSpPr>
            <p:spPr>
              <a:xfrm>
                <a:off x="11781598" y="6787000"/>
                <a:ext cx="162638" cy="211840"/>
              </a:xfrm>
              <a:custGeom>
                <a:avLst/>
                <a:gdLst>
                  <a:gd name="connsiteX0" fmla="*/ 64919 w 162638"/>
                  <a:gd name="connsiteY0" fmla="*/ 30068 h 211840"/>
                  <a:gd name="connsiteX1" fmla="*/ 0 w 162638"/>
                  <a:gd name="connsiteY1" fmla="*/ 30068 h 211840"/>
                  <a:gd name="connsiteX2" fmla="*/ 0 w 162638"/>
                  <a:gd name="connsiteY2" fmla="*/ 0 h 211840"/>
                  <a:gd name="connsiteX3" fmla="*/ 162639 w 162638"/>
                  <a:gd name="connsiteY3" fmla="*/ 0 h 211840"/>
                  <a:gd name="connsiteX4" fmla="*/ 162639 w 162638"/>
                  <a:gd name="connsiteY4" fmla="*/ 30068 h 211840"/>
                  <a:gd name="connsiteX5" fmla="*/ 97720 w 162638"/>
                  <a:gd name="connsiteY5" fmla="*/ 30068 h 211840"/>
                  <a:gd name="connsiteX6" fmla="*/ 97720 w 162638"/>
                  <a:gd name="connsiteY6" fmla="*/ 211840 h 211840"/>
                  <a:gd name="connsiteX7" fmla="*/ 64919 w 162638"/>
                  <a:gd name="connsiteY7" fmla="*/ 211840 h 211840"/>
                  <a:gd name="connsiteX8" fmla="*/ 64919 w 162638"/>
                  <a:gd name="connsiteY8" fmla="*/ 30068 h 21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38" h="211840">
                    <a:moveTo>
                      <a:pt x="64919" y="30068"/>
                    </a:moveTo>
                    <a:lnTo>
                      <a:pt x="0" y="30068"/>
                    </a:lnTo>
                    <a:lnTo>
                      <a:pt x="0" y="0"/>
                    </a:lnTo>
                    <a:lnTo>
                      <a:pt x="162639" y="0"/>
                    </a:lnTo>
                    <a:lnTo>
                      <a:pt x="162639" y="30068"/>
                    </a:lnTo>
                    <a:lnTo>
                      <a:pt x="97720" y="30068"/>
                    </a:lnTo>
                    <a:lnTo>
                      <a:pt x="97720" y="211840"/>
                    </a:lnTo>
                    <a:lnTo>
                      <a:pt x="64919" y="211840"/>
                    </a:lnTo>
                    <a:lnTo>
                      <a:pt x="64919" y="30068"/>
                    </a:lnTo>
                    <a:close/>
                  </a:path>
                </a:pathLst>
              </a:custGeom>
              <a:solidFill>
                <a:srgbClr val="FFFFFF"/>
              </a:solidFill>
              <a:ln w="6822"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51D37D3A-138C-47E6-ACF2-4687092B93AD}"/>
                  </a:ext>
                </a:extLst>
              </p:cNvPr>
              <p:cNvSpPr/>
              <p:nvPr/>
            </p:nvSpPr>
            <p:spPr>
              <a:xfrm>
                <a:off x="11933303" y="6844402"/>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3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8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3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3"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8" y="86103"/>
                    </a:lnTo>
                    <a:cubicBezTo>
                      <a:pt x="32118" y="112754"/>
                      <a:pt x="49885" y="131204"/>
                      <a:pt x="76536" y="131204"/>
                    </a:cubicBezTo>
                    <a:close/>
                    <a:moveTo>
                      <a:pt x="30751" y="61502"/>
                    </a:moveTo>
                    <a:lnTo>
                      <a:pt x="119587" y="61502"/>
                    </a:lnTo>
                    <a:cubicBezTo>
                      <a:pt x="116854" y="38268"/>
                      <a:pt x="99087" y="24601"/>
                      <a:pt x="75853" y="24601"/>
                    </a:cubicBezTo>
                    <a:cubicBezTo>
                      <a:pt x="53302" y="24601"/>
                      <a:pt x="36218"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9ED0564A-C269-4747-B774-EC2033FFA319}"/>
                  </a:ext>
                </a:extLst>
              </p:cNvPr>
              <p:cNvSpPr/>
              <p:nvPr/>
            </p:nvSpPr>
            <p:spPr>
              <a:xfrm>
                <a:off x="12089791" y="6848502"/>
                <a:ext cx="142821" cy="150338"/>
              </a:xfrm>
              <a:custGeom>
                <a:avLst/>
                <a:gdLst>
                  <a:gd name="connsiteX0" fmla="*/ 100453 w 142821"/>
                  <a:gd name="connsiteY0" fmla="*/ 0 h 150338"/>
                  <a:gd name="connsiteX1" fmla="*/ 135988 w 142821"/>
                  <a:gd name="connsiteY1" fmla="*/ 0 h 150338"/>
                  <a:gd name="connsiteX2" fmla="*/ 90203 w 142821"/>
                  <a:gd name="connsiteY2" fmla="*/ 69702 h 150338"/>
                  <a:gd name="connsiteX3" fmla="*/ 142822 w 142821"/>
                  <a:gd name="connsiteY3" fmla="*/ 150338 h 150338"/>
                  <a:gd name="connsiteX4" fmla="*/ 106604 w 142821"/>
                  <a:gd name="connsiteY4" fmla="*/ 150338 h 150338"/>
                  <a:gd name="connsiteX5" fmla="*/ 71752 w 142821"/>
                  <a:gd name="connsiteY5" fmla="*/ 94987 h 150338"/>
                  <a:gd name="connsiteX6" fmla="*/ 36218 w 142821"/>
                  <a:gd name="connsiteY6" fmla="*/ 150338 h 150338"/>
                  <a:gd name="connsiteX7" fmla="*/ 0 w 142821"/>
                  <a:gd name="connsiteY7" fmla="*/ 150338 h 150338"/>
                  <a:gd name="connsiteX8" fmla="*/ 54668 w 142821"/>
                  <a:gd name="connsiteY8" fmla="*/ 71069 h 150338"/>
                  <a:gd name="connsiteX9" fmla="*/ 7517 w 142821"/>
                  <a:gd name="connsiteY9" fmla="*/ 683 h 150338"/>
                  <a:gd name="connsiteX10" fmla="*/ 43052 w 142821"/>
                  <a:gd name="connsiteY10" fmla="*/ 683 h 150338"/>
                  <a:gd name="connsiteX11" fmla="*/ 71752 w 142821"/>
                  <a:gd name="connsiteY11" fmla="*/ 46468 h 150338"/>
                  <a:gd name="connsiteX12" fmla="*/ 100453 w 142821"/>
                  <a:gd name="connsiteY12"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21" h="150338">
                    <a:moveTo>
                      <a:pt x="100453" y="0"/>
                    </a:moveTo>
                    <a:lnTo>
                      <a:pt x="135988" y="0"/>
                    </a:lnTo>
                    <a:lnTo>
                      <a:pt x="90203" y="69702"/>
                    </a:lnTo>
                    <a:lnTo>
                      <a:pt x="142822" y="150338"/>
                    </a:lnTo>
                    <a:lnTo>
                      <a:pt x="106604" y="150338"/>
                    </a:lnTo>
                    <a:lnTo>
                      <a:pt x="71752" y="94987"/>
                    </a:lnTo>
                    <a:lnTo>
                      <a:pt x="36218" y="150338"/>
                    </a:lnTo>
                    <a:lnTo>
                      <a:pt x="0" y="150338"/>
                    </a:lnTo>
                    <a:lnTo>
                      <a:pt x="54668" y="71069"/>
                    </a:lnTo>
                    <a:lnTo>
                      <a:pt x="7517" y="683"/>
                    </a:lnTo>
                    <a:lnTo>
                      <a:pt x="43052" y="683"/>
                    </a:lnTo>
                    <a:lnTo>
                      <a:pt x="71752" y="46468"/>
                    </a:lnTo>
                    <a:lnTo>
                      <a:pt x="100453" y="0"/>
                    </a:lnTo>
                    <a:close/>
                  </a:path>
                </a:pathLst>
              </a:custGeom>
              <a:solidFill>
                <a:srgbClr val="FFFFFF"/>
              </a:solidFill>
              <a:ln w="6822"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5356C637-23FF-4591-8959-55920B11B0AF}"/>
                  </a:ext>
                </a:extLst>
              </p:cNvPr>
              <p:cNvSpPr/>
              <p:nvPr/>
            </p:nvSpPr>
            <p:spPr>
              <a:xfrm>
                <a:off x="12253797" y="6848502"/>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10D7F40E-C243-48DE-BE9F-EFA88AA0C85A}"/>
                  </a:ext>
                </a:extLst>
              </p:cNvPr>
              <p:cNvSpPr/>
              <p:nvPr/>
            </p:nvSpPr>
            <p:spPr>
              <a:xfrm>
                <a:off x="12416436" y="6844402"/>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1204"/>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79" name="Полилиния: фигура 78">
                <a:extLst>
                  <a:ext uri="{FF2B5EF4-FFF2-40B4-BE49-F238E27FC236}">
                    <a16:creationId xmlns:a16="http://schemas.microsoft.com/office/drawing/2014/main" id="{D64F9EBD-0F66-4208-955E-15EDD10E8CA2}"/>
                  </a:ext>
                </a:extLst>
              </p:cNvPr>
              <p:cNvSpPr/>
              <p:nvPr/>
            </p:nvSpPr>
            <p:spPr>
              <a:xfrm>
                <a:off x="12591375" y="6849869"/>
                <a:ext cx="142137" cy="151705"/>
              </a:xfrm>
              <a:custGeom>
                <a:avLst/>
                <a:gdLst>
                  <a:gd name="connsiteX0" fmla="*/ 0 w 142137"/>
                  <a:gd name="connsiteY0" fmla="*/ 148972 h 151705"/>
                  <a:gd name="connsiteX1" fmla="*/ 0 w 142137"/>
                  <a:gd name="connsiteY1" fmla="*/ 121637 h 151705"/>
                  <a:gd name="connsiteX2" fmla="*/ 10250 w 142137"/>
                  <a:gd name="connsiteY2" fmla="*/ 123688 h 151705"/>
                  <a:gd name="connsiteX3" fmla="*/ 25967 w 142137"/>
                  <a:gd name="connsiteY3" fmla="*/ 88836 h 151705"/>
                  <a:gd name="connsiteX4" fmla="*/ 30751 w 142137"/>
                  <a:gd name="connsiteY4" fmla="*/ 0 h 151705"/>
                  <a:gd name="connsiteX5" fmla="*/ 142138 w 142137"/>
                  <a:gd name="connsiteY5" fmla="*/ 0 h 151705"/>
                  <a:gd name="connsiteX6" fmla="*/ 142138 w 142137"/>
                  <a:gd name="connsiteY6" fmla="*/ 149655 h 151705"/>
                  <a:gd name="connsiteX7" fmla="*/ 111387 w 142137"/>
                  <a:gd name="connsiteY7" fmla="*/ 149655 h 151705"/>
                  <a:gd name="connsiteX8" fmla="*/ 111387 w 142137"/>
                  <a:gd name="connsiteY8" fmla="*/ 28018 h 151705"/>
                  <a:gd name="connsiteX9" fmla="*/ 58085 w 142137"/>
                  <a:gd name="connsiteY9" fmla="*/ 28018 h 151705"/>
                  <a:gd name="connsiteX10" fmla="*/ 54668 w 142137"/>
                  <a:gd name="connsiteY10" fmla="*/ 90203 h 151705"/>
                  <a:gd name="connsiteX11" fmla="*/ 11617 w 142137"/>
                  <a:gd name="connsiteY11" fmla="*/ 151705 h 151705"/>
                  <a:gd name="connsiteX12" fmla="*/ 0 w 142137"/>
                  <a:gd name="connsiteY12" fmla="*/ 148972 h 15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37" h="151705">
                    <a:moveTo>
                      <a:pt x="0" y="148972"/>
                    </a:moveTo>
                    <a:lnTo>
                      <a:pt x="0" y="121637"/>
                    </a:lnTo>
                    <a:cubicBezTo>
                      <a:pt x="0" y="121637"/>
                      <a:pt x="4100" y="123688"/>
                      <a:pt x="10250" y="123688"/>
                    </a:cubicBezTo>
                    <a:cubicBezTo>
                      <a:pt x="19817" y="123688"/>
                      <a:pt x="24601" y="117537"/>
                      <a:pt x="25967" y="88836"/>
                    </a:cubicBezTo>
                    <a:lnTo>
                      <a:pt x="30751" y="0"/>
                    </a:lnTo>
                    <a:lnTo>
                      <a:pt x="142138" y="0"/>
                    </a:lnTo>
                    <a:lnTo>
                      <a:pt x="142138" y="149655"/>
                    </a:lnTo>
                    <a:lnTo>
                      <a:pt x="111387" y="149655"/>
                    </a:lnTo>
                    <a:lnTo>
                      <a:pt x="111387" y="28018"/>
                    </a:lnTo>
                    <a:lnTo>
                      <a:pt x="58085" y="28018"/>
                    </a:lnTo>
                    <a:lnTo>
                      <a:pt x="54668" y="90203"/>
                    </a:lnTo>
                    <a:cubicBezTo>
                      <a:pt x="52618" y="133254"/>
                      <a:pt x="41685" y="151705"/>
                      <a:pt x="11617" y="151705"/>
                    </a:cubicBezTo>
                    <a:cubicBezTo>
                      <a:pt x="6150" y="151022"/>
                      <a:pt x="0" y="148972"/>
                      <a:pt x="0" y="148972"/>
                    </a:cubicBezTo>
                    <a:close/>
                  </a:path>
                </a:pathLst>
              </a:custGeom>
              <a:solidFill>
                <a:srgbClr val="FFFFFF"/>
              </a:solidFill>
              <a:ln w="6822"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C4447759-ECC9-4EDC-96E2-8DD64B6CF268}"/>
                  </a:ext>
                </a:extLst>
              </p:cNvPr>
              <p:cNvSpPr/>
              <p:nvPr/>
            </p:nvSpPr>
            <p:spPr>
              <a:xfrm>
                <a:off x="12764264" y="6844402"/>
                <a:ext cx="160597" cy="158538"/>
              </a:xfrm>
              <a:custGeom>
                <a:avLst/>
                <a:gdLst>
                  <a:gd name="connsiteX0" fmla="*/ 80636 w 160597"/>
                  <a:gd name="connsiteY0" fmla="*/ 158539 h 158538"/>
                  <a:gd name="connsiteX1" fmla="*/ 0 w 160597"/>
                  <a:gd name="connsiteY1" fmla="*/ 79269 h 158538"/>
                  <a:gd name="connsiteX2" fmla="*/ 80636 w 160597"/>
                  <a:gd name="connsiteY2" fmla="*/ 0 h 158538"/>
                  <a:gd name="connsiteX3" fmla="*/ 160589 w 160597"/>
                  <a:gd name="connsiteY3" fmla="*/ 79269 h 158538"/>
                  <a:gd name="connsiteX4" fmla="*/ 80636 w 160597"/>
                  <a:gd name="connsiteY4" fmla="*/ 158539 h 158538"/>
                  <a:gd name="connsiteX5" fmla="*/ 129154 w 160597"/>
                  <a:gd name="connsiteY5" fmla="*/ 79269 h 158538"/>
                  <a:gd name="connsiteX6" fmla="*/ 80636 w 160597"/>
                  <a:gd name="connsiteY6" fmla="*/ 28701 h 158538"/>
                  <a:gd name="connsiteX7" fmla="*/ 32118 w 160597"/>
                  <a:gd name="connsiteY7" fmla="*/ 79269 h 158538"/>
                  <a:gd name="connsiteX8" fmla="*/ 80636 w 160597"/>
                  <a:gd name="connsiteY8" fmla="*/ 129838 h 158538"/>
                  <a:gd name="connsiteX9" fmla="*/ 129154 w 160597"/>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97" h="158538">
                    <a:moveTo>
                      <a:pt x="80636" y="158539"/>
                    </a:moveTo>
                    <a:cubicBezTo>
                      <a:pt x="39635" y="158539"/>
                      <a:pt x="0" y="131204"/>
                      <a:pt x="0" y="79269"/>
                    </a:cubicBezTo>
                    <a:cubicBezTo>
                      <a:pt x="0" y="27334"/>
                      <a:pt x="38951" y="0"/>
                      <a:pt x="80636" y="0"/>
                    </a:cubicBezTo>
                    <a:cubicBezTo>
                      <a:pt x="121637" y="0"/>
                      <a:pt x="160589" y="27334"/>
                      <a:pt x="160589" y="79269"/>
                    </a:cubicBezTo>
                    <a:cubicBezTo>
                      <a:pt x="161272" y="131204"/>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81A4902A-DF55-4F94-A60C-F3E6153B5524}"/>
                  </a:ext>
                </a:extLst>
              </p:cNvPr>
              <p:cNvSpPr/>
              <p:nvPr/>
            </p:nvSpPr>
            <p:spPr>
              <a:xfrm>
                <a:off x="12956287" y="6848502"/>
                <a:ext cx="97720" cy="149655"/>
              </a:xfrm>
              <a:custGeom>
                <a:avLst/>
                <a:gdLst>
                  <a:gd name="connsiteX0" fmla="*/ 0 w 97720"/>
                  <a:gd name="connsiteY0" fmla="*/ 0 h 149655"/>
                  <a:gd name="connsiteX1" fmla="*/ 97720 w 97720"/>
                  <a:gd name="connsiteY1" fmla="*/ 0 h 149655"/>
                  <a:gd name="connsiteX2" fmla="*/ 97720 w 97720"/>
                  <a:gd name="connsiteY2" fmla="*/ 28018 h 149655"/>
                  <a:gd name="connsiteX3" fmla="*/ 31435 w 97720"/>
                  <a:gd name="connsiteY3" fmla="*/ 28018 h 149655"/>
                  <a:gd name="connsiteX4" fmla="*/ 31435 w 97720"/>
                  <a:gd name="connsiteY4" fmla="*/ 149655 h 149655"/>
                  <a:gd name="connsiteX5" fmla="*/ 0 w 97720"/>
                  <a:gd name="connsiteY5" fmla="*/ 149655 h 149655"/>
                  <a:gd name="connsiteX6" fmla="*/ 0 w 97720"/>
                  <a:gd name="connsiteY6"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20" h="149655">
                    <a:moveTo>
                      <a:pt x="0" y="0"/>
                    </a:moveTo>
                    <a:lnTo>
                      <a:pt x="97720" y="0"/>
                    </a:lnTo>
                    <a:lnTo>
                      <a:pt x="97720" y="28018"/>
                    </a:lnTo>
                    <a:lnTo>
                      <a:pt x="31435" y="28018"/>
                    </a:lnTo>
                    <a:lnTo>
                      <a:pt x="31435"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AE90C60F-979F-4234-BD82-EA8CD6E126C6}"/>
                  </a:ext>
                </a:extLst>
              </p:cNvPr>
              <p:cNvSpPr/>
              <p:nvPr/>
            </p:nvSpPr>
            <p:spPr>
              <a:xfrm>
                <a:off x="13079291" y="6848502"/>
                <a:ext cx="134621" cy="150338"/>
              </a:xfrm>
              <a:custGeom>
                <a:avLst/>
                <a:gdLst>
                  <a:gd name="connsiteX0" fmla="*/ 0 w 134621"/>
                  <a:gd name="connsiteY0" fmla="*/ 0 h 150338"/>
                  <a:gd name="connsiteX1" fmla="*/ 30068 w 134621"/>
                  <a:gd name="connsiteY1" fmla="*/ 0 h 150338"/>
                  <a:gd name="connsiteX2" fmla="*/ 30068 w 134621"/>
                  <a:gd name="connsiteY2" fmla="*/ 107970 h 150338"/>
                  <a:gd name="connsiteX3" fmla="*/ 101820 w 134621"/>
                  <a:gd name="connsiteY3" fmla="*/ 0 h 150338"/>
                  <a:gd name="connsiteX4" fmla="*/ 134621 w 134621"/>
                  <a:gd name="connsiteY4" fmla="*/ 0 h 150338"/>
                  <a:gd name="connsiteX5" fmla="*/ 134621 w 134621"/>
                  <a:gd name="connsiteY5" fmla="*/ 149655 h 150338"/>
                  <a:gd name="connsiteX6" fmla="*/ 104554 w 134621"/>
                  <a:gd name="connsiteY6" fmla="*/ 149655 h 150338"/>
                  <a:gd name="connsiteX7" fmla="*/ 104554 w 134621"/>
                  <a:gd name="connsiteY7" fmla="*/ 41685 h 150338"/>
                  <a:gd name="connsiteX8" fmla="*/ 33485 w 134621"/>
                  <a:gd name="connsiteY8" fmla="*/ 150338 h 150338"/>
                  <a:gd name="connsiteX9" fmla="*/ 684 w 134621"/>
                  <a:gd name="connsiteY9" fmla="*/ 150338 h 150338"/>
                  <a:gd name="connsiteX10" fmla="*/ 684 w 134621"/>
                  <a:gd name="connsiteY10"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50338">
                    <a:moveTo>
                      <a:pt x="0" y="0"/>
                    </a:moveTo>
                    <a:lnTo>
                      <a:pt x="30068" y="0"/>
                    </a:lnTo>
                    <a:lnTo>
                      <a:pt x="30068" y="107970"/>
                    </a:lnTo>
                    <a:lnTo>
                      <a:pt x="101820" y="0"/>
                    </a:lnTo>
                    <a:lnTo>
                      <a:pt x="134621" y="0"/>
                    </a:lnTo>
                    <a:lnTo>
                      <a:pt x="134621" y="149655"/>
                    </a:lnTo>
                    <a:lnTo>
                      <a:pt x="104554" y="149655"/>
                    </a:lnTo>
                    <a:lnTo>
                      <a:pt x="104554" y="41685"/>
                    </a:lnTo>
                    <a:lnTo>
                      <a:pt x="33485" y="150338"/>
                    </a:lnTo>
                    <a:lnTo>
                      <a:pt x="684" y="150338"/>
                    </a:lnTo>
                    <a:lnTo>
                      <a:pt x="684" y="0"/>
                    </a:lnTo>
                    <a:close/>
                  </a:path>
                </a:pathLst>
              </a:custGeom>
              <a:solidFill>
                <a:srgbClr val="FFFFFF"/>
              </a:solidFill>
              <a:ln w="6822"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E92858A1-6AFA-42FD-B31C-A2BABDC32E7E}"/>
                  </a:ext>
                </a:extLst>
              </p:cNvPr>
              <p:cNvSpPr/>
              <p:nvPr/>
            </p:nvSpPr>
            <p:spPr>
              <a:xfrm>
                <a:off x="13253547" y="6848502"/>
                <a:ext cx="134621" cy="149655"/>
              </a:xfrm>
              <a:custGeom>
                <a:avLst/>
                <a:gdLst>
                  <a:gd name="connsiteX0" fmla="*/ 0 w 134621"/>
                  <a:gd name="connsiteY0" fmla="*/ 0 h 149655"/>
                  <a:gd name="connsiteX1" fmla="*/ 30068 w 134621"/>
                  <a:gd name="connsiteY1" fmla="*/ 0 h 149655"/>
                  <a:gd name="connsiteX2" fmla="*/ 30068 w 134621"/>
                  <a:gd name="connsiteY2" fmla="*/ 107970 h 149655"/>
                  <a:gd name="connsiteX3" fmla="*/ 101820 w 134621"/>
                  <a:gd name="connsiteY3" fmla="*/ 0 h 149655"/>
                  <a:gd name="connsiteX4" fmla="*/ 134621 w 134621"/>
                  <a:gd name="connsiteY4" fmla="*/ 0 h 149655"/>
                  <a:gd name="connsiteX5" fmla="*/ 134621 w 134621"/>
                  <a:gd name="connsiteY5" fmla="*/ 149655 h 149655"/>
                  <a:gd name="connsiteX6" fmla="*/ 104554 w 134621"/>
                  <a:gd name="connsiteY6" fmla="*/ 149655 h 149655"/>
                  <a:gd name="connsiteX7" fmla="*/ 104554 w 134621"/>
                  <a:gd name="connsiteY7" fmla="*/ 41685 h 149655"/>
                  <a:gd name="connsiteX8" fmla="*/ 32801 w 134621"/>
                  <a:gd name="connsiteY8" fmla="*/ 149655 h 149655"/>
                  <a:gd name="connsiteX9" fmla="*/ 0 w 134621"/>
                  <a:gd name="connsiteY9" fmla="*/ 149655 h 149655"/>
                  <a:gd name="connsiteX10" fmla="*/ 0 w 134621"/>
                  <a:gd name="connsiteY10"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49655">
                    <a:moveTo>
                      <a:pt x="0" y="0"/>
                    </a:moveTo>
                    <a:lnTo>
                      <a:pt x="30068" y="0"/>
                    </a:lnTo>
                    <a:lnTo>
                      <a:pt x="30068" y="107970"/>
                    </a:lnTo>
                    <a:lnTo>
                      <a:pt x="101820" y="0"/>
                    </a:lnTo>
                    <a:lnTo>
                      <a:pt x="134621" y="0"/>
                    </a:lnTo>
                    <a:lnTo>
                      <a:pt x="134621" y="149655"/>
                    </a:lnTo>
                    <a:lnTo>
                      <a:pt x="104554" y="149655"/>
                    </a:lnTo>
                    <a:lnTo>
                      <a:pt x="104554" y="41685"/>
                    </a:lnTo>
                    <a:lnTo>
                      <a:pt x="32801"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845D4739-3DC4-4D88-8D1E-3461DEEF08BB}"/>
                  </a:ext>
                </a:extLst>
              </p:cNvPr>
              <p:cNvSpPr/>
              <p:nvPr/>
            </p:nvSpPr>
            <p:spPr>
              <a:xfrm>
                <a:off x="11334683" y="7186763"/>
                <a:ext cx="123004" cy="149655"/>
              </a:xfrm>
              <a:custGeom>
                <a:avLst/>
                <a:gdLst>
                  <a:gd name="connsiteX0" fmla="*/ 0 w 123004"/>
                  <a:gd name="connsiteY0" fmla="*/ 0 h 149655"/>
                  <a:gd name="connsiteX1" fmla="*/ 67652 w 123004"/>
                  <a:gd name="connsiteY1" fmla="*/ 0 h 149655"/>
                  <a:gd name="connsiteX2" fmla="*/ 117537 w 123004"/>
                  <a:gd name="connsiteY2" fmla="*/ 36901 h 149655"/>
                  <a:gd name="connsiteX3" fmla="*/ 94987 w 123004"/>
                  <a:gd name="connsiteY3" fmla="*/ 70386 h 149655"/>
                  <a:gd name="connsiteX4" fmla="*/ 123004 w 123004"/>
                  <a:gd name="connsiteY4" fmla="*/ 106604 h 149655"/>
                  <a:gd name="connsiteX5" fmla="*/ 69702 w 123004"/>
                  <a:gd name="connsiteY5" fmla="*/ 149655 h 149655"/>
                  <a:gd name="connsiteX6" fmla="*/ 0 w 123004"/>
                  <a:gd name="connsiteY6" fmla="*/ 149655 h 149655"/>
                  <a:gd name="connsiteX7" fmla="*/ 0 w 123004"/>
                  <a:gd name="connsiteY7" fmla="*/ 0 h 149655"/>
                  <a:gd name="connsiteX8" fmla="*/ 66286 w 123004"/>
                  <a:gd name="connsiteY8" fmla="*/ 60135 h 149655"/>
                  <a:gd name="connsiteX9" fmla="*/ 88836 w 123004"/>
                  <a:gd name="connsiteY9" fmla="*/ 42368 h 149655"/>
                  <a:gd name="connsiteX10" fmla="*/ 66969 w 123004"/>
                  <a:gd name="connsiteY10" fmla="*/ 24601 h 149655"/>
                  <a:gd name="connsiteX11" fmla="*/ 31434 w 123004"/>
                  <a:gd name="connsiteY11" fmla="*/ 24601 h 149655"/>
                  <a:gd name="connsiteX12" fmla="*/ 31434 w 123004"/>
                  <a:gd name="connsiteY12" fmla="*/ 60135 h 149655"/>
                  <a:gd name="connsiteX13" fmla="*/ 66286 w 123004"/>
                  <a:gd name="connsiteY13" fmla="*/ 60135 h 149655"/>
                  <a:gd name="connsiteX14" fmla="*/ 68336 w 123004"/>
                  <a:gd name="connsiteY14" fmla="*/ 125738 h 149655"/>
                  <a:gd name="connsiteX15" fmla="*/ 92253 w 123004"/>
                  <a:gd name="connsiteY15" fmla="*/ 105237 h 149655"/>
                  <a:gd name="connsiteX16" fmla="*/ 68336 w 123004"/>
                  <a:gd name="connsiteY16" fmla="*/ 84736 h 149655"/>
                  <a:gd name="connsiteX17" fmla="*/ 31434 w 123004"/>
                  <a:gd name="connsiteY17" fmla="*/ 84736 h 149655"/>
                  <a:gd name="connsiteX18" fmla="*/ 31434 w 123004"/>
                  <a:gd name="connsiteY18" fmla="*/ 126421 h 149655"/>
                  <a:gd name="connsiteX19" fmla="*/ 68336 w 123004"/>
                  <a:gd name="connsiteY19" fmla="*/ 126421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04" h="149655">
                    <a:moveTo>
                      <a:pt x="0" y="0"/>
                    </a:moveTo>
                    <a:lnTo>
                      <a:pt x="67652" y="0"/>
                    </a:lnTo>
                    <a:cubicBezTo>
                      <a:pt x="99770" y="0"/>
                      <a:pt x="117537" y="16401"/>
                      <a:pt x="117537" y="36901"/>
                    </a:cubicBezTo>
                    <a:cubicBezTo>
                      <a:pt x="117537" y="53985"/>
                      <a:pt x="108654" y="64236"/>
                      <a:pt x="94987" y="70386"/>
                    </a:cubicBezTo>
                    <a:cubicBezTo>
                      <a:pt x="110704" y="75169"/>
                      <a:pt x="123004" y="86786"/>
                      <a:pt x="123004" y="106604"/>
                    </a:cubicBezTo>
                    <a:cubicBezTo>
                      <a:pt x="123004" y="131888"/>
                      <a:pt x="101137" y="149655"/>
                      <a:pt x="69702" y="149655"/>
                    </a:cubicBezTo>
                    <a:lnTo>
                      <a:pt x="0" y="149655"/>
                    </a:lnTo>
                    <a:lnTo>
                      <a:pt x="0" y="0"/>
                    </a:lnTo>
                    <a:close/>
                    <a:moveTo>
                      <a:pt x="66286" y="60135"/>
                    </a:moveTo>
                    <a:cubicBezTo>
                      <a:pt x="79953" y="60135"/>
                      <a:pt x="88836" y="54669"/>
                      <a:pt x="88836" y="42368"/>
                    </a:cubicBezTo>
                    <a:cubicBezTo>
                      <a:pt x="88836" y="30068"/>
                      <a:pt x="80636" y="24601"/>
                      <a:pt x="66969" y="24601"/>
                    </a:cubicBezTo>
                    <a:lnTo>
                      <a:pt x="31434" y="24601"/>
                    </a:lnTo>
                    <a:lnTo>
                      <a:pt x="31434" y="60135"/>
                    </a:lnTo>
                    <a:lnTo>
                      <a:pt x="66286" y="60135"/>
                    </a:lnTo>
                    <a:close/>
                    <a:moveTo>
                      <a:pt x="68336" y="125738"/>
                    </a:moveTo>
                    <a:cubicBezTo>
                      <a:pt x="84053" y="125738"/>
                      <a:pt x="92253" y="117537"/>
                      <a:pt x="92253" y="105237"/>
                    </a:cubicBezTo>
                    <a:cubicBezTo>
                      <a:pt x="92253" y="92936"/>
                      <a:pt x="84053" y="84736"/>
                      <a:pt x="68336" y="84736"/>
                    </a:cubicBezTo>
                    <a:lnTo>
                      <a:pt x="31434" y="84736"/>
                    </a:lnTo>
                    <a:lnTo>
                      <a:pt x="31434" y="126421"/>
                    </a:lnTo>
                    <a:lnTo>
                      <a:pt x="68336" y="126421"/>
                    </a:lnTo>
                    <a:close/>
                  </a:path>
                </a:pathLst>
              </a:custGeom>
              <a:solidFill>
                <a:srgbClr val="FFFFFF"/>
              </a:solidFill>
              <a:ln w="6822"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77AE5C09-A4E1-4ED8-AF5F-6EDF2EACC3F9}"/>
                  </a:ext>
                </a:extLst>
              </p:cNvPr>
              <p:cNvSpPr/>
              <p:nvPr/>
            </p:nvSpPr>
            <p:spPr>
              <a:xfrm>
                <a:off x="1148092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6" name="Полилиния: фигура 85">
                <a:extLst>
                  <a:ext uri="{FF2B5EF4-FFF2-40B4-BE49-F238E27FC236}">
                    <a16:creationId xmlns:a16="http://schemas.microsoft.com/office/drawing/2014/main" id="{7B6C857B-85A0-4D94-8275-FB2BD834CDBA}"/>
                  </a:ext>
                </a:extLst>
              </p:cNvPr>
              <p:cNvSpPr/>
              <p:nvPr/>
            </p:nvSpPr>
            <p:spPr>
              <a:xfrm>
                <a:off x="11664744" y="7183346"/>
                <a:ext cx="121637" cy="157855"/>
              </a:xfrm>
              <a:custGeom>
                <a:avLst/>
                <a:gdLst>
                  <a:gd name="connsiteX0" fmla="*/ 121637 w 121637"/>
                  <a:gd name="connsiteY0" fmla="*/ 110020 h 157855"/>
                  <a:gd name="connsiteX1" fmla="*/ 58769 w 121637"/>
                  <a:gd name="connsiteY1" fmla="*/ 157855 h 157855"/>
                  <a:gd name="connsiteX2" fmla="*/ 0 w 121637"/>
                  <a:gd name="connsiteY2" fmla="*/ 110704 h 157855"/>
                  <a:gd name="connsiteX3" fmla="*/ 3417 w 121637"/>
                  <a:gd name="connsiteY3" fmla="*/ 93620 h 157855"/>
                  <a:gd name="connsiteX4" fmla="*/ 29384 w 121637"/>
                  <a:gd name="connsiteY4" fmla="*/ 102503 h 157855"/>
                  <a:gd name="connsiteX5" fmla="*/ 28018 w 121637"/>
                  <a:gd name="connsiteY5" fmla="*/ 110020 h 157855"/>
                  <a:gd name="connsiteX6" fmla="*/ 58769 w 121637"/>
                  <a:gd name="connsiteY6" fmla="*/ 132571 h 157855"/>
                  <a:gd name="connsiteX7" fmla="*/ 91570 w 121637"/>
                  <a:gd name="connsiteY7" fmla="*/ 108654 h 157855"/>
                  <a:gd name="connsiteX8" fmla="*/ 60819 w 121637"/>
                  <a:gd name="connsiteY8" fmla="*/ 87470 h 157855"/>
                  <a:gd name="connsiteX9" fmla="*/ 47152 w 121637"/>
                  <a:gd name="connsiteY9" fmla="*/ 87470 h 157855"/>
                  <a:gd name="connsiteX10" fmla="*/ 47152 w 121637"/>
                  <a:gd name="connsiteY10" fmla="*/ 62869 h 157855"/>
                  <a:gd name="connsiteX11" fmla="*/ 59452 w 121637"/>
                  <a:gd name="connsiteY11" fmla="*/ 62869 h 157855"/>
                  <a:gd name="connsiteX12" fmla="*/ 86103 w 121637"/>
                  <a:gd name="connsiteY12" fmla="*/ 42368 h 157855"/>
                  <a:gd name="connsiteX13" fmla="*/ 60135 w 121637"/>
                  <a:gd name="connsiteY13" fmla="*/ 23917 h 157855"/>
                  <a:gd name="connsiteX14" fmla="*/ 31434 w 121637"/>
                  <a:gd name="connsiteY14" fmla="*/ 40318 h 157855"/>
                  <a:gd name="connsiteX15" fmla="*/ 32118 w 121637"/>
                  <a:gd name="connsiteY15" fmla="*/ 46468 h 157855"/>
                  <a:gd name="connsiteX16" fmla="*/ 6150 w 121637"/>
                  <a:gd name="connsiteY16" fmla="*/ 56035 h 157855"/>
                  <a:gd name="connsiteX17" fmla="*/ 3417 w 121637"/>
                  <a:gd name="connsiteY17" fmla="*/ 41685 h 157855"/>
                  <a:gd name="connsiteX18" fmla="*/ 60819 w 121637"/>
                  <a:gd name="connsiteY18" fmla="*/ 0 h 157855"/>
                  <a:gd name="connsiteX19" fmla="*/ 115487 w 121637"/>
                  <a:gd name="connsiteY19" fmla="*/ 40318 h 157855"/>
                  <a:gd name="connsiteX20" fmla="*/ 90203 w 121637"/>
                  <a:gd name="connsiteY20" fmla="*/ 75169 h 157855"/>
                  <a:gd name="connsiteX21" fmla="*/ 121637 w 121637"/>
                  <a:gd name="connsiteY21" fmla="*/ 110020 h 15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37" h="157855">
                    <a:moveTo>
                      <a:pt x="121637" y="110020"/>
                    </a:moveTo>
                    <a:cubicBezTo>
                      <a:pt x="121637" y="136671"/>
                      <a:pt x="99770" y="157855"/>
                      <a:pt x="58769" y="157855"/>
                    </a:cubicBezTo>
                    <a:cubicBezTo>
                      <a:pt x="21184" y="157855"/>
                      <a:pt x="0" y="138038"/>
                      <a:pt x="0" y="110704"/>
                    </a:cubicBezTo>
                    <a:cubicBezTo>
                      <a:pt x="0" y="103870"/>
                      <a:pt x="2050" y="97037"/>
                      <a:pt x="3417" y="93620"/>
                    </a:cubicBezTo>
                    <a:lnTo>
                      <a:pt x="29384" y="102503"/>
                    </a:lnTo>
                    <a:cubicBezTo>
                      <a:pt x="28701" y="104554"/>
                      <a:pt x="28018" y="107287"/>
                      <a:pt x="28018" y="110020"/>
                    </a:cubicBezTo>
                    <a:cubicBezTo>
                      <a:pt x="28018" y="125054"/>
                      <a:pt x="43051" y="132571"/>
                      <a:pt x="58769" y="132571"/>
                    </a:cubicBezTo>
                    <a:cubicBezTo>
                      <a:pt x="79953" y="132571"/>
                      <a:pt x="91570" y="122321"/>
                      <a:pt x="91570" y="108654"/>
                    </a:cubicBezTo>
                    <a:cubicBezTo>
                      <a:pt x="91570" y="95670"/>
                      <a:pt x="80636" y="87470"/>
                      <a:pt x="60819" y="87470"/>
                    </a:cubicBezTo>
                    <a:lnTo>
                      <a:pt x="47152" y="87470"/>
                    </a:lnTo>
                    <a:lnTo>
                      <a:pt x="47152" y="62869"/>
                    </a:lnTo>
                    <a:lnTo>
                      <a:pt x="59452" y="62869"/>
                    </a:lnTo>
                    <a:cubicBezTo>
                      <a:pt x="77903" y="62869"/>
                      <a:pt x="86103" y="53985"/>
                      <a:pt x="86103" y="42368"/>
                    </a:cubicBezTo>
                    <a:cubicBezTo>
                      <a:pt x="86103" y="31434"/>
                      <a:pt x="77219" y="23917"/>
                      <a:pt x="60135" y="23917"/>
                    </a:cubicBezTo>
                    <a:cubicBezTo>
                      <a:pt x="42368" y="23917"/>
                      <a:pt x="31434" y="31434"/>
                      <a:pt x="31434" y="40318"/>
                    </a:cubicBezTo>
                    <a:cubicBezTo>
                      <a:pt x="31434" y="43735"/>
                      <a:pt x="32118" y="45785"/>
                      <a:pt x="32118" y="46468"/>
                    </a:cubicBezTo>
                    <a:lnTo>
                      <a:pt x="6150" y="56035"/>
                    </a:lnTo>
                    <a:cubicBezTo>
                      <a:pt x="4783" y="53302"/>
                      <a:pt x="3417" y="48518"/>
                      <a:pt x="3417" y="41685"/>
                    </a:cubicBezTo>
                    <a:cubicBezTo>
                      <a:pt x="3417" y="18451"/>
                      <a:pt x="24601" y="0"/>
                      <a:pt x="60819" y="0"/>
                    </a:cubicBezTo>
                    <a:cubicBezTo>
                      <a:pt x="98403" y="0"/>
                      <a:pt x="115487" y="17767"/>
                      <a:pt x="115487" y="40318"/>
                    </a:cubicBezTo>
                    <a:cubicBezTo>
                      <a:pt x="115487" y="57402"/>
                      <a:pt x="105920" y="69019"/>
                      <a:pt x="90203" y="75169"/>
                    </a:cubicBezTo>
                    <a:cubicBezTo>
                      <a:pt x="108654" y="79269"/>
                      <a:pt x="121637" y="90887"/>
                      <a:pt x="121637" y="110020"/>
                    </a:cubicBezTo>
                    <a:close/>
                  </a:path>
                </a:pathLst>
              </a:custGeom>
              <a:solidFill>
                <a:srgbClr val="FFFFFF"/>
              </a:solidFill>
              <a:ln w="6822" cap="flat">
                <a:noFill/>
                <a:prstDash val="solid"/>
                <a:miter/>
              </a:ln>
            </p:spPr>
            <p:txBody>
              <a:bodyPr rtlCol="0" anchor="ctr"/>
              <a:lstStyle/>
              <a:p>
                <a:endParaRPr lang="ru-RU" sz="1587" dirty="0"/>
              </a:p>
            </p:txBody>
          </p:sp>
          <p:sp>
            <p:nvSpPr>
              <p:cNvPr id="87" name="Полилиния: фигура 86">
                <a:extLst>
                  <a:ext uri="{FF2B5EF4-FFF2-40B4-BE49-F238E27FC236}">
                    <a16:creationId xmlns:a16="http://schemas.microsoft.com/office/drawing/2014/main" id="{A2D36323-5EE5-4BA7-B1AD-45AE2C246961}"/>
                  </a:ext>
                </a:extLst>
              </p:cNvPr>
              <p:cNvSpPr/>
              <p:nvPr/>
            </p:nvSpPr>
            <p:spPr>
              <a:xfrm>
                <a:off x="11819182" y="7186763"/>
                <a:ext cx="173572" cy="149655"/>
              </a:xfrm>
              <a:custGeom>
                <a:avLst/>
                <a:gdLst>
                  <a:gd name="connsiteX0" fmla="*/ 0 w 173572"/>
                  <a:gd name="connsiteY0" fmla="*/ 0 h 149655"/>
                  <a:gd name="connsiteX1" fmla="*/ 42368 w 173572"/>
                  <a:gd name="connsiteY1" fmla="*/ 0 h 149655"/>
                  <a:gd name="connsiteX2" fmla="*/ 86786 w 173572"/>
                  <a:gd name="connsiteY2" fmla="*/ 114121 h 149655"/>
                  <a:gd name="connsiteX3" fmla="*/ 131204 w 173572"/>
                  <a:gd name="connsiteY3" fmla="*/ 0 h 149655"/>
                  <a:gd name="connsiteX4" fmla="*/ 173572 w 173572"/>
                  <a:gd name="connsiteY4" fmla="*/ 0 h 149655"/>
                  <a:gd name="connsiteX5" fmla="*/ 173572 w 173572"/>
                  <a:gd name="connsiteY5" fmla="*/ 149655 h 149655"/>
                  <a:gd name="connsiteX6" fmla="*/ 143505 w 173572"/>
                  <a:gd name="connsiteY6" fmla="*/ 149655 h 149655"/>
                  <a:gd name="connsiteX7" fmla="*/ 143505 w 173572"/>
                  <a:gd name="connsiteY7" fmla="*/ 43735 h 149655"/>
                  <a:gd name="connsiteX8" fmla="*/ 100453 w 173572"/>
                  <a:gd name="connsiteY8" fmla="*/ 149655 h 149655"/>
                  <a:gd name="connsiteX9" fmla="*/ 74486 w 173572"/>
                  <a:gd name="connsiteY9" fmla="*/ 149655 h 149655"/>
                  <a:gd name="connsiteX10" fmla="*/ 30751 w 173572"/>
                  <a:gd name="connsiteY10" fmla="*/ 43052 h 149655"/>
                  <a:gd name="connsiteX11" fmla="*/ 30751 w 173572"/>
                  <a:gd name="connsiteY11" fmla="*/ 149655 h 149655"/>
                  <a:gd name="connsiteX12" fmla="*/ 683 w 173572"/>
                  <a:gd name="connsiteY12" fmla="*/ 149655 h 149655"/>
                  <a:gd name="connsiteX13" fmla="*/ 683 w 173572"/>
                  <a:gd name="connsiteY13"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572" h="149655">
                    <a:moveTo>
                      <a:pt x="0" y="0"/>
                    </a:moveTo>
                    <a:lnTo>
                      <a:pt x="42368" y="0"/>
                    </a:lnTo>
                    <a:lnTo>
                      <a:pt x="86786" y="114121"/>
                    </a:lnTo>
                    <a:lnTo>
                      <a:pt x="131204" y="0"/>
                    </a:lnTo>
                    <a:lnTo>
                      <a:pt x="173572" y="0"/>
                    </a:lnTo>
                    <a:lnTo>
                      <a:pt x="173572" y="149655"/>
                    </a:lnTo>
                    <a:lnTo>
                      <a:pt x="143505" y="149655"/>
                    </a:lnTo>
                    <a:lnTo>
                      <a:pt x="143505" y="43735"/>
                    </a:lnTo>
                    <a:lnTo>
                      <a:pt x="100453" y="149655"/>
                    </a:lnTo>
                    <a:lnTo>
                      <a:pt x="74486" y="149655"/>
                    </a:lnTo>
                    <a:lnTo>
                      <a:pt x="30751" y="43052"/>
                    </a:lnTo>
                    <a:lnTo>
                      <a:pt x="30751" y="149655"/>
                    </a:lnTo>
                    <a:lnTo>
                      <a:pt x="683" y="149655"/>
                    </a:lnTo>
                    <a:lnTo>
                      <a:pt x="683" y="0"/>
                    </a:lnTo>
                    <a:close/>
                  </a:path>
                </a:pathLst>
              </a:custGeom>
              <a:solidFill>
                <a:srgbClr val="FFFFFF"/>
              </a:solidFill>
              <a:ln w="6822" cap="flat">
                <a:noFill/>
                <a:prstDash val="solid"/>
                <a:miter/>
              </a:ln>
            </p:spPr>
            <p:txBody>
              <a:bodyPr rtlCol="0" anchor="ctr"/>
              <a:lstStyle/>
              <a:p>
                <a:endParaRPr lang="ru-RU" sz="1587" dirty="0"/>
              </a:p>
            </p:txBody>
          </p:sp>
          <p:sp>
            <p:nvSpPr>
              <p:cNvPr id="88" name="Полилиния: фигура 87">
                <a:extLst>
                  <a:ext uri="{FF2B5EF4-FFF2-40B4-BE49-F238E27FC236}">
                    <a16:creationId xmlns:a16="http://schemas.microsoft.com/office/drawing/2014/main" id="{B735BB84-E180-48C7-A6CE-871D10D1B93C}"/>
                  </a:ext>
                </a:extLst>
              </p:cNvPr>
              <p:cNvSpPr/>
              <p:nvPr/>
            </p:nvSpPr>
            <p:spPr>
              <a:xfrm>
                <a:off x="12022822"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89" name="Полилиния: фигура 88">
                <a:extLst>
                  <a:ext uri="{FF2B5EF4-FFF2-40B4-BE49-F238E27FC236}">
                    <a16:creationId xmlns:a16="http://schemas.microsoft.com/office/drawing/2014/main" id="{71E9159D-168E-4D89-91B8-9E77006E4F5E}"/>
                  </a:ext>
                </a:extLst>
              </p:cNvPr>
              <p:cNvSpPr/>
              <p:nvPr/>
            </p:nvSpPr>
            <p:spPr>
              <a:xfrm>
                <a:off x="12190245" y="7186763"/>
                <a:ext cx="210473" cy="149655"/>
              </a:xfrm>
              <a:custGeom>
                <a:avLst/>
                <a:gdLst>
                  <a:gd name="connsiteX0" fmla="*/ 171522 w 210473"/>
                  <a:gd name="connsiteY0" fmla="*/ 149655 h 149655"/>
                  <a:gd name="connsiteX1" fmla="*/ 120271 w 210473"/>
                  <a:gd name="connsiteY1" fmla="*/ 84053 h 149655"/>
                  <a:gd name="connsiteX2" fmla="*/ 120271 w 210473"/>
                  <a:gd name="connsiteY2" fmla="*/ 149655 h 149655"/>
                  <a:gd name="connsiteX3" fmla="*/ 88836 w 210473"/>
                  <a:gd name="connsiteY3" fmla="*/ 149655 h 149655"/>
                  <a:gd name="connsiteX4" fmla="*/ 88836 w 210473"/>
                  <a:gd name="connsiteY4" fmla="*/ 83370 h 149655"/>
                  <a:gd name="connsiteX5" fmla="*/ 37585 w 210473"/>
                  <a:gd name="connsiteY5" fmla="*/ 149655 h 149655"/>
                  <a:gd name="connsiteX6" fmla="*/ 0 w 210473"/>
                  <a:gd name="connsiteY6" fmla="*/ 149655 h 149655"/>
                  <a:gd name="connsiteX7" fmla="*/ 62869 w 210473"/>
                  <a:gd name="connsiteY7" fmla="*/ 70386 h 149655"/>
                  <a:gd name="connsiteX8" fmla="*/ 1367 w 210473"/>
                  <a:gd name="connsiteY8" fmla="*/ 0 h 149655"/>
                  <a:gd name="connsiteX9" fmla="*/ 41685 w 210473"/>
                  <a:gd name="connsiteY9" fmla="*/ 0 h 149655"/>
                  <a:gd name="connsiteX10" fmla="*/ 89520 w 210473"/>
                  <a:gd name="connsiteY10" fmla="*/ 58085 h 149655"/>
                  <a:gd name="connsiteX11" fmla="*/ 89520 w 210473"/>
                  <a:gd name="connsiteY11" fmla="*/ 0 h 149655"/>
                  <a:gd name="connsiteX12" fmla="*/ 120954 w 210473"/>
                  <a:gd name="connsiteY12" fmla="*/ 0 h 149655"/>
                  <a:gd name="connsiteX13" fmla="*/ 120954 w 210473"/>
                  <a:gd name="connsiteY13" fmla="*/ 58085 h 149655"/>
                  <a:gd name="connsiteX14" fmla="*/ 168789 w 210473"/>
                  <a:gd name="connsiteY14" fmla="*/ 0 h 149655"/>
                  <a:gd name="connsiteX15" fmla="*/ 209107 w 210473"/>
                  <a:gd name="connsiteY15" fmla="*/ 0 h 149655"/>
                  <a:gd name="connsiteX16" fmla="*/ 147605 w 210473"/>
                  <a:gd name="connsiteY16" fmla="*/ 70386 h 149655"/>
                  <a:gd name="connsiteX17" fmla="*/ 210474 w 210473"/>
                  <a:gd name="connsiteY17" fmla="*/ 149655 h 149655"/>
                  <a:gd name="connsiteX18" fmla="*/ 171522 w 210473"/>
                  <a:gd name="connsiteY18" fmla="*/ 149655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473" h="149655">
                    <a:moveTo>
                      <a:pt x="171522" y="149655"/>
                    </a:moveTo>
                    <a:lnTo>
                      <a:pt x="120271" y="84053"/>
                    </a:lnTo>
                    <a:lnTo>
                      <a:pt x="120271" y="149655"/>
                    </a:lnTo>
                    <a:lnTo>
                      <a:pt x="88836" y="149655"/>
                    </a:lnTo>
                    <a:lnTo>
                      <a:pt x="88836" y="83370"/>
                    </a:lnTo>
                    <a:lnTo>
                      <a:pt x="37585" y="149655"/>
                    </a:lnTo>
                    <a:lnTo>
                      <a:pt x="0" y="149655"/>
                    </a:lnTo>
                    <a:lnTo>
                      <a:pt x="62869" y="70386"/>
                    </a:lnTo>
                    <a:lnTo>
                      <a:pt x="1367" y="0"/>
                    </a:lnTo>
                    <a:lnTo>
                      <a:pt x="41685" y="0"/>
                    </a:lnTo>
                    <a:lnTo>
                      <a:pt x="89520" y="58085"/>
                    </a:lnTo>
                    <a:lnTo>
                      <a:pt x="89520" y="0"/>
                    </a:lnTo>
                    <a:lnTo>
                      <a:pt x="120954" y="0"/>
                    </a:lnTo>
                    <a:lnTo>
                      <a:pt x="120954" y="58085"/>
                    </a:lnTo>
                    <a:lnTo>
                      <a:pt x="168789" y="0"/>
                    </a:lnTo>
                    <a:lnTo>
                      <a:pt x="209107" y="0"/>
                    </a:lnTo>
                    <a:lnTo>
                      <a:pt x="147605" y="70386"/>
                    </a:lnTo>
                    <a:lnTo>
                      <a:pt x="210474" y="149655"/>
                    </a:lnTo>
                    <a:lnTo>
                      <a:pt x="171522" y="149655"/>
                    </a:lnTo>
                    <a:close/>
                  </a:path>
                </a:pathLst>
              </a:custGeom>
              <a:solidFill>
                <a:srgbClr val="FFFFFF"/>
              </a:solidFill>
              <a:ln w="6822" cap="flat">
                <a:noFill/>
                <a:prstDash val="solid"/>
                <a:miter/>
              </a:ln>
            </p:spPr>
            <p:txBody>
              <a:bodyPr rtlCol="0" anchor="ctr"/>
              <a:lstStyle/>
              <a:p>
                <a:endParaRPr lang="ru-RU" sz="1587" dirty="0"/>
              </a:p>
            </p:txBody>
          </p:sp>
          <p:sp>
            <p:nvSpPr>
              <p:cNvPr id="90" name="Полилиния: фигура 89">
                <a:extLst>
                  <a:ext uri="{FF2B5EF4-FFF2-40B4-BE49-F238E27FC236}">
                    <a16:creationId xmlns:a16="http://schemas.microsoft.com/office/drawing/2014/main" id="{8295C8F3-3195-4769-B15E-184141EF577F}"/>
                  </a:ext>
                </a:extLst>
              </p:cNvPr>
              <p:cNvSpPr/>
              <p:nvPr/>
            </p:nvSpPr>
            <p:spPr>
              <a:xfrm>
                <a:off x="12423953" y="7186763"/>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91" name="Полилиния: фигура 90">
                <a:extLst>
                  <a:ext uri="{FF2B5EF4-FFF2-40B4-BE49-F238E27FC236}">
                    <a16:creationId xmlns:a16="http://schemas.microsoft.com/office/drawing/2014/main" id="{57C32760-B83A-4E6A-AFB7-09D69F946EF5}"/>
                  </a:ext>
                </a:extLst>
              </p:cNvPr>
              <p:cNvSpPr/>
              <p:nvPr/>
            </p:nvSpPr>
            <p:spPr>
              <a:xfrm>
                <a:off x="1258659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4" y="28701"/>
                      <a:pt x="80636" y="28701"/>
                    </a:cubicBezTo>
                    <a:cubicBezTo>
                      <a:pt x="54668" y="28701"/>
                      <a:pt x="32118" y="48518"/>
                      <a:pt x="32118" y="79269"/>
                    </a:cubicBezTo>
                    <a:cubicBezTo>
                      <a:pt x="32118" y="110020"/>
                      <a:pt x="54668" y="129838"/>
                      <a:pt x="80636" y="129838"/>
                    </a:cubicBezTo>
                    <a:cubicBezTo>
                      <a:pt x="106604"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92" name="Полилиния: фигура 91">
                <a:extLst>
                  <a:ext uri="{FF2B5EF4-FFF2-40B4-BE49-F238E27FC236}">
                    <a16:creationId xmlns:a16="http://schemas.microsoft.com/office/drawing/2014/main" id="{88E52CF0-841E-4868-9A64-04198ECD0BC7}"/>
                  </a:ext>
                </a:extLst>
              </p:cNvPr>
              <p:cNvSpPr/>
              <p:nvPr/>
            </p:nvSpPr>
            <p:spPr>
              <a:xfrm>
                <a:off x="12769047" y="7182663"/>
                <a:ext cx="144871" cy="158538"/>
              </a:xfrm>
              <a:custGeom>
                <a:avLst/>
                <a:gdLst>
                  <a:gd name="connsiteX0" fmla="*/ 77902 w 144871"/>
                  <a:gd name="connsiteY0" fmla="*/ 158539 h 158538"/>
                  <a:gd name="connsiteX1" fmla="*/ 0 w 144871"/>
                  <a:gd name="connsiteY1" fmla="*/ 79269 h 158538"/>
                  <a:gd name="connsiteX2" fmla="*/ 77902 w 144871"/>
                  <a:gd name="connsiteY2" fmla="*/ 0 h 158538"/>
                  <a:gd name="connsiteX3" fmla="*/ 143505 w 144871"/>
                  <a:gd name="connsiteY3" fmla="*/ 37585 h 158538"/>
                  <a:gd name="connsiteX4" fmla="*/ 117537 w 144871"/>
                  <a:gd name="connsiteY4" fmla="*/ 52618 h 158538"/>
                  <a:gd name="connsiteX5" fmla="*/ 77902 w 144871"/>
                  <a:gd name="connsiteY5" fmla="*/ 28701 h 158538"/>
                  <a:gd name="connsiteX6" fmla="*/ 32118 w 144871"/>
                  <a:gd name="connsiteY6" fmla="*/ 78586 h 158538"/>
                  <a:gd name="connsiteX7" fmla="*/ 77902 w 144871"/>
                  <a:gd name="connsiteY7" fmla="*/ 128471 h 158538"/>
                  <a:gd name="connsiteX8" fmla="*/ 119587 w 144871"/>
                  <a:gd name="connsiteY8" fmla="*/ 104553 h 158538"/>
                  <a:gd name="connsiteX9" fmla="*/ 144872 w 144871"/>
                  <a:gd name="connsiteY9" fmla="*/ 118904 h 158538"/>
                  <a:gd name="connsiteX10" fmla="*/ 77902 w 144871"/>
                  <a:gd name="connsiteY10" fmla="*/ 15853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71" h="158538">
                    <a:moveTo>
                      <a:pt x="77902" y="158539"/>
                    </a:moveTo>
                    <a:cubicBezTo>
                      <a:pt x="33484" y="158539"/>
                      <a:pt x="0" y="126421"/>
                      <a:pt x="0" y="79269"/>
                    </a:cubicBezTo>
                    <a:cubicBezTo>
                      <a:pt x="0" y="32118"/>
                      <a:pt x="36218" y="0"/>
                      <a:pt x="77902" y="0"/>
                    </a:cubicBezTo>
                    <a:cubicBezTo>
                      <a:pt x="110020" y="0"/>
                      <a:pt x="132571" y="14350"/>
                      <a:pt x="143505" y="37585"/>
                    </a:cubicBezTo>
                    <a:lnTo>
                      <a:pt x="117537" y="52618"/>
                    </a:lnTo>
                    <a:cubicBezTo>
                      <a:pt x="107287" y="36218"/>
                      <a:pt x="93620" y="28701"/>
                      <a:pt x="77902" y="28701"/>
                    </a:cubicBezTo>
                    <a:cubicBezTo>
                      <a:pt x="51935" y="28701"/>
                      <a:pt x="32118" y="47835"/>
                      <a:pt x="32118" y="78586"/>
                    </a:cubicBezTo>
                    <a:cubicBezTo>
                      <a:pt x="32118" y="109337"/>
                      <a:pt x="51252" y="128471"/>
                      <a:pt x="77902" y="128471"/>
                    </a:cubicBezTo>
                    <a:cubicBezTo>
                      <a:pt x="98403" y="128471"/>
                      <a:pt x="110020" y="118221"/>
                      <a:pt x="119587" y="104553"/>
                    </a:cubicBezTo>
                    <a:lnTo>
                      <a:pt x="144872" y="118904"/>
                    </a:lnTo>
                    <a:cubicBezTo>
                      <a:pt x="130521" y="143505"/>
                      <a:pt x="109337" y="158539"/>
                      <a:pt x="77902" y="158539"/>
                    </a:cubicBezTo>
                    <a:close/>
                  </a:path>
                </a:pathLst>
              </a:custGeom>
              <a:solidFill>
                <a:srgbClr val="FFFFFF"/>
              </a:solidFill>
              <a:ln w="6822" cap="flat">
                <a:noFill/>
                <a:prstDash val="solid"/>
                <a:miter/>
              </a:ln>
            </p:spPr>
            <p:txBody>
              <a:bodyPr rtlCol="0" anchor="ctr"/>
              <a:lstStyle/>
              <a:p>
                <a:endParaRPr lang="ru-RU" sz="1587" dirty="0"/>
              </a:p>
            </p:txBody>
          </p:sp>
          <p:sp>
            <p:nvSpPr>
              <p:cNvPr id="93" name="Полилиния: фигура 92">
                <a:extLst>
                  <a:ext uri="{FF2B5EF4-FFF2-40B4-BE49-F238E27FC236}">
                    <a16:creationId xmlns:a16="http://schemas.microsoft.com/office/drawing/2014/main" id="{C39FF288-1FFB-4358-BAA1-46995E17C34D}"/>
                  </a:ext>
                </a:extLst>
              </p:cNvPr>
              <p:cNvSpPr/>
              <p:nvPr/>
            </p:nvSpPr>
            <p:spPr>
              <a:xfrm>
                <a:off x="12933053" y="7186763"/>
                <a:ext cx="125054" cy="149655"/>
              </a:xfrm>
              <a:custGeom>
                <a:avLst/>
                <a:gdLst>
                  <a:gd name="connsiteX0" fmla="*/ 47151 w 125054"/>
                  <a:gd name="connsiteY0" fmla="*/ 28018 h 149655"/>
                  <a:gd name="connsiteX1" fmla="*/ 0 w 125054"/>
                  <a:gd name="connsiteY1" fmla="*/ 28018 h 149655"/>
                  <a:gd name="connsiteX2" fmla="*/ 0 w 125054"/>
                  <a:gd name="connsiteY2" fmla="*/ 0 h 149655"/>
                  <a:gd name="connsiteX3" fmla="*/ 125054 w 125054"/>
                  <a:gd name="connsiteY3" fmla="*/ 0 h 149655"/>
                  <a:gd name="connsiteX4" fmla="*/ 125054 w 125054"/>
                  <a:gd name="connsiteY4" fmla="*/ 28018 h 149655"/>
                  <a:gd name="connsiteX5" fmla="*/ 77902 w 125054"/>
                  <a:gd name="connsiteY5" fmla="*/ 28018 h 149655"/>
                  <a:gd name="connsiteX6" fmla="*/ 77902 w 125054"/>
                  <a:gd name="connsiteY6" fmla="*/ 149655 h 149655"/>
                  <a:gd name="connsiteX7" fmla="*/ 46468 w 125054"/>
                  <a:gd name="connsiteY7" fmla="*/ 149655 h 149655"/>
                  <a:gd name="connsiteX8" fmla="*/ 46468 w 125054"/>
                  <a:gd name="connsiteY8" fmla="*/ 28018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54" h="149655">
                    <a:moveTo>
                      <a:pt x="47151" y="28018"/>
                    </a:moveTo>
                    <a:lnTo>
                      <a:pt x="0" y="28018"/>
                    </a:lnTo>
                    <a:lnTo>
                      <a:pt x="0" y="0"/>
                    </a:lnTo>
                    <a:lnTo>
                      <a:pt x="125054" y="0"/>
                    </a:lnTo>
                    <a:lnTo>
                      <a:pt x="125054" y="28018"/>
                    </a:lnTo>
                    <a:lnTo>
                      <a:pt x="77902" y="28018"/>
                    </a:lnTo>
                    <a:lnTo>
                      <a:pt x="77902" y="149655"/>
                    </a:lnTo>
                    <a:lnTo>
                      <a:pt x="46468" y="149655"/>
                    </a:lnTo>
                    <a:lnTo>
                      <a:pt x="46468" y="28018"/>
                    </a:lnTo>
                    <a:close/>
                  </a:path>
                </a:pathLst>
              </a:custGeom>
              <a:solidFill>
                <a:srgbClr val="FFFFFF"/>
              </a:solidFill>
              <a:ln w="6822" cap="flat">
                <a:noFill/>
                <a:prstDash val="solid"/>
                <a:miter/>
              </a:ln>
            </p:spPr>
            <p:txBody>
              <a:bodyPr rtlCol="0" anchor="ctr"/>
              <a:lstStyle/>
              <a:p>
                <a:endParaRPr lang="ru-RU" sz="1587" dirty="0"/>
              </a:p>
            </p:txBody>
          </p:sp>
          <p:sp>
            <p:nvSpPr>
              <p:cNvPr id="94" name="Полилиния: фигура 93">
                <a:extLst>
                  <a:ext uri="{FF2B5EF4-FFF2-40B4-BE49-F238E27FC236}">
                    <a16:creationId xmlns:a16="http://schemas.microsoft.com/office/drawing/2014/main" id="{89E1A1E4-156F-4992-9208-D6C704D2DD85}"/>
                  </a:ext>
                </a:extLst>
              </p:cNvPr>
              <p:cNvSpPr/>
              <p:nvPr/>
            </p:nvSpPr>
            <p:spPr>
              <a:xfrm>
                <a:off x="13073141" y="7182663"/>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2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7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2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2"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7" y="86103"/>
                    </a:lnTo>
                    <a:cubicBezTo>
                      <a:pt x="32118" y="112070"/>
                      <a:pt x="49885" y="131204"/>
                      <a:pt x="76536" y="131204"/>
                    </a:cubicBezTo>
                    <a:close/>
                    <a:moveTo>
                      <a:pt x="30751" y="61502"/>
                    </a:moveTo>
                    <a:lnTo>
                      <a:pt x="119587" y="61502"/>
                    </a:lnTo>
                    <a:cubicBezTo>
                      <a:pt x="116854" y="38268"/>
                      <a:pt x="99087" y="24601"/>
                      <a:pt x="75852" y="24601"/>
                    </a:cubicBezTo>
                    <a:cubicBezTo>
                      <a:pt x="53302" y="24601"/>
                      <a:pt x="35535"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95" name="Полилиния: фигура 94">
                <a:extLst>
                  <a:ext uri="{FF2B5EF4-FFF2-40B4-BE49-F238E27FC236}">
                    <a16:creationId xmlns:a16="http://schemas.microsoft.com/office/drawing/2014/main" id="{D8B70C37-7930-426C-9418-12F19E1D1D52}"/>
                  </a:ext>
                </a:extLst>
              </p:cNvPr>
              <p:cNvSpPr/>
              <p:nvPr/>
            </p:nvSpPr>
            <p:spPr>
              <a:xfrm>
                <a:off x="13253547" y="7132778"/>
                <a:ext cx="134621" cy="203640"/>
              </a:xfrm>
              <a:custGeom>
                <a:avLst/>
                <a:gdLst>
                  <a:gd name="connsiteX0" fmla="*/ 0 w 134621"/>
                  <a:gd name="connsiteY0" fmla="*/ 53985 h 203640"/>
                  <a:gd name="connsiteX1" fmla="*/ 30068 w 134621"/>
                  <a:gd name="connsiteY1" fmla="*/ 53985 h 203640"/>
                  <a:gd name="connsiteX2" fmla="*/ 30068 w 134621"/>
                  <a:gd name="connsiteY2" fmla="*/ 161956 h 203640"/>
                  <a:gd name="connsiteX3" fmla="*/ 101820 w 134621"/>
                  <a:gd name="connsiteY3" fmla="*/ 53985 h 203640"/>
                  <a:gd name="connsiteX4" fmla="*/ 134621 w 134621"/>
                  <a:gd name="connsiteY4" fmla="*/ 53985 h 203640"/>
                  <a:gd name="connsiteX5" fmla="*/ 134621 w 134621"/>
                  <a:gd name="connsiteY5" fmla="*/ 203640 h 203640"/>
                  <a:gd name="connsiteX6" fmla="*/ 104554 w 134621"/>
                  <a:gd name="connsiteY6" fmla="*/ 203640 h 203640"/>
                  <a:gd name="connsiteX7" fmla="*/ 104554 w 134621"/>
                  <a:gd name="connsiteY7" fmla="*/ 95670 h 203640"/>
                  <a:gd name="connsiteX8" fmla="*/ 32801 w 134621"/>
                  <a:gd name="connsiteY8" fmla="*/ 203640 h 203640"/>
                  <a:gd name="connsiteX9" fmla="*/ 0 w 134621"/>
                  <a:gd name="connsiteY9" fmla="*/ 203640 h 203640"/>
                  <a:gd name="connsiteX10" fmla="*/ 0 w 134621"/>
                  <a:gd name="connsiteY10" fmla="*/ 53985 h 203640"/>
                  <a:gd name="connsiteX11" fmla="*/ 34168 w 134621"/>
                  <a:gd name="connsiteY11" fmla="*/ 0 h 203640"/>
                  <a:gd name="connsiteX12" fmla="*/ 55352 w 134621"/>
                  <a:gd name="connsiteY12" fmla="*/ 0 h 203640"/>
                  <a:gd name="connsiteX13" fmla="*/ 66969 w 134621"/>
                  <a:gd name="connsiteY13" fmla="*/ 12984 h 203640"/>
                  <a:gd name="connsiteX14" fmla="*/ 78586 w 134621"/>
                  <a:gd name="connsiteY14" fmla="*/ 0 h 203640"/>
                  <a:gd name="connsiteX15" fmla="*/ 99770 w 134621"/>
                  <a:gd name="connsiteY15" fmla="*/ 0 h 203640"/>
                  <a:gd name="connsiteX16" fmla="*/ 66969 w 134621"/>
                  <a:gd name="connsiteY16" fmla="*/ 32801 h 203640"/>
                  <a:gd name="connsiteX17" fmla="*/ 34168 w 134621"/>
                  <a:gd name="connsiteY17" fmla="*/ 0 h 2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21" h="203640">
                    <a:moveTo>
                      <a:pt x="0" y="53985"/>
                    </a:moveTo>
                    <a:lnTo>
                      <a:pt x="30068" y="53985"/>
                    </a:lnTo>
                    <a:lnTo>
                      <a:pt x="30068" y="161956"/>
                    </a:lnTo>
                    <a:lnTo>
                      <a:pt x="101820" y="53985"/>
                    </a:lnTo>
                    <a:lnTo>
                      <a:pt x="134621" y="53985"/>
                    </a:lnTo>
                    <a:lnTo>
                      <a:pt x="134621" y="203640"/>
                    </a:lnTo>
                    <a:lnTo>
                      <a:pt x="104554" y="203640"/>
                    </a:lnTo>
                    <a:lnTo>
                      <a:pt x="104554" y="95670"/>
                    </a:lnTo>
                    <a:lnTo>
                      <a:pt x="32801" y="203640"/>
                    </a:lnTo>
                    <a:lnTo>
                      <a:pt x="0" y="203640"/>
                    </a:lnTo>
                    <a:lnTo>
                      <a:pt x="0" y="53985"/>
                    </a:lnTo>
                    <a:close/>
                    <a:moveTo>
                      <a:pt x="34168" y="0"/>
                    </a:moveTo>
                    <a:lnTo>
                      <a:pt x="55352" y="0"/>
                    </a:lnTo>
                    <a:cubicBezTo>
                      <a:pt x="55352" y="7517"/>
                      <a:pt x="59452" y="12984"/>
                      <a:pt x="66969" y="12984"/>
                    </a:cubicBezTo>
                    <a:cubicBezTo>
                      <a:pt x="74486" y="12984"/>
                      <a:pt x="78586" y="7517"/>
                      <a:pt x="78586" y="0"/>
                    </a:cubicBezTo>
                    <a:lnTo>
                      <a:pt x="99770" y="0"/>
                    </a:lnTo>
                    <a:cubicBezTo>
                      <a:pt x="99770" y="19134"/>
                      <a:pt x="86786" y="32801"/>
                      <a:pt x="66969" y="32801"/>
                    </a:cubicBezTo>
                    <a:cubicBezTo>
                      <a:pt x="47152" y="32801"/>
                      <a:pt x="34168" y="19134"/>
                      <a:pt x="34168" y="0"/>
                    </a:cubicBezTo>
                    <a:close/>
                  </a:path>
                </a:pathLst>
              </a:custGeom>
              <a:solidFill>
                <a:srgbClr val="FFFFFF"/>
              </a:solidFill>
              <a:ln w="6822" cap="flat">
                <a:noFill/>
                <a:prstDash val="solid"/>
                <a:miter/>
              </a:ln>
            </p:spPr>
            <p:txBody>
              <a:bodyPr rtlCol="0" anchor="ctr"/>
              <a:lstStyle/>
              <a:p>
                <a:endParaRPr lang="ru-RU" sz="1587" dirty="0"/>
              </a:p>
            </p:txBody>
          </p:sp>
        </p:grpSp>
        <p:sp>
          <p:nvSpPr>
            <p:cNvPr id="73" name="Полилиния: фигура 72">
              <a:extLst>
                <a:ext uri="{FF2B5EF4-FFF2-40B4-BE49-F238E27FC236}">
                  <a16:creationId xmlns:a16="http://schemas.microsoft.com/office/drawing/2014/main" id="{9282115E-BBA2-4F14-87C7-F14E63255151}"/>
                </a:ext>
              </a:extLst>
            </p:cNvPr>
            <p:cNvSpPr/>
            <p:nvPr/>
          </p:nvSpPr>
          <p:spPr>
            <a:xfrm>
              <a:off x="11519872" y="4054942"/>
              <a:ext cx="2309744" cy="2615887"/>
            </a:xfrm>
            <a:custGeom>
              <a:avLst/>
              <a:gdLst>
                <a:gd name="connsiteX0" fmla="*/ 2309744 w 2309744"/>
                <a:gd name="connsiteY0" fmla="*/ 0 h 2615887"/>
                <a:gd name="connsiteX1" fmla="*/ 350562 w 2309744"/>
                <a:gd name="connsiteY1" fmla="*/ 2452566 h 2615887"/>
                <a:gd name="connsiteX2" fmla="*/ 2050 w 2309744"/>
                <a:gd name="connsiteY2" fmla="*/ 2615205 h 2615887"/>
                <a:gd name="connsiteX3" fmla="*/ 0 w 2309744"/>
                <a:gd name="connsiteY3" fmla="*/ 2615888 h 2615887"/>
                <a:gd name="connsiteX4" fmla="*/ 0 w 2309744"/>
                <a:gd name="connsiteY4" fmla="*/ 2615888 h 2615887"/>
                <a:gd name="connsiteX5" fmla="*/ 2309744 w 2309744"/>
                <a:gd name="connsiteY5" fmla="*/ 1107721 h 2615887"/>
                <a:gd name="connsiteX6" fmla="*/ 2309744 w 2309744"/>
                <a:gd name="connsiteY6" fmla="*/ 0 h 261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9744" h="2615887">
                  <a:moveTo>
                    <a:pt x="2309744" y="0"/>
                  </a:moveTo>
                  <a:cubicBezTo>
                    <a:pt x="2039818" y="1072869"/>
                    <a:pt x="1316144" y="1946199"/>
                    <a:pt x="350562" y="2452566"/>
                  </a:cubicBezTo>
                  <a:cubicBezTo>
                    <a:pt x="236441" y="2509284"/>
                    <a:pt x="112754" y="2561903"/>
                    <a:pt x="2050" y="2615205"/>
                  </a:cubicBezTo>
                  <a:lnTo>
                    <a:pt x="0" y="2615888"/>
                  </a:lnTo>
                  <a:lnTo>
                    <a:pt x="0" y="2615888"/>
                  </a:lnTo>
                  <a:cubicBezTo>
                    <a:pt x="880846" y="2287877"/>
                    <a:pt x="1668073" y="1768526"/>
                    <a:pt x="2309744" y="1107721"/>
                  </a:cubicBezTo>
                  <a:lnTo>
                    <a:pt x="2309744" y="0"/>
                  </a:lnTo>
                  <a:close/>
                </a:path>
              </a:pathLst>
            </a:custGeom>
            <a:solidFill>
              <a:schemeClr val="accent3"/>
            </a:solidFill>
            <a:ln w="6822" cap="flat">
              <a:noFill/>
              <a:prstDash val="solid"/>
              <a:miter/>
            </a:ln>
          </p:spPr>
          <p:txBody>
            <a:bodyPr rtlCol="0" anchor="ctr"/>
            <a:lstStyle/>
            <a:p>
              <a:endParaRPr lang="ru-RU" sz="1587" dirty="0"/>
            </a:p>
          </p:txBody>
        </p:sp>
      </p:grpSp>
    </p:spTree>
    <p:extLst>
      <p:ext uri="{BB962C8B-B14F-4D97-AF65-F5344CB8AC3E}">
        <p14:creationId xmlns:p14="http://schemas.microsoft.com/office/powerpoint/2010/main" val="1153207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6"/>
            <a:ext cx="2628900" cy="5811839"/>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2" y="365126"/>
            <a:ext cx="7734300" cy="581183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35884871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Последний">
    <p:spTree>
      <p:nvGrpSpPr>
        <p:cNvPr id="1" name=""/>
        <p:cNvGrpSpPr/>
        <p:nvPr/>
      </p:nvGrpSpPr>
      <p:grpSpPr>
        <a:xfrm>
          <a:off x="0" y="0"/>
          <a:ext cx="0" cy="0"/>
          <a:chOff x="0" y="0"/>
          <a:chExt cx="0" cy="0"/>
        </a:xfrm>
      </p:grpSpPr>
      <p:sp>
        <p:nvSpPr>
          <p:cNvPr id="11" name="Текст 4">
            <a:extLst>
              <a:ext uri="{FF2B5EF4-FFF2-40B4-BE49-F238E27FC236}">
                <a16:creationId xmlns:a16="http://schemas.microsoft.com/office/drawing/2014/main" id="{D739FF08-E85F-4998-9440-3485D5470EC1}"/>
              </a:ext>
            </a:extLst>
          </p:cNvPr>
          <p:cNvSpPr>
            <a:spLocks noGrp="1"/>
          </p:cNvSpPr>
          <p:nvPr>
            <p:ph type="body" sz="quarter" idx="22" hasCustomPrompt="1"/>
          </p:nvPr>
        </p:nvSpPr>
        <p:spPr>
          <a:xfrm>
            <a:off x="423758" y="5156611"/>
            <a:ext cx="3202839" cy="54065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13" name="Текст 4">
            <a:extLst>
              <a:ext uri="{FF2B5EF4-FFF2-40B4-BE49-F238E27FC236}">
                <a16:creationId xmlns:a16="http://schemas.microsoft.com/office/drawing/2014/main" id="{A520F4DC-F48B-477A-A668-DB910702263F}"/>
              </a:ext>
            </a:extLst>
          </p:cNvPr>
          <p:cNvSpPr>
            <a:spLocks noGrp="1"/>
          </p:cNvSpPr>
          <p:nvPr>
            <p:ph type="body" sz="quarter" idx="23" hasCustomPrompt="1"/>
          </p:nvPr>
        </p:nvSpPr>
        <p:spPr>
          <a:xfrm>
            <a:off x="423758" y="5771967"/>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35" name="Текст 22">
            <a:extLst>
              <a:ext uri="{FF2B5EF4-FFF2-40B4-BE49-F238E27FC236}">
                <a16:creationId xmlns:a16="http://schemas.microsoft.com/office/drawing/2014/main" id="{019FC48E-0D71-4221-AF49-78C8262D88E5}"/>
              </a:ext>
            </a:extLst>
          </p:cNvPr>
          <p:cNvSpPr>
            <a:spLocks noGrp="1"/>
          </p:cNvSpPr>
          <p:nvPr>
            <p:ph type="body" sz="quarter" idx="14" hasCustomPrompt="1"/>
          </p:nvPr>
        </p:nvSpPr>
        <p:spPr>
          <a:xfrm>
            <a:off x="417516" y="2481065"/>
            <a:ext cx="3706193" cy="1139219"/>
          </a:xfrm>
          <a:prstGeom prst="rect">
            <a:avLst/>
          </a:prstGeom>
          <a:noFill/>
        </p:spPr>
        <p:txBody>
          <a:bodyPr wrap="none" lIns="0" tIns="36000" rIns="108000" bIns="0">
            <a:spAutoFit/>
          </a:bodyPr>
          <a:lstStyle>
            <a:lvl1pPr>
              <a:lnSpc>
                <a:spcPts val="4319"/>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53" name="Рисунок 25">
            <a:extLst>
              <a:ext uri="{FF2B5EF4-FFF2-40B4-BE49-F238E27FC236}">
                <a16:creationId xmlns:a16="http://schemas.microsoft.com/office/drawing/2014/main" id="{0315ED65-544D-4054-B26A-579C389F34AF}"/>
              </a:ext>
            </a:extLst>
          </p:cNvPr>
          <p:cNvGrpSpPr/>
          <p:nvPr userDrawn="1"/>
        </p:nvGrpSpPr>
        <p:grpSpPr>
          <a:xfrm>
            <a:off x="419833" y="417146"/>
            <a:ext cx="2645659" cy="753911"/>
            <a:chOff x="-233" y="1916027"/>
            <a:chExt cx="13832096" cy="3938000"/>
          </a:xfrm>
        </p:grpSpPr>
        <p:sp>
          <p:nvSpPr>
            <p:cNvPr id="54" name="Полилиния: фигура 53">
              <a:extLst>
                <a:ext uri="{FF2B5EF4-FFF2-40B4-BE49-F238E27FC236}">
                  <a16:creationId xmlns:a16="http://schemas.microsoft.com/office/drawing/2014/main" id="{7B759E7C-AB33-474C-B1EF-61725AA1E2EE}"/>
                </a:ext>
              </a:extLst>
            </p:cNvPr>
            <p:cNvSpPr/>
            <p:nvPr/>
          </p:nvSpPr>
          <p:spPr>
            <a:xfrm>
              <a:off x="2798114" y="2521151"/>
              <a:ext cx="11033748" cy="3332876"/>
            </a:xfrm>
            <a:custGeom>
              <a:avLst/>
              <a:gdLst>
                <a:gd name="connsiteX0" fmla="*/ 8186381 w 11033748"/>
                <a:gd name="connsiteY0" fmla="*/ 869378 h 3332876"/>
                <a:gd name="connsiteX1" fmla="*/ 8655469 w 11033748"/>
                <a:gd name="connsiteY1" fmla="*/ 1402575 h 3332876"/>
                <a:gd name="connsiteX2" fmla="*/ 8350562 w 11033748"/>
                <a:gd name="connsiteY2" fmla="*/ 1402575 h 3332876"/>
                <a:gd name="connsiteX3" fmla="*/ 7987800 w 11033748"/>
                <a:gd name="connsiteY3" fmla="*/ 991341 h 3332876"/>
                <a:gd name="connsiteX4" fmla="*/ 7987800 w 11033748"/>
                <a:gd name="connsiteY4" fmla="*/ 1402575 h 3332876"/>
                <a:gd name="connsiteX5" fmla="*/ 7735274 w 11033748"/>
                <a:gd name="connsiteY5" fmla="*/ 1402575 h 3332876"/>
                <a:gd name="connsiteX6" fmla="*/ 7735274 w 11033748"/>
                <a:gd name="connsiteY6" fmla="*/ 408889 h 3332876"/>
                <a:gd name="connsiteX7" fmla="*/ 7987800 w 11033748"/>
                <a:gd name="connsiteY7" fmla="*/ 408889 h 3332876"/>
                <a:gd name="connsiteX8" fmla="*/ 7987800 w 11033748"/>
                <a:gd name="connsiteY8" fmla="*/ 769306 h 3332876"/>
                <a:gd name="connsiteX9" fmla="*/ 8344307 w 11033748"/>
                <a:gd name="connsiteY9" fmla="*/ 408889 h 3332876"/>
                <a:gd name="connsiteX10" fmla="*/ 8642960 w 11033748"/>
                <a:gd name="connsiteY10" fmla="*/ 408889 h 3332876"/>
                <a:gd name="connsiteX11" fmla="*/ 8186381 w 11033748"/>
                <a:gd name="connsiteY11" fmla="*/ 869378 h 3332876"/>
                <a:gd name="connsiteX12" fmla="*/ 629361 w 11033748"/>
                <a:gd name="connsiteY12" fmla="*/ 677052 h 3332876"/>
                <a:gd name="connsiteX13" fmla="*/ 898305 w 11033748"/>
                <a:gd name="connsiteY13" fmla="*/ 456580 h 3332876"/>
                <a:gd name="connsiteX14" fmla="*/ 629361 w 11033748"/>
                <a:gd name="connsiteY14" fmla="*/ 236108 h 3332876"/>
                <a:gd name="connsiteX15" fmla="*/ 264253 w 11033748"/>
                <a:gd name="connsiteY15" fmla="*/ 236108 h 3332876"/>
                <a:gd name="connsiteX16" fmla="*/ 264253 w 11033748"/>
                <a:gd name="connsiteY16" fmla="*/ 677052 h 3332876"/>
                <a:gd name="connsiteX17" fmla="*/ 629361 w 11033748"/>
                <a:gd name="connsiteY17" fmla="*/ 677052 h 3332876"/>
                <a:gd name="connsiteX18" fmla="*/ 637179 w 11033748"/>
                <a:gd name="connsiteY18" fmla="*/ 0 h 3332876"/>
                <a:gd name="connsiteX19" fmla="*/ 1162558 w 11033748"/>
                <a:gd name="connsiteY19" fmla="*/ 456580 h 3332876"/>
                <a:gd name="connsiteX20" fmla="*/ 637179 w 11033748"/>
                <a:gd name="connsiteY20" fmla="*/ 913941 h 3332876"/>
                <a:gd name="connsiteX21" fmla="*/ 264253 w 11033748"/>
                <a:gd name="connsiteY21" fmla="*/ 913941 h 3332876"/>
                <a:gd name="connsiteX22" fmla="*/ 264253 w 11033748"/>
                <a:gd name="connsiteY22" fmla="*/ 1403357 h 3332876"/>
                <a:gd name="connsiteX23" fmla="*/ 0 w 11033748"/>
                <a:gd name="connsiteY23" fmla="*/ 1403357 h 3332876"/>
                <a:gd name="connsiteX24" fmla="*/ 0 w 11033748"/>
                <a:gd name="connsiteY24" fmla="*/ 0 h 3332876"/>
                <a:gd name="connsiteX25" fmla="*/ 637179 w 11033748"/>
                <a:gd name="connsiteY25" fmla="*/ 0 h 3332876"/>
                <a:gd name="connsiteX26" fmla="*/ 1759083 w 11033748"/>
                <a:gd name="connsiteY26" fmla="*/ 1194613 h 3332876"/>
                <a:gd name="connsiteX27" fmla="*/ 2046009 w 11033748"/>
                <a:gd name="connsiteY27" fmla="*/ 906123 h 3332876"/>
                <a:gd name="connsiteX28" fmla="*/ 1759083 w 11033748"/>
                <a:gd name="connsiteY28" fmla="*/ 617634 h 3332876"/>
                <a:gd name="connsiteX29" fmla="*/ 1472157 w 11033748"/>
                <a:gd name="connsiteY29" fmla="*/ 906123 h 3332876"/>
                <a:gd name="connsiteX30" fmla="*/ 1759083 w 11033748"/>
                <a:gd name="connsiteY30" fmla="*/ 1194613 h 3332876"/>
                <a:gd name="connsiteX31" fmla="*/ 1759083 w 11033748"/>
                <a:gd name="connsiteY31" fmla="*/ 380744 h 3332876"/>
                <a:gd name="connsiteX32" fmla="*/ 2302444 w 11033748"/>
                <a:gd name="connsiteY32" fmla="*/ 906123 h 3332876"/>
                <a:gd name="connsiteX33" fmla="*/ 1759083 w 11033748"/>
                <a:gd name="connsiteY33" fmla="*/ 1431503 h 3332876"/>
                <a:gd name="connsiteX34" fmla="*/ 1215722 w 11033748"/>
                <a:gd name="connsiteY34" fmla="*/ 906123 h 3332876"/>
                <a:gd name="connsiteX35" fmla="*/ 1759083 w 11033748"/>
                <a:gd name="connsiteY35" fmla="*/ 380744 h 3332876"/>
                <a:gd name="connsiteX36" fmla="*/ 2947441 w 11033748"/>
                <a:gd name="connsiteY36" fmla="*/ 1194613 h 3332876"/>
                <a:gd name="connsiteX37" fmla="*/ 2683188 w 11033748"/>
                <a:gd name="connsiteY37" fmla="*/ 906123 h 3332876"/>
                <a:gd name="connsiteX38" fmla="*/ 2947441 w 11033748"/>
                <a:gd name="connsiteY38" fmla="*/ 617634 h 3332876"/>
                <a:gd name="connsiteX39" fmla="*/ 3178077 w 11033748"/>
                <a:gd name="connsiteY39" fmla="*/ 753669 h 3332876"/>
                <a:gd name="connsiteX40" fmla="*/ 3394639 w 11033748"/>
                <a:gd name="connsiteY40" fmla="*/ 629361 h 3332876"/>
                <a:gd name="connsiteX41" fmla="*/ 2949787 w 11033748"/>
                <a:gd name="connsiteY41" fmla="*/ 380744 h 3332876"/>
                <a:gd name="connsiteX42" fmla="*/ 2426753 w 11033748"/>
                <a:gd name="connsiteY42" fmla="*/ 906123 h 3332876"/>
                <a:gd name="connsiteX43" fmla="*/ 2949787 w 11033748"/>
                <a:gd name="connsiteY43" fmla="*/ 1431503 h 3332876"/>
                <a:gd name="connsiteX44" fmla="*/ 3404803 w 11033748"/>
                <a:gd name="connsiteY44" fmla="*/ 1164904 h 3332876"/>
                <a:gd name="connsiteX45" fmla="*/ 3196058 w 11033748"/>
                <a:gd name="connsiteY45" fmla="*/ 1050759 h 3332876"/>
                <a:gd name="connsiteX46" fmla="*/ 2947441 w 11033748"/>
                <a:gd name="connsiteY46" fmla="*/ 1194613 h 3332876"/>
                <a:gd name="connsiteX47" fmla="*/ 5636102 w 11033748"/>
                <a:gd name="connsiteY47" fmla="*/ 971796 h 3332876"/>
                <a:gd name="connsiteX48" fmla="*/ 5541502 w 11033748"/>
                <a:gd name="connsiteY48" fmla="*/ 1157868 h 3332876"/>
                <a:gd name="connsiteX49" fmla="*/ 5464884 w 11033748"/>
                <a:gd name="connsiteY49" fmla="*/ 1147704 h 3332876"/>
                <a:gd name="connsiteX50" fmla="*/ 5466448 w 11033748"/>
                <a:gd name="connsiteY50" fmla="*/ 1404921 h 3332876"/>
                <a:gd name="connsiteX51" fmla="*/ 5556356 w 11033748"/>
                <a:gd name="connsiteY51" fmla="*/ 1414303 h 3332876"/>
                <a:gd name="connsiteX52" fmla="*/ 5870646 w 11033748"/>
                <a:gd name="connsiteY52" fmla="*/ 981177 h 3332876"/>
                <a:gd name="connsiteX53" fmla="*/ 5894882 w 11033748"/>
                <a:gd name="connsiteY53" fmla="*/ 634052 h 3332876"/>
                <a:gd name="connsiteX54" fmla="*/ 6179463 w 11033748"/>
                <a:gd name="connsiteY54" fmla="*/ 634052 h 3332876"/>
                <a:gd name="connsiteX55" fmla="*/ 6179463 w 11033748"/>
                <a:gd name="connsiteY55" fmla="*/ 1399448 h 3332876"/>
                <a:gd name="connsiteX56" fmla="*/ 6431989 w 11033748"/>
                <a:gd name="connsiteY56" fmla="*/ 1399448 h 3332876"/>
                <a:gd name="connsiteX57" fmla="*/ 6431989 w 11033748"/>
                <a:gd name="connsiteY57" fmla="*/ 408889 h 3332876"/>
                <a:gd name="connsiteX58" fmla="*/ 5678319 w 11033748"/>
                <a:gd name="connsiteY58" fmla="*/ 408889 h 3332876"/>
                <a:gd name="connsiteX59" fmla="*/ 5636102 w 11033748"/>
                <a:gd name="connsiteY59" fmla="*/ 971796 h 3332876"/>
                <a:gd name="connsiteX60" fmla="*/ 5170922 w 11033748"/>
                <a:gd name="connsiteY60" fmla="*/ 773215 h 3332876"/>
                <a:gd name="connsiteX61" fmla="*/ 4912141 w 11033748"/>
                <a:gd name="connsiteY61" fmla="*/ 573070 h 3332876"/>
                <a:gd name="connsiteX62" fmla="*/ 4643197 w 11033748"/>
                <a:gd name="connsiteY62" fmla="*/ 773215 h 3332876"/>
                <a:gd name="connsiteX63" fmla="*/ 5170922 w 11033748"/>
                <a:gd name="connsiteY63" fmla="*/ 773215 h 3332876"/>
                <a:gd name="connsiteX64" fmla="*/ 4919960 w 11033748"/>
                <a:gd name="connsiteY64" fmla="*/ 380744 h 3332876"/>
                <a:gd name="connsiteX65" fmla="*/ 5404684 w 11033748"/>
                <a:gd name="connsiteY65" fmla="*/ 877978 h 3332876"/>
                <a:gd name="connsiteX66" fmla="*/ 5404684 w 11033748"/>
                <a:gd name="connsiteY66" fmla="*/ 966323 h 3332876"/>
                <a:gd name="connsiteX67" fmla="*/ 4639288 w 11033748"/>
                <a:gd name="connsiteY67" fmla="*/ 966323 h 3332876"/>
                <a:gd name="connsiteX68" fmla="*/ 4912141 w 11033748"/>
                <a:gd name="connsiteY68" fmla="*/ 1214940 h 3332876"/>
                <a:gd name="connsiteX69" fmla="*/ 5164667 w 11033748"/>
                <a:gd name="connsiteY69" fmla="*/ 1078904 h 3332876"/>
                <a:gd name="connsiteX70" fmla="*/ 5364812 w 11033748"/>
                <a:gd name="connsiteY70" fmla="*/ 1178977 h 3332876"/>
                <a:gd name="connsiteX71" fmla="*/ 4907450 w 11033748"/>
                <a:gd name="connsiteY71" fmla="*/ 1431503 h 3332876"/>
                <a:gd name="connsiteX72" fmla="*/ 4396144 w 11033748"/>
                <a:gd name="connsiteY72" fmla="*/ 906123 h 3332876"/>
                <a:gd name="connsiteX73" fmla="*/ 4919960 w 11033748"/>
                <a:gd name="connsiteY73" fmla="*/ 380744 h 3332876"/>
                <a:gd name="connsiteX74" fmla="*/ 7346712 w 11033748"/>
                <a:gd name="connsiteY74" fmla="*/ 773215 h 3332876"/>
                <a:gd name="connsiteX75" fmla="*/ 7087931 w 11033748"/>
                <a:gd name="connsiteY75" fmla="*/ 573070 h 3332876"/>
                <a:gd name="connsiteX76" fmla="*/ 6818987 w 11033748"/>
                <a:gd name="connsiteY76" fmla="*/ 773215 h 3332876"/>
                <a:gd name="connsiteX77" fmla="*/ 7346712 w 11033748"/>
                <a:gd name="connsiteY77" fmla="*/ 773215 h 3332876"/>
                <a:gd name="connsiteX78" fmla="*/ 7096531 w 11033748"/>
                <a:gd name="connsiteY78" fmla="*/ 380744 h 3332876"/>
                <a:gd name="connsiteX79" fmla="*/ 7581256 w 11033748"/>
                <a:gd name="connsiteY79" fmla="*/ 877978 h 3332876"/>
                <a:gd name="connsiteX80" fmla="*/ 7581256 w 11033748"/>
                <a:gd name="connsiteY80" fmla="*/ 966323 h 3332876"/>
                <a:gd name="connsiteX81" fmla="*/ 6815859 w 11033748"/>
                <a:gd name="connsiteY81" fmla="*/ 966323 h 3332876"/>
                <a:gd name="connsiteX82" fmla="*/ 7088713 w 11033748"/>
                <a:gd name="connsiteY82" fmla="*/ 1214940 h 3332876"/>
                <a:gd name="connsiteX83" fmla="*/ 7341239 w 11033748"/>
                <a:gd name="connsiteY83" fmla="*/ 1078904 h 3332876"/>
                <a:gd name="connsiteX84" fmla="*/ 7541384 w 11033748"/>
                <a:gd name="connsiteY84" fmla="*/ 1178977 h 3332876"/>
                <a:gd name="connsiteX85" fmla="*/ 7084022 w 11033748"/>
                <a:gd name="connsiteY85" fmla="*/ 1431503 h 3332876"/>
                <a:gd name="connsiteX86" fmla="*/ 6572715 w 11033748"/>
                <a:gd name="connsiteY86" fmla="*/ 906123 h 3332876"/>
                <a:gd name="connsiteX87" fmla="*/ 7096531 w 11033748"/>
                <a:gd name="connsiteY87" fmla="*/ 380744 h 3332876"/>
                <a:gd name="connsiteX88" fmla="*/ 3482984 w 11033748"/>
                <a:gd name="connsiteY88" fmla="*/ 629361 h 3332876"/>
                <a:gd name="connsiteX89" fmla="*/ 3779292 w 11033748"/>
                <a:gd name="connsiteY89" fmla="*/ 629361 h 3332876"/>
                <a:gd name="connsiteX90" fmla="*/ 3779292 w 11033748"/>
                <a:gd name="connsiteY90" fmla="*/ 1403357 h 3332876"/>
                <a:gd name="connsiteX91" fmla="*/ 4031818 w 11033748"/>
                <a:gd name="connsiteY91" fmla="*/ 1403357 h 3332876"/>
                <a:gd name="connsiteX92" fmla="*/ 4031818 w 11033748"/>
                <a:gd name="connsiteY92" fmla="*/ 629361 h 3332876"/>
                <a:gd name="connsiteX93" fmla="*/ 4328126 w 11033748"/>
                <a:gd name="connsiteY93" fmla="*/ 629361 h 3332876"/>
                <a:gd name="connsiteX94" fmla="*/ 4328126 w 11033748"/>
                <a:gd name="connsiteY94" fmla="*/ 408889 h 3332876"/>
                <a:gd name="connsiteX95" fmla="*/ 3482984 w 11033748"/>
                <a:gd name="connsiteY95" fmla="*/ 408889 h 3332876"/>
                <a:gd name="connsiteX96" fmla="*/ 3482984 w 11033748"/>
                <a:gd name="connsiteY96" fmla="*/ 629361 h 3332876"/>
                <a:gd name="connsiteX97" fmla="*/ 9156612 w 11033748"/>
                <a:gd name="connsiteY97" fmla="*/ 1194613 h 3332876"/>
                <a:gd name="connsiteX98" fmla="*/ 9443539 w 11033748"/>
                <a:gd name="connsiteY98" fmla="*/ 906123 h 3332876"/>
                <a:gd name="connsiteX99" fmla="*/ 9156612 w 11033748"/>
                <a:gd name="connsiteY99" fmla="*/ 617634 h 3332876"/>
                <a:gd name="connsiteX100" fmla="*/ 8869687 w 11033748"/>
                <a:gd name="connsiteY100" fmla="*/ 906123 h 3332876"/>
                <a:gd name="connsiteX101" fmla="*/ 9156612 w 11033748"/>
                <a:gd name="connsiteY101" fmla="*/ 1194613 h 3332876"/>
                <a:gd name="connsiteX102" fmla="*/ 9156612 w 11033748"/>
                <a:gd name="connsiteY102" fmla="*/ 380744 h 3332876"/>
                <a:gd name="connsiteX103" fmla="*/ 9699973 w 11033748"/>
                <a:gd name="connsiteY103" fmla="*/ 906123 h 3332876"/>
                <a:gd name="connsiteX104" fmla="*/ 9156612 w 11033748"/>
                <a:gd name="connsiteY104" fmla="*/ 1431503 h 3332876"/>
                <a:gd name="connsiteX105" fmla="*/ 8613251 w 11033748"/>
                <a:gd name="connsiteY105" fmla="*/ 906123 h 3332876"/>
                <a:gd name="connsiteX106" fmla="*/ 9156612 w 11033748"/>
                <a:gd name="connsiteY106" fmla="*/ 380744 h 3332876"/>
                <a:gd name="connsiteX107" fmla="*/ 10704605 w 11033748"/>
                <a:gd name="connsiteY107" fmla="*/ 408889 h 3332876"/>
                <a:gd name="connsiteX108" fmla="*/ 10430188 w 11033748"/>
                <a:gd name="connsiteY108" fmla="*/ 1105486 h 3332876"/>
                <a:gd name="connsiteX109" fmla="*/ 10155772 w 11033748"/>
                <a:gd name="connsiteY109" fmla="*/ 408889 h 3332876"/>
                <a:gd name="connsiteX110" fmla="*/ 9825845 w 11033748"/>
                <a:gd name="connsiteY110" fmla="*/ 408889 h 3332876"/>
                <a:gd name="connsiteX111" fmla="*/ 9825845 w 11033748"/>
                <a:gd name="connsiteY111" fmla="*/ 1401012 h 3332876"/>
                <a:gd name="connsiteX112" fmla="*/ 10065863 w 11033748"/>
                <a:gd name="connsiteY112" fmla="*/ 1401012 h 3332876"/>
                <a:gd name="connsiteX113" fmla="*/ 10065863 w 11033748"/>
                <a:gd name="connsiteY113" fmla="*/ 772433 h 3332876"/>
                <a:gd name="connsiteX114" fmla="*/ 10331680 w 11033748"/>
                <a:gd name="connsiteY114" fmla="*/ 1401012 h 3332876"/>
                <a:gd name="connsiteX115" fmla="*/ 10527915 w 11033748"/>
                <a:gd name="connsiteY115" fmla="*/ 1401012 h 3332876"/>
                <a:gd name="connsiteX116" fmla="*/ 10793732 w 11033748"/>
                <a:gd name="connsiteY116" fmla="*/ 772433 h 3332876"/>
                <a:gd name="connsiteX117" fmla="*/ 10793732 w 11033748"/>
                <a:gd name="connsiteY117" fmla="*/ 1401012 h 3332876"/>
                <a:gd name="connsiteX118" fmla="*/ 11033749 w 11033748"/>
                <a:gd name="connsiteY118" fmla="*/ 1401012 h 3332876"/>
                <a:gd name="connsiteX119" fmla="*/ 11033749 w 11033748"/>
                <a:gd name="connsiteY119" fmla="*/ 408889 h 3332876"/>
                <a:gd name="connsiteX120" fmla="*/ 10704605 w 11033748"/>
                <a:gd name="connsiteY120" fmla="*/ 408889 h 3332876"/>
                <a:gd name="connsiteX121" fmla="*/ 264253 w 11033748"/>
                <a:gd name="connsiteY121" fmla="*/ 3067841 h 3332876"/>
                <a:gd name="connsiteX122" fmla="*/ 264253 w 11033748"/>
                <a:gd name="connsiteY122" fmla="*/ 2666770 h 3332876"/>
                <a:gd name="connsiteX123" fmla="*/ 570725 w 11033748"/>
                <a:gd name="connsiteY123" fmla="*/ 2666770 h 3332876"/>
                <a:gd name="connsiteX124" fmla="*/ 819342 w 11033748"/>
                <a:gd name="connsiteY124" fmla="*/ 2866915 h 3332876"/>
                <a:gd name="connsiteX125" fmla="*/ 570725 w 11033748"/>
                <a:gd name="connsiteY125" fmla="*/ 3067059 h 3332876"/>
                <a:gd name="connsiteX126" fmla="*/ 264253 w 11033748"/>
                <a:gd name="connsiteY126" fmla="*/ 3067059 h 3332876"/>
                <a:gd name="connsiteX127" fmla="*/ 0 w 11033748"/>
                <a:gd name="connsiteY127" fmla="*/ 3304731 h 3332876"/>
                <a:gd name="connsiteX128" fmla="*/ 591052 w 11033748"/>
                <a:gd name="connsiteY128" fmla="*/ 3304731 h 3332876"/>
                <a:gd name="connsiteX129" fmla="*/ 1084377 w 11033748"/>
                <a:gd name="connsiteY129" fmla="*/ 2867696 h 3332876"/>
                <a:gd name="connsiteX130" fmla="*/ 591052 w 11033748"/>
                <a:gd name="connsiteY130" fmla="*/ 2434571 h 3332876"/>
                <a:gd name="connsiteX131" fmla="*/ 264253 w 11033748"/>
                <a:gd name="connsiteY131" fmla="*/ 2434571 h 3332876"/>
                <a:gd name="connsiteX132" fmla="*/ 264253 w 11033748"/>
                <a:gd name="connsiteY132" fmla="*/ 2133572 h 3332876"/>
                <a:gd name="connsiteX133" fmla="*/ 983523 w 11033748"/>
                <a:gd name="connsiteY133" fmla="*/ 2133572 h 3332876"/>
                <a:gd name="connsiteX134" fmla="*/ 983523 w 11033748"/>
                <a:gd name="connsiteY134" fmla="*/ 1901373 h 3332876"/>
                <a:gd name="connsiteX135" fmla="*/ 0 w 11033748"/>
                <a:gd name="connsiteY135" fmla="*/ 1901373 h 3332876"/>
                <a:gd name="connsiteX136" fmla="*/ 0 w 11033748"/>
                <a:gd name="connsiteY136" fmla="*/ 3304731 h 3332876"/>
                <a:gd name="connsiteX137" fmla="*/ 1243085 w 11033748"/>
                <a:gd name="connsiteY137" fmla="*/ 3304731 h 3332876"/>
                <a:gd name="connsiteX138" fmla="*/ 1503430 w 11033748"/>
                <a:gd name="connsiteY138" fmla="*/ 3304731 h 3332876"/>
                <a:gd name="connsiteX139" fmla="*/ 1936555 w 11033748"/>
                <a:gd name="connsiteY139" fmla="*/ 2649570 h 3332876"/>
                <a:gd name="connsiteX140" fmla="*/ 1936555 w 11033748"/>
                <a:gd name="connsiteY140" fmla="*/ 3304731 h 3332876"/>
                <a:gd name="connsiteX141" fmla="*/ 2177354 w 11033748"/>
                <a:gd name="connsiteY141" fmla="*/ 3304731 h 3332876"/>
                <a:gd name="connsiteX142" fmla="*/ 2177354 w 11033748"/>
                <a:gd name="connsiteY142" fmla="*/ 2310262 h 3332876"/>
                <a:gd name="connsiteX143" fmla="*/ 1917009 w 11033748"/>
                <a:gd name="connsiteY143" fmla="*/ 2310262 h 3332876"/>
                <a:gd name="connsiteX144" fmla="*/ 1483884 w 11033748"/>
                <a:gd name="connsiteY144" fmla="*/ 2965423 h 3332876"/>
                <a:gd name="connsiteX145" fmla="*/ 1483884 w 11033748"/>
                <a:gd name="connsiteY145" fmla="*/ 2310262 h 3332876"/>
                <a:gd name="connsiteX146" fmla="*/ 1243085 w 11033748"/>
                <a:gd name="connsiteY146" fmla="*/ 2310262 h 3332876"/>
                <a:gd name="connsiteX147" fmla="*/ 1243085 w 11033748"/>
                <a:gd name="connsiteY147" fmla="*/ 3304731 h 3332876"/>
                <a:gd name="connsiteX148" fmla="*/ 3183549 w 11033748"/>
                <a:gd name="connsiteY148" fmla="*/ 3015459 h 3332876"/>
                <a:gd name="connsiteX149" fmla="*/ 2974805 w 11033748"/>
                <a:gd name="connsiteY149" fmla="*/ 2778569 h 3332876"/>
                <a:gd name="connsiteX150" fmla="*/ 3142895 w 11033748"/>
                <a:gd name="connsiteY150" fmla="*/ 2547934 h 3332876"/>
                <a:gd name="connsiteX151" fmla="*/ 2772315 w 11033748"/>
                <a:gd name="connsiteY151" fmla="*/ 2281335 h 3332876"/>
                <a:gd name="connsiteX152" fmla="*/ 2377498 w 11033748"/>
                <a:gd name="connsiteY152" fmla="*/ 2572170 h 3332876"/>
                <a:gd name="connsiteX153" fmla="*/ 2397825 w 11033748"/>
                <a:gd name="connsiteY153" fmla="*/ 2672243 h 3332876"/>
                <a:gd name="connsiteX154" fmla="*/ 2612043 w 11033748"/>
                <a:gd name="connsiteY154" fmla="*/ 2600316 h 3332876"/>
                <a:gd name="connsiteX155" fmla="*/ 2605788 w 11033748"/>
                <a:gd name="connsiteY155" fmla="*/ 2564352 h 3332876"/>
                <a:gd name="connsiteX156" fmla="*/ 2769969 w 11033748"/>
                <a:gd name="connsiteY156" fmla="*/ 2478353 h 3332876"/>
                <a:gd name="connsiteX157" fmla="*/ 2908351 w 11033748"/>
                <a:gd name="connsiteY157" fmla="*/ 2578425 h 3332876"/>
                <a:gd name="connsiteX158" fmla="*/ 2754333 w 11033748"/>
                <a:gd name="connsiteY158" fmla="*/ 2686315 h 3332876"/>
                <a:gd name="connsiteX159" fmla="*/ 2678497 w 11033748"/>
                <a:gd name="connsiteY159" fmla="*/ 2686315 h 3332876"/>
                <a:gd name="connsiteX160" fmla="*/ 2678497 w 11033748"/>
                <a:gd name="connsiteY160" fmla="*/ 2886460 h 3332876"/>
                <a:gd name="connsiteX161" fmla="*/ 2760587 w 11033748"/>
                <a:gd name="connsiteY161" fmla="*/ 2886460 h 3332876"/>
                <a:gd name="connsiteX162" fmla="*/ 2938841 w 11033748"/>
                <a:gd name="connsiteY162" fmla="*/ 3004514 h 3332876"/>
                <a:gd name="connsiteX163" fmla="*/ 2748079 w 11033748"/>
                <a:gd name="connsiteY163" fmla="*/ 3135077 h 3332876"/>
                <a:gd name="connsiteX164" fmla="*/ 2579988 w 11033748"/>
                <a:gd name="connsiteY164" fmla="*/ 3008423 h 3332876"/>
                <a:gd name="connsiteX165" fmla="*/ 2590152 w 11033748"/>
                <a:gd name="connsiteY165" fmla="*/ 2958387 h 3332876"/>
                <a:gd name="connsiteX166" fmla="*/ 2377498 w 11033748"/>
                <a:gd name="connsiteY166" fmla="*/ 2890369 h 3332876"/>
                <a:gd name="connsiteX167" fmla="*/ 2353262 w 11033748"/>
                <a:gd name="connsiteY167" fmla="*/ 3010768 h 3332876"/>
                <a:gd name="connsiteX168" fmla="*/ 2748079 w 11033748"/>
                <a:gd name="connsiteY168" fmla="*/ 3331312 h 3332876"/>
                <a:gd name="connsiteX169" fmla="*/ 3183549 w 11033748"/>
                <a:gd name="connsiteY169" fmla="*/ 3015459 h 3332876"/>
                <a:gd name="connsiteX170" fmla="*/ 3354767 w 11033748"/>
                <a:gd name="connsiteY170" fmla="*/ 3304731 h 3332876"/>
                <a:gd name="connsiteX171" fmla="*/ 3607293 w 11033748"/>
                <a:gd name="connsiteY171" fmla="*/ 3304731 h 3332876"/>
                <a:gd name="connsiteX172" fmla="*/ 3607293 w 11033748"/>
                <a:gd name="connsiteY172" fmla="*/ 2902096 h 3332876"/>
                <a:gd name="connsiteX173" fmla="*/ 4020091 w 11033748"/>
                <a:gd name="connsiteY173" fmla="*/ 2902096 h 3332876"/>
                <a:gd name="connsiteX174" fmla="*/ 4020091 w 11033748"/>
                <a:gd name="connsiteY174" fmla="*/ 3304731 h 3332876"/>
                <a:gd name="connsiteX175" fmla="*/ 4272617 w 11033748"/>
                <a:gd name="connsiteY175" fmla="*/ 3304731 h 3332876"/>
                <a:gd name="connsiteX176" fmla="*/ 4272617 w 11033748"/>
                <a:gd name="connsiteY176" fmla="*/ 2310262 h 3332876"/>
                <a:gd name="connsiteX177" fmla="*/ 4020091 w 11033748"/>
                <a:gd name="connsiteY177" fmla="*/ 2310262 h 3332876"/>
                <a:gd name="connsiteX178" fmla="*/ 4020091 w 11033748"/>
                <a:gd name="connsiteY178" fmla="*/ 2680843 h 3332876"/>
                <a:gd name="connsiteX179" fmla="*/ 3607293 w 11033748"/>
                <a:gd name="connsiteY179" fmla="*/ 2680843 h 3332876"/>
                <a:gd name="connsiteX180" fmla="*/ 3607293 w 11033748"/>
                <a:gd name="connsiteY180" fmla="*/ 2310262 h 3332876"/>
                <a:gd name="connsiteX181" fmla="*/ 3354767 w 11033748"/>
                <a:gd name="connsiteY181" fmla="*/ 2310262 h 3332876"/>
                <a:gd name="connsiteX182" fmla="*/ 3354767 w 11033748"/>
                <a:gd name="connsiteY182" fmla="*/ 3304731 h 3332876"/>
                <a:gd name="connsiteX183" fmla="*/ 4663524 w 11033748"/>
                <a:gd name="connsiteY183" fmla="*/ 2675370 h 3332876"/>
                <a:gd name="connsiteX184" fmla="*/ 4932468 w 11033748"/>
                <a:gd name="connsiteY184" fmla="*/ 2475225 h 3332876"/>
                <a:gd name="connsiteX185" fmla="*/ 5191249 w 11033748"/>
                <a:gd name="connsiteY185" fmla="*/ 2675370 h 3332876"/>
                <a:gd name="connsiteX186" fmla="*/ 4663524 w 11033748"/>
                <a:gd name="connsiteY186" fmla="*/ 2675370 h 3332876"/>
                <a:gd name="connsiteX187" fmla="*/ 4931687 w 11033748"/>
                <a:gd name="connsiteY187" fmla="*/ 3116313 h 3332876"/>
                <a:gd name="connsiteX188" fmla="*/ 4658833 w 11033748"/>
                <a:gd name="connsiteY188" fmla="*/ 2867696 h 3332876"/>
                <a:gd name="connsiteX189" fmla="*/ 5424230 w 11033748"/>
                <a:gd name="connsiteY189" fmla="*/ 2867696 h 3332876"/>
                <a:gd name="connsiteX190" fmla="*/ 5424230 w 11033748"/>
                <a:gd name="connsiteY190" fmla="*/ 2779351 h 3332876"/>
                <a:gd name="connsiteX191" fmla="*/ 4939505 w 11033748"/>
                <a:gd name="connsiteY191" fmla="*/ 2282117 h 3332876"/>
                <a:gd name="connsiteX192" fmla="*/ 4416471 w 11033748"/>
                <a:gd name="connsiteY192" fmla="*/ 2807497 h 3332876"/>
                <a:gd name="connsiteX193" fmla="*/ 4927778 w 11033748"/>
                <a:gd name="connsiteY193" fmla="*/ 3332876 h 3332876"/>
                <a:gd name="connsiteX194" fmla="*/ 5384357 w 11033748"/>
                <a:gd name="connsiteY194" fmla="*/ 3080350 h 3332876"/>
                <a:gd name="connsiteX195" fmla="*/ 5184213 w 11033748"/>
                <a:gd name="connsiteY195" fmla="*/ 2980278 h 3332876"/>
                <a:gd name="connsiteX196" fmla="*/ 4931687 w 11033748"/>
                <a:gd name="connsiteY196" fmla="*/ 3116313 h 3332876"/>
                <a:gd name="connsiteX197" fmla="*/ 6084081 w 11033748"/>
                <a:gd name="connsiteY197" fmla="*/ 3332094 h 3332876"/>
                <a:gd name="connsiteX198" fmla="*/ 6539098 w 11033748"/>
                <a:gd name="connsiteY198" fmla="*/ 3065495 h 3332876"/>
                <a:gd name="connsiteX199" fmla="*/ 6330353 w 11033748"/>
                <a:gd name="connsiteY199" fmla="*/ 2951350 h 3332876"/>
                <a:gd name="connsiteX200" fmla="*/ 6081736 w 11033748"/>
                <a:gd name="connsiteY200" fmla="*/ 3095986 h 3332876"/>
                <a:gd name="connsiteX201" fmla="*/ 5817483 w 11033748"/>
                <a:gd name="connsiteY201" fmla="*/ 2807497 h 3332876"/>
                <a:gd name="connsiteX202" fmla="*/ 6081736 w 11033748"/>
                <a:gd name="connsiteY202" fmla="*/ 2519007 h 3332876"/>
                <a:gd name="connsiteX203" fmla="*/ 6312372 w 11033748"/>
                <a:gd name="connsiteY203" fmla="*/ 2655043 h 3332876"/>
                <a:gd name="connsiteX204" fmla="*/ 6528934 w 11033748"/>
                <a:gd name="connsiteY204" fmla="*/ 2530734 h 3332876"/>
                <a:gd name="connsiteX205" fmla="*/ 6084081 w 11033748"/>
                <a:gd name="connsiteY205" fmla="*/ 2282117 h 3332876"/>
                <a:gd name="connsiteX206" fmla="*/ 5561047 w 11033748"/>
                <a:gd name="connsiteY206" fmla="*/ 2807497 h 3332876"/>
                <a:gd name="connsiteX207" fmla="*/ 6084081 w 11033748"/>
                <a:gd name="connsiteY207" fmla="*/ 3332094 h 333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1033748" h="3332876">
                  <a:moveTo>
                    <a:pt x="8186381" y="869378"/>
                  </a:moveTo>
                  <a:lnTo>
                    <a:pt x="8655469" y="1402575"/>
                  </a:lnTo>
                  <a:lnTo>
                    <a:pt x="8350562" y="1402575"/>
                  </a:lnTo>
                  <a:lnTo>
                    <a:pt x="7987800" y="991341"/>
                  </a:lnTo>
                  <a:lnTo>
                    <a:pt x="7987800" y="1402575"/>
                  </a:lnTo>
                  <a:lnTo>
                    <a:pt x="7735274" y="1402575"/>
                  </a:lnTo>
                  <a:lnTo>
                    <a:pt x="7735274" y="408889"/>
                  </a:lnTo>
                  <a:lnTo>
                    <a:pt x="7987800" y="408889"/>
                  </a:lnTo>
                  <a:lnTo>
                    <a:pt x="7987800" y="769306"/>
                  </a:lnTo>
                  <a:lnTo>
                    <a:pt x="8344307" y="408889"/>
                  </a:lnTo>
                  <a:lnTo>
                    <a:pt x="8642960" y="408889"/>
                  </a:lnTo>
                  <a:lnTo>
                    <a:pt x="8186381" y="869378"/>
                  </a:lnTo>
                  <a:close/>
                  <a:moveTo>
                    <a:pt x="629361" y="677052"/>
                  </a:moveTo>
                  <a:cubicBezTo>
                    <a:pt x="813869" y="677052"/>
                    <a:pt x="898305" y="588706"/>
                    <a:pt x="898305" y="456580"/>
                  </a:cubicBezTo>
                  <a:cubicBezTo>
                    <a:pt x="898305" y="324453"/>
                    <a:pt x="813869" y="236108"/>
                    <a:pt x="629361" y="236108"/>
                  </a:cubicBezTo>
                  <a:lnTo>
                    <a:pt x="264253" y="236108"/>
                  </a:lnTo>
                  <a:lnTo>
                    <a:pt x="264253" y="677052"/>
                  </a:lnTo>
                  <a:lnTo>
                    <a:pt x="629361" y="677052"/>
                  </a:lnTo>
                  <a:moveTo>
                    <a:pt x="637179" y="0"/>
                  </a:moveTo>
                  <a:cubicBezTo>
                    <a:pt x="953814" y="0"/>
                    <a:pt x="1162558" y="162617"/>
                    <a:pt x="1162558" y="456580"/>
                  </a:cubicBezTo>
                  <a:cubicBezTo>
                    <a:pt x="1162558" y="751324"/>
                    <a:pt x="953814" y="913941"/>
                    <a:pt x="637179" y="913941"/>
                  </a:cubicBezTo>
                  <a:lnTo>
                    <a:pt x="264253" y="913941"/>
                  </a:lnTo>
                  <a:lnTo>
                    <a:pt x="264253" y="1403357"/>
                  </a:lnTo>
                  <a:lnTo>
                    <a:pt x="0" y="1403357"/>
                  </a:lnTo>
                  <a:lnTo>
                    <a:pt x="0" y="0"/>
                  </a:lnTo>
                  <a:lnTo>
                    <a:pt x="637179" y="0"/>
                  </a:lnTo>
                  <a:moveTo>
                    <a:pt x="1759083" y="1194613"/>
                  </a:moveTo>
                  <a:cubicBezTo>
                    <a:pt x="1907628" y="1194613"/>
                    <a:pt x="2046009" y="1088286"/>
                    <a:pt x="2046009" y="906123"/>
                  </a:cubicBezTo>
                  <a:cubicBezTo>
                    <a:pt x="2046009" y="723960"/>
                    <a:pt x="1907628" y="617634"/>
                    <a:pt x="1759083" y="617634"/>
                  </a:cubicBezTo>
                  <a:cubicBezTo>
                    <a:pt x="1610538" y="617634"/>
                    <a:pt x="1472157" y="723960"/>
                    <a:pt x="1472157" y="906123"/>
                  </a:cubicBezTo>
                  <a:cubicBezTo>
                    <a:pt x="1472939" y="1088286"/>
                    <a:pt x="1611320" y="1194613"/>
                    <a:pt x="1759083" y="1194613"/>
                  </a:cubicBezTo>
                  <a:moveTo>
                    <a:pt x="1759083" y="380744"/>
                  </a:moveTo>
                  <a:cubicBezTo>
                    <a:pt x="2031936" y="380744"/>
                    <a:pt x="2302444" y="557434"/>
                    <a:pt x="2302444" y="906123"/>
                  </a:cubicBezTo>
                  <a:cubicBezTo>
                    <a:pt x="2302444" y="1254813"/>
                    <a:pt x="2031936" y="1431503"/>
                    <a:pt x="1759083" y="1431503"/>
                  </a:cubicBezTo>
                  <a:cubicBezTo>
                    <a:pt x="1486230" y="1431503"/>
                    <a:pt x="1215722" y="1254813"/>
                    <a:pt x="1215722" y="906123"/>
                  </a:cubicBezTo>
                  <a:cubicBezTo>
                    <a:pt x="1216504" y="556652"/>
                    <a:pt x="1487011" y="380744"/>
                    <a:pt x="1759083" y="380744"/>
                  </a:cubicBezTo>
                  <a:moveTo>
                    <a:pt x="2947441" y="1194613"/>
                  </a:moveTo>
                  <a:cubicBezTo>
                    <a:pt x="2794988" y="1194613"/>
                    <a:pt x="2683188" y="1084377"/>
                    <a:pt x="2683188" y="906123"/>
                  </a:cubicBezTo>
                  <a:cubicBezTo>
                    <a:pt x="2683188" y="729433"/>
                    <a:pt x="2799678" y="617634"/>
                    <a:pt x="2947441" y="617634"/>
                  </a:cubicBezTo>
                  <a:cubicBezTo>
                    <a:pt x="3037350" y="617634"/>
                    <a:pt x="3115531" y="659852"/>
                    <a:pt x="3178077" y="753669"/>
                  </a:cubicBezTo>
                  <a:lnTo>
                    <a:pt x="3394639" y="629361"/>
                  </a:lnTo>
                  <a:cubicBezTo>
                    <a:pt x="3322712" y="475343"/>
                    <a:pt x="3166349" y="380744"/>
                    <a:pt x="2949787" y="380744"/>
                  </a:cubicBezTo>
                  <a:cubicBezTo>
                    <a:pt x="2667551" y="380744"/>
                    <a:pt x="2426753" y="589488"/>
                    <a:pt x="2426753" y="906123"/>
                  </a:cubicBezTo>
                  <a:cubicBezTo>
                    <a:pt x="2426753" y="1222758"/>
                    <a:pt x="2655043" y="1431503"/>
                    <a:pt x="2949787" y="1431503"/>
                  </a:cubicBezTo>
                  <a:cubicBezTo>
                    <a:pt x="3162440" y="1431503"/>
                    <a:pt x="3304730" y="1335340"/>
                    <a:pt x="3404803" y="1164904"/>
                  </a:cubicBezTo>
                  <a:lnTo>
                    <a:pt x="3196058" y="1050759"/>
                  </a:lnTo>
                  <a:cubicBezTo>
                    <a:pt x="3135858" y="1134413"/>
                    <a:pt x="3071750" y="1194613"/>
                    <a:pt x="2947441" y="1194613"/>
                  </a:cubicBezTo>
                  <a:moveTo>
                    <a:pt x="5636102" y="971796"/>
                  </a:moveTo>
                  <a:cubicBezTo>
                    <a:pt x="5624375" y="1124250"/>
                    <a:pt x="5593884" y="1157868"/>
                    <a:pt x="5541502" y="1157868"/>
                  </a:cubicBezTo>
                  <a:cubicBezTo>
                    <a:pt x="5505538" y="1157868"/>
                    <a:pt x="5489120" y="1153959"/>
                    <a:pt x="5464884" y="1147704"/>
                  </a:cubicBezTo>
                  <a:lnTo>
                    <a:pt x="5466448" y="1404921"/>
                  </a:lnTo>
                  <a:cubicBezTo>
                    <a:pt x="5466448" y="1404921"/>
                    <a:pt x="5497720" y="1414303"/>
                    <a:pt x="5556356" y="1414303"/>
                  </a:cubicBezTo>
                  <a:cubicBezTo>
                    <a:pt x="5770574" y="1414303"/>
                    <a:pt x="5851101" y="1275922"/>
                    <a:pt x="5870646" y="981177"/>
                  </a:cubicBezTo>
                  <a:lnTo>
                    <a:pt x="5894882" y="634052"/>
                  </a:lnTo>
                  <a:lnTo>
                    <a:pt x="6179463" y="634052"/>
                  </a:lnTo>
                  <a:lnTo>
                    <a:pt x="6179463" y="1399448"/>
                  </a:lnTo>
                  <a:lnTo>
                    <a:pt x="6431989" y="1399448"/>
                  </a:lnTo>
                  <a:lnTo>
                    <a:pt x="6431989" y="408889"/>
                  </a:lnTo>
                  <a:lnTo>
                    <a:pt x="5678319" y="408889"/>
                  </a:lnTo>
                  <a:lnTo>
                    <a:pt x="5636102" y="971796"/>
                  </a:lnTo>
                  <a:close/>
                  <a:moveTo>
                    <a:pt x="5170922" y="773215"/>
                  </a:moveTo>
                  <a:cubicBezTo>
                    <a:pt x="5146686" y="648906"/>
                    <a:pt x="5052868" y="573070"/>
                    <a:pt x="4912141" y="573070"/>
                  </a:cubicBezTo>
                  <a:cubicBezTo>
                    <a:pt x="4780015" y="573070"/>
                    <a:pt x="4679942" y="661415"/>
                    <a:pt x="4643197" y="773215"/>
                  </a:cubicBezTo>
                  <a:lnTo>
                    <a:pt x="5170922" y="773215"/>
                  </a:lnTo>
                  <a:close/>
                  <a:moveTo>
                    <a:pt x="4919960" y="380744"/>
                  </a:moveTo>
                  <a:cubicBezTo>
                    <a:pt x="5204540" y="380744"/>
                    <a:pt x="5404684" y="587143"/>
                    <a:pt x="5404684" y="877978"/>
                  </a:cubicBezTo>
                  <a:lnTo>
                    <a:pt x="5404684" y="966323"/>
                  </a:lnTo>
                  <a:lnTo>
                    <a:pt x="4639288" y="966323"/>
                  </a:lnTo>
                  <a:cubicBezTo>
                    <a:pt x="4654924" y="1118777"/>
                    <a:pt x="4763597" y="1214940"/>
                    <a:pt x="4912141" y="1214940"/>
                  </a:cubicBezTo>
                  <a:cubicBezTo>
                    <a:pt x="5046614" y="1214940"/>
                    <a:pt x="5102904" y="1157086"/>
                    <a:pt x="5164667" y="1078904"/>
                  </a:cubicBezTo>
                  <a:lnTo>
                    <a:pt x="5364812" y="1178977"/>
                  </a:lnTo>
                  <a:cubicBezTo>
                    <a:pt x="5264740" y="1349412"/>
                    <a:pt x="5126358" y="1431503"/>
                    <a:pt x="4907450" y="1431503"/>
                  </a:cubicBezTo>
                  <a:cubicBezTo>
                    <a:pt x="4630688" y="1431503"/>
                    <a:pt x="4396144" y="1221195"/>
                    <a:pt x="4396144" y="906123"/>
                  </a:cubicBezTo>
                  <a:cubicBezTo>
                    <a:pt x="4396144" y="591052"/>
                    <a:pt x="4631470" y="380744"/>
                    <a:pt x="4919960" y="380744"/>
                  </a:cubicBezTo>
                  <a:moveTo>
                    <a:pt x="7346712" y="773215"/>
                  </a:moveTo>
                  <a:cubicBezTo>
                    <a:pt x="7322476" y="648906"/>
                    <a:pt x="7228658" y="573070"/>
                    <a:pt x="7087931" y="573070"/>
                  </a:cubicBezTo>
                  <a:cubicBezTo>
                    <a:pt x="6955804" y="573070"/>
                    <a:pt x="6855733" y="661415"/>
                    <a:pt x="6818987" y="773215"/>
                  </a:cubicBezTo>
                  <a:lnTo>
                    <a:pt x="7346712" y="773215"/>
                  </a:lnTo>
                  <a:close/>
                  <a:moveTo>
                    <a:pt x="7096531" y="380744"/>
                  </a:moveTo>
                  <a:cubicBezTo>
                    <a:pt x="7381112" y="380744"/>
                    <a:pt x="7581256" y="587143"/>
                    <a:pt x="7581256" y="877978"/>
                  </a:cubicBezTo>
                  <a:lnTo>
                    <a:pt x="7581256" y="966323"/>
                  </a:lnTo>
                  <a:lnTo>
                    <a:pt x="6815859" y="966323"/>
                  </a:lnTo>
                  <a:cubicBezTo>
                    <a:pt x="6831496" y="1118777"/>
                    <a:pt x="6940168" y="1214940"/>
                    <a:pt x="7088713" y="1214940"/>
                  </a:cubicBezTo>
                  <a:cubicBezTo>
                    <a:pt x="7223186" y="1214940"/>
                    <a:pt x="7279476" y="1157086"/>
                    <a:pt x="7341239" y="1078904"/>
                  </a:cubicBezTo>
                  <a:lnTo>
                    <a:pt x="7541384" y="1178977"/>
                  </a:lnTo>
                  <a:cubicBezTo>
                    <a:pt x="7441311" y="1349412"/>
                    <a:pt x="7302930" y="1431503"/>
                    <a:pt x="7084022" y="1431503"/>
                  </a:cubicBezTo>
                  <a:cubicBezTo>
                    <a:pt x="6807260" y="1431503"/>
                    <a:pt x="6572715" y="1221195"/>
                    <a:pt x="6572715" y="906123"/>
                  </a:cubicBezTo>
                  <a:cubicBezTo>
                    <a:pt x="6572715" y="591052"/>
                    <a:pt x="6808041" y="380744"/>
                    <a:pt x="7096531" y="380744"/>
                  </a:cubicBezTo>
                  <a:moveTo>
                    <a:pt x="3482984" y="629361"/>
                  </a:moveTo>
                  <a:lnTo>
                    <a:pt x="3779292" y="629361"/>
                  </a:lnTo>
                  <a:lnTo>
                    <a:pt x="3779292" y="1403357"/>
                  </a:lnTo>
                  <a:lnTo>
                    <a:pt x="4031818" y="1403357"/>
                  </a:lnTo>
                  <a:lnTo>
                    <a:pt x="4031818" y="629361"/>
                  </a:lnTo>
                  <a:lnTo>
                    <a:pt x="4328126" y="629361"/>
                  </a:lnTo>
                  <a:lnTo>
                    <a:pt x="4328126" y="408889"/>
                  </a:lnTo>
                  <a:lnTo>
                    <a:pt x="3482984" y="408889"/>
                  </a:lnTo>
                  <a:lnTo>
                    <a:pt x="3482984" y="629361"/>
                  </a:lnTo>
                  <a:close/>
                  <a:moveTo>
                    <a:pt x="9156612" y="1194613"/>
                  </a:moveTo>
                  <a:cubicBezTo>
                    <a:pt x="9305157" y="1194613"/>
                    <a:pt x="9443539" y="1088286"/>
                    <a:pt x="9443539" y="906123"/>
                  </a:cubicBezTo>
                  <a:cubicBezTo>
                    <a:pt x="9443539" y="723960"/>
                    <a:pt x="9305157" y="617634"/>
                    <a:pt x="9156612" y="617634"/>
                  </a:cubicBezTo>
                  <a:cubicBezTo>
                    <a:pt x="9008067" y="617634"/>
                    <a:pt x="8869687" y="723960"/>
                    <a:pt x="8869687" y="906123"/>
                  </a:cubicBezTo>
                  <a:cubicBezTo>
                    <a:pt x="8869687" y="1088286"/>
                    <a:pt x="9008067" y="1194613"/>
                    <a:pt x="9156612" y="1194613"/>
                  </a:cubicBezTo>
                  <a:moveTo>
                    <a:pt x="9156612" y="380744"/>
                  </a:moveTo>
                  <a:cubicBezTo>
                    <a:pt x="9429466" y="380744"/>
                    <a:pt x="9699973" y="557434"/>
                    <a:pt x="9699973" y="906123"/>
                  </a:cubicBezTo>
                  <a:cubicBezTo>
                    <a:pt x="9699973" y="1254813"/>
                    <a:pt x="9429466" y="1431503"/>
                    <a:pt x="9156612" y="1431503"/>
                  </a:cubicBezTo>
                  <a:cubicBezTo>
                    <a:pt x="8883759" y="1431503"/>
                    <a:pt x="8613251" y="1254813"/>
                    <a:pt x="8613251" y="906123"/>
                  </a:cubicBezTo>
                  <a:cubicBezTo>
                    <a:pt x="8613251" y="557434"/>
                    <a:pt x="8883759" y="380744"/>
                    <a:pt x="9156612" y="380744"/>
                  </a:cubicBezTo>
                  <a:moveTo>
                    <a:pt x="10704605" y="408889"/>
                  </a:moveTo>
                  <a:lnTo>
                    <a:pt x="10430188" y="1105486"/>
                  </a:lnTo>
                  <a:lnTo>
                    <a:pt x="10155772" y="408889"/>
                  </a:lnTo>
                  <a:lnTo>
                    <a:pt x="9825845" y="408889"/>
                  </a:lnTo>
                  <a:lnTo>
                    <a:pt x="9825845" y="1401012"/>
                  </a:lnTo>
                  <a:lnTo>
                    <a:pt x="10065863" y="1401012"/>
                  </a:lnTo>
                  <a:lnTo>
                    <a:pt x="10065863" y="772433"/>
                  </a:lnTo>
                  <a:lnTo>
                    <a:pt x="10331680" y="1401012"/>
                  </a:lnTo>
                  <a:lnTo>
                    <a:pt x="10527915" y="1401012"/>
                  </a:lnTo>
                  <a:lnTo>
                    <a:pt x="10793732" y="772433"/>
                  </a:lnTo>
                  <a:lnTo>
                    <a:pt x="10793732" y="1401012"/>
                  </a:lnTo>
                  <a:lnTo>
                    <a:pt x="11033749" y="1401012"/>
                  </a:lnTo>
                  <a:lnTo>
                    <a:pt x="11033749" y="408889"/>
                  </a:lnTo>
                  <a:lnTo>
                    <a:pt x="10704605" y="408889"/>
                  </a:lnTo>
                  <a:close/>
                  <a:moveTo>
                    <a:pt x="264253" y="3067841"/>
                  </a:moveTo>
                  <a:lnTo>
                    <a:pt x="264253" y="2666770"/>
                  </a:lnTo>
                  <a:lnTo>
                    <a:pt x="570725" y="2666770"/>
                  </a:lnTo>
                  <a:cubicBezTo>
                    <a:pt x="741160" y="2666770"/>
                    <a:pt x="819342" y="2742606"/>
                    <a:pt x="819342" y="2866915"/>
                  </a:cubicBezTo>
                  <a:cubicBezTo>
                    <a:pt x="819342" y="2991223"/>
                    <a:pt x="741160" y="3067059"/>
                    <a:pt x="570725" y="3067059"/>
                  </a:cubicBezTo>
                  <a:lnTo>
                    <a:pt x="264253" y="3067059"/>
                  </a:lnTo>
                  <a:close/>
                  <a:moveTo>
                    <a:pt x="0" y="3304731"/>
                  </a:moveTo>
                  <a:lnTo>
                    <a:pt x="591052" y="3304731"/>
                  </a:lnTo>
                  <a:cubicBezTo>
                    <a:pt x="877978" y="3304731"/>
                    <a:pt x="1084377" y="3142113"/>
                    <a:pt x="1084377" y="2867696"/>
                  </a:cubicBezTo>
                  <a:cubicBezTo>
                    <a:pt x="1084377" y="2593279"/>
                    <a:pt x="877978" y="2434571"/>
                    <a:pt x="591052" y="2434571"/>
                  </a:cubicBezTo>
                  <a:lnTo>
                    <a:pt x="264253" y="2434571"/>
                  </a:lnTo>
                  <a:lnTo>
                    <a:pt x="264253" y="2133572"/>
                  </a:lnTo>
                  <a:lnTo>
                    <a:pt x="983523" y="2133572"/>
                  </a:lnTo>
                  <a:lnTo>
                    <a:pt x="983523" y="1901373"/>
                  </a:lnTo>
                  <a:lnTo>
                    <a:pt x="0" y="1901373"/>
                  </a:lnTo>
                  <a:lnTo>
                    <a:pt x="0" y="3304731"/>
                  </a:lnTo>
                  <a:close/>
                  <a:moveTo>
                    <a:pt x="1243085" y="3304731"/>
                  </a:moveTo>
                  <a:lnTo>
                    <a:pt x="1503430" y="3304731"/>
                  </a:lnTo>
                  <a:lnTo>
                    <a:pt x="1936555" y="2649570"/>
                  </a:lnTo>
                  <a:lnTo>
                    <a:pt x="1936555" y="3304731"/>
                  </a:lnTo>
                  <a:lnTo>
                    <a:pt x="2177354" y="3304731"/>
                  </a:lnTo>
                  <a:lnTo>
                    <a:pt x="2177354" y="2310262"/>
                  </a:lnTo>
                  <a:lnTo>
                    <a:pt x="1917009" y="2310262"/>
                  </a:lnTo>
                  <a:lnTo>
                    <a:pt x="1483884" y="2965423"/>
                  </a:lnTo>
                  <a:lnTo>
                    <a:pt x="1483884" y="2310262"/>
                  </a:lnTo>
                  <a:lnTo>
                    <a:pt x="1243085" y="2310262"/>
                  </a:lnTo>
                  <a:lnTo>
                    <a:pt x="1243085" y="3304731"/>
                  </a:lnTo>
                  <a:close/>
                  <a:moveTo>
                    <a:pt x="3183549" y="3015459"/>
                  </a:moveTo>
                  <a:cubicBezTo>
                    <a:pt x="3183549" y="2888805"/>
                    <a:pt x="3097549" y="2812969"/>
                    <a:pt x="2974805" y="2778569"/>
                  </a:cubicBezTo>
                  <a:cubicBezTo>
                    <a:pt x="3077222" y="2738697"/>
                    <a:pt x="3142895" y="2665988"/>
                    <a:pt x="3142895" y="2547934"/>
                  </a:cubicBezTo>
                  <a:cubicBezTo>
                    <a:pt x="3142895" y="2395480"/>
                    <a:pt x="3030314" y="2281335"/>
                    <a:pt x="2772315" y="2281335"/>
                  </a:cubicBezTo>
                  <a:cubicBezTo>
                    <a:pt x="2519789" y="2281335"/>
                    <a:pt x="2377498" y="2413462"/>
                    <a:pt x="2377498" y="2572170"/>
                  </a:cubicBezTo>
                  <a:cubicBezTo>
                    <a:pt x="2377498" y="2610479"/>
                    <a:pt x="2385316" y="2640188"/>
                    <a:pt x="2397825" y="2672243"/>
                  </a:cubicBezTo>
                  <a:lnTo>
                    <a:pt x="2612043" y="2600316"/>
                  </a:lnTo>
                  <a:cubicBezTo>
                    <a:pt x="2608134" y="2590152"/>
                    <a:pt x="2605788" y="2579989"/>
                    <a:pt x="2605788" y="2564352"/>
                  </a:cubicBezTo>
                  <a:cubicBezTo>
                    <a:pt x="2605788" y="2515880"/>
                    <a:pt x="2669897" y="2478353"/>
                    <a:pt x="2769969" y="2478353"/>
                  </a:cubicBezTo>
                  <a:cubicBezTo>
                    <a:pt x="2863787" y="2478353"/>
                    <a:pt x="2908351" y="2518225"/>
                    <a:pt x="2908351" y="2578425"/>
                  </a:cubicBezTo>
                  <a:cubicBezTo>
                    <a:pt x="2908351" y="2642534"/>
                    <a:pt x="2862223" y="2686315"/>
                    <a:pt x="2754333" y="2686315"/>
                  </a:cubicBezTo>
                  <a:lnTo>
                    <a:pt x="2678497" y="2686315"/>
                  </a:lnTo>
                  <a:lnTo>
                    <a:pt x="2678497" y="2886460"/>
                  </a:lnTo>
                  <a:lnTo>
                    <a:pt x="2760587" y="2886460"/>
                  </a:lnTo>
                  <a:cubicBezTo>
                    <a:pt x="2873169" y="2886460"/>
                    <a:pt x="2938841" y="2930242"/>
                    <a:pt x="2938841" y="3004514"/>
                  </a:cubicBezTo>
                  <a:cubicBezTo>
                    <a:pt x="2938841" y="3080350"/>
                    <a:pt x="2870823" y="3135077"/>
                    <a:pt x="2748079" y="3135077"/>
                  </a:cubicBezTo>
                  <a:cubicBezTo>
                    <a:pt x="2663642" y="3135077"/>
                    <a:pt x="2579988" y="3091295"/>
                    <a:pt x="2579988" y="3008423"/>
                  </a:cubicBezTo>
                  <a:cubicBezTo>
                    <a:pt x="2579988" y="2988096"/>
                    <a:pt x="2583898" y="2972460"/>
                    <a:pt x="2590152" y="2958387"/>
                  </a:cubicBezTo>
                  <a:lnTo>
                    <a:pt x="2377498" y="2890369"/>
                  </a:lnTo>
                  <a:cubicBezTo>
                    <a:pt x="2365771" y="2916169"/>
                    <a:pt x="2353262" y="2964641"/>
                    <a:pt x="2353262" y="3010768"/>
                  </a:cubicBezTo>
                  <a:cubicBezTo>
                    <a:pt x="2353262" y="3192931"/>
                    <a:pt x="2491643" y="3331312"/>
                    <a:pt x="2748079" y="3331312"/>
                  </a:cubicBezTo>
                  <a:cubicBezTo>
                    <a:pt x="3029532" y="3332094"/>
                    <a:pt x="3183549" y="3203877"/>
                    <a:pt x="3183549" y="3015459"/>
                  </a:cubicBezTo>
                  <a:moveTo>
                    <a:pt x="3354767" y="3304731"/>
                  </a:moveTo>
                  <a:lnTo>
                    <a:pt x="3607293" y="3304731"/>
                  </a:lnTo>
                  <a:lnTo>
                    <a:pt x="3607293" y="2902096"/>
                  </a:lnTo>
                  <a:lnTo>
                    <a:pt x="4020091" y="2902096"/>
                  </a:lnTo>
                  <a:lnTo>
                    <a:pt x="4020091" y="3304731"/>
                  </a:lnTo>
                  <a:lnTo>
                    <a:pt x="4272617" y="3304731"/>
                  </a:lnTo>
                  <a:lnTo>
                    <a:pt x="4272617" y="2310262"/>
                  </a:lnTo>
                  <a:lnTo>
                    <a:pt x="4020091" y="2310262"/>
                  </a:lnTo>
                  <a:lnTo>
                    <a:pt x="4020091" y="2680843"/>
                  </a:lnTo>
                  <a:lnTo>
                    <a:pt x="3607293" y="2680843"/>
                  </a:lnTo>
                  <a:lnTo>
                    <a:pt x="3607293" y="2310262"/>
                  </a:lnTo>
                  <a:lnTo>
                    <a:pt x="3354767" y="2310262"/>
                  </a:lnTo>
                  <a:lnTo>
                    <a:pt x="3354767" y="3304731"/>
                  </a:lnTo>
                  <a:close/>
                  <a:moveTo>
                    <a:pt x="4663524" y="2675370"/>
                  </a:moveTo>
                  <a:cubicBezTo>
                    <a:pt x="4699488" y="2562789"/>
                    <a:pt x="4799560" y="2475225"/>
                    <a:pt x="4932468" y="2475225"/>
                  </a:cubicBezTo>
                  <a:cubicBezTo>
                    <a:pt x="5072413" y="2475225"/>
                    <a:pt x="5167013" y="2551062"/>
                    <a:pt x="5191249" y="2675370"/>
                  </a:cubicBezTo>
                  <a:lnTo>
                    <a:pt x="4663524" y="2675370"/>
                  </a:lnTo>
                  <a:moveTo>
                    <a:pt x="4931687" y="3116313"/>
                  </a:moveTo>
                  <a:cubicBezTo>
                    <a:pt x="4783142" y="3116313"/>
                    <a:pt x="4675252" y="3020150"/>
                    <a:pt x="4658833" y="2867696"/>
                  </a:cubicBezTo>
                  <a:lnTo>
                    <a:pt x="5424230" y="2867696"/>
                  </a:lnTo>
                  <a:lnTo>
                    <a:pt x="5424230" y="2779351"/>
                  </a:lnTo>
                  <a:cubicBezTo>
                    <a:pt x="5424230" y="2488516"/>
                    <a:pt x="5224085" y="2282117"/>
                    <a:pt x="4939505" y="2282117"/>
                  </a:cubicBezTo>
                  <a:cubicBezTo>
                    <a:pt x="4651015" y="2282117"/>
                    <a:pt x="4416471" y="2492425"/>
                    <a:pt x="4416471" y="2807497"/>
                  </a:cubicBezTo>
                  <a:cubicBezTo>
                    <a:pt x="4416471" y="3122568"/>
                    <a:pt x="4651015" y="3332876"/>
                    <a:pt x="4927778" y="3332876"/>
                  </a:cubicBezTo>
                  <a:cubicBezTo>
                    <a:pt x="5145904" y="3332876"/>
                    <a:pt x="5284285" y="3250786"/>
                    <a:pt x="5384357" y="3080350"/>
                  </a:cubicBezTo>
                  <a:lnTo>
                    <a:pt x="5184213" y="2980278"/>
                  </a:lnTo>
                  <a:cubicBezTo>
                    <a:pt x="5122449" y="3057677"/>
                    <a:pt x="5066159" y="3116313"/>
                    <a:pt x="4931687" y="3116313"/>
                  </a:cubicBezTo>
                  <a:moveTo>
                    <a:pt x="6084081" y="3332094"/>
                  </a:moveTo>
                  <a:cubicBezTo>
                    <a:pt x="6296735" y="3332094"/>
                    <a:pt x="6439025" y="3235931"/>
                    <a:pt x="6539098" y="3065495"/>
                  </a:cubicBezTo>
                  <a:lnTo>
                    <a:pt x="6330353" y="2951350"/>
                  </a:lnTo>
                  <a:cubicBezTo>
                    <a:pt x="6270153" y="3035787"/>
                    <a:pt x="6206044" y="3095986"/>
                    <a:pt x="6081736" y="3095986"/>
                  </a:cubicBezTo>
                  <a:cubicBezTo>
                    <a:pt x="5929282" y="3095986"/>
                    <a:pt x="5817483" y="2985750"/>
                    <a:pt x="5817483" y="2807497"/>
                  </a:cubicBezTo>
                  <a:cubicBezTo>
                    <a:pt x="5817483" y="2630806"/>
                    <a:pt x="5933973" y="2519007"/>
                    <a:pt x="6081736" y="2519007"/>
                  </a:cubicBezTo>
                  <a:cubicBezTo>
                    <a:pt x="6171645" y="2519007"/>
                    <a:pt x="6249826" y="2561225"/>
                    <a:pt x="6312372" y="2655043"/>
                  </a:cubicBezTo>
                  <a:lnTo>
                    <a:pt x="6528934" y="2530734"/>
                  </a:lnTo>
                  <a:cubicBezTo>
                    <a:pt x="6457007" y="2376717"/>
                    <a:pt x="6300644" y="2282117"/>
                    <a:pt x="6084081" y="2282117"/>
                  </a:cubicBezTo>
                  <a:cubicBezTo>
                    <a:pt x="5801846" y="2282117"/>
                    <a:pt x="5561047" y="2490862"/>
                    <a:pt x="5561047" y="2807497"/>
                  </a:cubicBezTo>
                  <a:cubicBezTo>
                    <a:pt x="5561047" y="3124132"/>
                    <a:pt x="5789337" y="3332094"/>
                    <a:pt x="6084081" y="3332094"/>
                  </a:cubicBezTo>
                </a:path>
              </a:pathLst>
            </a:custGeom>
            <a:solidFill>
              <a:srgbClr val="101828"/>
            </a:solidFill>
            <a:ln w="7818" cap="flat">
              <a:noFill/>
              <a:prstDash val="solid"/>
              <a:miter/>
            </a:ln>
          </p:spPr>
          <p:txBody>
            <a:bodyPr rtlCol="0" anchor="ctr"/>
            <a:lstStyle/>
            <a:p>
              <a:endParaRPr lang="ru-RU" sz="1587" dirty="0"/>
            </a:p>
          </p:txBody>
        </p:sp>
        <p:grpSp>
          <p:nvGrpSpPr>
            <p:cNvPr id="67" name="Рисунок 25">
              <a:extLst>
                <a:ext uri="{FF2B5EF4-FFF2-40B4-BE49-F238E27FC236}">
                  <a16:creationId xmlns:a16="http://schemas.microsoft.com/office/drawing/2014/main" id="{9761D291-CBF7-45FA-A690-53B2E9E395EA}"/>
                </a:ext>
              </a:extLst>
            </p:cNvPr>
            <p:cNvGrpSpPr/>
            <p:nvPr/>
          </p:nvGrpSpPr>
          <p:grpSpPr>
            <a:xfrm>
              <a:off x="-233" y="1916027"/>
              <a:ext cx="2345677" cy="3909073"/>
              <a:chOff x="-233" y="1916027"/>
              <a:chExt cx="2345677" cy="3909073"/>
            </a:xfrm>
          </p:grpSpPr>
          <p:sp>
            <p:nvSpPr>
              <p:cNvPr id="68" name="Полилиния: фигура 67">
                <a:extLst>
                  <a:ext uri="{FF2B5EF4-FFF2-40B4-BE49-F238E27FC236}">
                    <a16:creationId xmlns:a16="http://schemas.microsoft.com/office/drawing/2014/main" id="{40F31391-F934-4020-88B0-B5A251CD8EC5}"/>
                  </a:ext>
                </a:extLst>
              </p:cNvPr>
              <p:cNvSpPr/>
              <p:nvPr/>
            </p:nvSpPr>
            <p:spPr>
              <a:xfrm>
                <a:off x="88345" y="4800141"/>
                <a:ext cx="1777846" cy="1024959"/>
              </a:xfrm>
              <a:custGeom>
                <a:avLst/>
                <a:gdLst>
                  <a:gd name="connsiteX0" fmla="*/ 1777846 w 1777846"/>
                  <a:gd name="connsiteY0" fmla="*/ 1024959 h 1024959"/>
                  <a:gd name="connsiteX1" fmla="*/ 182945 w 1777846"/>
                  <a:gd name="connsiteY1" fmla="*/ 1024959 h 1024959"/>
                  <a:gd name="connsiteX2" fmla="*/ 0 w 1777846"/>
                  <a:gd name="connsiteY2" fmla="*/ 831851 h 1024959"/>
                  <a:gd name="connsiteX3" fmla="*/ 56291 w 1777846"/>
                  <a:gd name="connsiteY3" fmla="*/ 695815 h 1024959"/>
                  <a:gd name="connsiteX4" fmla="*/ 752106 w 1777846"/>
                  <a:gd name="connsiteY4" fmla="*/ 0 h 1024959"/>
                  <a:gd name="connsiteX5" fmla="*/ 1777846 w 1777846"/>
                  <a:gd name="connsiteY5" fmla="*/ 1024959 h 10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7846" h="1024959">
                    <a:moveTo>
                      <a:pt x="1777846" y="1024959"/>
                    </a:moveTo>
                    <a:lnTo>
                      <a:pt x="182945" y="1024959"/>
                    </a:lnTo>
                    <a:cubicBezTo>
                      <a:pt x="68018" y="1024959"/>
                      <a:pt x="0" y="921759"/>
                      <a:pt x="0" y="831851"/>
                    </a:cubicBezTo>
                    <a:cubicBezTo>
                      <a:pt x="0" y="778688"/>
                      <a:pt x="21891" y="730215"/>
                      <a:pt x="56291" y="695815"/>
                    </a:cubicBezTo>
                    <a:lnTo>
                      <a:pt x="752106" y="0"/>
                    </a:lnTo>
                    <a:lnTo>
                      <a:pt x="1777846" y="1024959"/>
                    </a:lnTo>
                    <a:close/>
                  </a:path>
                </a:pathLst>
              </a:custGeom>
              <a:solidFill>
                <a:srgbClr val="FF4F12"/>
              </a:solidFill>
              <a:ln w="7818"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7AE2913D-418F-4B61-A548-15142665F673}"/>
                  </a:ext>
                </a:extLst>
              </p:cNvPr>
              <p:cNvSpPr/>
              <p:nvPr/>
            </p:nvSpPr>
            <p:spPr>
              <a:xfrm>
                <a:off x="-233" y="1916027"/>
                <a:ext cx="2345677" cy="3909073"/>
              </a:xfrm>
              <a:custGeom>
                <a:avLst/>
                <a:gdLst>
                  <a:gd name="connsiteX0" fmla="*/ 271523 w 2345677"/>
                  <a:gd name="connsiteY0" fmla="*/ 3909074 h 3909073"/>
                  <a:gd name="connsiteX1" fmla="*/ 234 w 2345677"/>
                  <a:gd name="connsiteY1" fmla="*/ 3621366 h 3909073"/>
                  <a:gd name="connsiteX2" fmla="*/ 234 w 2345677"/>
                  <a:gd name="connsiteY2" fmla="*/ 1476848 h 3909073"/>
                  <a:gd name="connsiteX3" fmla="*/ 192560 w 2345677"/>
                  <a:gd name="connsiteY3" fmla="*/ 776342 h 3909073"/>
                  <a:gd name="connsiteX4" fmla="*/ 968902 w 2345677"/>
                  <a:gd name="connsiteY4" fmla="*/ 0 h 3909073"/>
                  <a:gd name="connsiteX5" fmla="*/ 2345678 w 2345677"/>
                  <a:gd name="connsiteY5" fmla="*/ 1379121 h 3909073"/>
                  <a:gd name="connsiteX6" fmla="*/ 144869 w 2345677"/>
                  <a:gd name="connsiteY6" fmla="*/ 3579930 h 3909073"/>
                  <a:gd name="connsiteX7" fmla="*/ 88579 w 2345677"/>
                  <a:gd name="connsiteY7" fmla="*/ 3715965 h 3909073"/>
                  <a:gd name="connsiteX8" fmla="*/ 271523 w 2345677"/>
                  <a:gd name="connsiteY8" fmla="*/ 3909074 h 39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677" h="3909073">
                    <a:moveTo>
                      <a:pt x="271523" y="3909074"/>
                    </a:moveTo>
                    <a:cubicBezTo>
                      <a:pt x="151124" y="3909074"/>
                      <a:pt x="234" y="3812910"/>
                      <a:pt x="234" y="3621366"/>
                    </a:cubicBezTo>
                    <a:lnTo>
                      <a:pt x="234" y="1476848"/>
                    </a:lnTo>
                    <a:cubicBezTo>
                      <a:pt x="234" y="1186795"/>
                      <a:pt x="-14621" y="983523"/>
                      <a:pt x="192560" y="776342"/>
                    </a:cubicBezTo>
                    <a:lnTo>
                      <a:pt x="968902" y="0"/>
                    </a:lnTo>
                    <a:lnTo>
                      <a:pt x="2345678" y="1379121"/>
                    </a:lnTo>
                    <a:lnTo>
                      <a:pt x="144869" y="3579930"/>
                    </a:lnTo>
                    <a:cubicBezTo>
                      <a:pt x="109688" y="3615111"/>
                      <a:pt x="88579" y="3662802"/>
                      <a:pt x="88579" y="3715965"/>
                    </a:cubicBezTo>
                    <a:cubicBezTo>
                      <a:pt x="88579" y="3805874"/>
                      <a:pt x="156597" y="3909074"/>
                      <a:pt x="271523" y="3909074"/>
                    </a:cubicBezTo>
                    <a:close/>
                  </a:path>
                </a:pathLst>
              </a:custGeom>
              <a:solidFill>
                <a:srgbClr val="7B939B"/>
              </a:solidFill>
              <a:ln w="7818" cap="flat">
                <a:noFill/>
                <a:prstDash val="solid"/>
                <a:miter/>
              </a:ln>
            </p:spPr>
            <p:txBody>
              <a:bodyPr rtlCol="0" anchor="ctr"/>
              <a:lstStyle/>
              <a:p>
                <a:endParaRPr lang="ru-RU" sz="1587" dirty="0"/>
              </a:p>
            </p:txBody>
          </p:sp>
        </p:grpSp>
      </p:grpSp>
      <p:grpSp>
        <p:nvGrpSpPr>
          <p:cNvPr id="70" name="Рисунок 37">
            <a:extLst>
              <a:ext uri="{FF2B5EF4-FFF2-40B4-BE49-F238E27FC236}">
                <a16:creationId xmlns:a16="http://schemas.microsoft.com/office/drawing/2014/main" id="{F920584E-0689-4929-B148-DC08346BB9CB}"/>
              </a:ext>
            </a:extLst>
          </p:cNvPr>
          <p:cNvGrpSpPr/>
          <p:nvPr userDrawn="1"/>
        </p:nvGrpSpPr>
        <p:grpSpPr>
          <a:xfrm>
            <a:off x="8137797" y="3577890"/>
            <a:ext cx="4053600" cy="3281919"/>
            <a:chOff x="9231313" y="4054942"/>
            <a:chExt cx="4598303" cy="3719507"/>
          </a:xfrm>
        </p:grpSpPr>
        <p:sp>
          <p:nvSpPr>
            <p:cNvPr id="71" name="Полилиния: фигура 70">
              <a:extLst>
                <a:ext uri="{FF2B5EF4-FFF2-40B4-BE49-F238E27FC236}">
                  <a16:creationId xmlns:a16="http://schemas.microsoft.com/office/drawing/2014/main" id="{4356A13B-5124-4FAF-A41A-6E7CF4A1BC5F}"/>
                </a:ext>
              </a:extLst>
            </p:cNvPr>
            <p:cNvSpPr/>
            <p:nvPr/>
          </p:nvSpPr>
          <p:spPr>
            <a:xfrm>
              <a:off x="9231313" y="4279082"/>
              <a:ext cx="4598303" cy="3495367"/>
            </a:xfrm>
            <a:custGeom>
              <a:avLst/>
              <a:gdLst>
                <a:gd name="connsiteX0" fmla="*/ 4598304 w 4598303"/>
                <a:gd name="connsiteY0" fmla="*/ 0 h 3495367"/>
                <a:gd name="connsiteX1" fmla="*/ 3593087 w 4598303"/>
                <a:gd name="connsiteY1" fmla="*/ 1534818 h 3495367"/>
                <a:gd name="connsiteX2" fmla="*/ 2779893 w 4598303"/>
                <a:gd name="connsiteY2" fmla="*/ 2152572 h 3495367"/>
                <a:gd name="connsiteX3" fmla="*/ 2290610 w 4598303"/>
                <a:gd name="connsiteY3" fmla="*/ 2391064 h 3495367"/>
                <a:gd name="connsiteX4" fmla="*/ 0 w 4598303"/>
                <a:gd name="connsiteY4" fmla="*/ 3495367 h 3495367"/>
                <a:gd name="connsiteX5" fmla="*/ 0 w 4598303"/>
                <a:gd name="connsiteY5" fmla="*/ 3495367 h 3495367"/>
                <a:gd name="connsiteX6" fmla="*/ 4598304 w 4598303"/>
                <a:gd name="connsiteY6" fmla="*/ 3495367 h 3495367"/>
                <a:gd name="connsiteX7" fmla="*/ 4598304 w 4598303"/>
                <a:gd name="connsiteY7" fmla="*/ 0 h 349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8303" h="3495367">
                  <a:moveTo>
                    <a:pt x="4598304" y="0"/>
                  </a:moveTo>
                  <a:cubicBezTo>
                    <a:pt x="4307194" y="720941"/>
                    <a:pt x="3920415" y="1215008"/>
                    <a:pt x="3593087" y="1534818"/>
                  </a:cubicBezTo>
                  <a:cubicBezTo>
                    <a:pt x="3333411" y="1789027"/>
                    <a:pt x="3119521" y="1949615"/>
                    <a:pt x="2779893" y="2152572"/>
                  </a:cubicBezTo>
                  <a:cubicBezTo>
                    <a:pt x="2635705" y="2239359"/>
                    <a:pt x="2449149" y="2314528"/>
                    <a:pt x="2290610" y="2391064"/>
                  </a:cubicBezTo>
                  <a:lnTo>
                    <a:pt x="0" y="3495367"/>
                  </a:lnTo>
                  <a:lnTo>
                    <a:pt x="0" y="3495367"/>
                  </a:lnTo>
                  <a:lnTo>
                    <a:pt x="4598304" y="3495367"/>
                  </a:lnTo>
                  <a:lnTo>
                    <a:pt x="4598304" y="0"/>
                  </a:lnTo>
                  <a:close/>
                </a:path>
              </a:pathLst>
            </a:custGeom>
            <a:solidFill>
              <a:schemeClr val="tx2"/>
            </a:solidFill>
            <a:ln w="6822" cap="flat">
              <a:noFill/>
              <a:prstDash val="solid"/>
              <a:miter/>
            </a:ln>
          </p:spPr>
          <p:txBody>
            <a:bodyPr rtlCol="0" anchor="ctr"/>
            <a:lstStyle/>
            <a:p>
              <a:endParaRPr lang="ru-RU" sz="1587" dirty="0"/>
            </a:p>
          </p:txBody>
        </p:sp>
        <p:grpSp>
          <p:nvGrpSpPr>
            <p:cNvPr id="72" name="Рисунок 37">
              <a:extLst>
                <a:ext uri="{FF2B5EF4-FFF2-40B4-BE49-F238E27FC236}">
                  <a16:creationId xmlns:a16="http://schemas.microsoft.com/office/drawing/2014/main" id="{0F622A12-FA89-491A-8E9A-59654E8E9CF7}"/>
                </a:ext>
              </a:extLst>
            </p:cNvPr>
            <p:cNvGrpSpPr/>
            <p:nvPr/>
          </p:nvGrpSpPr>
          <p:grpSpPr>
            <a:xfrm>
              <a:off x="11334683" y="6787000"/>
              <a:ext cx="2053485" cy="554201"/>
              <a:chOff x="11334683" y="6787000"/>
              <a:chExt cx="2053485" cy="554201"/>
            </a:xfrm>
            <a:solidFill>
              <a:srgbClr val="FFFFFF"/>
            </a:solidFill>
          </p:grpSpPr>
          <p:sp>
            <p:nvSpPr>
              <p:cNvPr id="74" name="Полилиния: фигура 73">
                <a:extLst>
                  <a:ext uri="{FF2B5EF4-FFF2-40B4-BE49-F238E27FC236}">
                    <a16:creationId xmlns:a16="http://schemas.microsoft.com/office/drawing/2014/main" id="{27A82D7B-4C1E-4B18-A0C1-6CBEE6B1241D}"/>
                  </a:ext>
                </a:extLst>
              </p:cNvPr>
              <p:cNvSpPr/>
              <p:nvPr/>
            </p:nvSpPr>
            <p:spPr>
              <a:xfrm>
                <a:off x="11781598" y="6787000"/>
                <a:ext cx="162638" cy="211840"/>
              </a:xfrm>
              <a:custGeom>
                <a:avLst/>
                <a:gdLst>
                  <a:gd name="connsiteX0" fmla="*/ 64919 w 162638"/>
                  <a:gd name="connsiteY0" fmla="*/ 30068 h 211840"/>
                  <a:gd name="connsiteX1" fmla="*/ 0 w 162638"/>
                  <a:gd name="connsiteY1" fmla="*/ 30068 h 211840"/>
                  <a:gd name="connsiteX2" fmla="*/ 0 w 162638"/>
                  <a:gd name="connsiteY2" fmla="*/ 0 h 211840"/>
                  <a:gd name="connsiteX3" fmla="*/ 162639 w 162638"/>
                  <a:gd name="connsiteY3" fmla="*/ 0 h 211840"/>
                  <a:gd name="connsiteX4" fmla="*/ 162639 w 162638"/>
                  <a:gd name="connsiteY4" fmla="*/ 30068 h 211840"/>
                  <a:gd name="connsiteX5" fmla="*/ 97720 w 162638"/>
                  <a:gd name="connsiteY5" fmla="*/ 30068 h 211840"/>
                  <a:gd name="connsiteX6" fmla="*/ 97720 w 162638"/>
                  <a:gd name="connsiteY6" fmla="*/ 211840 h 211840"/>
                  <a:gd name="connsiteX7" fmla="*/ 64919 w 162638"/>
                  <a:gd name="connsiteY7" fmla="*/ 211840 h 211840"/>
                  <a:gd name="connsiteX8" fmla="*/ 64919 w 162638"/>
                  <a:gd name="connsiteY8" fmla="*/ 30068 h 21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38" h="211840">
                    <a:moveTo>
                      <a:pt x="64919" y="30068"/>
                    </a:moveTo>
                    <a:lnTo>
                      <a:pt x="0" y="30068"/>
                    </a:lnTo>
                    <a:lnTo>
                      <a:pt x="0" y="0"/>
                    </a:lnTo>
                    <a:lnTo>
                      <a:pt x="162639" y="0"/>
                    </a:lnTo>
                    <a:lnTo>
                      <a:pt x="162639" y="30068"/>
                    </a:lnTo>
                    <a:lnTo>
                      <a:pt x="97720" y="30068"/>
                    </a:lnTo>
                    <a:lnTo>
                      <a:pt x="97720" y="211840"/>
                    </a:lnTo>
                    <a:lnTo>
                      <a:pt x="64919" y="211840"/>
                    </a:lnTo>
                    <a:lnTo>
                      <a:pt x="64919" y="30068"/>
                    </a:lnTo>
                    <a:close/>
                  </a:path>
                </a:pathLst>
              </a:custGeom>
              <a:solidFill>
                <a:srgbClr val="FFFFFF"/>
              </a:solidFill>
              <a:ln w="6822"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EDD299B1-2101-46D1-9B10-1FE878C2C471}"/>
                  </a:ext>
                </a:extLst>
              </p:cNvPr>
              <p:cNvSpPr/>
              <p:nvPr/>
            </p:nvSpPr>
            <p:spPr>
              <a:xfrm>
                <a:off x="11933303" y="6844402"/>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3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8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3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3"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8" y="86103"/>
                    </a:lnTo>
                    <a:cubicBezTo>
                      <a:pt x="32118" y="112754"/>
                      <a:pt x="49885" y="131204"/>
                      <a:pt x="76536" y="131204"/>
                    </a:cubicBezTo>
                    <a:close/>
                    <a:moveTo>
                      <a:pt x="30751" y="61502"/>
                    </a:moveTo>
                    <a:lnTo>
                      <a:pt x="119587" y="61502"/>
                    </a:lnTo>
                    <a:cubicBezTo>
                      <a:pt x="116854" y="38268"/>
                      <a:pt x="99087" y="24601"/>
                      <a:pt x="75853" y="24601"/>
                    </a:cubicBezTo>
                    <a:cubicBezTo>
                      <a:pt x="53302" y="24601"/>
                      <a:pt x="36218"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39C80F21-33B9-4F0A-8290-01C57A16061D}"/>
                  </a:ext>
                </a:extLst>
              </p:cNvPr>
              <p:cNvSpPr/>
              <p:nvPr/>
            </p:nvSpPr>
            <p:spPr>
              <a:xfrm>
                <a:off x="12089791" y="6848502"/>
                <a:ext cx="142821" cy="150338"/>
              </a:xfrm>
              <a:custGeom>
                <a:avLst/>
                <a:gdLst>
                  <a:gd name="connsiteX0" fmla="*/ 100453 w 142821"/>
                  <a:gd name="connsiteY0" fmla="*/ 0 h 150338"/>
                  <a:gd name="connsiteX1" fmla="*/ 135988 w 142821"/>
                  <a:gd name="connsiteY1" fmla="*/ 0 h 150338"/>
                  <a:gd name="connsiteX2" fmla="*/ 90203 w 142821"/>
                  <a:gd name="connsiteY2" fmla="*/ 69702 h 150338"/>
                  <a:gd name="connsiteX3" fmla="*/ 142822 w 142821"/>
                  <a:gd name="connsiteY3" fmla="*/ 150338 h 150338"/>
                  <a:gd name="connsiteX4" fmla="*/ 106604 w 142821"/>
                  <a:gd name="connsiteY4" fmla="*/ 150338 h 150338"/>
                  <a:gd name="connsiteX5" fmla="*/ 71752 w 142821"/>
                  <a:gd name="connsiteY5" fmla="*/ 94987 h 150338"/>
                  <a:gd name="connsiteX6" fmla="*/ 36218 w 142821"/>
                  <a:gd name="connsiteY6" fmla="*/ 150338 h 150338"/>
                  <a:gd name="connsiteX7" fmla="*/ 0 w 142821"/>
                  <a:gd name="connsiteY7" fmla="*/ 150338 h 150338"/>
                  <a:gd name="connsiteX8" fmla="*/ 54668 w 142821"/>
                  <a:gd name="connsiteY8" fmla="*/ 71069 h 150338"/>
                  <a:gd name="connsiteX9" fmla="*/ 7517 w 142821"/>
                  <a:gd name="connsiteY9" fmla="*/ 683 h 150338"/>
                  <a:gd name="connsiteX10" fmla="*/ 43052 w 142821"/>
                  <a:gd name="connsiteY10" fmla="*/ 683 h 150338"/>
                  <a:gd name="connsiteX11" fmla="*/ 71752 w 142821"/>
                  <a:gd name="connsiteY11" fmla="*/ 46468 h 150338"/>
                  <a:gd name="connsiteX12" fmla="*/ 100453 w 142821"/>
                  <a:gd name="connsiteY12"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21" h="150338">
                    <a:moveTo>
                      <a:pt x="100453" y="0"/>
                    </a:moveTo>
                    <a:lnTo>
                      <a:pt x="135988" y="0"/>
                    </a:lnTo>
                    <a:lnTo>
                      <a:pt x="90203" y="69702"/>
                    </a:lnTo>
                    <a:lnTo>
                      <a:pt x="142822" y="150338"/>
                    </a:lnTo>
                    <a:lnTo>
                      <a:pt x="106604" y="150338"/>
                    </a:lnTo>
                    <a:lnTo>
                      <a:pt x="71752" y="94987"/>
                    </a:lnTo>
                    <a:lnTo>
                      <a:pt x="36218" y="150338"/>
                    </a:lnTo>
                    <a:lnTo>
                      <a:pt x="0" y="150338"/>
                    </a:lnTo>
                    <a:lnTo>
                      <a:pt x="54668" y="71069"/>
                    </a:lnTo>
                    <a:lnTo>
                      <a:pt x="7517" y="683"/>
                    </a:lnTo>
                    <a:lnTo>
                      <a:pt x="43052" y="683"/>
                    </a:lnTo>
                    <a:lnTo>
                      <a:pt x="71752" y="46468"/>
                    </a:lnTo>
                    <a:lnTo>
                      <a:pt x="100453" y="0"/>
                    </a:lnTo>
                    <a:close/>
                  </a:path>
                </a:pathLst>
              </a:custGeom>
              <a:solidFill>
                <a:srgbClr val="FFFFFF"/>
              </a:solidFill>
              <a:ln w="6822"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2D3006D7-5510-407F-B9C9-F80185748E4D}"/>
                  </a:ext>
                </a:extLst>
              </p:cNvPr>
              <p:cNvSpPr/>
              <p:nvPr/>
            </p:nvSpPr>
            <p:spPr>
              <a:xfrm>
                <a:off x="12253797" y="6848502"/>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B7F815A5-87E9-46D8-A134-11EB247D4301}"/>
                  </a:ext>
                </a:extLst>
              </p:cNvPr>
              <p:cNvSpPr/>
              <p:nvPr/>
            </p:nvSpPr>
            <p:spPr>
              <a:xfrm>
                <a:off x="12416436" y="6844402"/>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1204"/>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79" name="Полилиния: фигура 78">
                <a:extLst>
                  <a:ext uri="{FF2B5EF4-FFF2-40B4-BE49-F238E27FC236}">
                    <a16:creationId xmlns:a16="http://schemas.microsoft.com/office/drawing/2014/main" id="{217D8A57-2EB3-4E2D-819B-1963B59B320A}"/>
                  </a:ext>
                </a:extLst>
              </p:cNvPr>
              <p:cNvSpPr/>
              <p:nvPr/>
            </p:nvSpPr>
            <p:spPr>
              <a:xfrm>
                <a:off x="12591375" y="6849869"/>
                <a:ext cx="142137" cy="151705"/>
              </a:xfrm>
              <a:custGeom>
                <a:avLst/>
                <a:gdLst>
                  <a:gd name="connsiteX0" fmla="*/ 0 w 142137"/>
                  <a:gd name="connsiteY0" fmla="*/ 148972 h 151705"/>
                  <a:gd name="connsiteX1" fmla="*/ 0 w 142137"/>
                  <a:gd name="connsiteY1" fmla="*/ 121637 h 151705"/>
                  <a:gd name="connsiteX2" fmla="*/ 10250 w 142137"/>
                  <a:gd name="connsiteY2" fmla="*/ 123688 h 151705"/>
                  <a:gd name="connsiteX3" fmla="*/ 25967 w 142137"/>
                  <a:gd name="connsiteY3" fmla="*/ 88836 h 151705"/>
                  <a:gd name="connsiteX4" fmla="*/ 30751 w 142137"/>
                  <a:gd name="connsiteY4" fmla="*/ 0 h 151705"/>
                  <a:gd name="connsiteX5" fmla="*/ 142138 w 142137"/>
                  <a:gd name="connsiteY5" fmla="*/ 0 h 151705"/>
                  <a:gd name="connsiteX6" fmla="*/ 142138 w 142137"/>
                  <a:gd name="connsiteY6" fmla="*/ 149655 h 151705"/>
                  <a:gd name="connsiteX7" fmla="*/ 111387 w 142137"/>
                  <a:gd name="connsiteY7" fmla="*/ 149655 h 151705"/>
                  <a:gd name="connsiteX8" fmla="*/ 111387 w 142137"/>
                  <a:gd name="connsiteY8" fmla="*/ 28018 h 151705"/>
                  <a:gd name="connsiteX9" fmla="*/ 58085 w 142137"/>
                  <a:gd name="connsiteY9" fmla="*/ 28018 h 151705"/>
                  <a:gd name="connsiteX10" fmla="*/ 54668 w 142137"/>
                  <a:gd name="connsiteY10" fmla="*/ 90203 h 151705"/>
                  <a:gd name="connsiteX11" fmla="*/ 11617 w 142137"/>
                  <a:gd name="connsiteY11" fmla="*/ 151705 h 151705"/>
                  <a:gd name="connsiteX12" fmla="*/ 0 w 142137"/>
                  <a:gd name="connsiteY12" fmla="*/ 148972 h 15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37" h="151705">
                    <a:moveTo>
                      <a:pt x="0" y="148972"/>
                    </a:moveTo>
                    <a:lnTo>
                      <a:pt x="0" y="121637"/>
                    </a:lnTo>
                    <a:cubicBezTo>
                      <a:pt x="0" y="121637"/>
                      <a:pt x="4100" y="123688"/>
                      <a:pt x="10250" y="123688"/>
                    </a:cubicBezTo>
                    <a:cubicBezTo>
                      <a:pt x="19817" y="123688"/>
                      <a:pt x="24601" y="117537"/>
                      <a:pt x="25967" y="88836"/>
                    </a:cubicBezTo>
                    <a:lnTo>
                      <a:pt x="30751" y="0"/>
                    </a:lnTo>
                    <a:lnTo>
                      <a:pt x="142138" y="0"/>
                    </a:lnTo>
                    <a:lnTo>
                      <a:pt x="142138" y="149655"/>
                    </a:lnTo>
                    <a:lnTo>
                      <a:pt x="111387" y="149655"/>
                    </a:lnTo>
                    <a:lnTo>
                      <a:pt x="111387" y="28018"/>
                    </a:lnTo>
                    <a:lnTo>
                      <a:pt x="58085" y="28018"/>
                    </a:lnTo>
                    <a:lnTo>
                      <a:pt x="54668" y="90203"/>
                    </a:lnTo>
                    <a:cubicBezTo>
                      <a:pt x="52618" y="133254"/>
                      <a:pt x="41685" y="151705"/>
                      <a:pt x="11617" y="151705"/>
                    </a:cubicBezTo>
                    <a:cubicBezTo>
                      <a:pt x="6150" y="151022"/>
                      <a:pt x="0" y="148972"/>
                      <a:pt x="0" y="148972"/>
                    </a:cubicBezTo>
                    <a:close/>
                  </a:path>
                </a:pathLst>
              </a:custGeom>
              <a:solidFill>
                <a:srgbClr val="FFFFFF"/>
              </a:solidFill>
              <a:ln w="6822"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988013A2-4529-4E25-9843-D1DB0F751CCD}"/>
                  </a:ext>
                </a:extLst>
              </p:cNvPr>
              <p:cNvSpPr/>
              <p:nvPr/>
            </p:nvSpPr>
            <p:spPr>
              <a:xfrm>
                <a:off x="12764264" y="6844402"/>
                <a:ext cx="160597" cy="158538"/>
              </a:xfrm>
              <a:custGeom>
                <a:avLst/>
                <a:gdLst>
                  <a:gd name="connsiteX0" fmla="*/ 80636 w 160597"/>
                  <a:gd name="connsiteY0" fmla="*/ 158539 h 158538"/>
                  <a:gd name="connsiteX1" fmla="*/ 0 w 160597"/>
                  <a:gd name="connsiteY1" fmla="*/ 79269 h 158538"/>
                  <a:gd name="connsiteX2" fmla="*/ 80636 w 160597"/>
                  <a:gd name="connsiteY2" fmla="*/ 0 h 158538"/>
                  <a:gd name="connsiteX3" fmla="*/ 160589 w 160597"/>
                  <a:gd name="connsiteY3" fmla="*/ 79269 h 158538"/>
                  <a:gd name="connsiteX4" fmla="*/ 80636 w 160597"/>
                  <a:gd name="connsiteY4" fmla="*/ 158539 h 158538"/>
                  <a:gd name="connsiteX5" fmla="*/ 129154 w 160597"/>
                  <a:gd name="connsiteY5" fmla="*/ 79269 h 158538"/>
                  <a:gd name="connsiteX6" fmla="*/ 80636 w 160597"/>
                  <a:gd name="connsiteY6" fmla="*/ 28701 h 158538"/>
                  <a:gd name="connsiteX7" fmla="*/ 32118 w 160597"/>
                  <a:gd name="connsiteY7" fmla="*/ 79269 h 158538"/>
                  <a:gd name="connsiteX8" fmla="*/ 80636 w 160597"/>
                  <a:gd name="connsiteY8" fmla="*/ 129838 h 158538"/>
                  <a:gd name="connsiteX9" fmla="*/ 129154 w 160597"/>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97" h="158538">
                    <a:moveTo>
                      <a:pt x="80636" y="158539"/>
                    </a:moveTo>
                    <a:cubicBezTo>
                      <a:pt x="39635" y="158539"/>
                      <a:pt x="0" y="131204"/>
                      <a:pt x="0" y="79269"/>
                    </a:cubicBezTo>
                    <a:cubicBezTo>
                      <a:pt x="0" y="27334"/>
                      <a:pt x="38951" y="0"/>
                      <a:pt x="80636" y="0"/>
                    </a:cubicBezTo>
                    <a:cubicBezTo>
                      <a:pt x="121637" y="0"/>
                      <a:pt x="160589" y="27334"/>
                      <a:pt x="160589" y="79269"/>
                    </a:cubicBezTo>
                    <a:cubicBezTo>
                      <a:pt x="161272" y="131204"/>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03FB3A30-FC52-47D7-8635-A1CB1799BF49}"/>
                  </a:ext>
                </a:extLst>
              </p:cNvPr>
              <p:cNvSpPr/>
              <p:nvPr/>
            </p:nvSpPr>
            <p:spPr>
              <a:xfrm>
                <a:off x="12956287" y="6848502"/>
                <a:ext cx="97720" cy="149655"/>
              </a:xfrm>
              <a:custGeom>
                <a:avLst/>
                <a:gdLst>
                  <a:gd name="connsiteX0" fmla="*/ 0 w 97720"/>
                  <a:gd name="connsiteY0" fmla="*/ 0 h 149655"/>
                  <a:gd name="connsiteX1" fmla="*/ 97720 w 97720"/>
                  <a:gd name="connsiteY1" fmla="*/ 0 h 149655"/>
                  <a:gd name="connsiteX2" fmla="*/ 97720 w 97720"/>
                  <a:gd name="connsiteY2" fmla="*/ 28018 h 149655"/>
                  <a:gd name="connsiteX3" fmla="*/ 31435 w 97720"/>
                  <a:gd name="connsiteY3" fmla="*/ 28018 h 149655"/>
                  <a:gd name="connsiteX4" fmla="*/ 31435 w 97720"/>
                  <a:gd name="connsiteY4" fmla="*/ 149655 h 149655"/>
                  <a:gd name="connsiteX5" fmla="*/ 0 w 97720"/>
                  <a:gd name="connsiteY5" fmla="*/ 149655 h 149655"/>
                  <a:gd name="connsiteX6" fmla="*/ 0 w 97720"/>
                  <a:gd name="connsiteY6"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20" h="149655">
                    <a:moveTo>
                      <a:pt x="0" y="0"/>
                    </a:moveTo>
                    <a:lnTo>
                      <a:pt x="97720" y="0"/>
                    </a:lnTo>
                    <a:lnTo>
                      <a:pt x="97720" y="28018"/>
                    </a:lnTo>
                    <a:lnTo>
                      <a:pt x="31435" y="28018"/>
                    </a:lnTo>
                    <a:lnTo>
                      <a:pt x="31435"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6EBA06B2-D79D-43D5-9E45-3D2A962FFF5C}"/>
                  </a:ext>
                </a:extLst>
              </p:cNvPr>
              <p:cNvSpPr/>
              <p:nvPr/>
            </p:nvSpPr>
            <p:spPr>
              <a:xfrm>
                <a:off x="13079291" y="6848502"/>
                <a:ext cx="134621" cy="150338"/>
              </a:xfrm>
              <a:custGeom>
                <a:avLst/>
                <a:gdLst>
                  <a:gd name="connsiteX0" fmla="*/ 0 w 134621"/>
                  <a:gd name="connsiteY0" fmla="*/ 0 h 150338"/>
                  <a:gd name="connsiteX1" fmla="*/ 30068 w 134621"/>
                  <a:gd name="connsiteY1" fmla="*/ 0 h 150338"/>
                  <a:gd name="connsiteX2" fmla="*/ 30068 w 134621"/>
                  <a:gd name="connsiteY2" fmla="*/ 107970 h 150338"/>
                  <a:gd name="connsiteX3" fmla="*/ 101820 w 134621"/>
                  <a:gd name="connsiteY3" fmla="*/ 0 h 150338"/>
                  <a:gd name="connsiteX4" fmla="*/ 134621 w 134621"/>
                  <a:gd name="connsiteY4" fmla="*/ 0 h 150338"/>
                  <a:gd name="connsiteX5" fmla="*/ 134621 w 134621"/>
                  <a:gd name="connsiteY5" fmla="*/ 149655 h 150338"/>
                  <a:gd name="connsiteX6" fmla="*/ 104554 w 134621"/>
                  <a:gd name="connsiteY6" fmla="*/ 149655 h 150338"/>
                  <a:gd name="connsiteX7" fmla="*/ 104554 w 134621"/>
                  <a:gd name="connsiteY7" fmla="*/ 41685 h 150338"/>
                  <a:gd name="connsiteX8" fmla="*/ 33485 w 134621"/>
                  <a:gd name="connsiteY8" fmla="*/ 150338 h 150338"/>
                  <a:gd name="connsiteX9" fmla="*/ 684 w 134621"/>
                  <a:gd name="connsiteY9" fmla="*/ 150338 h 150338"/>
                  <a:gd name="connsiteX10" fmla="*/ 684 w 134621"/>
                  <a:gd name="connsiteY10"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50338">
                    <a:moveTo>
                      <a:pt x="0" y="0"/>
                    </a:moveTo>
                    <a:lnTo>
                      <a:pt x="30068" y="0"/>
                    </a:lnTo>
                    <a:lnTo>
                      <a:pt x="30068" y="107970"/>
                    </a:lnTo>
                    <a:lnTo>
                      <a:pt x="101820" y="0"/>
                    </a:lnTo>
                    <a:lnTo>
                      <a:pt x="134621" y="0"/>
                    </a:lnTo>
                    <a:lnTo>
                      <a:pt x="134621" y="149655"/>
                    </a:lnTo>
                    <a:lnTo>
                      <a:pt x="104554" y="149655"/>
                    </a:lnTo>
                    <a:lnTo>
                      <a:pt x="104554" y="41685"/>
                    </a:lnTo>
                    <a:lnTo>
                      <a:pt x="33485" y="150338"/>
                    </a:lnTo>
                    <a:lnTo>
                      <a:pt x="684" y="150338"/>
                    </a:lnTo>
                    <a:lnTo>
                      <a:pt x="684" y="0"/>
                    </a:lnTo>
                    <a:close/>
                  </a:path>
                </a:pathLst>
              </a:custGeom>
              <a:solidFill>
                <a:srgbClr val="FFFFFF"/>
              </a:solidFill>
              <a:ln w="6822"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8354F1B7-E369-47BB-B7EA-E0C01D3DF328}"/>
                  </a:ext>
                </a:extLst>
              </p:cNvPr>
              <p:cNvSpPr/>
              <p:nvPr/>
            </p:nvSpPr>
            <p:spPr>
              <a:xfrm>
                <a:off x="13253547" y="6848502"/>
                <a:ext cx="134621" cy="149655"/>
              </a:xfrm>
              <a:custGeom>
                <a:avLst/>
                <a:gdLst>
                  <a:gd name="connsiteX0" fmla="*/ 0 w 134621"/>
                  <a:gd name="connsiteY0" fmla="*/ 0 h 149655"/>
                  <a:gd name="connsiteX1" fmla="*/ 30068 w 134621"/>
                  <a:gd name="connsiteY1" fmla="*/ 0 h 149655"/>
                  <a:gd name="connsiteX2" fmla="*/ 30068 w 134621"/>
                  <a:gd name="connsiteY2" fmla="*/ 107970 h 149655"/>
                  <a:gd name="connsiteX3" fmla="*/ 101820 w 134621"/>
                  <a:gd name="connsiteY3" fmla="*/ 0 h 149655"/>
                  <a:gd name="connsiteX4" fmla="*/ 134621 w 134621"/>
                  <a:gd name="connsiteY4" fmla="*/ 0 h 149655"/>
                  <a:gd name="connsiteX5" fmla="*/ 134621 w 134621"/>
                  <a:gd name="connsiteY5" fmla="*/ 149655 h 149655"/>
                  <a:gd name="connsiteX6" fmla="*/ 104554 w 134621"/>
                  <a:gd name="connsiteY6" fmla="*/ 149655 h 149655"/>
                  <a:gd name="connsiteX7" fmla="*/ 104554 w 134621"/>
                  <a:gd name="connsiteY7" fmla="*/ 41685 h 149655"/>
                  <a:gd name="connsiteX8" fmla="*/ 32801 w 134621"/>
                  <a:gd name="connsiteY8" fmla="*/ 149655 h 149655"/>
                  <a:gd name="connsiteX9" fmla="*/ 0 w 134621"/>
                  <a:gd name="connsiteY9" fmla="*/ 149655 h 149655"/>
                  <a:gd name="connsiteX10" fmla="*/ 0 w 134621"/>
                  <a:gd name="connsiteY10"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49655">
                    <a:moveTo>
                      <a:pt x="0" y="0"/>
                    </a:moveTo>
                    <a:lnTo>
                      <a:pt x="30068" y="0"/>
                    </a:lnTo>
                    <a:lnTo>
                      <a:pt x="30068" y="107970"/>
                    </a:lnTo>
                    <a:lnTo>
                      <a:pt x="101820" y="0"/>
                    </a:lnTo>
                    <a:lnTo>
                      <a:pt x="134621" y="0"/>
                    </a:lnTo>
                    <a:lnTo>
                      <a:pt x="134621" y="149655"/>
                    </a:lnTo>
                    <a:lnTo>
                      <a:pt x="104554" y="149655"/>
                    </a:lnTo>
                    <a:lnTo>
                      <a:pt x="104554" y="41685"/>
                    </a:lnTo>
                    <a:lnTo>
                      <a:pt x="32801"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3029552A-833E-44AF-9BD5-00F3E68771E6}"/>
                  </a:ext>
                </a:extLst>
              </p:cNvPr>
              <p:cNvSpPr/>
              <p:nvPr/>
            </p:nvSpPr>
            <p:spPr>
              <a:xfrm>
                <a:off x="11334683" y="7186763"/>
                <a:ext cx="123004" cy="149655"/>
              </a:xfrm>
              <a:custGeom>
                <a:avLst/>
                <a:gdLst>
                  <a:gd name="connsiteX0" fmla="*/ 0 w 123004"/>
                  <a:gd name="connsiteY0" fmla="*/ 0 h 149655"/>
                  <a:gd name="connsiteX1" fmla="*/ 67652 w 123004"/>
                  <a:gd name="connsiteY1" fmla="*/ 0 h 149655"/>
                  <a:gd name="connsiteX2" fmla="*/ 117537 w 123004"/>
                  <a:gd name="connsiteY2" fmla="*/ 36901 h 149655"/>
                  <a:gd name="connsiteX3" fmla="*/ 94987 w 123004"/>
                  <a:gd name="connsiteY3" fmla="*/ 70386 h 149655"/>
                  <a:gd name="connsiteX4" fmla="*/ 123004 w 123004"/>
                  <a:gd name="connsiteY4" fmla="*/ 106604 h 149655"/>
                  <a:gd name="connsiteX5" fmla="*/ 69702 w 123004"/>
                  <a:gd name="connsiteY5" fmla="*/ 149655 h 149655"/>
                  <a:gd name="connsiteX6" fmla="*/ 0 w 123004"/>
                  <a:gd name="connsiteY6" fmla="*/ 149655 h 149655"/>
                  <a:gd name="connsiteX7" fmla="*/ 0 w 123004"/>
                  <a:gd name="connsiteY7" fmla="*/ 0 h 149655"/>
                  <a:gd name="connsiteX8" fmla="*/ 66286 w 123004"/>
                  <a:gd name="connsiteY8" fmla="*/ 60135 h 149655"/>
                  <a:gd name="connsiteX9" fmla="*/ 88836 w 123004"/>
                  <a:gd name="connsiteY9" fmla="*/ 42368 h 149655"/>
                  <a:gd name="connsiteX10" fmla="*/ 66969 w 123004"/>
                  <a:gd name="connsiteY10" fmla="*/ 24601 h 149655"/>
                  <a:gd name="connsiteX11" fmla="*/ 31434 w 123004"/>
                  <a:gd name="connsiteY11" fmla="*/ 24601 h 149655"/>
                  <a:gd name="connsiteX12" fmla="*/ 31434 w 123004"/>
                  <a:gd name="connsiteY12" fmla="*/ 60135 h 149655"/>
                  <a:gd name="connsiteX13" fmla="*/ 66286 w 123004"/>
                  <a:gd name="connsiteY13" fmla="*/ 60135 h 149655"/>
                  <a:gd name="connsiteX14" fmla="*/ 68336 w 123004"/>
                  <a:gd name="connsiteY14" fmla="*/ 125738 h 149655"/>
                  <a:gd name="connsiteX15" fmla="*/ 92253 w 123004"/>
                  <a:gd name="connsiteY15" fmla="*/ 105237 h 149655"/>
                  <a:gd name="connsiteX16" fmla="*/ 68336 w 123004"/>
                  <a:gd name="connsiteY16" fmla="*/ 84736 h 149655"/>
                  <a:gd name="connsiteX17" fmla="*/ 31434 w 123004"/>
                  <a:gd name="connsiteY17" fmla="*/ 84736 h 149655"/>
                  <a:gd name="connsiteX18" fmla="*/ 31434 w 123004"/>
                  <a:gd name="connsiteY18" fmla="*/ 126421 h 149655"/>
                  <a:gd name="connsiteX19" fmla="*/ 68336 w 123004"/>
                  <a:gd name="connsiteY19" fmla="*/ 126421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04" h="149655">
                    <a:moveTo>
                      <a:pt x="0" y="0"/>
                    </a:moveTo>
                    <a:lnTo>
                      <a:pt x="67652" y="0"/>
                    </a:lnTo>
                    <a:cubicBezTo>
                      <a:pt x="99770" y="0"/>
                      <a:pt x="117537" y="16401"/>
                      <a:pt x="117537" y="36901"/>
                    </a:cubicBezTo>
                    <a:cubicBezTo>
                      <a:pt x="117537" y="53985"/>
                      <a:pt x="108654" y="64236"/>
                      <a:pt x="94987" y="70386"/>
                    </a:cubicBezTo>
                    <a:cubicBezTo>
                      <a:pt x="110704" y="75169"/>
                      <a:pt x="123004" y="86786"/>
                      <a:pt x="123004" y="106604"/>
                    </a:cubicBezTo>
                    <a:cubicBezTo>
                      <a:pt x="123004" y="131888"/>
                      <a:pt x="101137" y="149655"/>
                      <a:pt x="69702" y="149655"/>
                    </a:cubicBezTo>
                    <a:lnTo>
                      <a:pt x="0" y="149655"/>
                    </a:lnTo>
                    <a:lnTo>
                      <a:pt x="0" y="0"/>
                    </a:lnTo>
                    <a:close/>
                    <a:moveTo>
                      <a:pt x="66286" y="60135"/>
                    </a:moveTo>
                    <a:cubicBezTo>
                      <a:pt x="79953" y="60135"/>
                      <a:pt x="88836" y="54669"/>
                      <a:pt x="88836" y="42368"/>
                    </a:cubicBezTo>
                    <a:cubicBezTo>
                      <a:pt x="88836" y="30068"/>
                      <a:pt x="80636" y="24601"/>
                      <a:pt x="66969" y="24601"/>
                    </a:cubicBezTo>
                    <a:lnTo>
                      <a:pt x="31434" y="24601"/>
                    </a:lnTo>
                    <a:lnTo>
                      <a:pt x="31434" y="60135"/>
                    </a:lnTo>
                    <a:lnTo>
                      <a:pt x="66286" y="60135"/>
                    </a:lnTo>
                    <a:close/>
                    <a:moveTo>
                      <a:pt x="68336" y="125738"/>
                    </a:moveTo>
                    <a:cubicBezTo>
                      <a:pt x="84053" y="125738"/>
                      <a:pt x="92253" y="117537"/>
                      <a:pt x="92253" y="105237"/>
                    </a:cubicBezTo>
                    <a:cubicBezTo>
                      <a:pt x="92253" y="92936"/>
                      <a:pt x="84053" y="84736"/>
                      <a:pt x="68336" y="84736"/>
                    </a:cubicBezTo>
                    <a:lnTo>
                      <a:pt x="31434" y="84736"/>
                    </a:lnTo>
                    <a:lnTo>
                      <a:pt x="31434" y="126421"/>
                    </a:lnTo>
                    <a:lnTo>
                      <a:pt x="68336" y="126421"/>
                    </a:lnTo>
                    <a:close/>
                  </a:path>
                </a:pathLst>
              </a:custGeom>
              <a:solidFill>
                <a:srgbClr val="FFFFFF"/>
              </a:solidFill>
              <a:ln w="6822"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9D3F426A-F7AF-424F-97C6-768E71758FE2}"/>
                  </a:ext>
                </a:extLst>
              </p:cNvPr>
              <p:cNvSpPr/>
              <p:nvPr/>
            </p:nvSpPr>
            <p:spPr>
              <a:xfrm>
                <a:off x="1148092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6" name="Полилиния: фигура 85">
                <a:extLst>
                  <a:ext uri="{FF2B5EF4-FFF2-40B4-BE49-F238E27FC236}">
                    <a16:creationId xmlns:a16="http://schemas.microsoft.com/office/drawing/2014/main" id="{1D9D8FA0-CFE5-4090-A358-11D8E761A867}"/>
                  </a:ext>
                </a:extLst>
              </p:cNvPr>
              <p:cNvSpPr/>
              <p:nvPr/>
            </p:nvSpPr>
            <p:spPr>
              <a:xfrm>
                <a:off x="11664744" y="7183346"/>
                <a:ext cx="121637" cy="157855"/>
              </a:xfrm>
              <a:custGeom>
                <a:avLst/>
                <a:gdLst>
                  <a:gd name="connsiteX0" fmla="*/ 121637 w 121637"/>
                  <a:gd name="connsiteY0" fmla="*/ 110020 h 157855"/>
                  <a:gd name="connsiteX1" fmla="*/ 58769 w 121637"/>
                  <a:gd name="connsiteY1" fmla="*/ 157855 h 157855"/>
                  <a:gd name="connsiteX2" fmla="*/ 0 w 121637"/>
                  <a:gd name="connsiteY2" fmla="*/ 110704 h 157855"/>
                  <a:gd name="connsiteX3" fmla="*/ 3417 w 121637"/>
                  <a:gd name="connsiteY3" fmla="*/ 93620 h 157855"/>
                  <a:gd name="connsiteX4" fmla="*/ 29384 w 121637"/>
                  <a:gd name="connsiteY4" fmla="*/ 102503 h 157855"/>
                  <a:gd name="connsiteX5" fmla="*/ 28018 w 121637"/>
                  <a:gd name="connsiteY5" fmla="*/ 110020 h 157855"/>
                  <a:gd name="connsiteX6" fmla="*/ 58769 w 121637"/>
                  <a:gd name="connsiteY6" fmla="*/ 132571 h 157855"/>
                  <a:gd name="connsiteX7" fmla="*/ 91570 w 121637"/>
                  <a:gd name="connsiteY7" fmla="*/ 108654 h 157855"/>
                  <a:gd name="connsiteX8" fmla="*/ 60819 w 121637"/>
                  <a:gd name="connsiteY8" fmla="*/ 87470 h 157855"/>
                  <a:gd name="connsiteX9" fmla="*/ 47152 w 121637"/>
                  <a:gd name="connsiteY9" fmla="*/ 87470 h 157855"/>
                  <a:gd name="connsiteX10" fmla="*/ 47152 w 121637"/>
                  <a:gd name="connsiteY10" fmla="*/ 62869 h 157855"/>
                  <a:gd name="connsiteX11" fmla="*/ 59452 w 121637"/>
                  <a:gd name="connsiteY11" fmla="*/ 62869 h 157855"/>
                  <a:gd name="connsiteX12" fmla="*/ 86103 w 121637"/>
                  <a:gd name="connsiteY12" fmla="*/ 42368 h 157855"/>
                  <a:gd name="connsiteX13" fmla="*/ 60135 w 121637"/>
                  <a:gd name="connsiteY13" fmla="*/ 23917 h 157855"/>
                  <a:gd name="connsiteX14" fmla="*/ 31434 w 121637"/>
                  <a:gd name="connsiteY14" fmla="*/ 40318 h 157855"/>
                  <a:gd name="connsiteX15" fmla="*/ 32118 w 121637"/>
                  <a:gd name="connsiteY15" fmla="*/ 46468 h 157855"/>
                  <a:gd name="connsiteX16" fmla="*/ 6150 w 121637"/>
                  <a:gd name="connsiteY16" fmla="*/ 56035 h 157855"/>
                  <a:gd name="connsiteX17" fmla="*/ 3417 w 121637"/>
                  <a:gd name="connsiteY17" fmla="*/ 41685 h 157855"/>
                  <a:gd name="connsiteX18" fmla="*/ 60819 w 121637"/>
                  <a:gd name="connsiteY18" fmla="*/ 0 h 157855"/>
                  <a:gd name="connsiteX19" fmla="*/ 115487 w 121637"/>
                  <a:gd name="connsiteY19" fmla="*/ 40318 h 157855"/>
                  <a:gd name="connsiteX20" fmla="*/ 90203 w 121637"/>
                  <a:gd name="connsiteY20" fmla="*/ 75169 h 157855"/>
                  <a:gd name="connsiteX21" fmla="*/ 121637 w 121637"/>
                  <a:gd name="connsiteY21" fmla="*/ 110020 h 15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37" h="157855">
                    <a:moveTo>
                      <a:pt x="121637" y="110020"/>
                    </a:moveTo>
                    <a:cubicBezTo>
                      <a:pt x="121637" y="136671"/>
                      <a:pt x="99770" y="157855"/>
                      <a:pt x="58769" y="157855"/>
                    </a:cubicBezTo>
                    <a:cubicBezTo>
                      <a:pt x="21184" y="157855"/>
                      <a:pt x="0" y="138038"/>
                      <a:pt x="0" y="110704"/>
                    </a:cubicBezTo>
                    <a:cubicBezTo>
                      <a:pt x="0" y="103870"/>
                      <a:pt x="2050" y="97037"/>
                      <a:pt x="3417" y="93620"/>
                    </a:cubicBezTo>
                    <a:lnTo>
                      <a:pt x="29384" y="102503"/>
                    </a:lnTo>
                    <a:cubicBezTo>
                      <a:pt x="28701" y="104554"/>
                      <a:pt x="28018" y="107287"/>
                      <a:pt x="28018" y="110020"/>
                    </a:cubicBezTo>
                    <a:cubicBezTo>
                      <a:pt x="28018" y="125054"/>
                      <a:pt x="43051" y="132571"/>
                      <a:pt x="58769" y="132571"/>
                    </a:cubicBezTo>
                    <a:cubicBezTo>
                      <a:pt x="79953" y="132571"/>
                      <a:pt x="91570" y="122321"/>
                      <a:pt x="91570" y="108654"/>
                    </a:cubicBezTo>
                    <a:cubicBezTo>
                      <a:pt x="91570" y="95670"/>
                      <a:pt x="80636" y="87470"/>
                      <a:pt x="60819" y="87470"/>
                    </a:cubicBezTo>
                    <a:lnTo>
                      <a:pt x="47152" y="87470"/>
                    </a:lnTo>
                    <a:lnTo>
                      <a:pt x="47152" y="62869"/>
                    </a:lnTo>
                    <a:lnTo>
                      <a:pt x="59452" y="62869"/>
                    </a:lnTo>
                    <a:cubicBezTo>
                      <a:pt x="77903" y="62869"/>
                      <a:pt x="86103" y="53985"/>
                      <a:pt x="86103" y="42368"/>
                    </a:cubicBezTo>
                    <a:cubicBezTo>
                      <a:pt x="86103" y="31434"/>
                      <a:pt x="77219" y="23917"/>
                      <a:pt x="60135" y="23917"/>
                    </a:cubicBezTo>
                    <a:cubicBezTo>
                      <a:pt x="42368" y="23917"/>
                      <a:pt x="31434" y="31434"/>
                      <a:pt x="31434" y="40318"/>
                    </a:cubicBezTo>
                    <a:cubicBezTo>
                      <a:pt x="31434" y="43735"/>
                      <a:pt x="32118" y="45785"/>
                      <a:pt x="32118" y="46468"/>
                    </a:cubicBezTo>
                    <a:lnTo>
                      <a:pt x="6150" y="56035"/>
                    </a:lnTo>
                    <a:cubicBezTo>
                      <a:pt x="4783" y="53302"/>
                      <a:pt x="3417" y="48518"/>
                      <a:pt x="3417" y="41685"/>
                    </a:cubicBezTo>
                    <a:cubicBezTo>
                      <a:pt x="3417" y="18451"/>
                      <a:pt x="24601" y="0"/>
                      <a:pt x="60819" y="0"/>
                    </a:cubicBezTo>
                    <a:cubicBezTo>
                      <a:pt x="98403" y="0"/>
                      <a:pt x="115487" y="17767"/>
                      <a:pt x="115487" y="40318"/>
                    </a:cubicBezTo>
                    <a:cubicBezTo>
                      <a:pt x="115487" y="57402"/>
                      <a:pt x="105920" y="69019"/>
                      <a:pt x="90203" y="75169"/>
                    </a:cubicBezTo>
                    <a:cubicBezTo>
                      <a:pt x="108654" y="79269"/>
                      <a:pt x="121637" y="90887"/>
                      <a:pt x="121637" y="110020"/>
                    </a:cubicBezTo>
                    <a:close/>
                  </a:path>
                </a:pathLst>
              </a:custGeom>
              <a:solidFill>
                <a:srgbClr val="FFFFFF"/>
              </a:solidFill>
              <a:ln w="6822" cap="flat">
                <a:noFill/>
                <a:prstDash val="solid"/>
                <a:miter/>
              </a:ln>
            </p:spPr>
            <p:txBody>
              <a:bodyPr rtlCol="0" anchor="ctr"/>
              <a:lstStyle/>
              <a:p>
                <a:endParaRPr lang="ru-RU" sz="1587" dirty="0"/>
              </a:p>
            </p:txBody>
          </p:sp>
          <p:sp>
            <p:nvSpPr>
              <p:cNvPr id="87" name="Полилиния: фигура 86">
                <a:extLst>
                  <a:ext uri="{FF2B5EF4-FFF2-40B4-BE49-F238E27FC236}">
                    <a16:creationId xmlns:a16="http://schemas.microsoft.com/office/drawing/2014/main" id="{1B23A90A-8549-4AD4-8AC6-79D22C8169DD}"/>
                  </a:ext>
                </a:extLst>
              </p:cNvPr>
              <p:cNvSpPr/>
              <p:nvPr/>
            </p:nvSpPr>
            <p:spPr>
              <a:xfrm>
                <a:off x="11819182" y="7186763"/>
                <a:ext cx="173572" cy="149655"/>
              </a:xfrm>
              <a:custGeom>
                <a:avLst/>
                <a:gdLst>
                  <a:gd name="connsiteX0" fmla="*/ 0 w 173572"/>
                  <a:gd name="connsiteY0" fmla="*/ 0 h 149655"/>
                  <a:gd name="connsiteX1" fmla="*/ 42368 w 173572"/>
                  <a:gd name="connsiteY1" fmla="*/ 0 h 149655"/>
                  <a:gd name="connsiteX2" fmla="*/ 86786 w 173572"/>
                  <a:gd name="connsiteY2" fmla="*/ 114121 h 149655"/>
                  <a:gd name="connsiteX3" fmla="*/ 131204 w 173572"/>
                  <a:gd name="connsiteY3" fmla="*/ 0 h 149655"/>
                  <a:gd name="connsiteX4" fmla="*/ 173572 w 173572"/>
                  <a:gd name="connsiteY4" fmla="*/ 0 h 149655"/>
                  <a:gd name="connsiteX5" fmla="*/ 173572 w 173572"/>
                  <a:gd name="connsiteY5" fmla="*/ 149655 h 149655"/>
                  <a:gd name="connsiteX6" fmla="*/ 143505 w 173572"/>
                  <a:gd name="connsiteY6" fmla="*/ 149655 h 149655"/>
                  <a:gd name="connsiteX7" fmla="*/ 143505 w 173572"/>
                  <a:gd name="connsiteY7" fmla="*/ 43735 h 149655"/>
                  <a:gd name="connsiteX8" fmla="*/ 100453 w 173572"/>
                  <a:gd name="connsiteY8" fmla="*/ 149655 h 149655"/>
                  <a:gd name="connsiteX9" fmla="*/ 74486 w 173572"/>
                  <a:gd name="connsiteY9" fmla="*/ 149655 h 149655"/>
                  <a:gd name="connsiteX10" fmla="*/ 30751 w 173572"/>
                  <a:gd name="connsiteY10" fmla="*/ 43052 h 149655"/>
                  <a:gd name="connsiteX11" fmla="*/ 30751 w 173572"/>
                  <a:gd name="connsiteY11" fmla="*/ 149655 h 149655"/>
                  <a:gd name="connsiteX12" fmla="*/ 683 w 173572"/>
                  <a:gd name="connsiteY12" fmla="*/ 149655 h 149655"/>
                  <a:gd name="connsiteX13" fmla="*/ 683 w 173572"/>
                  <a:gd name="connsiteY13"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572" h="149655">
                    <a:moveTo>
                      <a:pt x="0" y="0"/>
                    </a:moveTo>
                    <a:lnTo>
                      <a:pt x="42368" y="0"/>
                    </a:lnTo>
                    <a:lnTo>
                      <a:pt x="86786" y="114121"/>
                    </a:lnTo>
                    <a:lnTo>
                      <a:pt x="131204" y="0"/>
                    </a:lnTo>
                    <a:lnTo>
                      <a:pt x="173572" y="0"/>
                    </a:lnTo>
                    <a:lnTo>
                      <a:pt x="173572" y="149655"/>
                    </a:lnTo>
                    <a:lnTo>
                      <a:pt x="143505" y="149655"/>
                    </a:lnTo>
                    <a:lnTo>
                      <a:pt x="143505" y="43735"/>
                    </a:lnTo>
                    <a:lnTo>
                      <a:pt x="100453" y="149655"/>
                    </a:lnTo>
                    <a:lnTo>
                      <a:pt x="74486" y="149655"/>
                    </a:lnTo>
                    <a:lnTo>
                      <a:pt x="30751" y="43052"/>
                    </a:lnTo>
                    <a:lnTo>
                      <a:pt x="30751" y="149655"/>
                    </a:lnTo>
                    <a:lnTo>
                      <a:pt x="683" y="149655"/>
                    </a:lnTo>
                    <a:lnTo>
                      <a:pt x="683" y="0"/>
                    </a:lnTo>
                    <a:close/>
                  </a:path>
                </a:pathLst>
              </a:custGeom>
              <a:solidFill>
                <a:srgbClr val="FFFFFF"/>
              </a:solidFill>
              <a:ln w="6822" cap="flat">
                <a:noFill/>
                <a:prstDash val="solid"/>
                <a:miter/>
              </a:ln>
            </p:spPr>
            <p:txBody>
              <a:bodyPr rtlCol="0" anchor="ctr"/>
              <a:lstStyle/>
              <a:p>
                <a:endParaRPr lang="ru-RU" sz="1587" dirty="0"/>
              </a:p>
            </p:txBody>
          </p:sp>
          <p:sp>
            <p:nvSpPr>
              <p:cNvPr id="88" name="Полилиния: фигура 87">
                <a:extLst>
                  <a:ext uri="{FF2B5EF4-FFF2-40B4-BE49-F238E27FC236}">
                    <a16:creationId xmlns:a16="http://schemas.microsoft.com/office/drawing/2014/main" id="{4872465F-938F-472C-977B-5FE0168B66D4}"/>
                  </a:ext>
                </a:extLst>
              </p:cNvPr>
              <p:cNvSpPr/>
              <p:nvPr/>
            </p:nvSpPr>
            <p:spPr>
              <a:xfrm>
                <a:off x="12022822"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89" name="Полилиния: фигура 88">
                <a:extLst>
                  <a:ext uri="{FF2B5EF4-FFF2-40B4-BE49-F238E27FC236}">
                    <a16:creationId xmlns:a16="http://schemas.microsoft.com/office/drawing/2014/main" id="{F37C8A15-4F67-4EDB-9E25-1393EDD4DD32}"/>
                  </a:ext>
                </a:extLst>
              </p:cNvPr>
              <p:cNvSpPr/>
              <p:nvPr/>
            </p:nvSpPr>
            <p:spPr>
              <a:xfrm>
                <a:off x="12190245" y="7186763"/>
                <a:ext cx="210473" cy="149655"/>
              </a:xfrm>
              <a:custGeom>
                <a:avLst/>
                <a:gdLst>
                  <a:gd name="connsiteX0" fmla="*/ 171522 w 210473"/>
                  <a:gd name="connsiteY0" fmla="*/ 149655 h 149655"/>
                  <a:gd name="connsiteX1" fmla="*/ 120271 w 210473"/>
                  <a:gd name="connsiteY1" fmla="*/ 84053 h 149655"/>
                  <a:gd name="connsiteX2" fmla="*/ 120271 w 210473"/>
                  <a:gd name="connsiteY2" fmla="*/ 149655 h 149655"/>
                  <a:gd name="connsiteX3" fmla="*/ 88836 w 210473"/>
                  <a:gd name="connsiteY3" fmla="*/ 149655 h 149655"/>
                  <a:gd name="connsiteX4" fmla="*/ 88836 w 210473"/>
                  <a:gd name="connsiteY4" fmla="*/ 83370 h 149655"/>
                  <a:gd name="connsiteX5" fmla="*/ 37585 w 210473"/>
                  <a:gd name="connsiteY5" fmla="*/ 149655 h 149655"/>
                  <a:gd name="connsiteX6" fmla="*/ 0 w 210473"/>
                  <a:gd name="connsiteY6" fmla="*/ 149655 h 149655"/>
                  <a:gd name="connsiteX7" fmla="*/ 62869 w 210473"/>
                  <a:gd name="connsiteY7" fmla="*/ 70386 h 149655"/>
                  <a:gd name="connsiteX8" fmla="*/ 1367 w 210473"/>
                  <a:gd name="connsiteY8" fmla="*/ 0 h 149655"/>
                  <a:gd name="connsiteX9" fmla="*/ 41685 w 210473"/>
                  <a:gd name="connsiteY9" fmla="*/ 0 h 149655"/>
                  <a:gd name="connsiteX10" fmla="*/ 89520 w 210473"/>
                  <a:gd name="connsiteY10" fmla="*/ 58085 h 149655"/>
                  <a:gd name="connsiteX11" fmla="*/ 89520 w 210473"/>
                  <a:gd name="connsiteY11" fmla="*/ 0 h 149655"/>
                  <a:gd name="connsiteX12" fmla="*/ 120954 w 210473"/>
                  <a:gd name="connsiteY12" fmla="*/ 0 h 149655"/>
                  <a:gd name="connsiteX13" fmla="*/ 120954 w 210473"/>
                  <a:gd name="connsiteY13" fmla="*/ 58085 h 149655"/>
                  <a:gd name="connsiteX14" fmla="*/ 168789 w 210473"/>
                  <a:gd name="connsiteY14" fmla="*/ 0 h 149655"/>
                  <a:gd name="connsiteX15" fmla="*/ 209107 w 210473"/>
                  <a:gd name="connsiteY15" fmla="*/ 0 h 149655"/>
                  <a:gd name="connsiteX16" fmla="*/ 147605 w 210473"/>
                  <a:gd name="connsiteY16" fmla="*/ 70386 h 149655"/>
                  <a:gd name="connsiteX17" fmla="*/ 210474 w 210473"/>
                  <a:gd name="connsiteY17" fmla="*/ 149655 h 149655"/>
                  <a:gd name="connsiteX18" fmla="*/ 171522 w 210473"/>
                  <a:gd name="connsiteY18" fmla="*/ 149655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473" h="149655">
                    <a:moveTo>
                      <a:pt x="171522" y="149655"/>
                    </a:moveTo>
                    <a:lnTo>
                      <a:pt x="120271" y="84053"/>
                    </a:lnTo>
                    <a:lnTo>
                      <a:pt x="120271" y="149655"/>
                    </a:lnTo>
                    <a:lnTo>
                      <a:pt x="88836" y="149655"/>
                    </a:lnTo>
                    <a:lnTo>
                      <a:pt x="88836" y="83370"/>
                    </a:lnTo>
                    <a:lnTo>
                      <a:pt x="37585" y="149655"/>
                    </a:lnTo>
                    <a:lnTo>
                      <a:pt x="0" y="149655"/>
                    </a:lnTo>
                    <a:lnTo>
                      <a:pt x="62869" y="70386"/>
                    </a:lnTo>
                    <a:lnTo>
                      <a:pt x="1367" y="0"/>
                    </a:lnTo>
                    <a:lnTo>
                      <a:pt x="41685" y="0"/>
                    </a:lnTo>
                    <a:lnTo>
                      <a:pt x="89520" y="58085"/>
                    </a:lnTo>
                    <a:lnTo>
                      <a:pt x="89520" y="0"/>
                    </a:lnTo>
                    <a:lnTo>
                      <a:pt x="120954" y="0"/>
                    </a:lnTo>
                    <a:lnTo>
                      <a:pt x="120954" y="58085"/>
                    </a:lnTo>
                    <a:lnTo>
                      <a:pt x="168789" y="0"/>
                    </a:lnTo>
                    <a:lnTo>
                      <a:pt x="209107" y="0"/>
                    </a:lnTo>
                    <a:lnTo>
                      <a:pt x="147605" y="70386"/>
                    </a:lnTo>
                    <a:lnTo>
                      <a:pt x="210474" y="149655"/>
                    </a:lnTo>
                    <a:lnTo>
                      <a:pt x="171522" y="149655"/>
                    </a:lnTo>
                    <a:close/>
                  </a:path>
                </a:pathLst>
              </a:custGeom>
              <a:solidFill>
                <a:srgbClr val="FFFFFF"/>
              </a:solidFill>
              <a:ln w="6822" cap="flat">
                <a:noFill/>
                <a:prstDash val="solid"/>
                <a:miter/>
              </a:ln>
            </p:spPr>
            <p:txBody>
              <a:bodyPr rtlCol="0" anchor="ctr"/>
              <a:lstStyle/>
              <a:p>
                <a:endParaRPr lang="ru-RU" sz="1587" dirty="0"/>
              </a:p>
            </p:txBody>
          </p:sp>
          <p:sp>
            <p:nvSpPr>
              <p:cNvPr id="90" name="Полилиния: фигура 89">
                <a:extLst>
                  <a:ext uri="{FF2B5EF4-FFF2-40B4-BE49-F238E27FC236}">
                    <a16:creationId xmlns:a16="http://schemas.microsoft.com/office/drawing/2014/main" id="{D93263D9-D719-41EA-BC17-C358BB4460A1}"/>
                  </a:ext>
                </a:extLst>
              </p:cNvPr>
              <p:cNvSpPr/>
              <p:nvPr/>
            </p:nvSpPr>
            <p:spPr>
              <a:xfrm>
                <a:off x="12423953" y="7186763"/>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91" name="Полилиния: фигура 90">
                <a:extLst>
                  <a:ext uri="{FF2B5EF4-FFF2-40B4-BE49-F238E27FC236}">
                    <a16:creationId xmlns:a16="http://schemas.microsoft.com/office/drawing/2014/main" id="{DA87ED25-2AEC-4E2F-B35A-01D04F1362B4}"/>
                  </a:ext>
                </a:extLst>
              </p:cNvPr>
              <p:cNvSpPr/>
              <p:nvPr/>
            </p:nvSpPr>
            <p:spPr>
              <a:xfrm>
                <a:off x="1258659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4" y="28701"/>
                      <a:pt x="80636" y="28701"/>
                    </a:cubicBezTo>
                    <a:cubicBezTo>
                      <a:pt x="54668" y="28701"/>
                      <a:pt x="32118" y="48518"/>
                      <a:pt x="32118" y="79269"/>
                    </a:cubicBezTo>
                    <a:cubicBezTo>
                      <a:pt x="32118" y="110020"/>
                      <a:pt x="54668" y="129838"/>
                      <a:pt x="80636" y="129838"/>
                    </a:cubicBezTo>
                    <a:cubicBezTo>
                      <a:pt x="106604"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92" name="Полилиния: фигура 91">
                <a:extLst>
                  <a:ext uri="{FF2B5EF4-FFF2-40B4-BE49-F238E27FC236}">
                    <a16:creationId xmlns:a16="http://schemas.microsoft.com/office/drawing/2014/main" id="{E45D618D-B836-420A-8762-2D5DCA2240D7}"/>
                  </a:ext>
                </a:extLst>
              </p:cNvPr>
              <p:cNvSpPr/>
              <p:nvPr/>
            </p:nvSpPr>
            <p:spPr>
              <a:xfrm>
                <a:off x="12769047" y="7182663"/>
                <a:ext cx="144871" cy="158538"/>
              </a:xfrm>
              <a:custGeom>
                <a:avLst/>
                <a:gdLst>
                  <a:gd name="connsiteX0" fmla="*/ 77902 w 144871"/>
                  <a:gd name="connsiteY0" fmla="*/ 158539 h 158538"/>
                  <a:gd name="connsiteX1" fmla="*/ 0 w 144871"/>
                  <a:gd name="connsiteY1" fmla="*/ 79269 h 158538"/>
                  <a:gd name="connsiteX2" fmla="*/ 77902 w 144871"/>
                  <a:gd name="connsiteY2" fmla="*/ 0 h 158538"/>
                  <a:gd name="connsiteX3" fmla="*/ 143505 w 144871"/>
                  <a:gd name="connsiteY3" fmla="*/ 37585 h 158538"/>
                  <a:gd name="connsiteX4" fmla="*/ 117537 w 144871"/>
                  <a:gd name="connsiteY4" fmla="*/ 52618 h 158538"/>
                  <a:gd name="connsiteX5" fmla="*/ 77902 w 144871"/>
                  <a:gd name="connsiteY5" fmla="*/ 28701 h 158538"/>
                  <a:gd name="connsiteX6" fmla="*/ 32118 w 144871"/>
                  <a:gd name="connsiteY6" fmla="*/ 78586 h 158538"/>
                  <a:gd name="connsiteX7" fmla="*/ 77902 w 144871"/>
                  <a:gd name="connsiteY7" fmla="*/ 128471 h 158538"/>
                  <a:gd name="connsiteX8" fmla="*/ 119587 w 144871"/>
                  <a:gd name="connsiteY8" fmla="*/ 104553 h 158538"/>
                  <a:gd name="connsiteX9" fmla="*/ 144872 w 144871"/>
                  <a:gd name="connsiteY9" fmla="*/ 118904 h 158538"/>
                  <a:gd name="connsiteX10" fmla="*/ 77902 w 144871"/>
                  <a:gd name="connsiteY10" fmla="*/ 15853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71" h="158538">
                    <a:moveTo>
                      <a:pt x="77902" y="158539"/>
                    </a:moveTo>
                    <a:cubicBezTo>
                      <a:pt x="33484" y="158539"/>
                      <a:pt x="0" y="126421"/>
                      <a:pt x="0" y="79269"/>
                    </a:cubicBezTo>
                    <a:cubicBezTo>
                      <a:pt x="0" y="32118"/>
                      <a:pt x="36218" y="0"/>
                      <a:pt x="77902" y="0"/>
                    </a:cubicBezTo>
                    <a:cubicBezTo>
                      <a:pt x="110020" y="0"/>
                      <a:pt x="132571" y="14350"/>
                      <a:pt x="143505" y="37585"/>
                    </a:cubicBezTo>
                    <a:lnTo>
                      <a:pt x="117537" y="52618"/>
                    </a:lnTo>
                    <a:cubicBezTo>
                      <a:pt x="107287" y="36218"/>
                      <a:pt x="93620" y="28701"/>
                      <a:pt x="77902" y="28701"/>
                    </a:cubicBezTo>
                    <a:cubicBezTo>
                      <a:pt x="51935" y="28701"/>
                      <a:pt x="32118" y="47835"/>
                      <a:pt x="32118" y="78586"/>
                    </a:cubicBezTo>
                    <a:cubicBezTo>
                      <a:pt x="32118" y="109337"/>
                      <a:pt x="51252" y="128471"/>
                      <a:pt x="77902" y="128471"/>
                    </a:cubicBezTo>
                    <a:cubicBezTo>
                      <a:pt x="98403" y="128471"/>
                      <a:pt x="110020" y="118221"/>
                      <a:pt x="119587" y="104553"/>
                    </a:cubicBezTo>
                    <a:lnTo>
                      <a:pt x="144872" y="118904"/>
                    </a:lnTo>
                    <a:cubicBezTo>
                      <a:pt x="130521" y="143505"/>
                      <a:pt x="109337" y="158539"/>
                      <a:pt x="77902" y="158539"/>
                    </a:cubicBezTo>
                    <a:close/>
                  </a:path>
                </a:pathLst>
              </a:custGeom>
              <a:solidFill>
                <a:srgbClr val="FFFFFF"/>
              </a:solidFill>
              <a:ln w="6822" cap="flat">
                <a:noFill/>
                <a:prstDash val="solid"/>
                <a:miter/>
              </a:ln>
            </p:spPr>
            <p:txBody>
              <a:bodyPr rtlCol="0" anchor="ctr"/>
              <a:lstStyle/>
              <a:p>
                <a:endParaRPr lang="ru-RU" sz="1587" dirty="0"/>
              </a:p>
            </p:txBody>
          </p:sp>
          <p:sp>
            <p:nvSpPr>
              <p:cNvPr id="93" name="Полилиния: фигура 92">
                <a:extLst>
                  <a:ext uri="{FF2B5EF4-FFF2-40B4-BE49-F238E27FC236}">
                    <a16:creationId xmlns:a16="http://schemas.microsoft.com/office/drawing/2014/main" id="{9983EB17-5C4E-4E51-ACE9-FE6656D66727}"/>
                  </a:ext>
                </a:extLst>
              </p:cNvPr>
              <p:cNvSpPr/>
              <p:nvPr/>
            </p:nvSpPr>
            <p:spPr>
              <a:xfrm>
                <a:off x="12933053" y="7186763"/>
                <a:ext cx="125054" cy="149655"/>
              </a:xfrm>
              <a:custGeom>
                <a:avLst/>
                <a:gdLst>
                  <a:gd name="connsiteX0" fmla="*/ 47151 w 125054"/>
                  <a:gd name="connsiteY0" fmla="*/ 28018 h 149655"/>
                  <a:gd name="connsiteX1" fmla="*/ 0 w 125054"/>
                  <a:gd name="connsiteY1" fmla="*/ 28018 h 149655"/>
                  <a:gd name="connsiteX2" fmla="*/ 0 w 125054"/>
                  <a:gd name="connsiteY2" fmla="*/ 0 h 149655"/>
                  <a:gd name="connsiteX3" fmla="*/ 125054 w 125054"/>
                  <a:gd name="connsiteY3" fmla="*/ 0 h 149655"/>
                  <a:gd name="connsiteX4" fmla="*/ 125054 w 125054"/>
                  <a:gd name="connsiteY4" fmla="*/ 28018 h 149655"/>
                  <a:gd name="connsiteX5" fmla="*/ 77902 w 125054"/>
                  <a:gd name="connsiteY5" fmla="*/ 28018 h 149655"/>
                  <a:gd name="connsiteX6" fmla="*/ 77902 w 125054"/>
                  <a:gd name="connsiteY6" fmla="*/ 149655 h 149655"/>
                  <a:gd name="connsiteX7" fmla="*/ 46468 w 125054"/>
                  <a:gd name="connsiteY7" fmla="*/ 149655 h 149655"/>
                  <a:gd name="connsiteX8" fmla="*/ 46468 w 125054"/>
                  <a:gd name="connsiteY8" fmla="*/ 28018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54" h="149655">
                    <a:moveTo>
                      <a:pt x="47151" y="28018"/>
                    </a:moveTo>
                    <a:lnTo>
                      <a:pt x="0" y="28018"/>
                    </a:lnTo>
                    <a:lnTo>
                      <a:pt x="0" y="0"/>
                    </a:lnTo>
                    <a:lnTo>
                      <a:pt x="125054" y="0"/>
                    </a:lnTo>
                    <a:lnTo>
                      <a:pt x="125054" y="28018"/>
                    </a:lnTo>
                    <a:lnTo>
                      <a:pt x="77902" y="28018"/>
                    </a:lnTo>
                    <a:lnTo>
                      <a:pt x="77902" y="149655"/>
                    </a:lnTo>
                    <a:lnTo>
                      <a:pt x="46468" y="149655"/>
                    </a:lnTo>
                    <a:lnTo>
                      <a:pt x="46468" y="28018"/>
                    </a:lnTo>
                    <a:close/>
                  </a:path>
                </a:pathLst>
              </a:custGeom>
              <a:solidFill>
                <a:srgbClr val="FFFFFF"/>
              </a:solidFill>
              <a:ln w="6822" cap="flat">
                <a:noFill/>
                <a:prstDash val="solid"/>
                <a:miter/>
              </a:ln>
            </p:spPr>
            <p:txBody>
              <a:bodyPr rtlCol="0" anchor="ctr"/>
              <a:lstStyle/>
              <a:p>
                <a:endParaRPr lang="ru-RU" sz="1587" dirty="0"/>
              </a:p>
            </p:txBody>
          </p:sp>
          <p:sp>
            <p:nvSpPr>
              <p:cNvPr id="94" name="Полилиния: фигура 93">
                <a:extLst>
                  <a:ext uri="{FF2B5EF4-FFF2-40B4-BE49-F238E27FC236}">
                    <a16:creationId xmlns:a16="http://schemas.microsoft.com/office/drawing/2014/main" id="{A3AA018D-8569-49F9-988C-9A6F88D46166}"/>
                  </a:ext>
                </a:extLst>
              </p:cNvPr>
              <p:cNvSpPr/>
              <p:nvPr/>
            </p:nvSpPr>
            <p:spPr>
              <a:xfrm>
                <a:off x="13073141" y="7182663"/>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2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7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2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2"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7" y="86103"/>
                    </a:lnTo>
                    <a:cubicBezTo>
                      <a:pt x="32118" y="112070"/>
                      <a:pt x="49885" y="131204"/>
                      <a:pt x="76536" y="131204"/>
                    </a:cubicBezTo>
                    <a:close/>
                    <a:moveTo>
                      <a:pt x="30751" y="61502"/>
                    </a:moveTo>
                    <a:lnTo>
                      <a:pt x="119587" y="61502"/>
                    </a:lnTo>
                    <a:cubicBezTo>
                      <a:pt x="116854" y="38268"/>
                      <a:pt x="99087" y="24601"/>
                      <a:pt x="75852" y="24601"/>
                    </a:cubicBezTo>
                    <a:cubicBezTo>
                      <a:pt x="53302" y="24601"/>
                      <a:pt x="35535"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95" name="Полилиния: фигура 94">
                <a:extLst>
                  <a:ext uri="{FF2B5EF4-FFF2-40B4-BE49-F238E27FC236}">
                    <a16:creationId xmlns:a16="http://schemas.microsoft.com/office/drawing/2014/main" id="{87A6A5E3-FCAD-43AF-80C9-AC54D760D39C}"/>
                  </a:ext>
                </a:extLst>
              </p:cNvPr>
              <p:cNvSpPr/>
              <p:nvPr/>
            </p:nvSpPr>
            <p:spPr>
              <a:xfrm>
                <a:off x="13253547" y="7132778"/>
                <a:ext cx="134621" cy="203640"/>
              </a:xfrm>
              <a:custGeom>
                <a:avLst/>
                <a:gdLst>
                  <a:gd name="connsiteX0" fmla="*/ 0 w 134621"/>
                  <a:gd name="connsiteY0" fmla="*/ 53985 h 203640"/>
                  <a:gd name="connsiteX1" fmla="*/ 30068 w 134621"/>
                  <a:gd name="connsiteY1" fmla="*/ 53985 h 203640"/>
                  <a:gd name="connsiteX2" fmla="*/ 30068 w 134621"/>
                  <a:gd name="connsiteY2" fmla="*/ 161956 h 203640"/>
                  <a:gd name="connsiteX3" fmla="*/ 101820 w 134621"/>
                  <a:gd name="connsiteY3" fmla="*/ 53985 h 203640"/>
                  <a:gd name="connsiteX4" fmla="*/ 134621 w 134621"/>
                  <a:gd name="connsiteY4" fmla="*/ 53985 h 203640"/>
                  <a:gd name="connsiteX5" fmla="*/ 134621 w 134621"/>
                  <a:gd name="connsiteY5" fmla="*/ 203640 h 203640"/>
                  <a:gd name="connsiteX6" fmla="*/ 104554 w 134621"/>
                  <a:gd name="connsiteY6" fmla="*/ 203640 h 203640"/>
                  <a:gd name="connsiteX7" fmla="*/ 104554 w 134621"/>
                  <a:gd name="connsiteY7" fmla="*/ 95670 h 203640"/>
                  <a:gd name="connsiteX8" fmla="*/ 32801 w 134621"/>
                  <a:gd name="connsiteY8" fmla="*/ 203640 h 203640"/>
                  <a:gd name="connsiteX9" fmla="*/ 0 w 134621"/>
                  <a:gd name="connsiteY9" fmla="*/ 203640 h 203640"/>
                  <a:gd name="connsiteX10" fmla="*/ 0 w 134621"/>
                  <a:gd name="connsiteY10" fmla="*/ 53985 h 203640"/>
                  <a:gd name="connsiteX11" fmla="*/ 34168 w 134621"/>
                  <a:gd name="connsiteY11" fmla="*/ 0 h 203640"/>
                  <a:gd name="connsiteX12" fmla="*/ 55352 w 134621"/>
                  <a:gd name="connsiteY12" fmla="*/ 0 h 203640"/>
                  <a:gd name="connsiteX13" fmla="*/ 66969 w 134621"/>
                  <a:gd name="connsiteY13" fmla="*/ 12984 h 203640"/>
                  <a:gd name="connsiteX14" fmla="*/ 78586 w 134621"/>
                  <a:gd name="connsiteY14" fmla="*/ 0 h 203640"/>
                  <a:gd name="connsiteX15" fmla="*/ 99770 w 134621"/>
                  <a:gd name="connsiteY15" fmla="*/ 0 h 203640"/>
                  <a:gd name="connsiteX16" fmla="*/ 66969 w 134621"/>
                  <a:gd name="connsiteY16" fmla="*/ 32801 h 203640"/>
                  <a:gd name="connsiteX17" fmla="*/ 34168 w 134621"/>
                  <a:gd name="connsiteY17" fmla="*/ 0 h 2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21" h="203640">
                    <a:moveTo>
                      <a:pt x="0" y="53985"/>
                    </a:moveTo>
                    <a:lnTo>
                      <a:pt x="30068" y="53985"/>
                    </a:lnTo>
                    <a:lnTo>
                      <a:pt x="30068" y="161956"/>
                    </a:lnTo>
                    <a:lnTo>
                      <a:pt x="101820" y="53985"/>
                    </a:lnTo>
                    <a:lnTo>
                      <a:pt x="134621" y="53985"/>
                    </a:lnTo>
                    <a:lnTo>
                      <a:pt x="134621" y="203640"/>
                    </a:lnTo>
                    <a:lnTo>
                      <a:pt x="104554" y="203640"/>
                    </a:lnTo>
                    <a:lnTo>
                      <a:pt x="104554" y="95670"/>
                    </a:lnTo>
                    <a:lnTo>
                      <a:pt x="32801" y="203640"/>
                    </a:lnTo>
                    <a:lnTo>
                      <a:pt x="0" y="203640"/>
                    </a:lnTo>
                    <a:lnTo>
                      <a:pt x="0" y="53985"/>
                    </a:lnTo>
                    <a:close/>
                    <a:moveTo>
                      <a:pt x="34168" y="0"/>
                    </a:moveTo>
                    <a:lnTo>
                      <a:pt x="55352" y="0"/>
                    </a:lnTo>
                    <a:cubicBezTo>
                      <a:pt x="55352" y="7517"/>
                      <a:pt x="59452" y="12984"/>
                      <a:pt x="66969" y="12984"/>
                    </a:cubicBezTo>
                    <a:cubicBezTo>
                      <a:pt x="74486" y="12984"/>
                      <a:pt x="78586" y="7517"/>
                      <a:pt x="78586" y="0"/>
                    </a:cubicBezTo>
                    <a:lnTo>
                      <a:pt x="99770" y="0"/>
                    </a:lnTo>
                    <a:cubicBezTo>
                      <a:pt x="99770" y="19134"/>
                      <a:pt x="86786" y="32801"/>
                      <a:pt x="66969" y="32801"/>
                    </a:cubicBezTo>
                    <a:cubicBezTo>
                      <a:pt x="47152" y="32801"/>
                      <a:pt x="34168" y="19134"/>
                      <a:pt x="34168" y="0"/>
                    </a:cubicBezTo>
                    <a:close/>
                  </a:path>
                </a:pathLst>
              </a:custGeom>
              <a:solidFill>
                <a:srgbClr val="FFFFFF"/>
              </a:solidFill>
              <a:ln w="6822" cap="flat">
                <a:noFill/>
                <a:prstDash val="solid"/>
                <a:miter/>
              </a:ln>
            </p:spPr>
            <p:txBody>
              <a:bodyPr rtlCol="0" anchor="ctr"/>
              <a:lstStyle/>
              <a:p>
                <a:endParaRPr lang="ru-RU" sz="1587" dirty="0"/>
              </a:p>
            </p:txBody>
          </p:sp>
        </p:grpSp>
        <p:sp>
          <p:nvSpPr>
            <p:cNvPr id="73" name="Полилиния: фигура 72">
              <a:extLst>
                <a:ext uri="{FF2B5EF4-FFF2-40B4-BE49-F238E27FC236}">
                  <a16:creationId xmlns:a16="http://schemas.microsoft.com/office/drawing/2014/main" id="{0B50C3E1-2B8F-4C98-99B6-B40544711BB5}"/>
                </a:ext>
              </a:extLst>
            </p:cNvPr>
            <p:cNvSpPr/>
            <p:nvPr/>
          </p:nvSpPr>
          <p:spPr>
            <a:xfrm>
              <a:off x="11519872" y="4054942"/>
              <a:ext cx="2309744" cy="2615887"/>
            </a:xfrm>
            <a:custGeom>
              <a:avLst/>
              <a:gdLst>
                <a:gd name="connsiteX0" fmla="*/ 2309744 w 2309744"/>
                <a:gd name="connsiteY0" fmla="*/ 0 h 2615887"/>
                <a:gd name="connsiteX1" fmla="*/ 350562 w 2309744"/>
                <a:gd name="connsiteY1" fmla="*/ 2452566 h 2615887"/>
                <a:gd name="connsiteX2" fmla="*/ 2050 w 2309744"/>
                <a:gd name="connsiteY2" fmla="*/ 2615205 h 2615887"/>
                <a:gd name="connsiteX3" fmla="*/ 0 w 2309744"/>
                <a:gd name="connsiteY3" fmla="*/ 2615888 h 2615887"/>
                <a:gd name="connsiteX4" fmla="*/ 0 w 2309744"/>
                <a:gd name="connsiteY4" fmla="*/ 2615888 h 2615887"/>
                <a:gd name="connsiteX5" fmla="*/ 2309744 w 2309744"/>
                <a:gd name="connsiteY5" fmla="*/ 1107721 h 2615887"/>
                <a:gd name="connsiteX6" fmla="*/ 2309744 w 2309744"/>
                <a:gd name="connsiteY6" fmla="*/ 0 h 261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9744" h="2615887">
                  <a:moveTo>
                    <a:pt x="2309744" y="0"/>
                  </a:moveTo>
                  <a:cubicBezTo>
                    <a:pt x="2039818" y="1072869"/>
                    <a:pt x="1316144" y="1946199"/>
                    <a:pt x="350562" y="2452566"/>
                  </a:cubicBezTo>
                  <a:cubicBezTo>
                    <a:pt x="236441" y="2509284"/>
                    <a:pt x="112754" y="2561903"/>
                    <a:pt x="2050" y="2615205"/>
                  </a:cubicBezTo>
                  <a:lnTo>
                    <a:pt x="0" y="2615888"/>
                  </a:lnTo>
                  <a:lnTo>
                    <a:pt x="0" y="2615888"/>
                  </a:lnTo>
                  <a:cubicBezTo>
                    <a:pt x="880846" y="2287877"/>
                    <a:pt x="1668073" y="1768526"/>
                    <a:pt x="2309744" y="1107721"/>
                  </a:cubicBezTo>
                  <a:lnTo>
                    <a:pt x="2309744" y="0"/>
                  </a:lnTo>
                  <a:close/>
                </a:path>
              </a:pathLst>
            </a:custGeom>
            <a:solidFill>
              <a:schemeClr val="accent3"/>
            </a:solidFill>
            <a:ln w="6822" cap="flat">
              <a:noFill/>
              <a:prstDash val="solid"/>
              <a:miter/>
            </a:ln>
          </p:spPr>
          <p:txBody>
            <a:bodyPr rtlCol="0" anchor="ctr"/>
            <a:lstStyle/>
            <a:p>
              <a:endParaRPr lang="ru-RU" sz="1587" dirty="0"/>
            </a:p>
          </p:txBody>
        </p:sp>
      </p:grpSp>
    </p:spTree>
    <p:extLst>
      <p:ext uri="{BB962C8B-B14F-4D97-AF65-F5344CB8AC3E}">
        <p14:creationId xmlns:p14="http://schemas.microsoft.com/office/powerpoint/2010/main" val="96629605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Последний">
    <p:spTree>
      <p:nvGrpSpPr>
        <p:cNvPr id="1" name=""/>
        <p:cNvGrpSpPr/>
        <p:nvPr/>
      </p:nvGrpSpPr>
      <p:grpSpPr>
        <a:xfrm>
          <a:off x="0" y="0"/>
          <a:ext cx="0" cy="0"/>
          <a:chOff x="0" y="0"/>
          <a:chExt cx="0" cy="0"/>
        </a:xfrm>
      </p:grpSpPr>
      <p:sp>
        <p:nvSpPr>
          <p:cNvPr id="26" name="Текст 22">
            <a:extLst>
              <a:ext uri="{FF2B5EF4-FFF2-40B4-BE49-F238E27FC236}">
                <a16:creationId xmlns:a16="http://schemas.microsoft.com/office/drawing/2014/main" id="{ED08749F-08FB-4B19-95CF-7D71B73F591E}"/>
              </a:ext>
            </a:extLst>
          </p:cNvPr>
          <p:cNvSpPr>
            <a:spLocks noGrp="1"/>
          </p:cNvSpPr>
          <p:nvPr>
            <p:ph type="body" sz="quarter" idx="14" hasCustomPrompt="1"/>
          </p:nvPr>
        </p:nvSpPr>
        <p:spPr>
          <a:xfrm>
            <a:off x="417516" y="2481065"/>
            <a:ext cx="3706193" cy="1139219"/>
          </a:xfrm>
          <a:prstGeom prst="rect">
            <a:avLst/>
          </a:prstGeom>
          <a:noFill/>
        </p:spPr>
        <p:txBody>
          <a:bodyPr wrap="none" lIns="0" tIns="36000" rIns="108000" bIns="0">
            <a:spAutoFit/>
          </a:bodyPr>
          <a:lstStyle>
            <a:lvl1pPr>
              <a:lnSpc>
                <a:spcPts val="4319"/>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53" name="Рисунок 25">
            <a:extLst>
              <a:ext uri="{FF2B5EF4-FFF2-40B4-BE49-F238E27FC236}">
                <a16:creationId xmlns:a16="http://schemas.microsoft.com/office/drawing/2014/main" id="{059F671D-3D08-41EE-830E-98F1AB89FBFA}"/>
              </a:ext>
            </a:extLst>
          </p:cNvPr>
          <p:cNvGrpSpPr/>
          <p:nvPr userDrawn="1"/>
        </p:nvGrpSpPr>
        <p:grpSpPr>
          <a:xfrm>
            <a:off x="419833" y="417146"/>
            <a:ext cx="2645659" cy="753911"/>
            <a:chOff x="-233" y="1916027"/>
            <a:chExt cx="13832096" cy="3938000"/>
          </a:xfrm>
        </p:grpSpPr>
        <p:sp>
          <p:nvSpPr>
            <p:cNvPr id="54" name="Полилиния: фигура 53">
              <a:extLst>
                <a:ext uri="{FF2B5EF4-FFF2-40B4-BE49-F238E27FC236}">
                  <a16:creationId xmlns:a16="http://schemas.microsoft.com/office/drawing/2014/main" id="{6FCAAED5-A149-43F2-B0A1-986696DBB566}"/>
                </a:ext>
              </a:extLst>
            </p:cNvPr>
            <p:cNvSpPr/>
            <p:nvPr/>
          </p:nvSpPr>
          <p:spPr>
            <a:xfrm>
              <a:off x="2798114" y="2521151"/>
              <a:ext cx="11033748" cy="3332876"/>
            </a:xfrm>
            <a:custGeom>
              <a:avLst/>
              <a:gdLst>
                <a:gd name="connsiteX0" fmla="*/ 8186381 w 11033748"/>
                <a:gd name="connsiteY0" fmla="*/ 869378 h 3332876"/>
                <a:gd name="connsiteX1" fmla="*/ 8655469 w 11033748"/>
                <a:gd name="connsiteY1" fmla="*/ 1402575 h 3332876"/>
                <a:gd name="connsiteX2" fmla="*/ 8350562 w 11033748"/>
                <a:gd name="connsiteY2" fmla="*/ 1402575 h 3332876"/>
                <a:gd name="connsiteX3" fmla="*/ 7987800 w 11033748"/>
                <a:gd name="connsiteY3" fmla="*/ 991341 h 3332876"/>
                <a:gd name="connsiteX4" fmla="*/ 7987800 w 11033748"/>
                <a:gd name="connsiteY4" fmla="*/ 1402575 h 3332876"/>
                <a:gd name="connsiteX5" fmla="*/ 7735274 w 11033748"/>
                <a:gd name="connsiteY5" fmla="*/ 1402575 h 3332876"/>
                <a:gd name="connsiteX6" fmla="*/ 7735274 w 11033748"/>
                <a:gd name="connsiteY6" fmla="*/ 408889 h 3332876"/>
                <a:gd name="connsiteX7" fmla="*/ 7987800 w 11033748"/>
                <a:gd name="connsiteY7" fmla="*/ 408889 h 3332876"/>
                <a:gd name="connsiteX8" fmla="*/ 7987800 w 11033748"/>
                <a:gd name="connsiteY8" fmla="*/ 769306 h 3332876"/>
                <a:gd name="connsiteX9" fmla="*/ 8344307 w 11033748"/>
                <a:gd name="connsiteY9" fmla="*/ 408889 h 3332876"/>
                <a:gd name="connsiteX10" fmla="*/ 8642960 w 11033748"/>
                <a:gd name="connsiteY10" fmla="*/ 408889 h 3332876"/>
                <a:gd name="connsiteX11" fmla="*/ 8186381 w 11033748"/>
                <a:gd name="connsiteY11" fmla="*/ 869378 h 3332876"/>
                <a:gd name="connsiteX12" fmla="*/ 629361 w 11033748"/>
                <a:gd name="connsiteY12" fmla="*/ 677052 h 3332876"/>
                <a:gd name="connsiteX13" fmla="*/ 898305 w 11033748"/>
                <a:gd name="connsiteY13" fmla="*/ 456580 h 3332876"/>
                <a:gd name="connsiteX14" fmla="*/ 629361 w 11033748"/>
                <a:gd name="connsiteY14" fmla="*/ 236108 h 3332876"/>
                <a:gd name="connsiteX15" fmla="*/ 264253 w 11033748"/>
                <a:gd name="connsiteY15" fmla="*/ 236108 h 3332876"/>
                <a:gd name="connsiteX16" fmla="*/ 264253 w 11033748"/>
                <a:gd name="connsiteY16" fmla="*/ 677052 h 3332876"/>
                <a:gd name="connsiteX17" fmla="*/ 629361 w 11033748"/>
                <a:gd name="connsiteY17" fmla="*/ 677052 h 3332876"/>
                <a:gd name="connsiteX18" fmla="*/ 637179 w 11033748"/>
                <a:gd name="connsiteY18" fmla="*/ 0 h 3332876"/>
                <a:gd name="connsiteX19" fmla="*/ 1162558 w 11033748"/>
                <a:gd name="connsiteY19" fmla="*/ 456580 h 3332876"/>
                <a:gd name="connsiteX20" fmla="*/ 637179 w 11033748"/>
                <a:gd name="connsiteY20" fmla="*/ 913941 h 3332876"/>
                <a:gd name="connsiteX21" fmla="*/ 264253 w 11033748"/>
                <a:gd name="connsiteY21" fmla="*/ 913941 h 3332876"/>
                <a:gd name="connsiteX22" fmla="*/ 264253 w 11033748"/>
                <a:gd name="connsiteY22" fmla="*/ 1403357 h 3332876"/>
                <a:gd name="connsiteX23" fmla="*/ 0 w 11033748"/>
                <a:gd name="connsiteY23" fmla="*/ 1403357 h 3332876"/>
                <a:gd name="connsiteX24" fmla="*/ 0 w 11033748"/>
                <a:gd name="connsiteY24" fmla="*/ 0 h 3332876"/>
                <a:gd name="connsiteX25" fmla="*/ 637179 w 11033748"/>
                <a:gd name="connsiteY25" fmla="*/ 0 h 3332876"/>
                <a:gd name="connsiteX26" fmla="*/ 1759083 w 11033748"/>
                <a:gd name="connsiteY26" fmla="*/ 1194613 h 3332876"/>
                <a:gd name="connsiteX27" fmla="*/ 2046009 w 11033748"/>
                <a:gd name="connsiteY27" fmla="*/ 906123 h 3332876"/>
                <a:gd name="connsiteX28" fmla="*/ 1759083 w 11033748"/>
                <a:gd name="connsiteY28" fmla="*/ 617634 h 3332876"/>
                <a:gd name="connsiteX29" fmla="*/ 1472157 w 11033748"/>
                <a:gd name="connsiteY29" fmla="*/ 906123 h 3332876"/>
                <a:gd name="connsiteX30" fmla="*/ 1759083 w 11033748"/>
                <a:gd name="connsiteY30" fmla="*/ 1194613 h 3332876"/>
                <a:gd name="connsiteX31" fmla="*/ 1759083 w 11033748"/>
                <a:gd name="connsiteY31" fmla="*/ 380744 h 3332876"/>
                <a:gd name="connsiteX32" fmla="*/ 2302444 w 11033748"/>
                <a:gd name="connsiteY32" fmla="*/ 906123 h 3332876"/>
                <a:gd name="connsiteX33" fmla="*/ 1759083 w 11033748"/>
                <a:gd name="connsiteY33" fmla="*/ 1431503 h 3332876"/>
                <a:gd name="connsiteX34" fmla="*/ 1215722 w 11033748"/>
                <a:gd name="connsiteY34" fmla="*/ 906123 h 3332876"/>
                <a:gd name="connsiteX35" fmla="*/ 1759083 w 11033748"/>
                <a:gd name="connsiteY35" fmla="*/ 380744 h 3332876"/>
                <a:gd name="connsiteX36" fmla="*/ 2947441 w 11033748"/>
                <a:gd name="connsiteY36" fmla="*/ 1194613 h 3332876"/>
                <a:gd name="connsiteX37" fmla="*/ 2683188 w 11033748"/>
                <a:gd name="connsiteY37" fmla="*/ 906123 h 3332876"/>
                <a:gd name="connsiteX38" fmla="*/ 2947441 w 11033748"/>
                <a:gd name="connsiteY38" fmla="*/ 617634 h 3332876"/>
                <a:gd name="connsiteX39" fmla="*/ 3178077 w 11033748"/>
                <a:gd name="connsiteY39" fmla="*/ 753669 h 3332876"/>
                <a:gd name="connsiteX40" fmla="*/ 3394639 w 11033748"/>
                <a:gd name="connsiteY40" fmla="*/ 629361 h 3332876"/>
                <a:gd name="connsiteX41" fmla="*/ 2949787 w 11033748"/>
                <a:gd name="connsiteY41" fmla="*/ 380744 h 3332876"/>
                <a:gd name="connsiteX42" fmla="*/ 2426753 w 11033748"/>
                <a:gd name="connsiteY42" fmla="*/ 906123 h 3332876"/>
                <a:gd name="connsiteX43" fmla="*/ 2949787 w 11033748"/>
                <a:gd name="connsiteY43" fmla="*/ 1431503 h 3332876"/>
                <a:gd name="connsiteX44" fmla="*/ 3404803 w 11033748"/>
                <a:gd name="connsiteY44" fmla="*/ 1164904 h 3332876"/>
                <a:gd name="connsiteX45" fmla="*/ 3196058 w 11033748"/>
                <a:gd name="connsiteY45" fmla="*/ 1050759 h 3332876"/>
                <a:gd name="connsiteX46" fmla="*/ 2947441 w 11033748"/>
                <a:gd name="connsiteY46" fmla="*/ 1194613 h 3332876"/>
                <a:gd name="connsiteX47" fmla="*/ 5636102 w 11033748"/>
                <a:gd name="connsiteY47" fmla="*/ 971796 h 3332876"/>
                <a:gd name="connsiteX48" fmla="*/ 5541502 w 11033748"/>
                <a:gd name="connsiteY48" fmla="*/ 1157868 h 3332876"/>
                <a:gd name="connsiteX49" fmla="*/ 5464884 w 11033748"/>
                <a:gd name="connsiteY49" fmla="*/ 1147704 h 3332876"/>
                <a:gd name="connsiteX50" fmla="*/ 5466448 w 11033748"/>
                <a:gd name="connsiteY50" fmla="*/ 1404921 h 3332876"/>
                <a:gd name="connsiteX51" fmla="*/ 5556356 w 11033748"/>
                <a:gd name="connsiteY51" fmla="*/ 1414303 h 3332876"/>
                <a:gd name="connsiteX52" fmla="*/ 5870646 w 11033748"/>
                <a:gd name="connsiteY52" fmla="*/ 981177 h 3332876"/>
                <a:gd name="connsiteX53" fmla="*/ 5894882 w 11033748"/>
                <a:gd name="connsiteY53" fmla="*/ 634052 h 3332876"/>
                <a:gd name="connsiteX54" fmla="*/ 6179463 w 11033748"/>
                <a:gd name="connsiteY54" fmla="*/ 634052 h 3332876"/>
                <a:gd name="connsiteX55" fmla="*/ 6179463 w 11033748"/>
                <a:gd name="connsiteY55" fmla="*/ 1399448 h 3332876"/>
                <a:gd name="connsiteX56" fmla="*/ 6431989 w 11033748"/>
                <a:gd name="connsiteY56" fmla="*/ 1399448 h 3332876"/>
                <a:gd name="connsiteX57" fmla="*/ 6431989 w 11033748"/>
                <a:gd name="connsiteY57" fmla="*/ 408889 h 3332876"/>
                <a:gd name="connsiteX58" fmla="*/ 5678319 w 11033748"/>
                <a:gd name="connsiteY58" fmla="*/ 408889 h 3332876"/>
                <a:gd name="connsiteX59" fmla="*/ 5636102 w 11033748"/>
                <a:gd name="connsiteY59" fmla="*/ 971796 h 3332876"/>
                <a:gd name="connsiteX60" fmla="*/ 5170922 w 11033748"/>
                <a:gd name="connsiteY60" fmla="*/ 773215 h 3332876"/>
                <a:gd name="connsiteX61" fmla="*/ 4912141 w 11033748"/>
                <a:gd name="connsiteY61" fmla="*/ 573070 h 3332876"/>
                <a:gd name="connsiteX62" fmla="*/ 4643197 w 11033748"/>
                <a:gd name="connsiteY62" fmla="*/ 773215 h 3332876"/>
                <a:gd name="connsiteX63" fmla="*/ 5170922 w 11033748"/>
                <a:gd name="connsiteY63" fmla="*/ 773215 h 3332876"/>
                <a:gd name="connsiteX64" fmla="*/ 4919960 w 11033748"/>
                <a:gd name="connsiteY64" fmla="*/ 380744 h 3332876"/>
                <a:gd name="connsiteX65" fmla="*/ 5404684 w 11033748"/>
                <a:gd name="connsiteY65" fmla="*/ 877978 h 3332876"/>
                <a:gd name="connsiteX66" fmla="*/ 5404684 w 11033748"/>
                <a:gd name="connsiteY66" fmla="*/ 966323 h 3332876"/>
                <a:gd name="connsiteX67" fmla="*/ 4639288 w 11033748"/>
                <a:gd name="connsiteY67" fmla="*/ 966323 h 3332876"/>
                <a:gd name="connsiteX68" fmla="*/ 4912141 w 11033748"/>
                <a:gd name="connsiteY68" fmla="*/ 1214940 h 3332876"/>
                <a:gd name="connsiteX69" fmla="*/ 5164667 w 11033748"/>
                <a:gd name="connsiteY69" fmla="*/ 1078904 h 3332876"/>
                <a:gd name="connsiteX70" fmla="*/ 5364812 w 11033748"/>
                <a:gd name="connsiteY70" fmla="*/ 1178977 h 3332876"/>
                <a:gd name="connsiteX71" fmla="*/ 4907450 w 11033748"/>
                <a:gd name="connsiteY71" fmla="*/ 1431503 h 3332876"/>
                <a:gd name="connsiteX72" fmla="*/ 4396144 w 11033748"/>
                <a:gd name="connsiteY72" fmla="*/ 906123 h 3332876"/>
                <a:gd name="connsiteX73" fmla="*/ 4919960 w 11033748"/>
                <a:gd name="connsiteY73" fmla="*/ 380744 h 3332876"/>
                <a:gd name="connsiteX74" fmla="*/ 7346712 w 11033748"/>
                <a:gd name="connsiteY74" fmla="*/ 773215 h 3332876"/>
                <a:gd name="connsiteX75" fmla="*/ 7087931 w 11033748"/>
                <a:gd name="connsiteY75" fmla="*/ 573070 h 3332876"/>
                <a:gd name="connsiteX76" fmla="*/ 6818987 w 11033748"/>
                <a:gd name="connsiteY76" fmla="*/ 773215 h 3332876"/>
                <a:gd name="connsiteX77" fmla="*/ 7346712 w 11033748"/>
                <a:gd name="connsiteY77" fmla="*/ 773215 h 3332876"/>
                <a:gd name="connsiteX78" fmla="*/ 7096531 w 11033748"/>
                <a:gd name="connsiteY78" fmla="*/ 380744 h 3332876"/>
                <a:gd name="connsiteX79" fmla="*/ 7581256 w 11033748"/>
                <a:gd name="connsiteY79" fmla="*/ 877978 h 3332876"/>
                <a:gd name="connsiteX80" fmla="*/ 7581256 w 11033748"/>
                <a:gd name="connsiteY80" fmla="*/ 966323 h 3332876"/>
                <a:gd name="connsiteX81" fmla="*/ 6815859 w 11033748"/>
                <a:gd name="connsiteY81" fmla="*/ 966323 h 3332876"/>
                <a:gd name="connsiteX82" fmla="*/ 7088713 w 11033748"/>
                <a:gd name="connsiteY82" fmla="*/ 1214940 h 3332876"/>
                <a:gd name="connsiteX83" fmla="*/ 7341239 w 11033748"/>
                <a:gd name="connsiteY83" fmla="*/ 1078904 h 3332876"/>
                <a:gd name="connsiteX84" fmla="*/ 7541384 w 11033748"/>
                <a:gd name="connsiteY84" fmla="*/ 1178977 h 3332876"/>
                <a:gd name="connsiteX85" fmla="*/ 7084022 w 11033748"/>
                <a:gd name="connsiteY85" fmla="*/ 1431503 h 3332876"/>
                <a:gd name="connsiteX86" fmla="*/ 6572715 w 11033748"/>
                <a:gd name="connsiteY86" fmla="*/ 906123 h 3332876"/>
                <a:gd name="connsiteX87" fmla="*/ 7096531 w 11033748"/>
                <a:gd name="connsiteY87" fmla="*/ 380744 h 3332876"/>
                <a:gd name="connsiteX88" fmla="*/ 3482984 w 11033748"/>
                <a:gd name="connsiteY88" fmla="*/ 629361 h 3332876"/>
                <a:gd name="connsiteX89" fmla="*/ 3779292 w 11033748"/>
                <a:gd name="connsiteY89" fmla="*/ 629361 h 3332876"/>
                <a:gd name="connsiteX90" fmla="*/ 3779292 w 11033748"/>
                <a:gd name="connsiteY90" fmla="*/ 1403357 h 3332876"/>
                <a:gd name="connsiteX91" fmla="*/ 4031818 w 11033748"/>
                <a:gd name="connsiteY91" fmla="*/ 1403357 h 3332876"/>
                <a:gd name="connsiteX92" fmla="*/ 4031818 w 11033748"/>
                <a:gd name="connsiteY92" fmla="*/ 629361 h 3332876"/>
                <a:gd name="connsiteX93" fmla="*/ 4328126 w 11033748"/>
                <a:gd name="connsiteY93" fmla="*/ 629361 h 3332876"/>
                <a:gd name="connsiteX94" fmla="*/ 4328126 w 11033748"/>
                <a:gd name="connsiteY94" fmla="*/ 408889 h 3332876"/>
                <a:gd name="connsiteX95" fmla="*/ 3482984 w 11033748"/>
                <a:gd name="connsiteY95" fmla="*/ 408889 h 3332876"/>
                <a:gd name="connsiteX96" fmla="*/ 3482984 w 11033748"/>
                <a:gd name="connsiteY96" fmla="*/ 629361 h 3332876"/>
                <a:gd name="connsiteX97" fmla="*/ 9156612 w 11033748"/>
                <a:gd name="connsiteY97" fmla="*/ 1194613 h 3332876"/>
                <a:gd name="connsiteX98" fmla="*/ 9443539 w 11033748"/>
                <a:gd name="connsiteY98" fmla="*/ 906123 h 3332876"/>
                <a:gd name="connsiteX99" fmla="*/ 9156612 w 11033748"/>
                <a:gd name="connsiteY99" fmla="*/ 617634 h 3332876"/>
                <a:gd name="connsiteX100" fmla="*/ 8869687 w 11033748"/>
                <a:gd name="connsiteY100" fmla="*/ 906123 h 3332876"/>
                <a:gd name="connsiteX101" fmla="*/ 9156612 w 11033748"/>
                <a:gd name="connsiteY101" fmla="*/ 1194613 h 3332876"/>
                <a:gd name="connsiteX102" fmla="*/ 9156612 w 11033748"/>
                <a:gd name="connsiteY102" fmla="*/ 380744 h 3332876"/>
                <a:gd name="connsiteX103" fmla="*/ 9699973 w 11033748"/>
                <a:gd name="connsiteY103" fmla="*/ 906123 h 3332876"/>
                <a:gd name="connsiteX104" fmla="*/ 9156612 w 11033748"/>
                <a:gd name="connsiteY104" fmla="*/ 1431503 h 3332876"/>
                <a:gd name="connsiteX105" fmla="*/ 8613251 w 11033748"/>
                <a:gd name="connsiteY105" fmla="*/ 906123 h 3332876"/>
                <a:gd name="connsiteX106" fmla="*/ 9156612 w 11033748"/>
                <a:gd name="connsiteY106" fmla="*/ 380744 h 3332876"/>
                <a:gd name="connsiteX107" fmla="*/ 10704605 w 11033748"/>
                <a:gd name="connsiteY107" fmla="*/ 408889 h 3332876"/>
                <a:gd name="connsiteX108" fmla="*/ 10430188 w 11033748"/>
                <a:gd name="connsiteY108" fmla="*/ 1105486 h 3332876"/>
                <a:gd name="connsiteX109" fmla="*/ 10155772 w 11033748"/>
                <a:gd name="connsiteY109" fmla="*/ 408889 h 3332876"/>
                <a:gd name="connsiteX110" fmla="*/ 9825845 w 11033748"/>
                <a:gd name="connsiteY110" fmla="*/ 408889 h 3332876"/>
                <a:gd name="connsiteX111" fmla="*/ 9825845 w 11033748"/>
                <a:gd name="connsiteY111" fmla="*/ 1401012 h 3332876"/>
                <a:gd name="connsiteX112" fmla="*/ 10065863 w 11033748"/>
                <a:gd name="connsiteY112" fmla="*/ 1401012 h 3332876"/>
                <a:gd name="connsiteX113" fmla="*/ 10065863 w 11033748"/>
                <a:gd name="connsiteY113" fmla="*/ 772433 h 3332876"/>
                <a:gd name="connsiteX114" fmla="*/ 10331680 w 11033748"/>
                <a:gd name="connsiteY114" fmla="*/ 1401012 h 3332876"/>
                <a:gd name="connsiteX115" fmla="*/ 10527915 w 11033748"/>
                <a:gd name="connsiteY115" fmla="*/ 1401012 h 3332876"/>
                <a:gd name="connsiteX116" fmla="*/ 10793732 w 11033748"/>
                <a:gd name="connsiteY116" fmla="*/ 772433 h 3332876"/>
                <a:gd name="connsiteX117" fmla="*/ 10793732 w 11033748"/>
                <a:gd name="connsiteY117" fmla="*/ 1401012 h 3332876"/>
                <a:gd name="connsiteX118" fmla="*/ 11033749 w 11033748"/>
                <a:gd name="connsiteY118" fmla="*/ 1401012 h 3332876"/>
                <a:gd name="connsiteX119" fmla="*/ 11033749 w 11033748"/>
                <a:gd name="connsiteY119" fmla="*/ 408889 h 3332876"/>
                <a:gd name="connsiteX120" fmla="*/ 10704605 w 11033748"/>
                <a:gd name="connsiteY120" fmla="*/ 408889 h 3332876"/>
                <a:gd name="connsiteX121" fmla="*/ 264253 w 11033748"/>
                <a:gd name="connsiteY121" fmla="*/ 3067841 h 3332876"/>
                <a:gd name="connsiteX122" fmla="*/ 264253 w 11033748"/>
                <a:gd name="connsiteY122" fmla="*/ 2666770 h 3332876"/>
                <a:gd name="connsiteX123" fmla="*/ 570725 w 11033748"/>
                <a:gd name="connsiteY123" fmla="*/ 2666770 h 3332876"/>
                <a:gd name="connsiteX124" fmla="*/ 819342 w 11033748"/>
                <a:gd name="connsiteY124" fmla="*/ 2866915 h 3332876"/>
                <a:gd name="connsiteX125" fmla="*/ 570725 w 11033748"/>
                <a:gd name="connsiteY125" fmla="*/ 3067059 h 3332876"/>
                <a:gd name="connsiteX126" fmla="*/ 264253 w 11033748"/>
                <a:gd name="connsiteY126" fmla="*/ 3067059 h 3332876"/>
                <a:gd name="connsiteX127" fmla="*/ 0 w 11033748"/>
                <a:gd name="connsiteY127" fmla="*/ 3304731 h 3332876"/>
                <a:gd name="connsiteX128" fmla="*/ 591052 w 11033748"/>
                <a:gd name="connsiteY128" fmla="*/ 3304731 h 3332876"/>
                <a:gd name="connsiteX129" fmla="*/ 1084377 w 11033748"/>
                <a:gd name="connsiteY129" fmla="*/ 2867696 h 3332876"/>
                <a:gd name="connsiteX130" fmla="*/ 591052 w 11033748"/>
                <a:gd name="connsiteY130" fmla="*/ 2434571 h 3332876"/>
                <a:gd name="connsiteX131" fmla="*/ 264253 w 11033748"/>
                <a:gd name="connsiteY131" fmla="*/ 2434571 h 3332876"/>
                <a:gd name="connsiteX132" fmla="*/ 264253 w 11033748"/>
                <a:gd name="connsiteY132" fmla="*/ 2133572 h 3332876"/>
                <a:gd name="connsiteX133" fmla="*/ 983523 w 11033748"/>
                <a:gd name="connsiteY133" fmla="*/ 2133572 h 3332876"/>
                <a:gd name="connsiteX134" fmla="*/ 983523 w 11033748"/>
                <a:gd name="connsiteY134" fmla="*/ 1901373 h 3332876"/>
                <a:gd name="connsiteX135" fmla="*/ 0 w 11033748"/>
                <a:gd name="connsiteY135" fmla="*/ 1901373 h 3332876"/>
                <a:gd name="connsiteX136" fmla="*/ 0 w 11033748"/>
                <a:gd name="connsiteY136" fmla="*/ 3304731 h 3332876"/>
                <a:gd name="connsiteX137" fmla="*/ 1243085 w 11033748"/>
                <a:gd name="connsiteY137" fmla="*/ 3304731 h 3332876"/>
                <a:gd name="connsiteX138" fmla="*/ 1503430 w 11033748"/>
                <a:gd name="connsiteY138" fmla="*/ 3304731 h 3332876"/>
                <a:gd name="connsiteX139" fmla="*/ 1936555 w 11033748"/>
                <a:gd name="connsiteY139" fmla="*/ 2649570 h 3332876"/>
                <a:gd name="connsiteX140" fmla="*/ 1936555 w 11033748"/>
                <a:gd name="connsiteY140" fmla="*/ 3304731 h 3332876"/>
                <a:gd name="connsiteX141" fmla="*/ 2177354 w 11033748"/>
                <a:gd name="connsiteY141" fmla="*/ 3304731 h 3332876"/>
                <a:gd name="connsiteX142" fmla="*/ 2177354 w 11033748"/>
                <a:gd name="connsiteY142" fmla="*/ 2310262 h 3332876"/>
                <a:gd name="connsiteX143" fmla="*/ 1917009 w 11033748"/>
                <a:gd name="connsiteY143" fmla="*/ 2310262 h 3332876"/>
                <a:gd name="connsiteX144" fmla="*/ 1483884 w 11033748"/>
                <a:gd name="connsiteY144" fmla="*/ 2965423 h 3332876"/>
                <a:gd name="connsiteX145" fmla="*/ 1483884 w 11033748"/>
                <a:gd name="connsiteY145" fmla="*/ 2310262 h 3332876"/>
                <a:gd name="connsiteX146" fmla="*/ 1243085 w 11033748"/>
                <a:gd name="connsiteY146" fmla="*/ 2310262 h 3332876"/>
                <a:gd name="connsiteX147" fmla="*/ 1243085 w 11033748"/>
                <a:gd name="connsiteY147" fmla="*/ 3304731 h 3332876"/>
                <a:gd name="connsiteX148" fmla="*/ 3183549 w 11033748"/>
                <a:gd name="connsiteY148" fmla="*/ 3015459 h 3332876"/>
                <a:gd name="connsiteX149" fmla="*/ 2974805 w 11033748"/>
                <a:gd name="connsiteY149" fmla="*/ 2778569 h 3332876"/>
                <a:gd name="connsiteX150" fmla="*/ 3142895 w 11033748"/>
                <a:gd name="connsiteY150" fmla="*/ 2547934 h 3332876"/>
                <a:gd name="connsiteX151" fmla="*/ 2772315 w 11033748"/>
                <a:gd name="connsiteY151" fmla="*/ 2281335 h 3332876"/>
                <a:gd name="connsiteX152" fmla="*/ 2377498 w 11033748"/>
                <a:gd name="connsiteY152" fmla="*/ 2572170 h 3332876"/>
                <a:gd name="connsiteX153" fmla="*/ 2397825 w 11033748"/>
                <a:gd name="connsiteY153" fmla="*/ 2672243 h 3332876"/>
                <a:gd name="connsiteX154" fmla="*/ 2612043 w 11033748"/>
                <a:gd name="connsiteY154" fmla="*/ 2600316 h 3332876"/>
                <a:gd name="connsiteX155" fmla="*/ 2605788 w 11033748"/>
                <a:gd name="connsiteY155" fmla="*/ 2564352 h 3332876"/>
                <a:gd name="connsiteX156" fmla="*/ 2769969 w 11033748"/>
                <a:gd name="connsiteY156" fmla="*/ 2478353 h 3332876"/>
                <a:gd name="connsiteX157" fmla="*/ 2908351 w 11033748"/>
                <a:gd name="connsiteY157" fmla="*/ 2578425 h 3332876"/>
                <a:gd name="connsiteX158" fmla="*/ 2754333 w 11033748"/>
                <a:gd name="connsiteY158" fmla="*/ 2686315 h 3332876"/>
                <a:gd name="connsiteX159" fmla="*/ 2678497 w 11033748"/>
                <a:gd name="connsiteY159" fmla="*/ 2686315 h 3332876"/>
                <a:gd name="connsiteX160" fmla="*/ 2678497 w 11033748"/>
                <a:gd name="connsiteY160" fmla="*/ 2886460 h 3332876"/>
                <a:gd name="connsiteX161" fmla="*/ 2760587 w 11033748"/>
                <a:gd name="connsiteY161" fmla="*/ 2886460 h 3332876"/>
                <a:gd name="connsiteX162" fmla="*/ 2938841 w 11033748"/>
                <a:gd name="connsiteY162" fmla="*/ 3004514 h 3332876"/>
                <a:gd name="connsiteX163" fmla="*/ 2748079 w 11033748"/>
                <a:gd name="connsiteY163" fmla="*/ 3135077 h 3332876"/>
                <a:gd name="connsiteX164" fmla="*/ 2579988 w 11033748"/>
                <a:gd name="connsiteY164" fmla="*/ 3008423 h 3332876"/>
                <a:gd name="connsiteX165" fmla="*/ 2590152 w 11033748"/>
                <a:gd name="connsiteY165" fmla="*/ 2958387 h 3332876"/>
                <a:gd name="connsiteX166" fmla="*/ 2377498 w 11033748"/>
                <a:gd name="connsiteY166" fmla="*/ 2890369 h 3332876"/>
                <a:gd name="connsiteX167" fmla="*/ 2353262 w 11033748"/>
                <a:gd name="connsiteY167" fmla="*/ 3010768 h 3332876"/>
                <a:gd name="connsiteX168" fmla="*/ 2748079 w 11033748"/>
                <a:gd name="connsiteY168" fmla="*/ 3331312 h 3332876"/>
                <a:gd name="connsiteX169" fmla="*/ 3183549 w 11033748"/>
                <a:gd name="connsiteY169" fmla="*/ 3015459 h 3332876"/>
                <a:gd name="connsiteX170" fmla="*/ 3354767 w 11033748"/>
                <a:gd name="connsiteY170" fmla="*/ 3304731 h 3332876"/>
                <a:gd name="connsiteX171" fmla="*/ 3607293 w 11033748"/>
                <a:gd name="connsiteY171" fmla="*/ 3304731 h 3332876"/>
                <a:gd name="connsiteX172" fmla="*/ 3607293 w 11033748"/>
                <a:gd name="connsiteY172" fmla="*/ 2902096 h 3332876"/>
                <a:gd name="connsiteX173" fmla="*/ 4020091 w 11033748"/>
                <a:gd name="connsiteY173" fmla="*/ 2902096 h 3332876"/>
                <a:gd name="connsiteX174" fmla="*/ 4020091 w 11033748"/>
                <a:gd name="connsiteY174" fmla="*/ 3304731 h 3332876"/>
                <a:gd name="connsiteX175" fmla="*/ 4272617 w 11033748"/>
                <a:gd name="connsiteY175" fmla="*/ 3304731 h 3332876"/>
                <a:gd name="connsiteX176" fmla="*/ 4272617 w 11033748"/>
                <a:gd name="connsiteY176" fmla="*/ 2310262 h 3332876"/>
                <a:gd name="connsiteX177" fmla="*/ 4020091 w 11033748"/>
                <a:gd name="connsiteY177" fmla="*/ 2310262 h 3332876"/>
                <a:gd name="connsiteX178" fmla="*/ 4020091 w 11033748"/>
                <a:gd name="connsiteY178" fmla="*/ 2680843 h 3332876"/>
                <a:gd name="connsiteX179" fmla="*/ 3607293 w 11033748"/>
                <a:gd name="connsiteY179" fmla="*/ 2680843 h 3332876"/>
                <a:gd name="connsiteX180" fmla="*/ 3607293 w 11033748"/>
                <a:gd name="connsiteY180" fmla="*/ 2310262 h 3332876"/>
                <a:gd name="connsiteX181" fmla="*/ 3354767 w 11033748"/>
                <a:gd name="connsiteY181" fmla="*/ 2310262 h 3332876"/>
                <a:gd name="connsiteX182" fmla="*/ 3354767 w 11033748"/>
                <a:gd name="connsiteY182" fmla="*/ 3304731 h 3332876"/>
                <a:gd name="connsiteX183" fmla="*/ 4663524 w 11033748"/>
                <a:gd name="connsiteY183" fmla="*/ 2675370 h 3332876"/>
                <a:gd name="connsiteX184" fmla="*/ 4932468 w 11033748"/>
                <a:gd name="connsiteY184" fmla="*/ 2475225 h 3332876"/>
                <a:gd name="connsiteX185" fmla="*/ 5191249 w 11033748"/>
                <a:gd name="connsiteY185" fmla="*/ 2675370 h 3332876"/>
                <a:gd name="connsiteX186" fmla="*/ 4663524 w 11033748"/>
                <a:gd name="connsiteY186" fmla="*/ 2675370 h 3332876"/>
                <a:gd name="connsiteX187" fmla="*/ 4931687 w 11033748"/>
                <a:gd name="connsiteY187" fmla="*/ 3116313 h 3332876"/>
                <a:gd name="connsiteX188" fmla="*/ 4658833 w 11033748"/>
                <a:gd name="connsiteY188" fmla="*/ 2867696 h 3332876"/>
                <a:gd name="connsiteX189" fmla="*/ 5424230 w 11033748"/>
                <a:gd name="connsiteY189" fmla="*/ 2867696 h 3332876"/>
                <a:gd name="connsiteX190" fmla="*/ 5424230 w 11033748"/>
                <a:gd name="connsiteY190" fmla="*/ 2779351 h 3332876"/>
                <a:gd name="connsiteX191" fmla="*/ 4939505 w 11033748"/>
                <a:gd name="connsiteY191" fmla="*/ 2282117 h 3332876"/>
                <a:gd name="connsiteX192" fmla="*/ 4416471 w 11033748"/>
                <a:gd name="connsiteY192" fmla="*/ 2807497 h 3332876"/>
                <a:gd name="connsiteX193" fmla="*/ 4927778 w 11033748"/>
                <a:gd name="connsiteY193" fmla="*/ 3332876 h 3332876"/>
                <a:gd name="connsiteX194" fmla="*/ 5384357 w 11033748"/>
                <a:gd name="connsiteY194" fmla="*/ 3080350 h 3332876"/>
                <a:gd name="connsiteX195" fmla="*/ 5184213 w 11033748"/>
                <a:gd name="connsiteY195" fmla="*/ 2980278 h 3332876"/>
                <a:gd name="connsiteX196" fmla="*/ 4931687 w 11033748"/>
                <a:gd name="connsiteY196" fmla="*/ 3116313 h 3332876"/>
                <a:gd name="connsiteX197" fmla="*/ 6084081 w 11033748"/>
                <a:gd name="connsiteY197" fmla="*/ 3332094 h 3332876"/>
                <a:gd name="connsiteX198" fmla="*/ 6539098 w 11033748"/>
                <a:gd name="connsiteY198" fmla="*/ 3065495 h 3332876"/>
                <a:gd name="connsiteX199" fmla="*/ 6330353 w 11033748"/>
                <a:gd name="connsiteY199" fmla="*/ 2951350 h 3332876"/>
                <a:gd name="connsiteX200" fmla="*/ 6081736 w 11033748"/>
                <a:gd name="connsiteY200" fmla="*/ 3095986 h 3332876"/>
                <a:gd name="connsiteX201" fmla="*/ 5817483 w 11033748"/>
                <a:gd name="connsiteY201" fmla="*/ 2807497 h 3332876"/>
                <a:gd name="connsiteX202" fmla="*/ 6081736 w 11033748"/>
                <a:gd name="connsiteY202" fmla="*/ 2519007 h 3332876"/>
                <a:gd name="connsiteX203" fmla="*/ 6312372 w 11033748"/>
                <a:gd name="connsiteY203" fmla="*/ 2655043 h 3332876"/>
                <a:gd name="connsiteX204" fmla="*/ 6528934 w 11033748"/>
                <a:gd name="connsiteY204" fmla="*/ 2530734 h 3332876"/>
                <a:gd name="connsiteX205" fmla="*/ 6084081 w 11033748"/>
                <a:gd name="connsiteY205" fmla="*/ 2282117 h 3332876"/>
                <a:gd name="connsiteX206" fmla="*/ 5561047 w 11033748"/>
                <a:gd name="connsiteY206" fmla="*/ 2807497 h 3332876"/>
                <a:gd name="connsiteX207" fmla="*/ 6084081 w 11033748"/>
                <a:gd name="connsiteY207" fmla="*/ 3332094 h 333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11033748" h="3332876">
                  <a:moveTo>
                    <a:pt x="8186381" y="869378"/>
                  </a:moveTo>
                  <a:lnTo>
                    <a:pt x="8655469" y="1402575"/>
                  </a:lnTo>
                  <a:lnTo>
                    <a:pt x="8350562" y="1402575"/>
                  </a:lnTo>
                  <a:lnTo>
                    <a:pt x="7987800" y="991341"/>
                  </a:lnTo>
                  <a:lnTo>
                    <a:pt x="7987800" y="1402575"/>
                  </a:lnTo>
                  <a:lnTo>
                    <a:pt x="7735274" y="1402575"/>
                  </a:lnTo>
                  <a:lnTo>
                    <a:pt x="7735274" y="408889"/>
                  </a:lnTo>
                  <a:lnTo>
                    <a:pt x="7987800" y="408889"/>
                  </a:lnTo>
                  <a:lnTo>
                    <a:pt x="7987800" y="769306"/>
                  </a:lnTo>
                  <a:lnTo>
                    <a:pt x="8344307" y="408889"/>
                  </a:lnTo>
                  <a:lnTo>
                    <a:pt x="8642960" y="408889"/>
                  </a:lnTo>
                  <a:lnTo>
                    <a:pt x="8186381" y="869378"/>
                  </a:lnTo>
                  <a:close/>
                  <a:moveTo>
                    <a:pt x="629361" y="677052"/>
                  </a:moveTo>
                  <a:cubicBezTo>
                    <a:pt x="813869" y="677052"/>
                    <a:pt x="898305" y="588706"/>
                    <a:pt x="898305" y="456580"/>
                  </a:cubicBezTo>
                  <a:cubicBezTo>
                    <a:pt x="898305" y="324453"/>
                    <a:pt x="813869" y="236108"/>
                    <a:pt x="629361" y="236108"/>
                  </a:cubicBezTo>
                  <a:lnTo>
                    <a:pt x="264253" y="236108"/>
                  </a:lnTo>
                  <a:lnTo>
                    <a:pt x="264253" y="677052"/>
                  </a:lnTo>
                  <a:lnTo>
                    <a:pt x="629361" y="677052"/>
                  </a:lnTo>
                  <a:moveTo>
                    <a:pt x="637179" y="0"/>
                  </a:moveTo>
                  <a:cubicBezTo>
                    <a:pt x="953814" y="0"/>
                    <a:pt x="1162558" y="162617"/>
                    <a:pt x="1162558" y="456580"/>
                  </a:cubicBezTo>
                  <a:cubicBezTo>
                    <a:pt x="1162558" y="751324"/>
                    <a:pt x="953814" y="913941"/>
                    <a:pt x="637179" y="913941"/>
                  </a:cubicBezTo>
                  <a:lnTo>
                    <a:pt x="264253" y="913941"/>
                  </a:lnTo>
                  <a:lnTo>
                    <a:pt x="264253" y="1403357"/>
                  </a:lnTo>
                  <a:lnTo>
                    <a:pt x="0" y="1403357"/>
                  </a:lnTo>
                  <a:lnTo>
                    <a:pt x="0" y="0"/>
                  </a:lnTo>
                  <a:lnTo>
                    <a:pt x="637179" y="0"/>
                  </a:lnTo>
                  <a:moveTo>
                    <a:pt x="1759083" y="1194613"/>
                  </a:moveTo>
                  <a:cubicBezTo>
                    <a:pt x="1907628" y="1194613"/>
                    <a:pt x="2046009" y="1088286"/>
                    <a:pt x="2046009" y="906123"/>
                  </a:cubicBezTo>
                  <a:cubicBezTo>
                    <a:pt x="2046009" y="723960"/>
                    <a:pt x="1907628" y="617634"/>
                    <a:pt x="1759083" y="617634"/>
                  </a:cubicBezTo>
                  <a:cubicBezTo>
                    <a:pt x="1610538" y="617634"/>
                    <a:pt x="1472157" y="723960"/>
                    <a:pt x="1472157" y="906123"/>
                  </a:cubicBezTo>
                  <a:cubicBezTo>
                    <a:pt x="1472939" y="1088286"/>
                    <a:pt x="1611320" y="1194613"/>
                    <a:pt x="1759083" y="1194613"/>
                  </a:cubicBezTo>
                  <a:moveTo>
                    <a:pt x="1759083" y="380744"/>
                  </a:moveTo>
                  <a:cubicBezTo>
                    <a:pt x="2031936" y="380744"/>
                    <a:pt x="2302444" y="557434"/>
                    <a:pt x="2302444" y="906123"/>
                  </a:cubicBezTo>
                  <a:cubicBezTo>
                    <a:pt x="2302444" y="1254813"/>
                    <a:pt x="2031936" y="1431503"/>
                    <a:pt x="1759083" y="1431503"/>
                  </a:cubicBezTo>
                  <a:cubicBezTo>
                    <a:pt x="1486230" y="1431503"/>
                    <a:pt x="1215722" y="1254813"/>
                    <a:pt x="1215722" y="906123"/>
                  </a:cubicBezTo>
                  <a:cubicBezTo>
                    <a:pt x="1216504" y="556652"/>
                    <a:pt x="1487011" y="380744"/>
                    <a:pt x="1759083" y="380744"/>
                  </a:cubicBezTo>
                  <a:moveTo>
                    <a:pt x="2947441" y="1194613"/>
                  </a:moveTo>
                  <a:cubicBezTo>
                    <a:pt x="2794988" y="1194613"/>
                    <a:pt x="2683188" y="1084377"/>
                    <a:pt x="2683188" y="906123"/>
                  </a:cubicBezTo>
                  <a:cubicBezTo>
                    <a:pt x="2683188" y="729433"/>
                    <a:pt x="2799678" y="617634"/>
                    <a:pt x="2947441" y="617634"/>
                  </a:cubicBezTo>
                  <a:cubicBezTo>
                    <a:pt x="3037350" y="617634"/>
                    <a:pt x="3115531" y="659852"/>
                    <a:pt x="3178077" y="753669"/>
                  </a:cubicBezTo>
                  <a:lnTo>
                    <a:pt x="3394639" y="629361"/>
                  </a:lnTo>
                  <a:cubicBezTo>
                    <a:pt x="3322712" y="475343"/>
                    <a:pt x="3166349" y="380744"/>
                    <a:pt x="2949787" y="380744"/>
                  </a:cubicBezTo>
                  <a:cubicBezTo>
                    <a:pt x="2667551" y="380744"/>
                    <a:pt x="2426753" y="589488"/>
                    <a:pt x="2426753" y="906123"/>
                  </a:cubicBezTo>
                  <a:cubicBezTo>
                    <a:pt x="2426753" y="1222758"/>
                    <a:pt x="2655043" y="1431503"/>
                    <a:pt x="2949787" y="1431503"/>
                  </a:cubicBezTo>
                  <a:cubicBezTo>
                    <a:pt x="3162440" y="1431503"/>
                    <a:pt x="3304730" y="1335340"/>
                    <a:pt x="3404803" y="1164904"/>
                  </a:cubicBezTo>
                  <a:lnTo>
                    <a:pt x="3196058" y="1050759"/>
                  </a:lnTo>
                  <a:cubicBezTo>
                    <a:pt x="3135858" y="1134413"/>
                    <a:pt x="3071750" y="1194613"/>
                    <a:pt x="2947441" y="1194613"/>
                  </a:cubicBezTo>
                  <a:moveTo>
                    <a:pt x="5636102" y="971796"/>
                  </a:moveTo>
                  <a:cubicBezTo>
                    <a:pt x="5624375" y="1124250"/>
                    <a:pt x="5593884" y="1157868"/>
                    <a:pt x="5541502" y="1157868"/>
                  </a:cubicBezTo>
                  <a:cubicBezTo>
                    <a:pt x="5505538" y="1157868"/>
                    <a:pt x="5489120" y="1153959"/>
                    <a:pt x="5464884" y="1147704"/>
                  </a:cubicBezTo>
                  <a:lnTo>
                    <a:pt x="5466448" y="1404921"/>
                  </a:lnTo>
                  <a:cubicBezTo>
                    <a:pt x="5466448" y="1404921"/>
                    <a:pt x="5497720" y="1414303"/>
                    <a:pt x="5556356" y="1414303"/>
                  </a:cubicBezTo>
                  <a:cubicBezTo>
                    <a:pt x="5770574" y="1414303"/>
                    <a:pt x="5851101" y="1275922"/>
                    <a:pt x="5870646" y="981177"/>
                  </a:cubicBezTo>
                  <a:lnTo>
                    <a:pt x="5894882" y="634052"/>
                  </a:lnTo>
                  <a:lnTo>
                    <a:pt x="6179463" y="634052"/>
                  </a:lnTo>
                  <a:lnTo>
                    <a:pt x="6179463" y="1399448"/>
                  </a:lnTo>
                  <a:lnTo>
                    <a:pt x="6431989" y="1399448"/>
                  </a:lnTo>
                  <a:lnTo>
                    <a:pt x="6431989" y="408889"/>
                  </a:lnTo>
                  <a:lnTo>
                    <a:pt x="5678319" y="408889"/>
                  </a:lnTo>
                  <a:lnTo>
                    <a:pt x="5636102" y="971796"/>
                  </a:lnTo>
                  <a:close/>
                  <a:moveTo>
                    <a:pt x="5170922" y="773215"/>
                  </a:moveTo>
                  <a:cubicBezTo>
                    <a:pt x="5146686" y="648906"/>
                    <a:pt x="5052868" y="573070"/>
                    <a:pt x="4912141" y="573070"/>
                  </a:cubicBezTo>
                  <a:cubicBezTo>
                    <a:pt x="4780015" y="573070"/>
                    <a:pt x="4679942" y="661415"/>
                    <a:pt x="4643197" y="773215"/>
                  </a:cubicBezTo>
                  <a:lnTo>
                    <a:pt x="5170922" y="773215"/>
                  </a:lnTo>
                  <a:close/>
                  <a:moveTo>
                    <a:pt x="4919960" y="380744"/>
                  </a:moveTo>
                  <a:cubicBezTo>
                    <a:pt x="5204540" y="380744"/>
                    <a:pt x="5404684" y="587143"/>
                    <a:pt x="5404684" y="877978"/>
                  </a:cubicBezTo>
                  <a:lnTo>
                    <a:pt x="5404684" y="966323"/>
                  </a:lnTo>
                  <a:lnTo>
                    <a:pt x="4639288" y="966323"/>
                  </a:lnTo>
                  <a:cubicBezTo>
                    <a:pt x="4654924" y="1118777"/>
                    <a:pt x="4763597" y="1214940"/>
                    <a:pt x="4912141" y="1214940"/>
                  </a:cubicBezTo>
                  <a:cubicBezTo>
                    <a:pt x="5046614" y="1214940"/>
                    <a:pt x="5102904" y="1157086"/>
                    <a:pt x="5164667" y="1078904"/>
                  </a:cubicBezTo>
                  <a:lnTo>
                    <a:pt x="5364812" y="1178977"/>
                  </a:lnTo>
                  <a:cubicBezTo>
                    <a:pt x="5264740" y="1349412"/>
                    <a:pt x="5126358" y="1431503"/>
                    <a:pt x="4907450" y="1431503"/>
                  </a:cubicBezTo>
                  <a:cubicBezTo>
                    <a:pt x="4630688" y="1431503"/>
                    <a:pt x="4396144" y="1221195"/>
                    <a:pt x="4396144" y="906123"/>
                  </a:cubicBezTo>
                  <a:cubicBezTo>
                    <a:pt x="4396144" y="591052"/>
                    <a:pt x="4631470" y="380744"/>
                    <a:pt x="4919960" y="380744"/>
                  </a:cubicBezTo>
                  <a:moveTo>
                    <a:pt x="7346712" y="773215"/>
                  </a:moveTo>
                  <a:cubicBezTo>
                    <a:pt x="7322476" y="648906"/>
                    <a:pt x="7228658" y="573070"/>
                    <a:pt x="7087931" y="573070"/>
                  </a:cubicBezTo>
                  <a:cubicBezTo>
                    <a:pt x="6955804" y="573070"/>
                    <a:pt x="6855733" y="661415"/>
                    <a:pt x="6818987" y="773215"/>
                  </a:cubicBezTo>
                  <a:lnTo>
                    <a:pt x="7346712" y="773215"/>
                  </a:lnTo>
                  <a:close/>
                  <a:moveTo>
                    <a:pt x="7096531" y="380744"/>
                  </a:moveTo>
                  <a:cubicBezTo>
                    <a:pt x="7381112" y="380744"/>
                    <a:pt x="7581256" y="587143"/>
                    <a:pt x="7581256" y="877978"/>
                  </a:cubicBezTo>
                  <a:lnTo>
                    <a:pt x="7581256" y="966323"/>
                  </a:lnTo>
                  <a:lnTo>
                    <a:pt x="6815859" y="966323"/>
                  </a:lnTo>
                  <a:cubicBezTo>
                    <a:pt x="6831496" y="1118777"/>
                    <a:pt x="6940168" y="1214940"/>
                    <a:pt x="7088713" y="1214940"/>
                  </a:cubicBezTo>
                  <a:cubicBezTo>
                    <a:pt x="7223186" y="1214940"/>
                    <a:pt x="7279476" y="1157086"/>
                    <a:pt x="7341239" y="1078904"/>
                  </a:cubicBezTo>
                  <a:lnTo>
                    <a:pt x="7541384" y="1178977"/>
                  </a:lnTo>
                  <a:cubicBezTo>
                    <a:pt x="7441311" y="1349412"/>
                    <a:pt x="7302930" y="1431503"/>
                    <a:pt x="7084022" y="1431503"/>
                  </a:cubicBezTo>
                  <a:cubicBezTo>
                    <a:pt x="6807260" y="1431503"/>
                    <a:pt x="6572715" y="1221195"/>
                    <a:pt x="6572715" y="906123"/>
                  </a:cubicBezTo>
                  <a:cubicBezTo>
                    <a:pt x="6572715" y="591052"/>
                    <a:pt x="6808041" y="380744"/>
                    <a:pt x="7096531" y="380744"/>
                  </a:cubicBezTo>
                  <a:moveTo>
                    <a:pt x="3482984" y="629361"/>
                  </a:moveTo>
                  <a:lnTo>
                    <a:pt x="3779292" y="629361"/>
                  </a:lnTo>
                  <a:lnTo>
                    <a:pt x="3779292" y="1403357"/>
                  </a:lnTo>
                  <a:lnTo>
                    <a:pt x="4031818" y="1403357"/>
                  </a:lnTo>
                  <a:lnTo>
                    <a:pt x="4031818" y="629361"/>
                  </a:lnTo>
                  <a:lnTo>
                    <a:pt x="4328126" y="629361"/>
                  </a:lnTo>
                  <a:lnTo>
                    <a:pt x="4328126" y="408889"/>
                  </a:lnTo>
                  <a:lnTo>
                    <a:pt x="3482984" y="408889"/>
                  </a:lnTo>
                  <a:lnTo>
                    <a:pt x="3482984" y="629361"/>
                  </a:lnTo>
                  <a:close/>
                  <a:moveTo>
                    <a:pt x="9156612" y="1194613"/>
                  </a:moveTo>
                  <a:cubicBezTo>
                    <a:pt x="9305157" y="1194613"/>
                    <a:pt x="9443539" y="1088286"/>
                    <a:pt x="9443539" y="906123"/>
                  </a:cubicBezTo>
                  <a:cubicBezTo>
                    <a:pt x="9443539" y="723960"/>
                    <a:pt x="9305157" y="617634"/>
                    <a:pt x="9156612" y="617634"/>
                  </a:cubicBezTo>
                  <a:cubicBezTo>
                    <a:pt x="9008067" y="617634"/>
                    <a:pt x="8869687" y="723960"/>
                    <a:pt x="8869687" y="906123"/>
                  </a:cubicBezTo>
                  <a:cubicBezTo>
                    <a:pt x="8869687" y="1088286"/>
                    <a:pt x="9008067" y="1194613"/>
                    <a:pt x="9156612" y="1194613"/>
                  </a:cubicBezTo>
                  <a:moveTo>
                    <a:pt x="9156612" y="380744"/>
                  </a:moveTo>
                  <a:cubicBezTo>
                    <a:pt x="9429466" y="380744"/>
                    <a:pt x="9699973" y="557434"/>
                    <a:pt x="9699973" y="906123"/>
                  </a:cubicBezTo>
                  <a:cubicBezTo>
                    <a:pt x="9699973" y="1254813"/>
                    <a:pt x="9429466" y="1431503"/>
                    <a:pt x="9156612" y="1431503"/>
                  </a:cubicBezTo>
                  <a:cubicBezTo>
                    <a:pt x="8883759" y="1431503"/>
                    <a:pt x="8613251" y="1254813"/>
                    <a:pt x="8613251" y="906123"/>
                  </a:cubicBezTo>
                  <a:cubicBezTo>
                    <a:pt x="8613251" y="557434"/>
                    <a:pt x="8883759" y="380744"/>
                    <a:pt x="9156612" y="380744"/>
                  </a:cubicBezTo>
                  <a:moveTo>
                    <a:pt x="10704605" y="408889"/>
                  </a:moveTo>
                  <a:lnTo>
                    <a:pt x="10430188" y="1105486"/>
                  </a:lnTo>
                  <a:lnTo>
                    <a:pt x="10155772" y="408889"/>
                  </a:lnTo>
                  <a:lnTo>
                    <a:pt x="9825845" y="408889"/>
                  </a:lnTo>
                  <a:lnTo>
                    <a:pt x="9825845" y="1401012"/>
                  </a:lnTo>
                  <a:lnTo>
                    <a:pt x="10065863" y="1401012"/>
                  </a:lnTo>
                  <a:lnTo>
                    <a:pt x="10065863" y="772433"/>
                  </a:lnTo>
                  <a:lnTo>
                    <a:pt x="10331680" y="1401012"/>
                  </a:lnTo>
                  <a:lnTo>
                    <a:pt x="10527915" y="1401012"/>
                  </a:lnTo>
                  <a:lnTo>
                    <a:pt x="10793732" y="772433"/>
                  </a:lnTo>
                  <a:lnTo>
                    <a:pt x="10793732" y="1401012"/>
                  </a:lnTo>
                  <a:lnTo>
                    <a:pt x="11033749" y="1401012"/>
                  </a:lnTo>
                  <a:lnTo>
                    <a:pt x="11033749" y="408889"/>
                  </a:lnTo>
                  <a:lnTo>
                    <a:pt x="10704605" y="408889"/>
                  </a:lnTo>
                  <a:close/>
                  <a:moveTo>
                    <a:pt x="264253" y="3067841"/>
                  </a:moveTo>
                  <a:lnTo>
                    <a:pt x="264253" y="2666770"/>
                  </a:lnTo>
                  <a:lnTo>
                    <a:pt x="570725" y="2666770"/>
                  </a:lnTo>
                  <a:cubicBezTo>
                    <a:pt x="741160" y="2666770"/>
                    <a:pt x="819342" y="2742606"/>
                    <a:pt x="819342" y="2866915"/>
                  </a:cubicBezTo>
                  <a:cubicBezTo>
                    <a:pt x="819342" y="2991223"/>
                    <a:pt x="741160" y="3067059"/>
                    <a:pt x="570725" y="3067059"/>
                  </a:cubicBezTo>
                  <a:lnTo>
                    <a:pt x="264253" y="3067059"/>
                  </a:lnTo>
                  <a:close/>
                  <a:moveTo>
                    <a:pt x="0" y="3304731"/>
                  </a:moveTo>
                  <a:lnTo>
                    <a:pt x="591052" y="3304731"/>
                  </a:lnTo>
                  <a:cubicBezTo>
                    <a:pt x="877978" y="3304731"/>
                    <a:pt x="1084377" y="3142113"/>
                    <a:pt x="1084377" y="2867696"/>
                  </a:cubicBezTo>
                  <a:cubicBezTo>
                    <a:pt x="1084377" y="2593279"/>
                    <a:pt x="877978" y="2434571"/>
                    <a:pt x="591052" y="2434571"/>
                  </a:cubicBezTo>
                  <a:lnTo>
                    <a:pt x="264253" y="2434571"/>
                  </a:lnTo>
                  <a:lnTo>
                    <a:pt x="264253" y="2133572"/>
                  </a:lnTo>
                  <a:lnTo>
                    <a:pt x="983523" y="2133572"/>
                  </a:lnTo>
                  <a:lnTo>
                    <a:pt x="983523" y="1901373"/>
                  </a:lnTo>
                  <a:lnTo>
                    <a:pt x="0" y="1901373"/>
                  </a:lnTo>
                  <a:lnTo>
                    <a:pt x="0" y="3304731"/>
                  </a:lnTo>
                  <a:close/>
                  <a:moveTo>
                    <a:pt x="1243085" y="3304731"/>
                  </a:moveTo>
                  <a:lnTo>
                    <a:pt x="1503430" y="3304731"/>
                  </a:lnTo>
                  <a:lnTo>
                    <a:pt x="1936555" y="2649570"/>
                  </a:lnTo>
                  <a:lnTo>
                    <a:pt x="1936555" y="3304731"/>
                  </a:lnTo>
                  <a:lnTo>
                    <a:pt x="2177354" y="3304731"/>
                  </a:lnTo>
                  <a:lnTo>
                    <a:pt x="2177354" y="2310262"/>
                  </a:lnTo>
                  <a:lnTo>
                    <a:pt x="1917009" y="2310262"/>
                  </a:lnTo>
                  <a:lnTo>
                    <a:pt x="1483884" y="2965423"/>
                  </a:lnTo>
                  <a:lnTo>
                    <a:pt x="1483884" y="2310262"/>
                  </a:lnTo>
                  <a:lnTo>
                    <a:pt x="1243085" y="2310262"/>
                  </a:lnTo>
                  <a:lnTo>
                    <a:pt x="1243085" y="3304731"/>
                  </a:lnTo>
                  <a:close/>
                  <a:moveTo>
                    <a:pt x="3183549" y="3015459"/>
                  </a:moveTo>
                  <a:cubicBezTo>
                    <a:pt x="3183549" y="2888805"/>
                    <a:pt x="3097549" y="2812969"/>
                    <a:pt x="2974805" y="2778569"/>
                  </a:cubicBezTo>
                  <a:cubicBezTo>
                    <a:pt x="3077222" y="2738697"/>
                    <a:pt x="3142895" y="2665988"/>
                    <a:pt x="3142895" y="2547934"/>
                  </a:cubicBezTo>
                  <a:cubicBezTo>
                    <a:pt x="3142895" y="2395480"/>
                    <a:pt x="3030314" y="2281335"/>
                    <a:pt x="2772315" y="2281335"/>
                  </a:cubicBezTo>
                  <a:cubicBezTo>
                    <a:pt x="2519789" y="2281335"/>
                    <a:pt x="2377498" y="2413462"/>
                    <a:pt x="2377498" y="2572170"/>
                  </a:cubicBezTo>
                  <a:cubicBezTo>
                    <a:pt x="2377498" y="2610479"/>
                    <a:pt x="2385316" y="2640188"/>
                    <a:pt x="2397825" y="2672243"/>
                  </a:cubicBezTo>
                  <a:lnTo>
                    <a:pt x="2612043" y="2600316"/>
                  </a:lnTo>
                  <a:cubicBezTo>
                    <a:pt x="2608134" y="2590152"/>
                    <a:pt x="2605788" y="2579989"/>
                    <a:pt x="2605788" y="2564352"/>
                  </a:cubicBezTo>
                  <a:cubicBezTo>
                    <a:pt x="2605788" y="2515880"/>
                    <a:pt x="2669897" y="2478353"/>
                    <a:pt x="2769969" y="2478353"/>
                  </a:cubicBezTo>
                  <a:cubicBezTo>
                    <a:pt x="2863787" y="2478353"/>
                    <a:pt x="2908351" y="2518225"/>
                    <a:pt x="2908351" y="2578425"/>
                  </a:cubicBezTo>
                  <a:cubicBezTo>
                    <a:pt x="2908351" y="2642534"/>
                    <a:pt x="2862223" y="2686315"/>
                    <a:pt x="2754333" y="2686315"/>
                  </a:cubicBezTo>
                  <a:lnTo>
                    <a:pt x="2678497" y="2686315"/>
                  </a:lnTo>
                  <a:lnTo>
                    <a:pt x="2678497" y="2886460"/>
                  </a:lnTo>
                  <a:lnTo>
                    <a:pt x="2760587" y="2886460"/>
                  </a:lnTo>
                  <a:cubicBezTo>
                    <a:pt x="2873169" y="2886460"/>
                    <a:pt x="2938841" y="2930242"/>
                    <a:pt x="2938841" y="3004514"/>
                  </a:cubicBezTo>
                  <a:cubicBezTo>
                    <a:pt x="2938841" y="3080350"/>
                    <a:pt x="2870823" y="3135077"/>
                    <a:pt x="2748079" y="3135077"/>
                  </a:cubicBezTo>
                  <a:cubicBezTo>
                    <a:pt x="2663642" y="3135077"/>
                    <a:pt x="2579988" y="3091295"/>
                    <a:pt x="2579988" y="3008423"/>
                  </a:cubicBezTo>
                  <a:cubicBezTo>
                    <a:pt x="2579988" y="2988096"/>
                    <a:pt x="2583898" y="2972460"/>
                    <a:pt x="2590152" y="2958387"/>
                  </a:cubicBezTo>
                  <a:lnTo>
                    <a:pt x="2377498" y="2890369"/>
                  </a:lnTo>
                  <a:cubicBezTo>
                    <a:pt x="2365771" y="2916169"/>
                    <a:pt x="2353262" y="2964641"/>
                    <a:pt x="2353262" y="3010768"/>
                  </a:cubicBezTo>
                  <a:cubicBezTo>
                    <a:pt x="2353262" y="3192931"/>
                    <a:pt x="2491643" y="3331312"/>
                    <a:pt x="2748079" y="3331312"/>
                  </a:cubicBezTo>
                  <a:cubicBezTo>
                    <a:pt x="3029532" y="3332094"/>
                    <a:pt x="3183549" y="3203877"/>
                    <a:pt x="3183549" y="3015459"/>
                  </a:cubicBezTo>
                  <a:moveTo>
                    <a:pt x="3354767" y="3304731"/>
                  </a:moveTo>
                  <a:lnTo>
                    <a:pt x="3607293" y="3304731"/>
                  </a:lnTo>
                  <a:lnTo>
                    <a:pt x="3607293" y="2902096"/>
                  </a:lnTo>
                  <a:lnTo>
                    <a:pt x="4020091" y="2902096"/>
                  </a:lnTo>
                  <a:lnTo>
                    <a:pt x="4020091" y="3304731"/>
                  </a:lnTo>
                  <a:lnTo>
                    <a:pt x="4272617" y="3304731"/>
                  </a:lnTo>
                  <a:lnTo>
                    <a:pt x="4272617" y="2310262"/>
                  </a:lnTo>
                  <a:lnTo>
                    <a:pt x="4020091" y="2310262"/>
                  </a:lnTo>
                  <a:lnTo>
                    <a:pt x="4020091" y="2680843"/>
                  </a:lnTo>
                  <a:lnTo>
                    <a:pt x="3607293" y="2680843"/>
                  </a:lnTo>
                  <a:lnTo>
                    <a:pt x="3607293" y="2310262"/>
                  </a:lnTo>
                  <a:lnTo>
                    <a:pt x="3354767" y="2310262"/>
                  </a:lnTo>
                  <a:lnTo>
                    <a:pt x="3354767" y="3304731"/>
                  </a:lnTo>
                  <a:close/>
                  <a:moveTo>
                    <a:pt x="4663524" y="2675370"/>
                  </a:moveTo>
                  <a:cubicBezTo>
                    <a:pt x="4699488" y="2562789"/>
                    <a:pt x="4799560" y="2475225"/>
                    <a:pt x="4932468" y="2475225"/>
                  </a:cubicBezTo>
                  <a:cubicBezTo>
                    <a:pt x="5072413" y="2475225"/>
                    <a:pt x="5167013" y="2551062"/>
                    <a:pt x="5191249" y="2675370"/>
                  </a:cubicBezTo>
                  <a:lnTo>
                    <a:pt x="4663524" y="2675370"/>
                  </a:lnTo>
                  <a:moveTo>
                    <a:pt x="4931687" y="3116313"/>
                  </a:moveTo>
                  <a:cubicBezTo>
                    <a:pt x="4783142" y="3116313"/>
                    <a:pt x="4675252" y="3020150"/>
                    <a:pt x="4658833" y="2867696"/>
                  </a:cubicBezTo>
                  <a:lnTo>
                    <a:pt x="5424230" y="2867696"/>
                  </a:lnTo>
                  <a:lnTo>
                    <a:pt x="5424230" y="2779351"/>
                  </a:lnTo>
                  <a:cubicBezTo>
                    <a:pt x="5424230" y="2488516"/>
                    <a:pt x="5224085" y="2282117"/>
                    <a:pt x="4939505" y="2282117"/>
                  </a:cubicBezTo>
                  <a:cubicBezTo>
                    <a:pt x="4651015" y="2282117"/>
                    <a:pt x="4416471" y="2492425"/>
                    <a:pt x="4416471" y="2807497"/>
                  </a:cubicBezTo>
                  <a:cubicBezTo>
                    <a:pt x="4416471" y="3122568"/>
                    <a:pt x="4651015" y="3332876"/>
                    <a:pt x="4927778" y="3332876"/>
                  </a:cubicBezTo>
                  <a:cubicBezTo>
                    <a:pt x="5145904" y="3332876"/>
                    <a:pt x="5284285" y="3250786"/>
                    <a:pt x="5384357" y="3080350"/>
                  </a:cubicBezTo>
                  <a:lnTo>
                    <a:pt x="5184213" y="2980278"/>
                  </a:lnTo>
                  <a:cubicBezTo>
                    <a:pt x="5122449" y="3057677"/>
                    <a:pt x="5066159" y="3116313"/>
                    <a:pt x="4931687" y="3116313"/>
                  </a:cubicBezTo>
                  <a:moveTo>
                    <a:pt x="6084081" y="3332094"/>
                  </a:moveTo>
                  <a:cubicBezTo>
                    <a:pt x="6296735" y="3332094"/>
                    <a:pt x="6439025" y="3235931"/>
                    <a:pt x="6539098" y="3065495"/>
                  </a:cubicBezTo>
                  <a:lnTo>
                    <a:pt x="6330353" y="2951350"/>
                  </a:lnTo>
                  <a:cubicBezTo>
                    <a:pt x="6270153" y="3035787"/>
                    <a:pt x="6206044" y="3095986"/>
                    <a:pt x="6081736" y="3095986"/>
                  </a:cubicBezTo>
                  <a:cubicBezTo>
                    <a:pt x="5929282" y="3095986"/>
                    <a:pt x="5817483" y="2985750"/>
                    <a:pt x="5817483" y="2807497"/>
                  </a:cubicBezTo>
                  <a:cubicBezTo>
                    <a:pt x="5817483" y="2630806"/>
                    <a:pt x="5933973" y="2519007"/>
                    <a:pt x="6081736" y="2519007"/>
                  </a:cubicBezTo>
                  <a:cubicBezTo>
                    <a:pt x="6171645" y="2519007"/>
                    <a:pt x="6249826" y="2561225"/>
                    <a:pt x="6312372" y="2655043"/>
                  </a:cubicBezTo>
                  <a:lnTo>
                    <a:pt x="6528934" y="2530734"/>
                  </a:lnTo>
                  <a:cubicBezTo>
                    <a:pt x="6457007" y="2376717"/>
                    <a:pt x="6300644" y="2282117"/>
                    <a:pt x="6084081" y="2282117"/>
                  </a:cubicBezTo>
                  <a:cubicBezTo>
                    <a:pt x="5801846" y="2282117"/>
                    <a:pt x="5561047" y="2490862"/>
                    <a:pt x="5561047" y="2807497"/>
                  </a:cubicBezTo>
                  <a:cubicBezTo>
                    <a:pt x="5561047" y="3124132"/>
                    <a:pt x="5789337" y="3332094"/>
                    <a:pt x="6084081" y="3332094"/>
                  </a:cubicBezTo>
                </a:path>
              </a:pathLst>
            </a:custGeom>
            <a:solidFill>
              <a:srgbClr val="101828"/>
            </a:solidFill>
            <a:ln w="7818" cap="flat">
              <a:noFill/>
              <a:prstDash val="solid"/>
              <a:miter/>
            </a:ln>
          </p:spPr>
          <p:txBody>
            <a:bodyPr rtlCol="0" anchor="ctr"/>
            <a:lstStyle/>
            <a:p>
              <a:endParaRPr lang="ru-RU" sz="1587" dirty="0"/>
            </a:p>
          </p:txBody>
        </p:sp>
        <p:grpSp>
          <p:nvGrpSpPr>
            <p:cNvPr id="55" name="Рисунок 25">
              <a:extLst>
                <a:ext uri="{FF2B5EF4-FFF2-40B4-BE49-F238E27FC236}">
                  <a16:creationId xmlns:a16="http://schemas.microsoft.com/office/drawing/2014/main" id="{0ED2A9B9-8251-4C80-A209-1E5C6D1644E7}"/>
                </a:ext>
              </a:extLst>
            </p:cNvPr>
            <p:cNvGrpSpPr/>
            <p:nvPr/>
          </p:nvGrpSpPr>
          <p:grpSpPr>
            <a:xfrm>
              <a:off x="-233" y="1916027"/>
              <a:ext cx="2345677" cy="3909073"/>
              <a:chOff x="-233" y="1916027"/>
              <a:chExt cx="2345677" cy="3909073"/>
            </a:xfrm>
          </p:grpSpPr>
          <p:sp>
            <p:nvSpPr>
              <p:cNvPr id="56" name="Полилиния: фигура 55">
                <a:extLst>
                  <a:ext uri="{FF2B5EF4-FFF2-40B4-BE49-F238E27FC236}">
                    <a16:creationId xmlns:a16="http://schemas.microsoft.com/office/drawing/2014/main" id="{1E6A7754-C2CB-45C9-B2AA-531A7BC48C71}"/>
                  </a:ext>
                </a:extLst>
              </p:cNvPr>
              <p:cNvSpPr/>
              <p:nvPr/>
            </p:nvSpPr>
            <p:spPr>
              <a:xfrm>
                <a:off x="88345" y="4800141"/>
                <a:ext cx="1777846" cy="1024959"/>
              </a:xfrm>
              <a:custGeom>
                <a:avLst/>
                <a:gdLst>
                  <a:gd name="connsiteX0" fmla="*/ 1777846 w 1777846"/>
                  <a:gd name="connsiteY0" fmla="*/ 1024959 h 1024959"/>
                  <a:gd name="connsiteX1" fmla="*/ 182945 w 1777846"/>
                  <a:gd name="connsiteY1" fmla="*/ 1024959 h 1024959"/>
                  <a:gd name="connsiteX2" fmla="*/ 0 w 1777846"/>
                  <a:gd name="connsiteY2" fmla="*/ 831851 h 1024959"/>
                  <a:gd name="connsiteX3" fmla="*/ 56291 w 1777846"/>
                  <a:gd name="connsiteY3" fmla="*/ 695815 h 1024959"/>
                  <a:gd name="connsiteX4" fmla="*/ 752106 w 1777846"/>
                  <a:gd name="connsiteY4" fmla="*/ 0 h 1024959"/>
                  <a:gd name="connsiteX5" fmla="*/ 1777846 w 1777846"/>
                  <a:gd name="connsiteY5" fmla="*/ 1024959 h 10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7846" h="1024959">
                    <a:moveTo>
                      <a:pt x="1777846" y="1024959"/>
                    </a:moveTo>
                    <a:lnTo>
                      <a:pt x="182945" y="1024959"/>
                    </a:lnTo>
                    <a:cubicBezTo>
                      <a:pt x="68018" y="1024959"/>
                      <a:pt x="0" y="921759"/>
                      <a:pt x="0" y="831851"/>
                    </a:cubicBezTo>
                    <a:cubicBezTo>
                      <a:pt x="0" y="778688"/>
                      <a:pt x="21891" y="730215"/>
                      <a:pt x="56291" y="695815"/>
                    </a:cubicBezTo>
                    <a:lnTo>
                      <a:pt x="752106" y="0"/>
                    </a:lnTo>
                    <a:lnTo>
                      <a:pt x="1777846" y="1024959"/>
                    </a:lnTo>
                    <a:close/>
                  </a:path>
                </a:pathLst>
              </a:custGeom>
              <a:solidFill>
                <a:srgbClr val="FF4F12"/>
              </a:solidFill>
              <a:ln w="7818" cap="flat">
                <a:noFill/>
                <a:prstDash val="solid"/>
                <a:miter/>
              </a:ln>
            </p:spPr>
            <p:txBody>
              <a:bodyPr rtlCol="0" anchor="ctr"/>
              <a:lstStyle/>
              <a:p>
                <a:endParaRPr lang="ru-RU" sz="1587" dirty="0"/>
              </a:p>
            </p:txBody>
          </p:sp>
          <p:sp>
            <p:nvSpPr>
              <p:cNvPr id="57" name="Полилиния: фигура 56">
                <a:extLst>
                  <a:ext uri="{FF2B5EF4-FFF2-40B4-BE49-F238E27FC236}">
                    <a16:creationId xmlns:a16="http://schemas.microsoft.com/office/drawing/2014/main" id="{6A35652E-F505-488C-B031-DF1D17234217}"/>
                  </a:ext>
                </a:extLst>
              </p:cNvPr>
              <p:cNvSpPr/>
              <p:nvPr/>
            </p:nvSpPr>
            <p:spPr>
              <a:xfrm>
                <a:off x="-233" y="1916027"/>
                <a:ext cx="2345677" cy="3909073"/>
              </a:xfrm>
              <a:custGeom>
                <a:avLst/>
                <a:gdLst>
                  <a:gd name="connsiteX0" fmla="*/ 271523 w 2345677"/>
                  <a:gd name="connsiteY0" fmla="*/ 3909074 h 3909073"/>
                  <a:gd name="connsiteX1" fmla="*/ 234 w 2345677"/>
                  <a:gd name="connsiteY1" fmla="*/ 3621366 h 3909073"/>
                  <a:gd name="connsiteX2" fmla="*/ 234 w 2345677"/>
                  <a:gd name="connsiteY2" fmla="*/ 1476848 h 3909073"/>
                  <a:gd name="connsiteX3" fmla="*/ 192560 w 2345677"/>
                  <a:gd name="connsiteY3" fmla="*/ 776342 h 3909073"/>
                  <a:gd name="connsiteX4" fmla="*/ 968902 w 2345677"/>
                  <a:gd name="connsiteY4" fmla="*/ 0 h 3909073"/>
                  <a:gd name="connsiteX5" fmla="*/ 2345678 w 2345677"/>
                  <a:gd name="connsiteY5" fmla="*/ 1379121 h 3909073"/>
                  <a:gd name="connsiteX6" fmla="*/ 144869 w 2345677"/>
                  <a:gd name="connsiteY6" fmla="*/ 3579930 h 3909073"/>
                  <a:gd name="connsiteX7" fmla="*/ 88579 w 2345677"/>
                  <a:gd name="connsiteY7" fmla="*/ 3715965 h 3909073"/>
                  <a:gd name="connsiteX8" fmla="*/ 271523 w 2345677"/>
                  <a:gd name="connsiteY8" fmla="*/ 3909074 h 3909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5677" h="3909073">
                    <a:moveTo>
                      <a:pt x="271523" y="3909074"/>
                    </a:moveTo>
                    <a:cubicBezTo>
                      <a:pt x="151124" y="3909074"/>
                      <a:pt x="234" y="3812910"/>
                      <a:pt x="234" y="3621366"/>
                    </a:cubicBezTo>
                    <a:lnTo>
                      <a:pt x="234" y="1476848"/>
                    </a:lnTo>
                    <a:cubicBezTo>
                      <a:pt x="234" y="1186795"/>
                      <a:pt x="-14621" y="983523"/>
                      <a:pt x="192560" y="776342"/>
                    </a:cubicBezTo>
                    <a:lnTo>
                      <a:pt x="968902" y="0"/>
                    </a:lnTo>
                    <a:lnTo>
                      <a:pt x="2345678" y="1379121"/>
                    </a:lnTo>
                    <a:lnTo>
                      <a:pt x="144869" y="3579930"/>
                    </a:lnTo>
                    <a:cubicBezTo>
                      <a:pt x="109688" y="3615111"/>
                      <a:pt x="88579" y="3662802"/>
                      <a:pt x="88579" y="3715965"/>
                    </a:cubicBezTo>
                    <a:cubicBezTo>
                      <a:pt x="88579" y="3805874"/>
                      <a:pt x="156597" y="3909074"/>
                      <a:pt x="271523" y="3909074"/>
                    </a:cubicBezTo>
                    <a:close/>
                  </a:path>
                </a:pathLst>
              </a:custGeom>
              <a:solidFill>
                <a:srgbClr val="7B939B"/>
              </a:solidFill>
              <a:ln w="7818" cap="flat">
                <a:noFill/>
                <a:prstDash val="solid"/>
                <a:miter/>
              </a:ln>
            </p:spPr>
            <p:txBody>
              <a:bodyPr rtlCol="0" anchor="ctr"/>
              <a:lstStyle/>
              <a:p>
                <a:endParaRPr lang="ru-RU" sz="1587" dirty="0"/>
              </a:p>
            </p:txBody>
          </p:sp>
        </p:grpSp>
      </p:grpSp>
      <p:grpSp>
        <p:nvGrpSpPr>
          <p:cNvPr id="58" name="Рисунок 37">
            <a:extLst>
              <a:ext uri="{FF2B5EF4-FFF2-40B4-BE49-F238E27FC236}">
                <a16:creationId xmlns:a16="http://schemas.microsoft.com/office/drawing/2014/main" id="{E559587F-C94B-490B-B71E-31D3C1DF5BA3}"/>
              </a:ext>
            </a:extLst>
          </p:cNvPr>
          <p:cNvGrpSpPr/>
          <p:nvPr userDrawn="1"/>
        </p:nvGrpSpPr>
        <p:grpSpPr>
          <a:xfrm>
            <a:off x="8137797" y="3577890"/>
            <a:ext cx="4053600" cy="3281919"/>
            <a:chOff x="9231313" y="4054942"/>
            <a:chExt cx="4598303" cy="3719507"/>
          </a:xfrm>
        </p:grpSpPr>
        <p:sp>
          <p:nvSpPr>
            <p:cNvPr id="59" name="Полилиния: фигура 58">
              <a:extLst>
                <a:ext uri="{FF2B5EF4-FFF2-40B4-BE49-F238E27FC236}">
                  <a16:creationId xmlns:a16="http://schemas.microsoft.com/office/drawing/2014/main" id="{6E4D1417-8376-46C2-9730-96DC7ABAF76A}"/>
                </a:ext>
              </a:extLst>
            </p:cNvPr>
            <p:cNvSpPr/>
            <p:nvPr/>
          </p:nvSpPr>
          <p:spPr>
            <a:xfrm>
              <a:off x="9231313" y="4279082"/>
              <a:ext cx="4598303" cy="3495367"/>
            </a:xfrm>
            <a:custGeom>
              <a:avLst/>
              <a:gdLst>
                <a:gd name="connsiteX0" fmla="*/ 4598304 w 4598303"/>
                <a:gd name="connsiteY0" fmla="*/ 0 h 3495367"/>
                <a:gd name="connsiteX1" fmla="*/ 3593087 w 4598303"/>
                <a:gd name="connsiteY1" fmla="*/ 1534818 h 3495367"/>
                <a:gd name="connsiteX2" fmla="*/ 2779893 w 4598303"/>
                <a:gd name="connsiteY2" fmla="*/ 2152572 h 3495367"/>
                <a:gd name="connsiteX3" fmla="*/ 2290610 w 4598303"/>
                <a:gd name="connsiteY3" fmla="*/ 2391064 h 3495367"/>
                <a:gd name="connsiteX4" fmla="*/ 0 w 4598303"/>
                <a:gd name="connsiteY4" fmla="*/ 3495367 h 3495367"/>
                <a:gd name="connsiteX5" fmla="*/ 0 w 4598303"/>
                <a:gd name="connsiteY5" fmla="*/ 3495367 h 3495367"/>
                <a:gd name="connsiteX6" fmla="*/ 4598304 w 4598303"/>
                <a:gd name="connsiteY6" fmla="*/ 3495367 h 3495367"/>
                <a:gd name="connsiteX7" fmla="*/ 4598304 w 4598303"/>
                <a:gd name="connsiteY7" fmla="*/ 0 h 349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98303" h="3495367">
                  <a:moveTo>
                    <a:pt x="4598304" y="0"/>
                  </a:moveTo>
                  <a:cubicBezTo>
                    <a:pt x="4307194" y="720941"/>
                    <a:pt x="3920415" y="1215008"/>
                    <a:pt x="3593087" y="1534818"/>
                  </a:cubicBezTo>
                  <a:cubicBezTo>
                    <a:pt x="3333411" y="1789027"/>
                    <a:pt x="3119521" y="1949615"/>
                    <a:pt x="2779893" y="2152572"/>
                  </a:cubicBezTo>
                  <a:cubicBezTo>
                    <a:pt x="2635705" y="2239359"/>
                    <a:pt x="2449149" y="2314528"/>
                    <a:pt x="2290610" y="2391064"/>
                  </a:cubicBezTo>
                  <a:lnTo>
                    <a:pt x="0" y="3495367"/>
                  </a:lnTo>
                  <a:lnTo>
                    <a:pt x="0" y="3495367"/>
                  </a:lnTo>
                  <a:lnTo>
                    <a:pt x="4598304" y="3495367"/>
                  </a:lnTo>
                  <a:lnTo>
                    <a:pt x="4598304" y="0"/>
                  </a:lnTo>
                  <a:close/>
                </a:path>
              </a:pathLst>
            </a:custGeom>
            <a:solidFill>
              <a:schemeClr val="tx2"/>
            </a:solidFill>
            <a:ln w="6822" cap="flat">
              <a:noFill/>
              <a:prstDash val="solid"/>
              <a:miter/>
            </a:ln>
          </p:spPr>
          <p:txBody>
            <a:bodyPr rtlCol="0" anchor="ctr"/>
            <a:lstStyle/>
            <a:p>
              <a:endParaRPr lang="ru-RU" sz="1587" dirty="0"/>
            </a:p>
          </p:txBody>
        </p:sp>
        <p:grpSp>
          <p:nvGrpSpPr>
            <p:cNvPr id="60" name="Рисунок 37">
              <a:extLst>
                <a:ext uri="{FF2B5EF4-FFF2-40B4-BE49-F238E27FC236}">
                  <a16:creationId xmlns:a16="http://schemas.microsoft.com/office/drawing/2014/main" id="{658A8801-9702-4EB9-B308-C6C689D2594D}"/>
                </a:ext>
              </a:extLst>
            </p:cNvPr>
            <p:cNvGrpSpPr/>
            <p:nvPr/>
          </p:nvGrpSpPr>
          <p:grpSpPr>
            <a:xfrm>
              <a:off x="11334683" y="6787000"/>
              <a:ext cx="2053485" cy="554201"/>
              <a:chOff x="11334683" y="6787000"/>
              <a:chExt cx="2053485" cy="554201"/>
            </a:xfrm>
            <a:solidFill>
              <a:srgbClr val="FFFFFF"/>
            </a:solidFill>
          </p:grpSpPr>
          <p:sp>
            <p:nvSpPr>
              <p:cNvPr id="62" name="Полилиния: фигура 61">
                <a:extLst>
                  <a:ext uri="{FF2B5EF4-FFF2-40B4-BE49-F238E27FC236}">
                    <a16:creationId xmlns:a16="http://schemas.microsoft.com/office/drawing/2014/main" id="{4D1483C5-41D2-4251-9FA3-C3CAB1057293}"/>
                  </a:ext>
                </a:extLst>
              </p:cNvPr>
              <p:cNvSpPr/>
              <p:nvPr/>
            </p:nvSpPr>
            <p:spPr>
              <a:xfrm>
                <a:off x="11781598" y="6787000"/>
                <a:ext cx="162638" cy="211840"/>
              </a:xfrm>
              <a:custGeom>
                <a:avLst/>
                <a:gdLst>
                  <a:gd name="connsiteX0" fmla="*/ 64919 w 162638"/>
                  <a:gd name="connsiteY0" fmla="*/ 30068 h 211840"/>
                  <a:gd name="connsiteX1" fmla="*/ 0 w 162638"/>
                  <a:gd name="connsiteY1" fmla="*/ 30068 h 211840"/>
                  <a:gd name="connsiteX2" fmla="*/ 0 w 162638"/>
                  <a:gd name="connsiteY2" fmla="*/ 0 h 211840"/>
                  <a:gd name="connsiteX3" fmla="*/ 162639 w 162638"/>
                  <a:gd name="connsiteY3" fmla="*/ 0 h 211840"/>
                  <a:gd name="connsiteX4" fmla="*/ 162639 w 162638"/>
                  <a:gd name="connsiteY4" fmla="*/ 30068 h 211840"/>
                  <a:gd name="connsiteX5" fmla="*/ 97720 w 162638"/>
                  <a:gd name="connsiteY5" fmla="*/ 30068 h 211840"/>
                  <a:gd name="connsiteX6" fmla="*/ 97720 w 162638"/>
                  <a:gd name="connsiteY6" fmla="*/ 211840 h 211840"/>
                  <a:gd name="connsiteX7" fmla="*/ 64919 w 162638"/>
                  <a:gd name="connsiteY7" fmla="*/ 211840 h 211840"/>
                  <a:gd name="connsiteX8" fmla="*/ 64919 w 162638"/>
                  <a:gd name="connsiteY8" fmla="*/ 30068 h 21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638" h="211840">
                    <a:moveTo>
                      <a:pt x="64919" y="30068"/>
                    </a:moveTo>
                    <a:lnTo>
                      <a:pt x="0" y="30068"/>
                    </a:lnTo>
                    <a:lnTo>
                      <a:pt x="0" y="0"/>
                    </a:lnTo>
                    <a:lnTo>
                      <a:pt x="162639" y="0"/>
                    </a:lnTo>
                    <a:lnTo>
                      <a:pt x="162639" y="30068"/>
                    </a:lnTo>
                    <a:lnTo>
                      <a:pt x="97720" y="30068"/>
                    </a:lnTo>
                    <a:lnTo>
                      <a:pt x="97720" y="211840"/>
                    </a:lnTo>
                    <a:lnTo>
                      <a:pt x="64919" y="211840"/>
                    </a:lnTo>
                    <a:lnTo>
                      <a:pt x="64919" y="30068"/>
                    </a:lnTo>
                    <a:close/>
                  </a:path>
                </a:pathLst>
              </a:custGeom>
              <a:solidFill>
                <a:srgbClr val="FFFFFF"/>
              </a:solidFill>
              <a:ln w="6822" cap="flat">
                <a:noFill/>
                <a:prstDash val="solid"/>
                <a:miter/>
              </a:ln>
            </p:spPr>
            <p:txBody>
              <a:bodyPr rtlCol="0" anchor="ctr"/>
              <a:lstStyle/>
              <a:p>
                <a:endParaRPr lang="ru-RU" sz="1587" dirty="0"/>
              </a:p>
            </p:txBody>
          </p:sp>
          <p:sp>
            <p:nvSpPr>
              <p:cNvPr id="63" name="Полилиния: фигура 62">
                <a:extLst>
                  <a:ext uri="{FF2B5EF4-FFF2-40B4-BE49-F238E27FC236}">
                    <a16:creationId xmlns:a16="http://schemas.microsoft.com/office/drawing/2014/main" id="{9EDADB0C-BF73-4C8E-8A93-724B23998AE2}"/>
                  </a:ext>
                </a:extLst>
              </p:cNvPr>
              <p:cNvSpPr/>
              <p:nvPr/>
            </p:nvSpPr>
            <p:spPr>
              <a:xfrm>
                <a:off x="11933303" y="6844402"/>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3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8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3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3"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8" y="86103"/>
                    </a:lnTo>
                    <a:cubicBezTo>
                      <a:pt x="32118" y="112754"/>
                      <a:pt x="49885" y="131204"/>
                      <a:pt x="76536" y="131204"/>
                    </a:cubicBezTo>
                    <a:close/>
                    <a:moveTo>
                      <a:pt x="30751" y="61502"/>
                    </a:moveTo>
                    <a:lnTo>
                      <a:pt x="119587" y="61502"/>
                    </a:lnTo>
                    <a:cubicBezTo>
                      <a:pt x="116854" y="38268"/>
                      <a:pt x="99087" y="24601"/>
                      <a:pt x="75853" y="24601"/>
                    </a:cubicBezTo>
                    <a:cubicBezTo>
                      <a:pt x="53302" y="24601"/>
                      <a:pt x="36218"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64" name="Полилиния: фигура 63">
                <a:extLst>
                  <a:ext uri="{FF2B5EF4-FFF2-40B4-BE49-F238E27FC236}">
                    <a16:creationId xmlns:a16="http://schemas.microsoft.com/office/drawing/2014/main" id="{8B413D76-0D55-4412-8262-05562AA4FF68}"/>
                  </a:ext>
                </a:extLst>
              </p:cNvPr>
              <p:cNvSpPr/>
              <p:nvPr/>
            </p:nvSpPr>
            <p:spPr>
              <a:xfrm>
                <a:off x="12089791" y="6848502"/>
                <a:ext cx="142821" cy="150338"/>
              </a:xfrm>
              <a:custGeom>
                <a:avLst/>
                <a:gdLst>
                  <a:gd name="connsiteX0" fmla="*/ 100453 w 142821"/>
                  <a:gd name="connsiteY0" fmla="*/ 0 h 150338"/>
                  <a:gd name="connsiteX1" fmla="*/ 135988 w 142821"/>
                  <a:gd name="connsiteY1" fmla="*/ 0 h 150338"/>
                  <a:gd name="connsiteX2" fmla="*/ 90203 w 142821"/>
                  <a:gd name="connsiteY2" fmla="*/ 69702 h 150338"/>
                  <a:gd name="connsiteX3" fmla="*/ 142822 w 142821"/>
                  <a:gd name="connsiteY3" fmla="*/ 150338 h 150338"/>
                  <a:gd name="connsiteX4" fmla="*/ 106604 w 142821"/>
                  <a:gd name="connsiteY4" fmla="*/ 150338 h 150338"/>
                  <a:gd name="connsiteX5" fmla="*/ 71752 w 142821"/>
                  <a:gd name="connsiteY5" fmla="*/ 94987 h 150338"/>
                  <a:gd name="connsiteX6" fmla="*/ 36218 w 142821"/>
                  <a:gd name="connsiteY6" fmla="*/ 150338 h 150338"/>
                  <a:gd name="connsiteX7" fmla="*/ 0 w 142821"/>
                  <a:gd name="connsiteY7" fmla="*/ 150338 h 150338"/>
                  <a:gd name="connsiteX8" fmla="*/ 54668 w 142821"/>
                  <a:gd name="connsiteY8" fmla="*/ 71069 h 150338"/>
                  <a:gd name="connsiteX9" fmla="*/ 7517 w 142821"/>
                  <a:gd name="connsiteY9" fmla="*/ 683 h 150338"/>
                  <a:gd name="connsiteX10" fmla="*/ 43052 w 142821"/>
                  <a:gd name="connsiteY10" fmla="*/ 683 h 150338"/>
                  <a:gd name="connsiteX11" fmla="*/ 71752 w 142821"/>
                  <a:gd name="connsiteY11" fmla="*/ 46468 h 150338"/>
                  <a:gd name="connsiteX12" fmla="*/ 100453 w 142821"/>
                  <a:gd name="connsiteY12"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21" h="150338">
                    <a:moveTo>
                      <a:pt x="100453" y="0"/>
                    </a:moveTo>
                    <a:lnTo>
                      <a:pt x="135988" y="0"/>
                    </a:lnTo>
                    <a:lnTo>
                      <a:pt x="90203" y="69702"/>
                    </a:lnTo>
                    <a:lnTo>
                      <a:pt x="142822" y="150338"/>
                    </a:lnTo>
                    <a:lnTo>
                      <a:pt x="106604" y="150338"/>
                    </a:lnTo>
                    <a:lnTo>
                      <a:pt x="71752" y="94987"/>
                    </a:lnTo>
                    <a:lnTo>
                      <a:pt x="36218" y="150338"/>
                    </a:lnTo>
                    <a:lnTo>
                      <a:pt x="0" y="150338"/>
                    </a:lnTo>
                    <a:lnTo>
                      <a:pt x="54668" y="71069"/>
                    </a:lnTo>
                    <a:lnTo>
                      <a:pt x="7517" y="683"/>
                    </a:lnTo>
                    <a:lnTo>
                      <a:pt x="43052" y="683"/>
                    </a:lnTo>
                    <a:lnTo>
                      <a:pt x="71752" y="46468"/>
                    </a:lnTo>
                    <a:lnTo>
                      <a:pt x="100453" y="0"/>
                    </a:lnTo>
                    <a:close/>
                  </a:path>
                </a:pathLst>
              </a:custGeom>
              <a:solidFill>
                <a:srgbClr val="FFFFFF"/>
              </a:solidFill>
              <a:ln w="6822" cap="flat">
                <a:noFill/>
                <a:prstDash val="solid"/>
                <a:miter/>
              </a:ln>
            </p:spPr>
            <p:txBody>
              <a:bodyPr rtlCol="0" anchor="ctr"/>
              <a:lstStyle/>
              <a:p>
                <a:endParaRPr lang="ru-RU" sz="1587" dirty="0"/>
              </a:p>
            </p:txBody>
          </p:sp>
          <p:sp>
            <p:nvSpPr>
              <p:cNvPr id="65" name="Полилиния: фигура 64">
                <a:extLst>
                  <a:ext uri="{FF2B5EF4-FFF2-40B4-BE49-F238E27FC236}">
                    <a16:creationId xmlns:a16="http://schemas.microsoft.com/office/drawing/2014/main" id="{652E4E37-C2DA-45BA-A9A8-32EF47C86EE8}"/>
                  </a:ext>
                </a:extLst>
              </p:cNvPr>
              <p:cNvSpPr/>
              <p:nvPr/>
            </p:nvSpPr>
            <p:spPr>
              <a:xfrm>
                <a:off x="12253797" y="6848502"/>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66" name="Полилиния: фигура 65">
                <a:extLst>
                  <a:ext uri="{FF2B5EF4-FFF2-40B4-BE49-F238E27FC236}">
                    <a16:creationId xmlns:a16="http://schemas.microsoft.com/office/drawing/2014/main" id="{F4A83229-EDDD-4767-AE6D-310AED05100A}"/>
                  </a:ext>
                </a:extLst>
              </p:cNvPr>
              <p:cNvSpPr/>
              <p:nvPr/>
            </p:nvSpPr>
            <p:spPr>
              <a:xfrm>
                <a:off x="12416436" y="6844402"/>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1204"/>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67" name="Полилиния: фигура 66">
                <a:extLst>
                  <a:ext uri="{FF2B5EF4-FFF2-40B4-BE49-F238E27FC236}">
                    <a16:creationId xmlns:a16="http://schemas.microsoft.com/office/drawing/2014/main" id="{A05123D2-AE4E-4672-87D6-196B809A7B59}"/>
                  </a:ext>
                </a:extLst>
              </p:cNvPr>
              <p:cNvSpPr/>
              <p:nvPr/>
            </p:nvSpPr>
            <p:spPr>
              <a:xfrm>
                <a:off x="12591375" y="6849869"/>
                <a:ext cx="142137" cy="151705"/>
              </a:xfrm>
              <a:custGeom>
                <a:avLst/>
                <a:gdLst>
                  <a:gd name="connsiteX0" fmla="*/ 0 w 142137"/>
                  <a:gd name="connsiteY0" fmla="*/ 148972 h 151705"/>
                  <a:gd name="connsiteX1" fmla="*/ 0 w 142137"/>
                  <a:gd name="connsiteY1" fmla="*/ 121637 h 151705"/>
                  <a:gd name="connsiteX2" fmla="*/ 10250 w 142137"/>
                  <a:gd name="connsiteY2" fmla="*/ 123688 h 151705"/>
                  <a:gd name="connsiteX3" fmla="*/ 25967 w 142137"/>
                  <a:gd name="connsiteY3" fmla="*/ 88836 h 151705"/>
                  <a:gd name="connsiteX4" fmla="*/ 30751 w 142137"/>
                  <a:gd name="connsiteY4" fmla="*/ 0 h 151705"/>
                  <a:gd name="connsiteX5" fmla="*/ 142138 w 142137"/>
                  <a:gd name="connsiteY5" fmla="*/ 0 h 151705"/>
                  <a:gd name="connsiteX6" fmla="*/ 142138 w 142137"/>
                  <a:gd name="connsiteY6" fmla="*/ 149655 h 151705"/>
                  <a:gd name="connsiteX7" fmla="*/ 111387 w 142137"/>
                  <a:gd name="connsiteY7" fmla="*/ 149655 h 151705"/>
                  <a:gd name="connsiteX8" fmla="*/ 111387 w 142137"/>
                  <a:gd name="connsiteY8" fmla="*/ 28018 h 151705"/>
                  <a:gd name="connsiteX9" fmla="*/ 58085 w 142137"/>
                  <a:gd name="connsiteY9" fmla="*/ 28018 h 151705"/>
                  <a:gd name="connsiteX10" fmla="*/ 54668 w 142137"/>
                  <a:gd name="connsiteY10" fmla="*/ 90203 h 151705"/>
                  <a:gd name="connsiteX11" fmla="*/ 11617 w 142137"/>
                  <a:gd name="connsiteY11" fmla="*/ 151705 h 151705"/>
                  <a:gd name="connsiteX12" fmla="*/ 0 w 142137"/>
                  <a:gd name="connsiteY12" fmla="*/ 148972 h 15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37" h="151705">
                    <a:moveTo>
                      <a:pt x="0" y="148972"/>
                    </a:moveTo>
                    <a:lnTo>
                      <a:pt x="0" y="121637"/>
                    </a:lnTo>
                    <a:cubicBezTo>
                      <a:pt x="0" y="121637"/>
                      <a:pt x="4100" y="123688"/>
                      <a:pt x="10250" y="123688"/>
                    </a:cubicBezTo>
                    <a:cubicBezTo>
                      <a:pt x="19817" y="123688"/>
                      <a:pt x="24601" y="117537"/>
                      <a:pt x="25967" y="88836"/>
                    </a:cubicBezTo>
                    <a:lnTo>
                      <a:pt x="30751" y="0"/>
                    </a:lnTo>
                    <a:lnTo>
                      <a:pt x="142138" y="0"/>
                    </a:lnTo>
                    <a:lnTo>
                      <a:pt x="142138" y="149655"/>
                    </a:lnTo>
                    <a:lnTo>
                      <a:pt x="111387" y="149655"/>
                    </a:lnTo>
                    <a:lnTo>
                      <a:pt x="111387" y="28018"/>
                    </a:lnTo>
                    <a:lnTo>
                      <a:pt x="58085" y="28018"/>
                    </a:lnTo>
                    <a:lnTo>
                      <a:pt x="54668" y="90203"/>
                    </a:lnTo>
                    <a:cubicBezTo>
                      <a:pt x="52618" y="133254"/>
                      <a:pt x="41685" y="151705"/>
                      <a:pt x="11617" y="151705"/>
                    </a:cubicBezTo>
                    <a:cubicBezTo>
                      <a:pt x="6150" y="151022"/>
                      <a:pt x="0" y="148972"/>
                      <a:pt x="0" y="148972"/>
                    </a:cubicBezTo>
                    <a:close/>
                  </a:path>
                </a:pathLst>
              </a:custGeom>
              <a:solidFill>
                <a:srgbClr val="FFFFFF"/>
              </a:solidFill>
              <a:ln w="6822" cap="flat">
                <a:noFill/>
                <a:prstDash val="solid"/>
                <a:miter/>
              </a:ln>
            </p:spPr>
            <p:txBody>
              <a:bodyPr rtlCol="0" anchor="ctr"/>
              <a:lstStyle/>
              <a:p>
                <a:endParaRPr lang="ru-RU" sz="1587" dirty="0"/>
              </a:p>
            </p:txBody>
          </p:sp>
          <p:sp>
            <p:nvSpPr>
              <p:cNvPr id="68" name="Полилиния: фигура 67">
                <a:extLst>
                  <a:ext uri="{FF2B5EF4-FFF2-40B4-BE49-F238E27FC236}">
                    <a16:creationId xmlns:a16="http://schemas.microsoft.com/office/drawing/2014/main" id="{E4FCA024-D770-4560-903D-F2EC7E6C451A}"/>
                  </a:ext>
                </a:extLst>
              </p:cNvPr>
              <p:cNvSpPr/>
              <p:nvPr/>
            </p:nvSpPr>
            <p:spPr>
              <a:xfrm>
                <a:off x="12764264" y="6844402"/>
                <a:ext cx="160597" cy="158538"/>
              </a:xfrm>
              <a:custGeom>
                <a:avLst/>
                <a:gdLst>
                  <a:gd name="connsiteX0" fmla="*/ 80636 w 160597"/>
                  <a:gd name="connsiteY0" fmla="*/ 158539 h 158538"/>
                  <a:gd name="connsiteX1" fmla="*/ 0 w 160597"/>
                  <a:gd name="connsiteY1" fmla="*/ 79269 h 158538"/>
                  <a:gd name="connsiteX2" fmla="*/ 80636 w 160597"/>
                  <a:gd name="connsiteY2" fmla="*/ 0 h 158538"/>
                  <a:gd name="connsiteX3" fmla="*/ 160589 w 160597"/>
                  <a:gd name="connsiteY3" fmla="*/ 79269 h 158538"/>
                  <a:gd name="connsiteX4" fmla="*/ 80636 w 160597"/>
                  <a:gd name="connsiteY4" fmla="*/ 158539 h 158538"/>
                  <a:gd name="connsiteX5" fmla="*/ 129154 w 160597"/>
                  <a:gd name="connsiteY5" fmla="*/ 79269 h 158538"/>
                  <a:gd name="connsiteX6" fmla="*/ 80636 w 160597"/>
                  <a:gd name="connsiteY6" fmla="*/ 28701 h 158538"/>
                  <a:gd name="connsiteX7" fmla="*/ 32118 w 160597"/>
                  <a:gd name="connsiteY7" fmla="*/ 79269 h 158538"/>
                  <a:gd name="connsiteX8" fmla="*/ 80636 w 160597"/>
                  <a:gd name="connsiteY8" fmla="*/ 129838 h 158538"/>
                  <a:gd name="connsiteX9" fmla="*/ 129154 w 160597"/>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97" h="158538">
                    <a:moveTo>
                      <a:pt x="80636" y="158539"/>
                    </a:moveTo>
                    <a:cubicBezTo>
                      <a:pt x="39635" y="158539"/>
                      <a:pt x="0" y="131204"/>
                      <a:pt x="0" y="79269"/>
                    </a:cubicBezTo>
                    <a:cubicBezTo>
                      <a:pt x="0" y="27334"/>
                      <a:pt x="38951" y="0"/>
                      <a:pt x="80636" y="0"/>
                    </a:cubicBezTo>
                    <a:cubicBezTo>
                      <a:pt x="121637" y="0"/>
                      <a:pt x="160589" y="27334"/>
                      <a:pt x="160589" y="79269"/>
                    </a:cubicBezTo>
                    <a:cubicBezTo>
                      <a:pt x="161272" y="131204"/>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11A303F2-A2C4-4281-BC21-FF72924A15ED}"/>
                  </a:ext>
                </a:extLst>
              </p:cNvPr>
              <p:cNvSpPr/>
              <p:nvPr/>
            </p:nvSpPr>
            <p:spPr>
              <a:xfrm>
                <a:off x="12956287" y="6848502"/>
                <a:ext cx="97720" cy="149655"/>
              </a:xfrm>
              <a:custGeom>
                <a:avLst/>
                <a:gdLst>
                  <a:gd name="connsiteX0" fmla="*/ 0 w 97720"/>
                  <a:gd name="connsiteY0" fmla="*/ 0 h 149655"/>
                  <a:gd name="connsiteX1" fmla="*/ 97720 w 97720"/>
                  <a:gd name="connsiteY1" fmla="*/ 0 h 149655"/>
                  <a:gd name="connsiteX2" fmla="*/ 97720 w 97720"/>
                  <a:gd name="connsiteY2" fmla="*/ 28018 h 149655"/>
                  <a:gd name="connsiteX3" fmla="*/ 31435 w 97720"/>
                  <a:gd name="connsiteY3" fmla="*/ 28018 h 149655"/>
                  <a:gd name="connsiteX4" fmla="*/ 31435 w 97720"/>
                  <a:gd name="connsiteY4" fmla="*/ 149655 h 149655"/>
                  <a:gd name="connsiteX5" fmla="*/ 0 w 97720"/>
                  <a:gd name="connsiteY5" fmla="*/ 149655 h 149655"/>
                  <a:gd name="connsiteX6" fmla="*/ 0 w 97720"/>
                  <a:gd name="connsiteY6"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20" h="149655">
                    <a:moveTo>
                      <a:pt x="0" y="0"/>
                    </a:moveTo>
                    <a:lnTo>
                      <a:pt x="97720" y="0"/>
                    </a:lnTo>
                    <a:lnTo>
                      <a:pt x="97720" y="28018"/>
                    </a:lnTo>
                    <a:lnTo>
                      <a:pt x="31435" y="28018"/>
                    </a:lnTo>
                    <a:lnTo>
                      <a:pt x="31435"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0" name="Полилиния: фигура 69">
                <a:extLst>
                  <a:ext uri="{FF2B5EF4-FFF2-40B4-BE49-F238E27FC236}">
                    <a16:creationId xmlns:a16="http://schemas.microsoft.com/office/drawing/2014/main" id="{5CA18F8D-41FC-4EC3-9981-6D067451A552}"/>
                  </a:ext>
                </a:extLst>
              </p:cNvPr>
              <p:cNvSpPr/>
              <p:nvPr/>
            </p:nvSpPr>
            <p:spPr>
              <a:xfrm>
                <a:off x="13079291" y="6848502"/>
                <a:ext cx="134621" cy="150338"/>
              </a:xfrm>
              <a:custGeom>
                <a:avLst/>
                <a:gdLst>
                  <a:gd name="connsiteX0" fmla="*/ 0 w 134621"/>
                  <a:gd name="connsiteY0" fmla="*/ 0 h 150338"/>
                  <a:gd name="connsiteX1" fmla="*/ 30068 w 134621"/>
                  <a:gd name="connsiteY1" fmla="*/ 0 h 150338"/>
                  <a:gd name="connsiteX2" fmla="*/ 30068 w 134621"/>
                  <a:gd name="connsiteY2" fmla="*/ 107970 h 150338"/>
                  <a:gd name="connsiteX3" fmla="*/ 101820 w 134621"/>
                  <a:gd name="connsiteY3" fmla="*/ 0 h 150338"/>
                  <a:gd name="connsiteX4" fmla="*/ 134621 w 134621"/>
                  <a:gd name="connsiteY4" fmla="*/ 0 h 150338"/>
                  <a:gd name="connsiteX5" fmla="*/ 134621 w 134621"/>
                  <a:gd name="connsiteY5" fmla="*/ 149655 h 150338"/>
                  <a:gd name="connsiteX6" fmla="*/ 104554 w 134621"/>
                  <a:gd name="connsiteY6" fmla="*/ 149655 h 150338"/>
                  <a:gd name="connsiteX7" fmla="*/ 104554 w 134621"/>
                  <a:gd name="connsiteY7" fmla="*/ 41685 h 150338"/>
                  <a:gd name="connsiteX8" fmla="*/ 33485 w 134621"/>
                  <a:gd name="connsiteY8" fmla="*/ 150338 h 150338"/>
                  <a:gd name="connsiteX9" fmla="*/ 684 w 134621"/>
                  <a:gd name="connsiteY9" fmla="*/ 150338 h 150338"/>
                  <a:gd name="connsiteX10" fmla="*/ 684 w 134621"/>
                  <a:gd name="connsiteY10" fmla="*/ 0 h 15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50338">
                    <a:moveTo>
                      <a:pt x="0" y="0"/>
                    </a:moveTo>
                    <a:lnTo>
                      <a:pt x="30068" y="0"/>
                    </a:lnTo>
                    <a:lnTo>
                      <a:pt x="30068" y="107970"/>
                    </a:lnTo>
                    <a:lnTo>
                      <a:pt x="101820" y="0"/>
                    </a:lnTo>
                    <a:lnTo>
                      <a:pt x="134621" y="0"/>
                    </a:lnTo>
                    <a:lnTo>
                      <a:pt x="134621" y="149655"/>
                    </a:lnTo>
                    <a:lnTo>
                      <a:pt x="104554" y="149655"/>
                    </a:lnTo>
                    <a:lnTo>
                      <a:pt x="104554" y="41685"/>
                    </a:lnTo>
                    <a:lnTo>
                      <a:pt x="33485" y="150338"/>
                    </a:lnTo>
                    <a:lnTo>
                      <a:pt x="684" y="150338"/>
                    </a:lnTo>
                    <a:lnTo>
                      <a:pt x="684" y="0"/>
                    </a:lnTo>
                    <a:close/>
                  </a:path>
                </a:pathLst>
              </a:custGeom>
              <a:solidFill>
                <a:srgbClr val="FFFFFF"/>
              </a:solidFill>
              <a:ln w="6822" cap="flat">
                <a:noFill/>
                <a:prstDash val="solid"/>
                <a:miter/>
              </a:ln>
            </p:spPr>
            <p:txBody>
              <a:bodyPr rtlCol="0" anchor="ctr"/>
              <a:lstStyle/>
              <a:p>
                <a:endParaRPr lang="ru-RU" sz="1587" dirty="0"/>
              </a:p>
            </p:txBody>
          </p:sp>
          <p:sp>
            <p:nvSpPr>
              <p:cNvPr id="71" name="Полилиния: фигура 70">
                <a:extLst>
                  <a:ext uri="{FF2B5EF4-FFF2-40B4-BE49-F238E27FC236}">
                    <a16:creationId xmlns:a16="http://schemas.microsoft.com/office/drawing/2014/main" id="{FB26B7A8-F943-4A1E-B206-784BD74DF21E}"/>
                  </a:ext>
                </a:extLst>
              </p:cNvPr>
              <p:cNvSpPr/>
              <p:nvPr/>
            </p:nvSpPr>
            <p:spPr>
              <a:xfrm>
                <a:off x="13253547" y="6848502"/>
                <a:ext cx="134621" cy="149655"/>
              </a:xfrm>
              <a:custGeom>
                <a:avLst/>
                <a:gdLst>
                  <a:gd name="connsiteX0" fmla="*/ 0 w 134621"/>
                  <a:gd name="connsiteY0" fmla="*/ 0 h 149655"/>
                  <a:gd name="connsiteX1" fmla="*/ 30068 w 134621"/>
                  <a:gd name="connsiteY1" fmla="*/ 0 h 149655"/>
                  <a:gd name="connsiteX2" fmla="*/ 30068 w 134621"/>
                  <a:gd name="connsiteY2" fmla="*/ 107970 h 149655"/>
                  <a:gd name="connsiteX3" fmla="*/ 101820 w 134621"/>
                  <a:gd name="connsiteY3" fmla="*/ 0 h 149655"/>
                  <a:gd name="connsiteX4" fmla="*/ 134621 w 134621"/>
                  <a:gd name="connsiteY4" fmla="*/ 0 h 149655"/>
                  <a:gd name="connsiteX5" fmla="*/ 134621 w 134621"/>
                  <a:gd name="connsiteY5" fmla="*/ 149655 h 149655"/>
                  <a:gd name="connsiteX6" fmla="*/ 104554 w 134621"/>
                  <a:gd name="connsiteY6" fmla="*/ 149655 h 149655"/>
                  <a:gd name="connsiteX7" fmla="*/ 104554 w 134621"/>
                  <a:gd name="connsiteY7" fmla="*/ 41685 h 149655"/>
                  <a:gd name="connsiteX8" fmla="*/ 32801 w 134621"/>
                  <a:gd name="connsiteY8" fmla="*/ 149655 h 149655"/>
                  <a:gd name="connsiteX9" fmla="*/ 0 w 134621"/>
                  <a:gd name="connsiteY9" fmla="*/ 149655 h 149655"/>
                  <a:gd name="connsiteX10" fmla="*/ 0 w 134621"/>
                  <a:gd name="connsiteY10"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21" h="149655">
                    <a:moveTo>
                      <a:pt x="0" y="0"/>
                    </a:moveTo>
                    <a:lnTo>
                      <a:pt x="30068" y="0"/>
                    </a:lnTo>
                    <a:lnTo>
                      <a:pt x="30068" y="107970"/>
                    </a:lnTo>
                    <a:lnTo>
                      <a:pt x="101820" y="0"/>
                    </a:lnTo>
                    <a:lnTo>
                      <a:pt x="134621" y="0"/>
                    </a:lnTo>
                    <a:lnTo>
                      <a:pt x="134621" y="149655"/>
                    </a:lnTo>
                    <a:lnTo>
                      <a:pt x="104554" y="149655"/>
                    </a:lnTo>
                    <a:lnTo>
                      <a:pt x="104554" y="41685"/>
                    </a:lnTo>
                    <a:lnTo>
                      <a:pt x="32801"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2" name="Полилиния: фигура 71">
                <a:extLst>
                  <a:ext uri="{FF2B5EF4-FFF2-40B4-BE49-F238E27FC236}">
                    <a16:creationId xmlns:a16="http://schemas.microsoft.com/office/drawing/2014/main" id="{1D6B3E5B-09B6-4C1E-A3BF-E0DB8985F97C}"/>
                  </a:ext>
                </a:extLst>
              </p:cNvPr>
              <p:cNvSpPr/>
              <p:nvPr/>
            </p:nvSpPr>
            <p:spPr>
              <a:xfrm>
                <a:off x="11334683" y="7186763"/>
                <a:ext cx="123004" cy="149655"/>
              </a:xfrm>
              <a:custGeom>
                <a:avLst/>
                <a:gdLst>
                  <a:gd name="connsiteX0" fmla="*/ 0 w 123004"/>
                  <a:gd name="connsiteY0" fmla="*/ 0 h 149655"/>
                  <a:gd name="connsiteX1" fmla="*/ 67652 w 123004"/>
                  <a:gd name="connsiteY1" fmla="*/ 0 h 149655"/>
                  <a:gd name="connsiteX2" fmla="*/ 117537 w 123004"/>
                  <a:gd name="connsiteY2" fmla="*/ 36901 h 149655"/>
                  <a:gd name="connsiteX3" fmla="*/ 94987 w 123004"/>
                  <a:gd name="connsiteY3" fmla="*/ 70386 h 149655"/>
                  <a:gd name="connsiteX4" fmla="*/ 123004 w 123004"/>
                  <a:gd name="connsiteY4" fmla="*/ 106604 h 149655"/>
                  <a:gd name="connsiteX5" fmla="*/ 69702 w 123004"/>
                  <a:gd name="connsiteY5" fmla="*/ 149655 h 149655"/>
                  <a:gd name="connsiteX6" fmla="*/ 0 w 123004"/>
                  <a:gd name="connsiteY6" fmla="*/ 149655 h 149655"/>
                  <a:gd name="connsiteX7" fmla="*/ 0 w 123004"/>
                  <a:gd name="connsiteY7" fmla="*/ 0 h 149655"/>
                  <a:gd name="connsiteX8" fmla="*/ 66286 w 123004"/>
                  <a:gd name="connsiteY8" fmla="*/ 60135 h 149655"/>
                  <a:gd name="connsiteX9" fmla="*/ 88836 w 123004"/>
                  <a:gd name="connsiteY9" fmla="*/ 42368 h 149655"/>
                  <a:gd name="connsiteX10" fmla="*/ 66969 w 123004"/>
                  <a:gd name="connsiteY10" fmla="*/ 24601 h 149655"/>
                  <a:gd name="connsiteX11" fmla="*/ 31434 w 123004"/>
                  <a:gd name="connsiteY11" fmla="*/ 24601 h 149655"/>
                  <a:gd name="connsiteX12" fmla="*/ 31434 w 123004"/>
                  <a:gd name="connsiteY12" fmla="*/ 60135 h 149655"/>
                  <a:gd name="connsiteX13" fmla="*/ 66286 w 123004"/>
                  <a:gd name="connsiteY13" fmla="*/ 60135 h 149655"/>
                  <a:gd name="connsiteX14" fmla="*/ 68336 w 123004"/>
                  <a:gd name="connsiteY14" fmla="*/ 125738 h 149655"/>
                  <a:gd name="connsiteX15" fmla="*/ 92253 w 123004"/>
                  <a:gd name="connsiteY15" fmla="*/ 105237 h 149655"/>
                  <a:gd name="connsiteX16" fmla="*/ 68336 w 123004"/>
                  <a:gd name="connsiteY16" fmla="*/ 84736 h 149655"/>
                  <a:gd name="connsiteX17" fmla="*/ 31434 w 123004"/>
                  <a:gd name="connsiteY17" fmla="*/ 84736 h 149655"/>
                  <a:gd name="connsiteX18" fmla="*/ 31434 w 123004"/>
                  <a:gd name="connsiteY18" fmla="*/ 126421 h 149655"/>
                  <a:gd name="connsiteX19" fmla="*/ 68336 w 123004"/>
                  <a:gd name="connsiteY19" fmla="*/ 126421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04" h="149655">
                    <a:moveTo>
                      <a:pt x="0" y="0"/>
                    </a:moveTo>
                    <a:lnTo>
                      <a:pt x="67652" y="0"/>
                    </a:lnTo>
                    <a:cubicBezTo>
                      <a:pt x="99770" y="0"/>
                      <a:pt x="117537" y="16401"/>
                      <a:pt x="117537" y="36901"/>
                    </a:cubicBezTo>
                    <a:cubicBezTo>
                      <a:pt x="117537" y="53985"/>
                      <a:pt x="108654" y="64236"/>
                      <a:pt x="94987" y="70386"/>
                    </a:cubicBezTo>
                    <a:cubicBezTo>
                      <a:pt x="110704" y="75169"/>
                      <a:pt x="123004" y="86786"/>
                      <a:pt x="123004" y="106604"/>
                    </a:cubicBezTo>
                    <a:cubicBezTo>
                      <a:pt x="123004" y="131888"/>
                      <a:pt x="101137" y="149655"/>
                      <a:pt x="69702" y="149655"/>
                    </a:cubicBezTo>
                    <a:lnTo>
                      <a:pt x="0" y="149655"/>
                    </a:lnTo>
                    <a:lnTo>
                      <a:pt x="0" y="0"/>
                    </a:lnTo>
                    <a:close/>
                    <a:moveTo>
                      <a:pt x="66286" y="60135"/>
                    </a:moveTo>
                    <a:cubicBezTo>
                      <a:pt x="79953" y="60135"/>
                      <a:pt x="88836" y="54669"/>
                      <a:pt x="88836" y="42368"/>
                    </a:cubicBezTo>
                    <a:cubicBezTo>
                      <a:pt x="88836" y="30068"/>
                      <a:pt x="80636" y="24601"/>
                      <a:pt x="66969" y="24601"/>
                    </a:cubicBezTo>
                    <a:lnTo>
                      <a:pt x="31434" y="24601"/>
                    </a:lnTo>
                    <a:lnTo>
                      <a:pt x="31434" y="60135"/>
                    </a:lnTo>
                    <a:lnTo>
                      <a:pt x="66286" y="60135"/>
                    </a:lnTo>
                    <a:close/>
                    <a:moveTo>
                      <a:pt x="68336" y="125738"/>
                    </a:moveTo>
                    <a:cubicBezTo>
                      <a:pt x="84053" y="125738"/>
                      <a:pt x="92253" y="117537"/>
                      <a:pt x="92253" y="105237"/>
                    </a:cubicBezTo>
                    <a:cubicBezTo>
                      <a:pt x="92253" y="92936"/>
                      <a:pt x="84053" y="84736"/>
                      <a:pt x="68336" y="84736"/>
                    </a:cubicBezTo>
                    <a:lnTo>
                      <a:pt x="31434" y="84736"/>
                    </a:lnTo>
                    <a:lnTo>
                      <a:pt x="31434" y="126421"/>
                    </a:lnTo>
                    <a:lnTo>
                      <a:pt x="68336" y="126421"/>
                    </a:lnTo>
                    <a:close/>
                  </a:path>
                </a:pathLst>
              </a:custGeom>
              <a:solidFill>
                <a:srgbClr val="FFFFFF"/>
              </a:solidFill>
              <a:ln w="6822" cap="flat">
                <a:noFill/>
                <a:prstDash val="solid"/>
                <a:miter/>
              </a:ln>
            </p:spPr>
            <p:txBody>
              <a:bodyPr rtlCol="0" anchor="ctr"/>
              <a:lstStyle/>
              <a:p>
                <a:endParaRPr lang="ru-RU" sz="1587" dirty="0"/>
              </a:p>
            </p:txBody>
          </p:sp>
          <p:sp>
            <p:nvSpPr>
              <p:cNvPr id="73" name="Полилиния: фигура 72">
                <a:extLst>
                  <a:ext uri="{FF2B5EF4-FFF2-40B4-BE49-F238E27FC236}">
                    <a16:creationId xmlns:a16="http://schemas.microsoft.com/office/drawing/2014/main" id="{D733FEB4-857D-43D4-890B-33B037E8A1E3}"/>
                  </a:ext>
                </a:extLst>
              </p:cNvPr>
              <p:cNvSpPr/>
              <p:nvPr/>
            </p:nvSpPr>
            <p:spPr>
              <a:xfrm>
                <a:off x="1148092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3" y="28701"/>
                      <a:pt x="80636" y="28701"/>
                    </a:cubicBezTo>
                    <a:cubicBezTo>
                      <a:pt x="54668" y="28701"/>
                      <a:pt x="32118" y="48518"/>
                      <a:pt x="32118" y="79269"/>
                    </a:cubicBezTo>
                    <a:cubicBezTo>
                      <a:pt x="32118" y="110020"/>
                      <a:pt x="54668" y="129838"/>
                      <a:pt x="80636" y="129838"/>
                    </a:cubicBezTo>
                    <a:cubicBezTo>
                      <a:pt x="106603"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74" name="Полилиния: фигура 73">
                <a:extLst>
                  <a:ext uri="{FF2B5EF4-FFF2-40B4-BE49-F238E27FC236}">
                    <a16:creationId xmlns:a16="http://schemas.microsoft.com/office/drawing/2014/main" id="{28366CD8-4E5C-43D7-BAE4-AFA26C76A2F8}"/>
                  </a:ext>
                </a:extLst>
              </p:cNvPr>
              <p:cNvSpPr/>
              <p:nvPr/>
            </p:nvSpPr>
            <p:spPr>
              <a:xfrm>
                <a:off x="11664744" y="7183346"/>
                <a:ext cx="121637" cy="157855"/>
              </a:xfrm>
              <a:custGeom>
                <a:avLst/>
                <a:gdLst>
                  <a:gd name="connsiteX0" fmla="*/ 121637 w 121637"/>
                  <a:gd name="connsiteY0" fmla="*/ 110020 h 157855"/>
                  <a:gd name="connsiteX1" fmla="*/ 58769 w 121637"/>
                  <a:gd name="connsiteY1" fmla="*/ 157855 h 157855"/>
                  <a:gd name="connsiteX2" fmla="*/ 0 w 121637"/>
                  <a:gd name="connsiteY2" fmla="*/ 110704 h 157855"/>
                  <a:gd name="connsiteX3" fmla="*/ 3417 w 121637"/>
                  <a:gd name="connsiteY3" fmla="*/ 93620 h 157855"/>
                  <a:gd name="connsiteX4" fmla="*/ 29384 w 121637"/>
                  <a:gd name="connsiteY4" fmla="*/ 102503 h 157855"/>
                  <a:gd name="connsiteX5" fmla="*/ 28018 w 121637"/>
                  <a:gd name="connsiteY5" fmla="*/ 110020 h 157855"/>
                  <a:gd name="connsiteX6" fmla="*/ 58769 w 121637"/>
                  <a:gd name="connsiteY6" fmla="*/ 132571 h 157855"/>
                  <a:gd name="connsiteX7" fmla="*/ 91570 w 121637"/>
                  <a:gd name="connsiteY7" fmla="*/ 108654 h 157855"/>
                  <a:gd name="connsiteX8" fmla="*/ 60819 w 121637"/>
                  <a:gd name="connsiteY8" fmla="*/ 87470 h 157855"/>
                  <a:gd name="connsiteX9" fmla="*/ 47152 w 121637"/>
                  <a:gd name="connsiteY9" fmla="*/ 87470 h 157855"/>
                  <a:gd name="connsiteX10" fmla="*/ 47152 w 121637"/>
                  <a:gd name="connsiteY10" fmla="*/ 62869 h 157855"/>
                  <a:gd name="connsiteX11" fmla="*/ 59452 w 121637"/>
                  <a:gd name="connsiteY11" fmla="*/ 62869 h 157855"/>
                  <a:gd name="connsiteX12" fmla="*/ 86103 w 121637"/>
                  <a:gd name="connsiteY12" fmla="*/ 42368 h 157855"/>
                  <a:gd name="connsiteX13" fmla="*/ 60135 w 121637"/>
                  <a:gd name="connsiteY13" fmla="*/ 23917 h 157855"/>
                  <a:gd name="connsiteX14" fmla="*/ 31434 w 121637"/>
                  <a:gd name="connsiteY14" fmla="*/ 40318 h 157855"/>
                  <a:gd name="connsiteX15" fmla="*/ 32118 w 121637"/>
                  <a:gd name="connsiteY15" fmla="*/ 46468 h 157855"/>
                  <a:gd name="connsiteX16" fmla="*/ 6150 w 121637"/>
                  <a:gd name="connsiteY16" fmla="*/ 56035 h 157855"/>
                  <a:gd name="connsiteX17" fmla="*/ 3417 w 121637"/>
                  <a:gd name="connsiteY17" fmla="*/ 41685 h 157855"/>
                  <a:gd name="connsiteX18" fmla="*/ 60819 w 121637"/>
                  <a:gd name="connsiteY18" fmla="*/ 0 h 157855"/>
                  <a:gd name="connsiteX19" fmla="*/ 115487 w 121637"/>
                  <a:gd name="connsiteY19" fmla="*/ 40318 h 157855"/>
                  <a:gd name="connsiteX20" fmla="*/ 90203 w 121637"/>
                  <a:gd name="connsiteY20" fmla="*/ 75169 h 157855"/>
                  <a:gd name="connsiteX21" fmla="*/ 121637 w 121637"/>
                  <a:gd name="connsiteY21" fmla="*/ 110020 h 15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37" h="157855">
                    <a:moveTo>
                      <a:pt x="121637" y="110020"/>
                    </a:moveTo>
                    <a:cubicBezTo>
                      <a:pt x="121637" y="136671"/>
                      <a:pt x="99770" y="157855"/>
                      <a:pt x="58769" y="157855"/>
                    </a:cubicBezTo>
                    <a:cubicBezTo>
                      <a:pt x="21184" y="157855"/>
                      <a:pt x="0" y="138038"/>
                      <a:pt x="0" y="110704"/>
                    </a:cubicBezTo>
                    <a:cubicBezTo>
                      <a:pt x="0" y="103870"/>
                      <a:pt x="2050" y="97037"/>
                      <a:pt x="3417" y="93620"/>
                    </a:cubicBezTo>
                    <a:lnTo>
                      <a:pt x="29384" y="102503"/>
                    </a:lnTo>
                    <a:cubicBezTo>
                      <a:pt x="28701" y="104554"/>
                      <a:pt x="28018" y="107287"/>
                      <a:pt x="28018" y="110020"/>
                    </a:cubicBezTo>
                    <a:cubicBezTo>
                      <a:pt x="28018" y="125054"/>
                      <a:pt x="43051" y="132571"/>
                      <a:pt x="58769" y="132571"/>
                    </a:cubicBezTo>
                    <a:cubicBezTo>
                      <a:pt x="79953" y="132571"/>
                      <a:pt x="91570" y="122321"/>
                      <a:pt x="91570" y="108654"/>
                    </a:cubicBezTo>
                    <a:cubicBezTo>
                      <a:pt x="91570" y="95670"/>
                      <a:pt x="80636" y="87470"/>
                      <a:pt x="60819" y="87470"/>
                    </a:cubicBezTo>
                    <a:lnTo>
                      <a:pt x="47152" y="87470"/>
                    </a:lnTo>
                    <a:lnTo>
                      <a:pt x="47152" y="62869"/>
                    </a:lnTo>
                    <a:lnTo>
                      <a:pt x="59452" y="62869"/>
                    </a:lnTo>
                    <a:cubicBezTo>
                      <a:pt x="77903" y="62869"/>
                      <a:pt x="86103" y="53985"/>
                      <a:pt x="86103" y="42368"/>
                    </a:cubicBezTo>
                    <a:cubicBezTo>
                      <a:pt x="86103" y="31434"/>
                      <a:pt x="77219" y="23917"/>
                      <a:pt x="60135" y="23917"/>
                    </a:cubicBezTo>
                    <a:cubicBezTo>
                      <a:pt x="42368" y="23917"/>
                      <a:pt x="31434" y="31434"/>
                      <a:pt x="31434" y="40318"/>
                    </a:cubicBezTo>
                    <a:cubicBezTo>
                      <a:pt x="31434" y="43735"/>
                      <a:pt x="32118" y="45785"/>
                      <a:pt x="32118" y="46468"/>
                    </a:cubicBezTo>
                    <a:lnTo>
                      <a:pt x="6150" y="56035"/>
                    </a:lnTo>
                    <a:cubicBezTo>
                      <a:pt x="4783" y="53302"/>
                      <a:pt x="3417" y="48518"/>
                      <a:pt x="3417" y="41685"/>
                    </a:cubicBezTo>
                    <a:cubicBezTo>
                      <a:pt x="3417" y="18451"/>
                      <a:pt x="24601" y="0"/>
                      <a:pt x="60819" y="0"/>
                    </a:cubicBezTo>
                    <a:cubicBezTo>
                      <a:pt x="98403" y="0"/>
                      <a:pt x="115487" y="17767"/>
                      <a:pt x="115487" y="40318"/>
                    </a:cubicBezTo>
                    <a:cubicBezTo>
                      <a:pt x="115487" y="57402"/>
                      <a:pt x="105920" y="69019"/>
                      <a:pt x="90203" y="75169"/>
                    </a:cubicBezTo>
                    <a:cubicBezTo>
                      <a:pt x="108654" y="79269"/>
                      <a:pt x="121637" y="90887"/>
                      <a:pt x="121637" y="110020"/>
                    </a:cubicBezTo>
                    <a:close/>
                  </a:path>
                </a:pathLst>
              </a:custGeom>
              <a:solidFill>
                <a:srgbClr val="FFFFFF"/>
              </a:solidFill>
              <a:ln w="6822"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8DDE0CAD-ED3B-49F0-A765-1CA84AD08C8B}"/>
                  </a:ext>
                </a:extLst>
              </p:cNvPr>
              <p:cNvSpPr/>
              <p:nvPr/>
            </p:nvSpPr>
            <p:spPr>
              <a:xfrm>
                <a:off x="11819182" y="7186763"/>
                <a:ext cx="173572" cy="149655"/>
              </a:xfrm>
              <a:custGeom>
                <a:avLst/>
                <a:gdLst>
                  <a:gd name="connsiteX0" fmla="*/ 0 w 173572"/>
                  <a:gd name="connsiteY0" fmla="*/ 0 h 149655"/>
                  <a:gd name="connsiteX1" fmla="*/ 42368 w 173572"/>
                  <a:gd name="connsiteY1" fmla="*/ 0 h 149655"/>
                  <a:gd name="connsiteX2" fmla="*/ 86786 w 173572"/>
                  <a:gd name="connsiteY2" fmla="*/ 114121 h 149655"/>
                  <a:gd name="connsiteX3" fmla="*/ 131204 w 173572"/>
                  <a:gd name="connsiteY3" fmla="*/ 0 h 149655"/>
                  <a:gd name="connsiteX4" fmla="*/ 173572 w 173572"/>
                  <a:gd name="connsiteY4" fmla="*/ 0 h 149655"/>
                  <a:gd name="connsiteX5" fmla="*/ 173572 w 173572"/>
                  <a:gd name="connsiteY5" fmla="*/ 149655 h 149655"/>
                  <a:gd name="connsiteX6" fmla="*/ 143505 w 173572"/>
                  <a:gd name="connsiteY6" fmla="*/ 149655 h 149655"/>
                  <a:gd name="connsiteX7" fmla="*/ 143505 w 173572"/>
                  <a:gd name="connsiteY7" fmla="*/ 43735 h 149655"/>
                  <a:gd name="connsiteX8" fmla="*/ 100453 w 173572"/>
                  <a:gd name="connsiteY8" fmla="*/ 149655 h 149655"/>
                  <a:gd name="connsiteX9" fmla="*/ 74486 w 173572"/>
                  <a:gd name="connsiteY9" fmla="*/ 149655 h 149655"/>
                  <a:gd name="connsiteX10" fmla="*/ 30751 w 173572"/>
                  <a:gd name="connsiteY10" fmla="*/ 43052 h 149655"/>
                  <a:gd name="connsiteX11" fmla="*/ 30751 w 173572"/>
                  <a:gd name="connsiteY11" fmla="*/ 149655 h 149655"/>
                  <a:gd name="connsiteX12" fmla="*/ 683 w 173572"/>
                  <a:gd name="connsiteY12" fmla="*/ 149655 h 149655"/>
                  <a:gd name="connsiteX13" fmla="*/ 683 w 173572"/>
                  <a:gd name="connsiteY13"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572" h="149655">
                    <a:moveTo>
                      <a:pt x="0" y="0"/>
                    </a:moveTo>
                    <a:lnTo>
                      <a:pt x="42368" y="0"/>
                    </a:lnTo>
                    <a:lnTo>
                      <a:pt x="86786" y="114121"/>
                    </a:lnTo>
                    <a:lnTo>
                      <a:pt x="131204" y="0"/>
                    </a:lnTo>
                    <a:lnTo>
                      <a:pt x="173572" y="0"/>
                    </a:lnTo>
                    <a:lnTo>
                      <a:pt x="173572" y="149655"/>
                    </a:lnTo>
                    <a:lnTo>
                      <a:pt x="143505" y="149655"/>
                    </a:lnTo>
                    <a:lnTo>
                      <a:pt x="143505" y="43735"/>
                    </a:lnTo>
                    <a:lnTo>
                      <a:pt x="100453" y="149655"/>
                    </a:lnTo>
                    <a:lnTo>
                      <a:pt x="74486" y="149655"/>
                    </a:lnTo>
                    <a:lnTo>
                      <a:pt x="30751" y="43052"/>
                    </a:lnTo>
                    <a:lnTo>
                      <a:pt x="30751" y="149655"/>
                    </a:lnTo>
                    <a:lnTo>
                      <a:pt x="683" y="149655"/>
                    </a:lnTo>
                    <a:lnTo>
                      <a:pt x="683" y="0"/>
                    </a:lnTo>
                    <a:close/>
                  </a:path>
                </a:pathLst>
              </a:custGeom>
              <a:solidFill>
                <a:srgbClr val="FFFFFF"/>
              </a:solidFill>
              <a:ln w="6822"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FDC09BC4-511D-4E76-88F4-D81AB29CC0FE}"/>
                  </a:ext>
                </a:extLst>
              </p:cNvPr>
              <p:cNvSpPr/>
              <p:nvPr/>
            </p:nvSpPr>
            <p:spPr>
              <a:xfrm>
                <a:off x="12022822"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8471 w 160588"/>
                  <a:gd name="connsiteY5" fmla="*/ 79269 h 158538"/>
                  <a:gd name="connsiteX6" fmla="*/ 79953 w 160588"/>
                  <a:gd name="connsiteY6" fmla="*/ 28701 h 158538"/>
                  <a:gd name="connsiteX7" fmla="*/ 31434 w 160588"/>
                  <a:gd name="connsiteY7" fmla="*/ 79269 h 158538"/>
                  <a:gd name="connsiteX8" fmla="*/ 79953 w 160588"/>
                  <a:gd name="connsiteY8" fmla="*/ 129838 h 158538"/>
                  <a:gd name="connsiteX9" fmla="*/ 128471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0954" y="158539"/>
                      <a:pt x="80636" y="158539"/>
                    </a:cubicBezTo>
                    <a:close/>
                    <a:moveTo>
                      <a:pt x="128471" y="79269"/>
                    </a:moveTo>
                    <a:cubicBezTo>
                      <a:pt x="128471" y="48518"/>
                      <a:pt x="105920" y="28701"/>
                      <a:pt x="79953" y="28701"/>
                    </a:cubicBezTo>
                    <a:cubicBezTo>
                      <a:pt x="53985" y="28701"/>
                      <a:pt x="31434" y="48518"/>
                      <a:pt x="31434" y="79269"/>
                    </a:cubicBezTo>
                    <a:cubicBezTo>
                      <a:pt x="31434" y="110020"/>
                      <a:pt x="53985" y="129838"/>
                      <a:pt x="79953" y="129838"/>
                    </a:cubicBezTo>
                    <a:cubicBezTo>
                      <a:pt x="106604" y="129838"/>
                      <a:pt x="128471" y="110020"/>
                      <a:pt x="128471" y="79269"/>
                    </a:cubicBezTo>
                    <a:close/>
                  </a:path>
                </a:pathLst>
              </a:custGeom>
              <a:solidFill>
                <a:srgbClr val="FFFFFF"/>
              </a:solidFill>
              <a:ln w="6822"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94DF0C9E-E169-45B3-8F7D-F6375AA5AFF5}"/>
                  </a:ext>
                </a:extLst>
              </p:cNvPr>
              <p:cNvSpPr/>
              <p:nvPr/>
            </p:nvSpPr>
            <p:spPr>
              <a:xfrm>
                <a:off x="12190245" y="7186763"/>
                <a:ext cx="210473" cy="149655"/>
              </a:xfrm>
              <a:custGeom>
                <a:avLst/>
                <a:gdLst>
                  <a:gd name="connsiteX0" fmla="*/ 171522 w 210473"/>
                  <a:gd name="connsiteY0" fmla="*/ 149655 h 149655"/>
                  <a:gd name="connsiteX1" fmla="*/ 120271 w 210473"/>
                  <a:gd name="connsiteY1" fmla="*/ 84053 h 149655"/>
                  <a:gd name="connsiteX2" fmla="*/ 120271 w 210473"/>
                  <a:gd name="connsiteY2" fmla="*/ 149655 h 149655"/>
                  <a:gd name="connsiteX3" fmla="*/ 88836 w 210473"/>
                  <a:gd name="connsiteY3" fmla="*/ 149655 h 149655"/>
                  <a:gd name="connsiteX4" fmla="*/ 88836 w 210473"/>
                  <a:gd name="connsiteY4" fmla="*/ 83370 h 149655"/>
                  <a:gd name="connsiteX5" fmla="*/ 37585 w 210473"/>
                  <a:gd name="connsiteY5" fmla="*/ 149655 h 149655"/>
                  <a:gd name="connsiteX6" fmla="*/ 0 w 210473"/>
                  <a:gd name="connsiteY6" fmla="*/ 149655 h 149655"/>
                  <a:gd name="connsiteX7" fmla="*/ 62869 w 210473"/>
                  <a:gd name="connsiteY7" fmla="*/ 70386 h 149655"/>
                  <a:gd name="connsiteX8" fmla="*/ 1367 w 210473"/>
                  <a:gd name="connsiteY8" fmla="*/ 0 h 149655"/>
                  <a:gd name="connsiteX9" fmla="*/ 41685 w 210473"/>
                  <a:gd name="connsiteY9" fmla="*/ 0 h 149655"/>
                  <a:gd name="connsiteX10" fmla="*/ 89520 w 210473"/>
                  <a:gd name="connsiteY10" fmla="*/ 58085 h 149655"/>
                  <a:gd name="connsiteX11" fmla="*/ 89520 w 210473"/>
                  <a:gd name="connsiteY11" fmla="*/ 0 h 149655"/>
                  <a:gd name="connsiteX12" fmla="*/ 120954 w 210473"/>
                  <a:gd name="connsiteY12" fmla="*/ 0 h 149655"/>
                  <a:gd name="connsiteX13" fmla="*/ 120954 w 210473"/>
                  <a:gd name="connsiteY13" fmla="*/ 58085 h 149655"/>
                  <a:gd name="connsiteX14" fmla="*/ 168789 w 210473"/>
                  <a:gd name="connsiteY14" fmla="*/ 0 h 149655"/>
                  <a:gd name="connsiteX15" fmla="*/ 209107 w 210473"/>
                  <a:gd name="connsiteY15" fmla="*/ 0 h 149655"/>
                  <a:gd name="connsiteX16" fmla="*/ 147605 w 210473"/>
                  <a:gd name="connsiteY16" fmla="*/ 70386 h 149655"/>
                  <a:gd name="connsiteX17" fmla="*/ 210474 w 210473"/>
                  <a:gd name="connsiteY17" fmla="*/ 149655 h 149655"/>
                  <a:gd name="connsiteX18" fmla="*/ 171522 w 210473"/>
                  <a:gd name="connsiteY18" fmla="*/ 149655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473" h="149655">
                    <a:moveTo>
                      <a:pt x="171522" y="149655"/>
                    </a:moveTo>
                    <a:lnTo>
                      <a:pt x="120271" y="84053"/>
                    </a:lnTo>
                    <a:lnTo>
                      <a:pt x="120271" y="149655"/>
                    </a:lnTo>
                    <a:lnTo>
                      <a:pt x="88836" y="149655"/>
                    </a:lnTo>
                    <a:lnTo>
                      <a:pt x="88836" y="83370"/>
                    </a:lnTo>
                    <a:lnTo>
                      <a:pt x="37585" y="149655"/>
                    </a:lnTo>
                    <a:lnTo>
                      <a:pt x="0" y="149655"/>
                    </a:lnTo>
                    <a:lnTo>
                      <a:pt x="62869" y="70386"/>
                    </a:lnTo>
                    <a:lnTo>
                      <a:pt x="1367" y="0"/>
                    </a:lnTo>
                    <a:lnTo>
                      <a:pt x="41685" y="0"/>
                    </a:lnTo>
                    <a:lnTo>
                      <a:pt x="89520" y="58085"/>
                    </a:lnTo>
                    <a:lnTo>
                      <a:pt x="89520" y="0"/>
                    </a:lnTo>
                    <a:lnTo>
                      <a:pt x="120954" y="0"/>
                    </a:lnTo>
                    <a:lnTo>
                      <a:pt x="120954" y="58085"/>
                    </a:lnTo>
                    <a:lnTo>
                      <a:pt x="168789" y="0"/>
                    </a:lnTo>
                    <a:lnTo>
                      <a:pt x="209107" y="0"/>
                    </a:lnTo>
                    <a:lnTo>
                      <a:pt x="147605" y="70386"/>
                    </a:lnTo>
                    <a:lnTo>
                      <a:pt x="210474" y="149655"/>
                    </a:lnTo>
                    <a:lnTo>
                      <a:pt x="171522" y="149655"/>
                    </a:lnTo>
                    <a:close/>
                  </a:path>
                </a:pathLst>
              </a:custGeom>
              <a:solidFill>
                <a:srgbClr val="FFFFFF"/>
              </a:solidFill>
              <a:ln w="6822"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F0387E5E-C2E3-43BB-9139-20FA4198E4DC}"/>
                  </a:ext>
                </a:extLst>
              </p:cNvPr>
              <p:cNvSpPr/>
              <p:nvPr/>
            </p:nvSpPr>
            <p:spPr>
              <a:xfrm>
                <a:off x="12423953" y="7186763"/>
                <a:ext cx="132571" cy="149655"/>
              </a:xfrm>
              <a:custGeom>
                <a:avLst/>
                <a:gdLst>
                  <a:gd name="connsiteX0" fmla="*/ 0 w 132571"/>
                  <a:gd name="connsiteY0" fmla="*/ 0 h 149655"/>
                  <a:gd name="connsiteX1" fmla="*/ 31434 w 132571"/>
                  <a:gd name="connsiteY1" fmla="*/ 0 h 149655"/>
                  <a:gd name="connsiteX2" fmla="*/ 31434 w 132571"/>
                  <a:gd name="connsiteY2" fmla="*/ 58085 h 149655"/>
                  <a:gd name="connsiteX3" fmla="*/ 101137 w 132571"/>
                  <a:gd name="connsiteY3" fmla="*/ 58085 h 149655"/>
                  <a:gd name="connsiteX4" fmla="*/ 101137 w 132571"/>
                  <a:gd name="connsiteY4" fmla="*/ 0 h 149655"/>
                  <a:gd name="connsiteX5" fmla="*/ 132571 w 132571"/>
                  <a:gd name="connsiteY5" fmla="*/ 0 h 149655"/>
                  <a:gd name="connsiteX6" fmla="*/ 132571 w 132571"/>
                  <a:gd name="connsiteY6" fmla="*/ 149655 h 149655"/>
                  <a:gd name="connsiteX7" fmla="*/ 101137 w 132571"/>
                  <a:gd name="connsiteY7" fmla="*/ 149655 h 149655"/>
                  <a:gd name="connsiteX8" fmla="*/ 101137 w 132571"/>
                  <a:gd name="connsiteY8" fmla="*/ 85420 h 149655"/>
                  <a:gd name="connsiteX9" fmla="*/ 31434 w 132571"/>
                  <a:gd name="connsiteY9" fmla="*/ 85420 h 149655"/>
                  <a:gd name="connsiteX10" fmla="*/ 31434 w 132571"/>
                  <a:gd name="connsiteY10" fmla="*/ 149655 h 149655"/>
                  <a:gd name="connsiteX11" fmla="*/ 0 w 132571"/>
                  <a:gd name="connsiteY11" fmla="*/ 149655 h 149655"/>
                  <a:gd name="connsiteX12" fmla="*/ 0 w 132571"/>
                  <a:gd name="connsiteY12" fmla="*/ 0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71" h="149655">
                    <a:moveTo>
                      <a:pt x="0" y="0"/>
                    </a:moveTo>
                    <a:lnTo>
                      <a:pt x="31434" y="0"/>
                    </a:lnTo>
                    <a:lnTo>
                      <a:pt x="31434" y="58085"/>
                    </a:lnTo>
                    <a:lnTo>
                      <a:pt x="101137" y="58085"/>
                    </a:lnTo>
                    <a:lnTo>
                      <a:pt x="101137" y="0"/>
                    </a:lnTo>
                    <a:lnTo>
                      <a:pt x="132571" y="0"/>
                    </a:lnTo>
                    <a:lnTo>
                      <a:pt x="132571" y="149655"/>
                    </a:lnTo>
                    <a:lnTo>
                      <a:pt x="101137" y="149655"/>
                    </a:lnTo>
                    <a:lnTo>
                      <a:pt x="101137" y="85420"/>
                    </a:lnTo>
                    <a:lnTo>
                      <a:pt x="31434" y="85420"/>
                    </a:lnTo>
                    <a:lnTo>
                      <a:pt x="31434" y="149655"/>
                    </a:lnTo>
                    <a:lnTo>
                      <a:pt x="0" y="149655"/>
                    </a:lnTo>
                    <a:lnTo>
                      <a:pt x="0" y="0"/>
                    </a:lnTo>
                    <a:close/>
                  </a:path>
                </a:pathLst>
              </a:custGeom>
              <a:solidFill>
                <a:srgbClr val="FFFFFF"/>
              </a:solidFill>
              <a:ln w="6822" cap="flat">
                <a:noFill/>
                <a:prstDash val="solid"/>
                <a:miter/>
              </a:ln>
            </p:spPr>
            <p:txBody>
              <a:bodyPr rtlCol="0" anchor="ctr"/>
              <a:lstStyle/>
              <a:p>
                <a:endParaRPr lang="ru-RU" sz="1587" dirty="0"/>
              </a:p>
            </p:txBody>
          </p:sp>
          <p:sp>
            <p:nvSpPr>
              <p:cNvPr id="79" name="Полилиния: фигура 78">
                <a:extLst>
                  <a:ext uri="{FF2B5EF4-FFF2-40B4-BE49-F238E27FC236}">
                    <a16:creationId xmlns:a16="http://schemas.microsoft.com/office/drawing/2014/main" id="{3A3F645E-B356-4161-A1E8-C1C847FD1F25}"/>
                  </a:ext>
                </a:extLst>
              </p:cNvPr>
              <p:cNvSpPr/>
              <p:nvPr/>
            </p:nvSpPr>
            <p:spPr>
              <a:xfrm>
                <a:off x="12586591" y="7182663"/>
                <a:ext cx="160588" cy="158538"/>
              </a:xfrm>
              <a:custGeom>
                <a:avLst/>
                <a:gdLst>
                  <a:gd name="connsiteX0" fmla="*/ 80636 w 160588"/>
                  <a:gd name="connsiteY0" fmla="*/ 158539 h 158538"/>
                  <a:gd name="connsiteX1" fmla="*/ 0 w 160588"/>
                  <a:gd name="connsiteY1" fmla="*/ 79269 h 158538"/>
                  <a:gd name="connsiteX2" fmla="*/ 80636 w 160588"/>
                  <a:gd name="connsiteY2" fmla="*/ 0 h 158538"/>
                  <a:gd name="connsiteX3" fmla="*/ 160589 w 160588"/>
                  <a:gd name="connsiteY3" fmla="*/ 79269 h 158538"/>
                  <a:gd name="connsiteX4" fmla="*/ 80636 w 160588"/>
                  <a:gd name="connsiteY4" fmla="*/ 158539 h 158538"/>
                  <a:gd name="connsiteX5" fmla="*/ 129154 w 160588"/>
                  <a:gd name="connsiteY5" fmla="*/ 79269 h 158538"/>
                  <a:gd name="connsiteX6" fmla="*/ 80636 w 160588"/>
                  <a:gd name="connsiteY6" fmla="*/ 28701 h 158538"/>
                  <a:gd name="connsiteX7" fmla="*/ 32118 w 160588"/>
                  <a:gd name="connsiteY7" fmla="*/ 79269 h 158538"/>
                  <a:gd name="connsiteX8" fmla="*/ 80636 w 160588"/>
                  <a:gd name="connsiteY8" fmla="*/ 129838 h 158538"/>
                  <a:gd name="connsiteX9" fmla="*/ 129154 w 160588"/>
                  <a:gd name="connsiteY9" fmla="*/ 7926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88" h="158538">
                    <a:moveTo>
                      <a:pt x="80636" y="158539"/>
                    </a:moveTo>
                    <a:cubicBezTo>
                      <a:pt x="39635" y="158539"/>
                      <a:pt x="0" y="131204"/>
                      <a:pt x="0" y="79269"/>
                    </a:cubicBezTo>
                    <a:cubicBezTo>
                      <a:pt x="0" y="27334"/>
                      <a:pt x="38951" y="0"/>
                      <a:pt x="80636" y="0"/>
                    </a:cubicBezTo>
                    <a:cubicBezTo>
                      <a:pt x="121637" y="0"/>
                      <a:pt x="160589" y="27334"/>
                      <a:pt x="160589" y="79269"/>
                    </a:cubicBezTo>
                    <a:cubicBezTo>
                      <a:pt x="160589" y="130521"/>
                      <a:pt x="121637" y="158539"/>
                      <a:pt x="80636" y="158539"/>
                    </a:cubicBezTo>
                    <a:close/>
                    <a:moveTo>
                      <a:pt x="129154" y="79269"/>
                    </a:moveTo>
                    <a:cubicBezTo>
                      <a:pt x="129154" y="48518"/>
                      <a:pt x="106604" y="28701"/>
                      <a:pt x="80636" y="28701"/>
                    </a:cubicBezTo>
                    <a:cubicBezTo>
                      <a:pt x="54668" y="28701"/>
                      <a:pt x="32118" y="48518"/>
                      <a:pt x="32118" y="79269"/>
                    </a:cubicBezTo>
                    <a:cubicBezTo>
                      <a:pt x="32118" y="110020"/>
                      <a:pt x="54668" y="129838"/>
                      <a:pt x="80636" y="129838"/>
                    </a:cubicBezTo>
                    <a:cubicBezTo>
                      <a:pt x="106604" y="129838"/>
                      <a:pt x="129154" y="110020"/>
                      <a:pt x="129154" y="79269"/>
                    </a:cubicBezTo>
                    <a:close/>
                  </a:path>
                </a:pathLst>
              </a:custGeom>
              <a:solidFill>
                <a:srgbClr val="FFFFFF"/>
              </a:solidFill>
              <a:ln w="6822"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DE65FC68-8C2A-4780-9D0E-C57F7A1D92C8}"/>
                  </a:ext>
                </a:extLst>
              </p:cNvPr>
              <p:cNvSpPr/>
              <p:nvPr/>
            </p:nvSpPr>
            <p:spPr>
              <a:xfrm>
                <a:off x="12769047" y="7182663"/>
                <a:ext cx="144871" cy="158538"/>
              </a:xfrm>
              <a:custGeom>
                <a:avLst/>
                <a:gdLst>
                  <a:gd name="connsiteX0" fmla="*/ 77902 w 144871"/>
                  <a:gd name="connsiteY0" fmla="*/ 158539 h 158538"/>
                  <a:gd name="connsiteX1" fmla="*/ 0 w 144871"/>
                  <a:gd name="connsiteY1" fmla="*/ 79269 h 158538"/>
                  <a:gd name="connsiteX2" fmla="*/ 77902 w 144871"/>
                  <a:gd name="connsiteY2" fmla="*/ 0 h 158538"/>
                  <a:gd name="connsiteX3" fmla="*/ 143505 w 144871"/>
                  <a:gd name="connsiteY3" fmla="*/ 37585 h 158538"/>
                  <a:gd name="connsiteX4" fmla="*/ 117537 w 144871"/>
                  <a:gd name="connsiteY4" fmla="*/ 52618 h 158538"/>
                  <a:gd name="connsiteX5" fmla="*/ 77902 w 144871"/>
                  <a:gd name="connsiteY5" fmla="*/ 28701 h 158538"/>
                  <a:gd name="connsiteX6" fmla="*/ 32118 w 144871"/>
                  <a:gd name="connsiteY6" fmla="*/ 78586 h 158538"/>
                  <a:gd name="connsiteX7" fmla="*/ 77902 w 144871"/>
                  <a:gd name="connsiteY7" fmla="*/ 128471 h 158538"/>
                  <a:gd name="connsiteX8" fmla="*/ 119587 w 144871"/>
                  <a:gd name="connsiteY8" fmla="*/ 104553 h 158538"/>
                  <a:gd name="connsiteX9" fmla="*/ 144872 w 144871"/>
                  <a:gd name="connsiteY9" fmla="*/ 118904 h 158538"/>
                  <a:gd name="connsiteX10" fmla="*/ 77902 w 144871"/>
                  <a:gd name="connsiteY10" fmla="*/ 158539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871" h="158538">
                    <a:moveTo>
                      <a:pt x="77902" y="158539"/>
                    </a:moveTo>
                    <a:cubicBezTo>
                      <a:pt x="33484" y="158539"/>
                      <a:pt x="0" y="126421"/>
                      <a:pt x="0" y="79269"/>
                    </a:cubicBezTo>
                    <a:cubicBezTo>
                      <a:pt x="0" y="32118"/>
                      <a:pt x="36218" y="0"/>
                      <a:pt x="77902" y="0"/>
                    </a:cubicBezTo>
                    <a:cubicBezTo>
                      <a:pt x="110020" y="0"/>
                      <a:pt x="132571" y="14350"/>
                      <a:pt x="143505" y="37585"/>
                    </a:cubicBezTo>
                    <a:lnTo>
                      <a:pt x="117537" y="52618"/>
                    </a:lnTo>
                    <a:cubicBezTo>
                      <a:pt x="107287" y="36218"/>
                      <a:pt x="93620" y="28701"/>
                      <a:pt x="77902" y="28701"/>
                    </a:cubicBezTo>
                    <a:cubicBezTo>
                      <a:pt x="51935" y="28701"/>
                      <a:pt x="32118" y="47835"/>
                      <a:pt x="32118" y="78586"/>
                    </a:cubicBezTo>
                    <a:cubicBezTo>
                      <a:pt x="32118" y="109337"/>
                      <a:pt x="51252" y="128471"/>
                      <a:pt x="77902" y="128471"/>
                    </a:cubicBezTo>
                    <a:cubicBezTo>
                      <a:pt x="98403" y="128471"/>
                      <a:pt x="110020" y="118221"/>
                      <a:pt x="119587" y="104553"/>
                    </a:cubicBezTo>
                    <a:lnTo>
                      <a:pt x="144872" y="118904"/>
                    </a:lnTo>
                    <a:cubicBezTo>
                      <a:pt x="130521" y="143505"/>
                      <a:pt x="109337" y="158539"/>
                      <a:pt x="77902" y="158539"/>
                    </a:cubicBezTo>
                    <a:close/>
                  </a:path>
                </a:pathLst>
              </a:custGeom>
              <a:solidFill>
                <a:srgbClr val="FFFFFF"/>
              </a:solidFill>
              <a:ln w="6822"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BFF2D3EB-C227-49AC-86FD-9865DE02DF06}"/>
                  </a:ext>
                </a:extLst>
              </p:cNvPr>
              <p:cNvSpPr/>
              <p:nvPr/>
            </p:nvSpPr>
            <p:spPr>
              <a:xfrm>
                <a:off x="12933053" y="7186763"/>
                <a:ext cx="125054" cy="149655"/>
              </a:xfrm>
              <a:custGeom>
                <a:avLst/>
                <a:gdLst>
                  <a:gd name="connsiteX0" fmla="*/ 47151 w 125054"/>
                  <a:gd name="connsiteY0" fmla="*/ 28018 h 149655"/>
                  <a:gd name="connsiteX1" fmla="*/ 0 w 125054"/>
                  <a:gd name="connsiteY1" fmla="*/ 28018 h 149655"/>
                  <a:gd name="connsiteX2" fmla="*/ 0 w 125054"/>
                  <a:gd name="connsiteY2" fmla="*/ 0 h 149655"/>
                  <a:gd name="connsiteX3" fmla="*/ 125054 w 125054"/>
                  <a:gd name="connsiteY3" fmla="*/ 0 h 149655"/>
                  <a:gd name="connsiteX4" fmla="*/ 125054 w 125054"/>
                  <a:gd name="connsiteY4" fmla="*/ 28018 h 149655"/>
                  <a:gd name="connsiteX5" fmla="*/ 77902 w 125054"/>
                  <a:gd name="connsiteY5" fmla="*/ 28018 h 149655"/>
                  <a:gd name="connsiteX6" fmla="*/ 77902 w 125054"/>
                  <a:gd name="connsiteY6" fmla="*/ 149655 h 149655"/>
                  <a:gd name="connsiteX7" fmla="*/ 46468 w 125054"/>
                  <a:gd name="connsiteY7" fmla="*/ 149655 h 149655"/>
                  <a:gd name="connsiteX8" fmla="*/ 46468 w 125054"/>
                  <a:gd name="connsiteY8" fmla="*/ 28018 h 14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54" h="149655">
                    <a:moveTo>
                      <a:pt x="47151" y="28018"/>
                    </a:moveTo>
                    <a:lnTo>
                      <a:pt x="0" y="28018"/>
                    </a:lnTo>
                    <a:lnTo>
                      <a:pt x="0" y="0"/>
                    </a:lnTo>
                    <a:lnTo>
                      <a:pt x="125054" y="0"/>
                    </a:lnTo>
                    <a:lnTo>
                      <a:pt x="125054" y="28018"/>
                    </a:lnTo>
                    <a:lnTo>
                      <a:pt x="77902" y="28018"/>
                    </a:lnTo>
                    <a:lnTo>
                      <a:pt x="77902" y="149655"/>
                    </a:lnTo>
                    <a:lnTo>
                      <a:pt x="46468" y="149655"/>
                    </a:lnTo>
                    <a:lnTo>
                      <a:pt x="46468" y="28018"/>
                    </a:lnTo>
                    <a:close/>
                  </a:path>
                </a:pathLst>
              </a:custGeom>
              <a:solidFill>
                <a:srgbClr val="FFFFFF"/>
              </a:solidFill>
              <a:ln w="6822"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6E59241D-F86D-4D21-A45C-07EDBD84F295}"/>
                  </a:ext>
                </a:extLst>
              </p:cNvPr>
              <p:cNvSpPr/>
              <p:nvPr/>
            </p:nvSpPr>
            <p:spPr>
              <a:xfrm>
                <a:off x="13073141" y="7182663"/>
                <a:ext cx="149654" cy="158538"/>
              </a:xfrm>
              <a:custGeom>
                <a:avLst/>
                <a:gdLst>
                  <a:gd name="connsiteX0" fmla="*/ 76536 w 149654"/>
                  <a:gd name="connsiteY0" fmla="*/ 131204 h 158538"/>
                  <a:gd name="connsiteX1" fmla="*/ 118904 w 149654"/>
                  <a:gd name="connsiteY1" fmla="*/ 107970 h 158538"/>
                  <a:gd name="connsiteX2" fmla="*/ 143505 w 149654"/>
                  <a:gd name="connsiteY2" fmla="*/ 120954 h 158538"/>
                  <a:gd name="connsiteX3" fmla="*/ 75852 w 149654"/>
                  <a:gd name="connsiteY3" fmla="*/ 158539 h 158538"/>
                  <a:gd name="connsiteX4" fmla="*/ 0 w 149654"/>
                  <a:gd name="connsiteY4" fmla="*/ 79269 h 158538"/>
                  <a:gd name="connsiteX5" fmla="*/ 77219 w 149654"/>
                  <a:gd name="connsiteY5" fmla="*/ 0 h 158538"/>
                  <a:gd name="connsiteX6" fmla="*/ 149655 w 149654"/>
                  <a:gd name="connsiteY6" fmla="*/ 75169 h 158538"/>
                  <a:gd name="connsiteX7" fmla="*/ 149655 w 149654"/>
                  <a:gd name="connsiteY7" fmla="*/ 86103 h 158538"/>
                  <a:gd name="connsiteX8" fmla="*/ 30067 w 149654"/>
                  <a:gd name="connsiteY8" fmla="*/ 86103 h 158538"/>
                  <a:gd name="connsiteX9" fmla="*/ 76536 w 149654"/>
                  <a:gd name="connsiteY9" fmla="*/ 131204 h 158538"/>
                  <a:gd name="connsiteX10" fmla="*/ 30751 w 149654"/>
                  <a:gd name="connsiteY10" fmla="*/ 61502 h 158538"/>
                  <a:gd name="connsiteX11" fmla="*/ 119587 w 149654"/>
                  <a:gd name="connsiteY11" fmla="*/ 61502 h 158538"/>
                  <a:gd name="connsiteX12" fmla="*/ 75852 w 149654"/>
                  <a:gd name="connsiteY12" fmla="*/ 24601 h 158538"/>
                  <a:gd name="connsiteX13" fmla="*/ 30751 w 149654"/>
                  <a:gd name="connsiteY13" fmla="*/ 61502 h 158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654" h="158538">
                    <a:moveTo>
                      <a:pt x="76536" y="131204"/>
                    </a:moveTo>
                    <a:cubicBezTo>
                      <a:pt x="99770" y="131204"/>
                      <a:pt x="109337" y="120954"/>
                      <a:pt x="118904" y="107970"/>
                    </a:cubicBezTo>
                    <a:lnTo>
                      <a:pt x="143505" y="120954"/>
                    </a:lnTo>
                    <a:cubicBezTo>
                      <a:pt x="129838" y="144188"/>
                      <a:pt x="109337" y="158539"/>
                      <a:pt x="75852" y="158539"/>
                    </a:cubicBezTo>
                    <a:cubicBezTo>
                      <a:pt x="34168" y="158539"/>
                      <a:pt x="0" y="126421"/>
                      <a:pt x="0" y="79269"/>
                    </a:cubicBezTo>
                    <a:cubicBezTo>
                      <a:pt x="0" y="32118"/>
                      <a:pt x="34168" y="0"/>
                      <a:pt x="77219" y="0"/>
                    </a:cubicBezTo>
                    <a:cubicBezTo>
                      <a:pt x="120954" y="0"/>
                      <a:pt x="149655" y="31434"/>
                      <a:pt x="149655" y="75169"/>
                    </a:cubicBezTo>
                    <a:lnTo>
                      <a:pt x="149655" y="86103"/>
                    </a:lnTo>
                    <a:lnTo>
                      <a:pt x="30067" y="86103"/>
                    </a:lnTo>
                    <a:cubicBezTo>
                      <a:pt x="32118" y="112070"/>
                      <a:pt x="49885" y="131204"/>
                      <a:pt x="76536" y="131204"/>
                    </a:cubicBezTo>
                    <a:close/>
                    <a:moveTo>
                      <a:pt x="30751" y="61502"/>
                    </a:moveTo>
                    <a:lnTo>
                      <a:pt x="119587" y="61502"/>
                    </a:lnTo>
                    <a:cubicBezTo>
                      <a:pt x="116854" y="38268"/>
                      <a:pt x="99087" y="24601"/>
                      <a:pt x="75852" y="24601"/>
                    </a:cubicBezTo>
                    <a:cubicBezTo>
                      <a:pt x="53302" y="24601"/>
                      <a:pt x="35535" y="40318"/>
                      <a:pt x="30751" y="61502"/>
                    </a:cubicBezTo>
                    <a:close/>
                  </a:path>
                </a:pathLst>
              </a:custGeom>
              <a:solidFill>
                <a:srgbClr val="FFFFFF"/>
              </a:solidFill>
              <a:ln w="6822"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B81D234E-AC2D-45ED-8A11-D5703703E892}"/>
                  </a:ext>
                </a:extLst>
              </p:cNvPr>
              <p:cNvSpPr/>
              <p:nvPr/>
            </p:nvSpPr>
            <p:spPr>
              <a:xfrm>
                <a:off x="13253547" y="7132778"/>
                <a:ext cx="134621" cy="203640"/>
              </a:xfrm>
              <a:custGeom>
                <a:avLst/>
                <a:gdLst>
                  <a:gd name="connsiteX0" fmla="*/ 0 w 134621"/>
                  <a:gd name="connsiteY0" fmla="*/ 53985 h 203640"/>
                  <a:gd name="connsiteX1" fmla="*/ 30068 w 134621"/>
                  <a:gd name="connsiteY1" fmla="*/ 53985 h 203640"/>
                  <a:gd name="connsiteX2" fmla="*/ 30068 w 134621"/>
                  <a:gd name="connsiteY2" fmla="*/ 161956 h 203640"/>
                  <a:gd name="connsiteX3" fmla="*/ 101820 w 134621"/>
                  <a:gd name="connsiteY3" fmla="*/ 53985 h 203640"/>
                  <a:gd name="connsiteX4" fmla="*/ 134621 w 134621"/>
                  <a:gd name="connsiteY4" fmla="*/ 53985 h 203640"/>
                  <a:gd name="connsiteX5" fmla="*/ 134621 w 134621"/>
                  <a:gd name="connsiteY5" fmla="*/ 203640 h 203640"/>
                  <a:gd name="connsiteX6" fmla="*/ 104554 w 134621"/>
                  <a:gd name="connsiteY6" fmla="*/ 203640 h 203640"/>
                  <a:gd name="connsiteX7" fmla="*/ 104554 w 134621"/>
                  <a:gd name="connsiteY7" fmla="*/ 95670 h 203640"/>
                  <a:gd name="connsiteX8" fmla="*/ 32801 w 134621"/>
                  <a:gd name="connsiteY8" fmla="*/ 203640 h 203640"/>
                  <a:gd name="connsiteX9" fmla="*/ 0 w 134621"/>
                  <a:gd name="connsiteY9" fmla="*/ 203640 h 203640"/>
                  <a:gd name="connsiteX10" fmla="*/ 0 w 134621"/>
                  <a:gd name="connsiteY10" fmla="*/ 53985 h 203640"/>
                  <a:gd name="connsiteX11" fmla="*/ 34168 w 134621"/>
                  <a:gd name="connsiteY11" fmla="*/ 0 h 203640"/>
                  <a:gd name="connsiteX12" fmla="*/ 55352 w 134621"/>
                  <a:gd name="connsiteY12" fmla="*/ 0 h 203640"/>
                  <a:gd name="connsiteX13" fmla="*/ 66969 w 134621"/>
                  <a:gd name="connsiteY13" fmla="*/ 12984 h 203640"/>
                  <a:gd name="connsiteX14" fmla="*/ 78586 w 134621"/>
                  <a:gd name="connsiteY14" fmla="*/ 0 h 203640"/>
                  <a:gd name="connsiteX15" fmla="*/ 99770 w 134621"/>
                  <a:gd name="connsiteY15" fmla="*/ 0 h 203640"/>
                  <a:gd name="connsiteX16" fmla="*/ 66969 w 134621"/>
                  <a:gd name="connsiteY16" fmla="*/ 32801 h 203640"/>
                  <a:gd name="connsiteX17" fmla="*/ 34168 w 134621"/>
                  <a:gd name="connsiteY17" fmla="*/ 0 h 20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21" h="203640">
                    <a:moveTo>
                      <a:pt x="0" y="53985"/>
                    </a:moveTo>
                    <a:lnTo>
                      <a:pt x="30068" y="53985"/>
                    </a:lnTo>
                    <a:lnTo>
                      <a:pt x="30068" y="161956"/>
                    </a:lnTo>
                    <a:lnTo>
                      <a:pt x="101820" y="53985"/>
                    </a:lnTo>
                    <a:lnTo>
                      <a:pt x="134621" y="53985"/>
                    </a:lnTo>
                    <a:lnTo>
                      <a:pt x="134621" y="203640"/>
                    </a:lnTo>
                    <a:lnTo>
                      <a:pt x="104554" y="203640"/>
                    </a:lnTo>
                    <a:lnTo>
                      <a:pt x="104554" y="95670"/>
                    </a:lnTo>
                    <a:lnTo>
                      <a:pt x="32801" y="203640"/>
                    </a:lnTo>
                    <a:lnTo>
                      <a:pt x="0" y="203640"/>
                    </a:lnTo>
                    <a:lnTo>
                      <a:pt x="0" y="53985"/>
                    </a:lnTo>
                    <a:close/>
                    <a:moveTo>
                      <a:pt x="34168" y="0"/>
                    </a:moveTo>
                    <a:lnTo>
                      <a:pt x="55352" y="0"/>
                    </a:lnTo>
                    <a:cubicBezTo>
                      <a:pt x="55352" y="7517"/>
                      <a:pt x="59452" y="12984"/>
                      <a:pt x="66969" y="12984"/>
                    </a:cubicBezTo>
                    <a:cubicBezTo>
                      <a:pt x="74486" y="12984"/>
                      <a:pt x="78586" y="7517"/>
                      <a:pt x="78586" y="0"/>
                    </a:cubicBezTo>
                    <a:lnTo>
                      <a:pt x="99770" y="0"/>
                    </a:lnTo>
                    <a:cubicBezTo>
                      <a:pt x="99770" y="19134"/>
                      <a:pt x="86786" y="32801"/>
                      <a:pt x="66969" y="32801"/>
                    </a:cubicBezTo>
                    <a:cubicBezTo>
                      <a:pt x="47152" y="32801"/>
                      <a:pt x="34168" y="19134"/>
                      <a:pt x="34168" y="0"/>
                    </a:cubicBezTo>
                    <a:close/>
                  </a:path>
                </a:pathLst>
              </a:custGeom>
              <a:solidFill>
                <a:srgbClr val="FFFFFF"/>
              </a:solidFill>
              <a:ln w="6822" cap="flat">
                <a:noFill/>
                <a:prstDash val="solid"/>
                <a:miter/>
              </a:ln>
            </p:spPr>
            <p:txBody>
              <a:bodyPr rtlCol="0" anchor="ctr"/>
              <a:lstStyle/>
              <a:p>
                <a:endParaRPr lang="ru-RU" sz="1587" dirty="0"/>
              </a:p>
            </p:txBody>
          </p:sp>
        </p:grpSp>
        <p:sp>
          <p:nvSpPr>
            <p:cNvPr id="61" name="Полилиния: фигура 60">
              <a:extLst>
                <a:ext uri="{FF2B5EF4-FFF2-40B4-BE49-F238E27FC236}">
                  <a16:creationId xmlns:a16="http://schemas.microsoft.com/office/drawing/2014/main" id="{8311475D-5794-43CC-BBF6-AC1B9796E4EF}"/>
                </a:ext>
              </a:extLst>
            </p:cNvPr>
            <p:cNvSpPr/>
            <p:nvPr/>
          </p:nvSpPr>
          <p:spPr>
            <a:xfrm>
              <a:off x="11519872" y="4054942"/>
              <a:ext cx="2309744" cy="2615887"/>
            </a:xfrm>
            <a:custGeom>
              <a:avLst/>
              <a:gdLst>
                <a:gd name="connsiteX0" fmla="*/ 2309744 w 2309744"/>
                <a:gd name="connsiteY0" fmla="*/ 0 h 2615887"/>
                <a:gd name="connsiteX1" fmla="*/ 350562 w 2309744"/>
                <a:gd name="connsiteY1" fmla="*/ 2452566 h 2615887"/>
                <a:gd name="connsiteX2" fmla="*/ 2050 w 2309744"/>
                <a:gd name="connsiteY2" fmla="*/ 2615205 h 2615887"/>
                <a:gd name="connsiteX3" fmla="*/ 0 w 2309744"/>
                <a:gd name="connsiteY3" fmla="*/ 2615888 h 2615887"/>
                <a:gd name="connsiteX4" fmla="*/ 0 w 2309744"/>
                <a:gd name="connsiteY4" fmla="*/ 2615888 h 2615887"/>
                <a:gd name="connsiteX5" fmla="*/ 2309744 w 2309744"/>
                <a:gd name="connsiteY5" fmla="*/ 1107721 h 2615887"/>
                <a:gd name="connsiteX6" fmla="*/ 2309744 w 2309744"/>
                <a:gd name="connsiteY6" fmla="*/ 0 h 2615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9744" h="2615887">
                  <a:moveTo>
                    <a:pt x="2309744" y="0"/>
                  </a:moveTo>
                  <a:cubicBezTo>
                    <a:pt x="2039818" y="1072869"/>
                    <a:pt x="1316144" y="1946199"/>
                    <a:pt x="350562" y="2452566"/>
                  </a:cubicBezTo>
                  <a:cubicBezTo>
                    <a:pt x="236441" y="2509284"/>
                    <a:pt x="112754" y="2561903"/>
                    <a:pt x="2050" y="2615205"/>
                  </a:cubicBezTo>
                  <a:lnTo>
                    <a:pt x="0" y="2615888"/>
                  </a:lnTo>
                  <a:lnTo>
                    <a:pt x="0" y="2615888"/>
                  </a:lnTo>
                  <a:cubicBezTo>
                    <a:pt x="880846" y="2287877"/>
                    <a:pt x="1668073" y="1768526"/>
                    <a:pt x="2309744" y="1107721"/>
                  </a:cubicBezTo>
                  <a:lnTo>
                    <a:pt x="2309744" y="0"/>
                  </a:lnTo>
                  <a:close/>
                </a:path>
              </a:pathLst>
            </a:custGeom>
            <a:solidFill>
              <a:schemeClr val="accent3"/>
            </a:solidFill>
            <a:ln w="6822" cap="flat">
              <a:noFill/>
              <a:prstDash val="solid"/>
              <a:miter/>
            </a:ln>
          </p:spPr>
          <p:txBody>
            <a:bodyPr rtlCol="0" anchor="ctr"/>
            <a:lstStyle/>
            <a:p>
              <a:endParaRPr lang="ru-RU" sz="1587" dirty="0"/>
            </a:p>
          </p:txBody>
        </p:sp>
      </p:grpSp>
    </p:spTree>
    <p:extLst>
      <p:ext uri="{BB962C8B-B14F-4D97-AF65-F5344CB8AC3E}">
        <p14:creationId xmlns:p14="http://schemas.microsoft.com/office/powerpoint/2010/main" val="133744242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4029639" cy="421813"/>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56"/>
            <a:ext cx="5845117" cy="611312"/>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7" y="6279912"/>
            <a:ext cx="4599513" cy="244715"/>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0211881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4029639" cy="421813"/>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62"/>
            <a:ext cx="3166153" cy="1191255"/>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7" y="6279912"/>
            <a:ext cx="4599513" cy="244715"/>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46182344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2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6" y="2660459"/>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2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7" y="6279912"/>
            <a:ext cx="4599513" cy="244715"/>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196453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9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4029639" cy="421813"/>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56"/>
            <a:ext cx="5845117" cy="611312"/>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7" y="6279912"/>
            <a:ext cx="4599513" cy="244715"/>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1786334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0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4029639" cy="421813"/>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62"/>
            <a:ext cx="3166153" cy="1191255"/>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7" y="6279912"/>
            <a:ext cx="4599513" cy="244715"/>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3383618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1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2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6" y="2660459"/>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2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7" y="6279912"/>
            <a:ext cx="4599513" cy="244715"/>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36746247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5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4029639" cy="421813"/>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56"/>
            <a:ext cx="5845117" cy="611312"/>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0347115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6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4029639" cy="421813"/>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62"/>
            <a:ext cx="3166153" cy="1191255"/>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6F1591DC-C29F-4CF6-A136-C504407CE3E7}"/>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3176575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текст одна колонка">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sz="3527">
                <a:solidFill>
                  <a:schemeClr val="tx1"/>
                </a:solidFill>
              </a:defRPr>
            </a:lvl1pPr>
          </a:lstStyle>
          <a:p>
            <a:r>
              <a:rPr lang="ru-RU" dirty="0"/>
              <a:t>Заголовок слайда </a:t>
            </a:r>
            <a:br>
              <a:rPr lang="ru-RU" dirty="0"/>
            </a:br>
            <a:r>
              <a:rPr lang="ru-RU" dirty="0"/>
              <a:t>с текстом в одну колонку</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6" y="2158929"/>
            <a:ext cx="6925567"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3" y="5257129"/>
            <a:ext cx="2669844" cy="649795"/>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4445323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7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2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6" y="2660459"/>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2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074D241D-2857-4CB0-8CC6-C1536CA2882D}"/>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76563070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4029639" cy="421813"/>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56"/>
            <a:ext cx="5845117" cy="611312"/>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2704333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4029639" cy="421813"/>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62"/>
            <a:ext cx="3166153" cy="1191255"/>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409331659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2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6" y="2660459"/>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2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98049679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313039"/>
            <a:ext cx="4029639" cy="421813"/>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56"/>
            <a:ext cx="5845117" cy="611312"/>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93219908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4" y="3854734"/>
            <a:ext cx="4029639" cy="421813"/>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7" y="2660462"/>
            <a:ext cx="3166153" cy="1191255"/>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44606536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2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6" y="2660459"/>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2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7" y="6279912"/>
            <a:ext cx="4599513" cy="244715"/>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7481402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6" y="1166814"/>
            <a:ext cx="4279551" cy="547192"/>
          </a:xfrm>
          <a:prstGeom prst="rect">
            <a:avLst/>
          </a:prstGeom>
          <a:solidFill>
            <a:schemeClr val="accent1"/>
          </a:solidFill>
        </p:spPr>
        <p:txBody>
          <a:bodyPr wrap="none" lIns="72000" tIns="72000" rIns="72000" bIns="0">
            <a:spAutoFit/>
          </a:bodyPr>
          <a:lstStyle>
            <a:lvl1pPr>
              <a:lnSpc>
                <a:spcPts val="3703"/>
              </a:lnSpc>
              <a:defRPr sz="3527">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8" y="1718705"/>
            <a:ext cx="2914705" cy="488425"/>
          </a:xfrm>
          <a:prstGeom prst="rect">
            <a:avLst/>
          </a:prstGeom>
          <a:solidFill>
            <a:schemeClr val="accent1"/>
          </a:solidFill>
        </p:spPr>
        <p:txBody>
          <a:bodyPr wrap="none" lIns="72000" tIns="0" rIns="72000" bIns="0">
            <a:spAutoFit/>
          </a:bodyPr>
          <a:lstStyle>
            <a:lvl1pPr>
              <a:defRPr lang="ru-RU" sz="3527"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155634987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5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6" y="1166814"/>
            <a:ext cx="4279551" cy="547192"/>
          </a:xfrm>
          <a:prstGeom prst="rect">
            <a:avLst/>
          </a:prstGeom>
          <a:solidFill>
            <a:schemeClr val="accent1"/>
          </a:solidFill>
        </p:spPr>
        <p:txBody>
          <a:bodyPr wrap="none" lIns="72000" tIns="72000" rIns="72000" bIns="0">
            <a:spAutoFit/>
          </a:bodyPr>
          <a:lstStyle>
            <a:lvl1pPr>
              <a:lnSpc>
                <a:spcPts val="3703"/>
              </a:lnSpc>
              <a:defRPr sz="3527">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8" y="1718705"/>
            <a:ext cx="2914705" cy="488425"/>
          </a:xfrm>
          <a:prstGeom prst="rect">
            <a:avLst/>
          </a:prstGeom>
          <a:solidFill>
            <a:schemeClr val="accent1"/>
          </a:solidFill>
        </p:spPr>
        <p:txBody>
          <a:bodyPr wrap="none" lIns="72000" tIns="0" rIns="72000" bIns="0">
            <a:spAutoFit/>
          </a:bodyPr>
          <a:lstStyle>
            <a:lvl1pPr>
              <a:defRPr lang="ru-RU" sz="3527"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35345304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6" y="1166814"/>
            <a:ext cx="4279551" cy="547192"/>
          </a:xfrm>
          <a:prstGeom prst="rect">
            <a:avLst/>
          </a:prstGeom>
          <a:solidFill>
            <a:schemeClr val="bg1"/>
          </a:solidFill>
        </p:spPr>
        <p:txBody>
          <a:bodyPr wrap="none" lIns="72000" tIns="72000" rIns="72000" bIns="0">
            <a:spAutoFit/>
          </a:bodyPr>
          <a:lstStyle>
            <a:lvl1pPr>
              <a:lnSpc>
                <a:spcPts val="3703"/>
              </a:lnSpc>
              <a:defRPr sz="3527">
                <a:solidFill>
                  <a:schemeClr val="tx1"/>
                </a:solidFill>
              </a:defRPr>
            </a:lvl1pPr>
          </a:lstStyle>
          <a:p>
            <a:r>
              <a:rPr lang="ru-RU" dirty="0"/>
              <a:t>Заголовок раздела</a:t>
            </a:r>
          </a:p>
        </p:txBody>
      </p:sp>
      <p:sp>
        <p:nvSpPr>
          <p:cNvPr id="5" name="Текст 9">
            <a:extLst>
              <a:ext uri="{FF2B5EF4-FFF2-40B4-BE49-F238E27FC236}">
                <a16:creationId xmlns:a16="http://schemas.microsoft.com/office/drawing/2014/main" id="{B7CA871B-387E-4CC6-A5FD-EBE782541D5D}"/>
              </a:ext>
            </a:extLst>
          </p:cNvPr>
          <p:cNvSpPr>
            <a:spLocks noGrp="1"/>
          </p:cNvSpPr>
          <p:nvPr>
            <p:ph type="body" sz="quarter" idx="11" hasCustomPrompt="1"/>
          </p:nvPr>
        </p:nvSpPr>
        <p:spPr>
          <a:xfrm>
            <a:off x="417038" y="1720806"/>
            <a:ext cx="2914705" cy="488425"/>
          </a:xfrm>
          <a:prstGeom prst="rect">
            <a:avLst/>
          </a:prstGeom>
          <a:solidFill>
            <a:schemeClr val="bg1"/>
          </a:solidFill>
        </p:spPr>
        <p:txBody>
          <a:bodyPr wrap="none" lIns="72000" tIns="0" rIns="72000" bIns="0">
            <a:spAutoFit/>
          </a:bodyPr>
          <a:lstStyle>
            <a:lvl1pPr>
              <a:defRPr lang="ru-RU" sz="3527" b="0" smtClean="0">
                <a:solidFill>
                  <a:schemeClr val="tx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grpSp>
        <p:nvGrpSpPr>
          <p:cNvPr id="2" name="Группа 1">
            <a:extLst>
              <a:ext uri="{FF2B5EF4-FFF2-40B4-BE49-F238E27FC236}">
                <a16:creationId xmlns:a16="http://schemas.microsoft.com/office/drawing/2014/main" id="{184AE344-B5F3-4225-8535-B40AFFEB73B4}"/>
              </a:ext>
            </a:extLst>
          </p:cNvPr>
          <p:cNvGrpSpPr/>
          <p:nvPr userDrawn="1"/>
        </p:nvGrpSpPr>
        <p:grpSpPr>
          <a:xfrm>
            <a:off x="10217689" y="6227346"/>
            <a:ext cx="1555227"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dirty="0"/>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dirty="0"/>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dirty="0"/>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dirty="0"/>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dirty="0"/>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dirty="0"/>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dirty="0"/>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dirty="0"/>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dirty="0"/>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dirty="0"/>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dirty="0"/>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dirty="0"/>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dirty="0"/>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dirty="0"/>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dirty="0"/>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dirty="0"/>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dirty="0"/>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dirty="0"/>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39393103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текст две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sz="3527">
                <a:solidFill>
                  <a:schemeClr val="tx1"/>
                </a:solidFill>
              </a:defRPr>
            </a:lvl1pPr>
          </a:lstStyle>
          <a:p>
            <a:r>
              <a:rPr lang="ru-RU" dirty="0"/>
              <a:t>Заголовок слайда </a:t>
            </a:r>
            <a:br>
              <a:rPr lang="ru-RU" dirty="0"/>
            </a:br>
            <a:r>
              <a:rPr lang="ru-RU" dirty="0"/>
              <a:t>с текстом 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038" y="2158929"/>
            <a:ext cx="5234617"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a:t>
            </a:r>
          </a:p>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endParaRPr lang="ru-RU" sz="1587" dirty="0"/>
          </a:p>
          <a:p>
            <a:pPr lvl="0">
              <a:lnSpc>
                <a:spcPts val="1851"/>
              </a:lnSpc>
              <a:spcBef>
                <a:spcPts val="0"/>
              </a:spcBef>
            </a:pPr>
            <a:endParaRPr lang="ru-RU" sz="1587" dirty="0"/>
          </a:p>
        </p:txBody>
      </p:sp>
      <p:sp>
        <p:nvSpPr>
          <p:cNvPr id="16" name="Текст 4">
            <a:extLst>
              <a:ext uri="{FF2B5EF4-FFF2-40B4-BE49-F238E27FC236}">
                <a16:creationId xmlns:a16="http://schemas.microsoft.com/office/drawing/2014/main" id="{4A57722E-129C-4EC9-80A8-65B21DE4C17D}"/>
              </a:ext>
            </a:extLst>
          </p:cNvPr>
          <p:cNvSpPr>
            <a:spLocks noGrp="1"/>
          </p:cNvSpPr>
          <p:nvPr>
            <p:ph type="body" sz="quarter" idx="25" hasCustomPrompt="1"/>
          </p:nvPr>
        </p:nvSpPr>
        <p:spPr>
          <a:xfrm>
            <a:off x="6206861" y="2158271"/>
            <a:ext cx="5256531" cy="1970284"/>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3" y="5257129"/>
            <a:ext cx="2669844" cy="649795"/>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33299966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7" y="1166814"/>
            <a:ext cx="4206848" cy="547192"/>
          </a:xfrm>
          <a:prstGeom prst="rect">
            <a:avLst/>
          </a:prstGeom>
          <a:noFill/>
        </p:spPr>
        <p:txBody>
          <a:bodyPr wrap="none" lIns="0" tIns="72000" rIns="72000" bIns="0">
            <a:spAutoFit/>
          </a:bodyPr>
          <a:lstStyle>
            <a:lvl1pPr>
              <a:lnSpc>
                <a:spcPts val="3703"/>
              </a:lnSpc>
              <a:defRPr sz="3527">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137973017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7" y="1166814"/>
            <a:ext cx="4206848" cy="547192"/>
          </a:xfrm>
          <a:prstGeom prst="rect">
            <a:avLst/>
          </a:prstGeom>
          <a:noFill/>
        </p:spPr>
        <p:txBody>
          <a:bodyPr wrap="none" lIns="0" tIns="72000" rIns="72000" bIns="0">
            <a:spAutoFit/>
          </a:bodyPr>
          <a:lstStyle>
            <a:lvl1pPr>
              <a:lnSpc>
                <a:spcPts val="3703"/>
              </a:lnSpc>
              <a:defRPr sz="3527">
                <a:solidFill>
                  <a:schemeClr val="bg1"/>
                </a:solidFill>
              </a:defRPr>
            </a:lvl1pPr>
          </a:lstStyle>
          <a:p>
            <a:r>
              <a:rPr lang="ru-RU" dirty="0"/>
              <a:t>Заголовок раздела</a:t>
            </a:r>
          </a:p>
        </p:txBody>
      </p:sp>
    </p:spTree>
    <p:extLst>
      <p:ext uri="{BB962C8B-B14F-4D97-AF65-F5344CB8AC3E}">
        <p14:creationId xmlns:p14="http://schemas.microsoft.com/office/powerpoint/2010/main" val="31959717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7" y="1166814"/>
            <a:ext cx="4206848" cy="547192"/>
          </a:xfrm>
          <a:prstGeom prst="rect">
            <a:avLst/>
          </a:prstGeom>
          <a:noFill/>
        </p:spPr>
        <p:txBody>
          <a:bodyPr wrap="none" lIns="0" tIns="72000" rIns="72000" bIns="0">
            <a:spAutoFit/>
          </a:bodyPr>
          <a:lstStyle>
            <a:lvl1pPr>
              <a:lnSpc>
                <a:spcPts val="3703"/>
              </a:lnSpc>
              <a:defRPr sz="3527">
                <a:solidFill>
                  <a:schemeClr val="bg1"/>
                </a:solidFill>
              </a:defRPr>
            </a:lvl1pPr>
          </a:lstStyle>
          <a:p>
            <a:r>
              <a:rPr lang="ru-RU" dirty="0"/>
              <a:t>Заголовок раздела</a:t>
            </a:r>
          </a:p>
        </p:txBody>
      </p:sp>
      <p:grpSp>
        <p:nvGrpSpPr>
          <p:cNvPr id="2" name="Группа 1">
            <a:extLst>
              <a:ext uri="{FF2B5EF4-FFF2-40B4-BE49-F238E27FC236}">
                <a16:creationId xmlns:a16="http://schemas.microsoft.com/office/drawing/2014/main" id="{6FEBC6B2-51B5-4E2F-ADB0-C45F51C04056}"/>
              </a:ext>
            </a:extLst>
          </p:cNvPr>
          <p:cNvGrpSpPr/>
          <p:nvPr userDrawn="1"/>
        </p:nvGrpSpPr>
        <p:grpSpPr>
          <a:xfrm>
            <a:off x="10217689" y="6227346"/>
            <a:ext cx="1555227"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dirty="0"/>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dirty="0"/>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dirty="0"/>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dirty="0"/>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dirty="0"/>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dirty="0"/>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dirty="0"/>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dirty="0"/>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dirty="0"/>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dirty="0"/>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dirty="0"/>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dirty="0"/>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dirty="0"/>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dirty="0"/>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dirty="0"/>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dirty="0"/>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dirty="0"/>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dirty="0"/>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dirty="0"/>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dirty="0"/>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24573913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7" y="1166814"/>
            <a:ext cx="4206848" cy="547192"/>
          </a:xfrm>
          <a:prstGeom prst="rect">
            <a:avLst/>
          </a:prstGeom>
          <a:noFill/>
        </p:spPr>
        <p:txBody>
          <a:bodyPr wrap="none" lIns="0" tIns="72000" rIns="72000" bIns="0">
            <a:spAutoFit/>
          </a:bodyPr>
          <a:lstStyle>
            <a:lvl1pPr>
              <a:lnSpc>
                <a:spcPts val="3703"/>
              </a:lnSpc>
              <a:defRPr sz="3527">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288673065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lumMod val="25000"/>
            </a:schemeClr>
          </a:solidFill>
        </p:spPr>
        <p:txBody>
          <a:bodyPr anchor="ctr"/>
          <a:lstStyle>
            <a:lvl1pPr algn="ctr">
              <a:defRPr lang="ru-RU" dirty="0">
                <a:solidFill>
                  <a:schemeClr val="bg1"/>
                </a:solidFill>
              </a:defRPr>
            </a:lvl1pPr>
          </a:lstStyle>
          <a:p>
            <a:pPr lvl="0" algn="ct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7" y="1166814"/>
            <a:ext cx="4206848" cy="547192"/>
          </a:xfrm>
          <a:prstGeom prst="rect">
            <a:avLst/>
          </a:prstGeom>
          <a:noFill/>
        </p:spPr>
        <p:txBody>
          <a:bodyPr wrap="none" lIns="0" tIns="72000" rIns="72000" bIns="0">
            <a:spAutoFit/>
          </a:bodyPr>
          <a:lstStyle>
            <a:lvl1pPr>
              <a:lnSpc>
                <a:spcPts val="3703"/>
              </a:lnSpc>
              <a:defRPr sz="3527">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110712584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контакты с картой">
    <p:spTree>
      <p:nvGrpSpPr>
        <p:cNvPr id="1" name=""/>
        <p:cNvGrpSpPr/>
        <p:nvPr/>
      </p:nvGrpSpPr>
      <p:grpSpPr>
        <a:xfrm>
          <a:off x="0" y="0"/>
          <a:ext cx="0" cy="0"/>
          <a:chOff x="0" y="0"/>
          <a:chExt cx="0" cy="0"/>
        </a:xfrm>
      </p:grpSpPr>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1385791" y="2809970"/>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Центральный офис </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1385791" y="3215138"/>
            <a:ext cx="4591260" cy="456641"/>
          </a:xfrm>
          <a:prstGeom prst="rect">
            <a:avLst/>
          </a:prstGeom>
        </p:spPr>
        <p:txBody>
          <a:bodyPr lIns="0" tIns="0" rIns="0" bIns="0"/>
          <a:lstStyle>
            <a:lvl1pPr>
              <a:lnSpc>
                <a:spcPct val="100000"/>
              </a:lnSpc>
              <a:spcBef>
                <a:spcPts val="0"/>
              </a:spcBef>
              <a:defRPr sz="2468" b="0" strike="noStrike">
                <a:solidFill>
                  <a:schemeClr val="tx1"/>
                </a:solidFill>
                <a:latin typeface="+mj-lt"/>
                <a:ea typeface="Rostelecom Basis" panose="020B0503040504020204" pitchFamily="34" charset="-52"/>
              </a:defRPr>
            </a:lvl1pPr>
          </a:lstStyle>
          <a:p>
            <a:pPr lvl="0"/>
            <a:r>
              <a:rPr lang="ru-RU" dirty="0"/>
              <a:t>Москва, ул. Гончарная, 30с1</a:t>
            </a:r>
          </a:p>
        </p:txBody>
      </p:sp>
      <p:pic>
        <p:nvPicPr>
          <p:cNvPr id="2" name="Рисунок 1">
            <a:extLst>
              <a:ext uri="{FF2B5EF4-FFF2-40B4-BE49-F238E27FC236}">
                <a16:creationId xmlns:a16="http://schemas.microsoft.com/office/drawing/2014/main" id="{E3E2A300-4F5C-4EAD-85A6-F5191BA3FE3C}"/>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17513" y="418822"/>
            <a:ext cx="3316779" cy="849519"/>
          </a:xfrm>
          <a:prstGeom prst="rect">
            <a:avLst/>
          </a:prstGeom>
        </p:spPr>
      </p:pic>
      <p:sp>
        <p:nvSpPr>
          <p:cNvPr id="12" name="Текст 14">
            <a:extLst>
              <a:ext uri="{FF2B5EF4-FFF2-40B4-BE49-F238E27FC236}">
                <a16:creationId xmlns:a16="http://schemas.microsoft.com/office/drawing/2014/main" id="{343F05C0-34A6-46C3-BA12-9FFF1BB86C43}"/>
              </a:ext>
            </a:extLst>
          </p:cNvPr>
          <p:cNvSpPr>
            <a:spLocks noGrp="1"/>
          </p:cNvSpPr>
          <p:nvPr>
            <p:ph type="body" sz="quarter" idx="69" hasCustomPrompt="1"/>
          </p:nvPr>
        </p:nvSpPr>
        <p:spPr>
          <a:xfrm>
            <a:off x="1385791" y="4032327"/>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7 (499) 999-82-83 </a:t>
            </a:r>
          </a:p>
        </p:txBody>
      </p:sp>
      <p:sp>
        <p:nvSpPr>
          <p:cNvPr id="18" name="Текст 14">
            <a:extLst>
              <a:ext uri="{FF2B5EF4-FFF2-40B4-BE49-F238E27FC236}">
                <a16:creationId xmlns:a16="http://schemas.microsoft.com/office/drawing/2014/main" id="{CB2D70F3-7DAB-4B7D-954C-321676FD680D}"/>
              </a:ext>
            </a:extLst>
          </p:cNvPr>
          <p:cNvSpPr>
            <a:spLocks noGrp="1"/>
          </p:cNvSpPr>
          <p:nvPr>
            <p:ph type="body" sz="quarter" idx="70" hasCustomPrompt="1"/>
          </p:nvPr>
        </p:nvSpPr>
        <p:spPr>
          <a:xfrm>
            <a:off x="1385791" y="433176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en-US" dirty="0"/>
              <a:t>rostelecom@rt.ru </a:t>
            </a:r>
            <a:endParaRPr lang="ru-RU" dirty="0"/>
          </a:p>
        </p:txBody>
      </p:sp>
      <p:sp>
        <p:nvSpPr>
          <p:cNvPr id="19" name="Рисунок 3">
            <a:extLst>
              <a:ext uri="{FF2B5EF4-FFF2-40B4-BE49-F238E27FC236}">
                <a16:creationId xmlns:a16="http://schemas.microsoft.com/office/drawing/2014/main" id="{37EC9C42-BA90-4460-97F7-383718696CE0}"/>
              </a:ext>
            </a:extLst>
          </p:cNvPr>
          <p:cNvSpPr>
            <a:spLocks noGrp="1"/>
          </p:cNvSpPr>
          <p:nvPr>
            <p:ph type="pic" sz="quarter" idx="57" hasCustomPrompt="1"/>
          </p:nvPr>
        </p:nvSpPr>
        <p:spPr>
          <a:xfrm>
            <a:off x="6205157" y="0"/>
            <a:ext cx="5986843" cy="6858000"/>
          </a:xfrm>
          <a:prstGeom prst="rect">
            <a:avLst/>
          </a:prstGeom>
          <a:solidFill>
            <a:schemeClr val="bg1">
              <a:lumMod val="95000"/>
            </a:schemeClr>
          </a:solidFill>
        </p:spPr>
        <p:txBody>
          <a:bodyPr anchor="ctr"/>
          <a:lstStyle>
            <a:lvl1pPr algn="ctr">
              <a:defRPr sz="1763" b="0"/>
            </a:lvl1pPr>
          </a:lstStyle>
          <a:p>
            <a:r>
              <a:rPr lang="ru-RU" dirty="0"/>
              <a:t>Карта</a:t>
            </a:r>
          </a:p>
        </p:txBody>
      </p:sp>
      <p:pic>
        <p:nvPicPr>
          <p:cNvPr id="3" name="Рисунок 2">
            <a:extLst>
              <a:ext uri="{FF2B5EF4-FFF2-40B4-BE49-F238E27FC236}">
                <a16:creationId xmlns:a16="http://schemas.microsoft.com/office/drawing/2014/main" id="{19FA6A69-DE07-4644-B415-61DA402D5C9D}"/>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38652" y="2809969"/>
            <a:ext cx="446704" cy="670672"/>
          </a:xfrm>
          <a:prstGeom prst="rect">
            <a:avLst/>
          </a:prstGeom>
        </p:spPr>
      </p:pic>
    </p:spTree>
    <p:extLst>
      <p:ext uri="{BB962C8B-B14F-4D97-AF65-F5344CB8AC3E}">
        <p14:creationId xmlns:p14="http://schemas.microsoft.com/office/powerpoint/2010/main" val="34350411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7" y="4445589"/>
            <a:ext cx="1701731"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8" y="4797803"/>
            <a:ext cx="3202839" cy="54065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8" y="5413159"/>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0371C666-2605-4E6C-931E-2B94EAB1DF37}"/>
              </a:ext>
            </a:extLst>
          </p:cNvPr>
          <p:cNvSpPr>
            <a:spLocks noGrp="1"/>
          </p:cNvSpPr>
          <p:nvPr>
            <p:ph type="body" sz="quarter" idx="14" hasCustomPrompt="1"/>
          </p:nvPr>
        </p:nvSpPr>
        <p:spPr>
          <a:xfrm>
            <a:off x="417517" y="2481065"/>
            <a:ext cx="3507471" cy="660488"/>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E7243789-F54D-47E8-899E-A16D3B83E9B1}"/>
              </a:ext>
            </a:extLst>
          </p:cNvPr>
          <p:cNvSpPr>
            <a:spLocks noGrp="1"/>
          </p:cNvSpPr>
          <p:nvPr>
            <p:ph type="body" sz="quarter" idx="24" hasCustomPrompt="1"/>
          </p:nvPr>
        </p:nvSpPr>
        <p:spPr>
          <a:xfrm>
            <a:off x="417515" y="3144231"/>
            <a:ext cx="3883677" cy="644096"/>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9" y="418822"/>
            <a:ext cx="3319209" cy="845607"/>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C1438913-78CD-4BDF-9AEE-B931FDD79F07}"/>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BD86835F-EE05-4EFB-8F67-59F801DD9A45}"/>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DEFAF73C-DCF4-4716-9426-999859F702CC}"/>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501AEFEF-FEF2-428A-923C-7509E355D622}"/>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BD0D7565-7AE1-4BF3-B0A9-74AEC796F85D}"/>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4D318DB0-704E-4686-8321-275E394C0D6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69ECC171-CBCA-4830-8A69-F1680CD3A2A0}"/>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56BFF2E0-5D95-4925-AF43-229E4F40D063}"/>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7B0278FA-4EEB-481D-B0DE-9629489CFFC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57961734-335F-4CCC-AB08-67B5CC3F7779}"/>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dirty="0"/>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4916AE1-159A-479B-9E17-0227D7369D2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DC1223CC-C0C5-4878-8C5E-723E17570855}"/>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dirty="0"/>
              </a:p>
            </p:txBody>
          </p:sp>
        </p:grpSp>
      </p:grpSp>
      <p:grpSp>
        <p:nvGrpSpPr>
          <p:cNvPr id="50" name="Рисунок 57">
            <a:extLst>
              <a:ext uri="{FF2B5EF4-FFF2-40B4-BE49-F238E27FC236}">
                <a16:creationId xmlns:a16="http://schemas.microsoft.com/office/drawing/2014/main" id="{B0728CBD-E2F3-4F9E-B100-78A65E21CB29}"/>
              </a:ext>
            </a:extLst>
          </p:cNvPr>
          <p:cNvGrpSpPr/>
          <p:nvPr userDrawn="1"/>
        </p:nvGrpSpPr>
        <p:grpSpPr>
          <a:xfrm>
            <a:off x="8136200" y="3576603"/>
            <a:ext cx="4055803" cy="3281403"/>
            <a:chOff x="9229500" y="4053477"/>
            <a:chExt cx="4600800" cy="3718923"/>
          </a:xfrm>
        </p:grpSpPr>
        <p:sp>
          <p:nvSpPr>
            <p:cNvPr id="51" name="Полилиния: фигура 50">
              <a:extLst>
                <a:ext uri="{FF2B5EF4-FFF2-40B4-BE49-F238E27FC236}">
                  <a16:creationId xmlns:a16="http://schemas.microsoft.com/office/drawing/2014/main" id="{62F3E3F5-24F6-498A-93CC-CA7ACD45DC6B}"/>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dirty="0"/>
            </a:p>
          </p:txBody>
        </p:sp>
        <p:sp>
          <p:nvSpPr>
            <p:cNvPr id="52" name="Полилиния: фигура 51">
              <a:extLst>
                <a:ext uri="{FF2B5EF4-FFF2-40B4-BE49-F238E27FC236}">
                  <a16:creationId xmlns:a16="http://schemas.microsoft.com/office/drawing/2014/main" id="{1C9783A5-E4E2-4AEF-AE8E-5DAF53153005}"/>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dirty="0"/>
            </a:p>
          </p:txBody>
        </p:sp>
        <p:grpSp>
          <p:nvGrpSpPr>
            <p:cNvPr id="53" name="Рисунок 57">
              <a:extLst>
                <a:ext uri="{FF2B5EF4-FFF2-40B4-BE49-F238E27FC236}">
                  <a16:creationId xmlns:a16="http://schemas.microsoft.com/office/drawing/2014/main" id="{36B6E78D-5BF5-43EA-829E-CF7073DB63C6}"/>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61529A89-6807-4152-9AAD-7B0FB40E2BAF}"/>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dirty="0"/>
              </a:p>
            </p:txBody>
          </p:sp>
          <p:sp>
            <p:nvSpPr>
              <p:cNvPr id="55" name="Полилиния: фигура 54">
                <a:extLst>
                  <a:ext uri="{FF2B5EF4-FFF2-40B4-BE49-F238E27FC236}">
                    <a16:creationId xmlns:a16="http://schemas.microsoft.com/office/drawing/2014/main" id="{0BD70C6A-9D3C-46E5-AB6A-FE33FC483CB0}"/>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56" name="Полилиния: фигура 55">
                <a:extLst>
                  <a:ext uri="{FF2B5EF4-FFF2-40B4-BE49-F238E27FC236}">
                    <a16:creationId xmlns:a16="http://schemas.microsoft.com/office/drawing/2014/main" id="{5B6E5F1E-A808-438B-A9C3-C5F9C41E7BC6}"/>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dirty="0"/>
              </a:p>
            </p:txBody>
          </p:sp>
          <p:sp>
            <p:nvSpPr>
              <p:cNvPr id="57" name="Полилиния: фигура 56">
                <a:extLst>
                  <a:ext uri="{FF2B5EF4-FFF2-40B4-BE49-F238E27FC236}">
                    <a16:creationId xmlns:a16="http://schemas.microsoft.com/office/drawing/2014/main" id="{567DE91E-7DDD-410F-8BFD-A21C4B92166C}"/>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58" name="Полилиния: фигура 57">
                <a:extLst>
                  <a:ext uri="{FF2B5EF4-FFF2-40B4-BE49-F238E27FC236}">
                    <a16:creationId xmlns:a16="http://schemas.microsoft.com/office/drawing/2014/main" id="{7397149B-FD6A-4B52-9B52-42A6F3739828}"/>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59" name="Полилиния: фигура 58">
                <a:extLst>
                  <a:ext uri="{FF2B5EF4-FFF2-40B4-BE49-F238E27FC236}">
                    <a16:creationId xmlns:a16="http://schemas.microsoft.com/office/drawing/2014/main" id="{0B3F7717-B1D3-483C-8D75-455DA51C4D4C}"/>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dirty="0"/>
              </a:p>
            </p:txBody>
          </p:sp>
          <p:sp>
            <p:nvSpPr>
              <p:cNvPr id="60" name="Полилиния: фигура 59">
                <a:extLst>
                  <a:ext uri="{FF2B5EF4-FFF2-40B4-BE49-F238E27FC236}">
                    <a16:creationId xmlns:a16="http://schemas.microsoft.com/office/drawing/2014/main" id="{EDBDC90A-6F6C-4434-A58E-752EFBDBB856}"/>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1" name="Полилиния: фигура 60">
                <a:extLst>
                  <a:ext uri="{FF2B5EF4-FFF2-40B4-BE49-F238E27FC236}">
                    <a16:creationId xmlns:a16="http://schemas.microsoft.com/office/drawing/2014/main" id="{2DB2E0C9-3EA4-412C-8F1A-D3CEC75C8CB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2" name="Полилиния: фигура 61">
                <a:extLst>
                  <a:ext uri="{FF2B5EF4-FFF2-40B4-BE49-F238E27FC236}">
                    <a16:creationId xmlns:a16="http://schemas.microsoft.com/office/drawing/2014/main" id="{87338948-E890-4ED6-AE77-7C97CD3B5E9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dirty="0"/>
              </a:p>
            </p:txBody>
          </p:sp>
          <p:sp>
            <p:nvSpPr>
              <p:cNvPr id="63" name="Полилиния: фигура 62">
                <a:extLst>
                  <a:ext uri="{FF2B5EF4-FFF2-40B4-BE49-F238E27FC236}">
                    <a16:creationId xmlns:a16="http://schemas.microsoft.com/office/drawing/2014/main" id="{A6C57E86-918B-488B-A7B3-48F7DD566D20}"/>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4" name="Полилиния: фигура 63">
                <a:extLst>
                  <a:ext uri="{FF2B5EF4-FFF2-40B4-BE49-F238E27FC236}">
                    <a16:creationId xmlns:a16="http://schemas.microsoft.com/office/drawing/2014/main" id="{B921BE76-56CF-40A0-91F6-F56F5D462AD8}"/>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dirty="0"/>
              </a:p>
            </p:txBody>
          </p:sp>
          <p:sp>
            <p:nvSpPr>
              <p:cNvPr id="65" name="Полилиния: фигура 64">
                <a:extLst>
                  <a:ext uri="{FF2B5EF4-FFF2-40B4-BE49-F238E27FC236}">
                    <a16:creationId xmlns:a16="http://schemas.microsoft.com/office/drawing/2014/main" id="{80D1D5E7-5D33-4AEB-B93C-3E524A9D2EFB}"/>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6" name="Полилиния: фигура 65">
                <a:extLst>
                  <a:ext uri="{FF2B5EF4-FFF2-40B4-BE49-F238E27FC236}">
                    <a16:creationId xmlns:a16="http://schemas.microsoft.com/office/drawing/2014/main" id="{8069FC91-5E2F-4272-8533-2B31A351CBD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dirty="0"/>
              </a:p>
            </p:txBody>
          </p:sp>
          <p:sp>
            <p:nvSpPr>
              <p:cNvPr id="67" name="Полилиния: фигура 66">
                <a:extLst>
                  <a:ext uri="{FF2B5EF4-FFF2-40B4-BE49-F238E27FC236}">
                    <a16:creationId xmlns:a16="http://schemas.microsoft.com/office/drawing/2014/main" id="{998CB319-8876-43BD-927B-1B5FD6A20EC9}"/>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dirty="0"/>
              </a:p>
            </p:txBody>
          </p:sp>
          <p:sp>
            <p:nvSpPr>
              <p:cNvPr id="68" name="Полилиния: фигура 67">
                <a:extLst>
                  <a:ext uri="{FF2B5EF4-FFF2-40B4-BE49-F238E27FC236}">
                    <a16:creationId xmlns:a16="http://schemas.microsoft.com/office/drawing/2014/main" id="{22D8C9D2-C8EB-4978-BE7A-26A070CE59CC}"/>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A408EDAE-41F4-4E83-9E84-69EF4F9B63B0}"/>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dirty="0"/>
              </a:p>
            </p:txBody>
          </p:sp>
          <p:sp>
            <p:nvSpPr>
              <p:cNvPr id="70" name="Полилиния: фигура 69">
                <a:extLst>
                  <a:ext uri="{FF2B5EF4-FFF2-40B4-BE49-F238E27FC236}">
                    <a16:creationId xmlns:a16="http://schemas.microsoft.com/office/drawing/2014/main" id="{8550D452-7AEB-4487-AAE0-6978B26E24F9}"/>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71" name="Полилиния: фигура 70">
                <a:extLst>
                  <a:ext uri="{FF2B5EF4-FFF2-40B4-BE49-F238E27FC236}">
                    <a16:creationId xmlns:a16="http://schemas.microsoft.com/office/drawing/2014/main" id="{B1642EF5-3AF5-48DE-832B-CF1DB2CB2733}"/>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72" name="Полилиния: фигура 71">
                <a:extLst>
                  <a:ext uri="{FF2B5EF4-FFF2-40B4-BE49-F238E27FC236}">
                    <a16:creationId xmlns:a16="http://schemas.microsoft.com/office/drawing/2014/main" id="{754ECE2A-41EF-454E-8F4A-FE7A5924ED97}"/>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10070D1D-B652-46FB-9A0B-19D67726FC2F}"/>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4FCD12D1-74EB-4162-829A-CD9C4A94ABEF}"/>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AE2D753D-BECD-49B0-A45B-E377DCD3CE3F}"/>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331625296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8" y="5156611"/>
            <a:ext cx="3202839" cy="54065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8" y="5771967"/>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BB286E9D-4A95-441B-9433-7CAD40A5AECA}"/>
              </a:ext>
            </a:extLst>
          </p:cNvPr>
          <p:cNvSpPr>
            <a:spLocks noGrp="1"/>
          </p:cNvSpPr>
          <p:nvPr>
            <p:ph type="body" sz="quarter" idx="14" hasCustomPrompt="1"/>
          </p:nvPr>
        </p:nvSpPr>
        <p:spPr>
          <a:xfrm>
            <a:off x="417517" y="2481065"/>
            <a:ext cx="3507471" cy="660488"/>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D58DC37B-78B5-4083-BB5E-8C3D20756790}"/>
              </a:ext>
            </a:extLst>
          </p:cNvPr>
          <p:cNvSpPr>
            <a:spLocks noGrp="1"/>
          </p:cNvSpPr>
          <p:nvPr>
            <p:ph type="body" sz="quarter" idx="24" hasCustomPrompt="1"/>
          </p:nvPr>
        </p:nvSpPr>
        <p:spPr>
          <a:xfrm>
            <a:off x="417515" y="3144231"/>
            <a:ext cx="3883677" cy="644096"/>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9" y="418822"/>
            <a:ext cx="3319209" cy="845607"/>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CDDD78D-4AFD-4F28-BDE0-87ED325C71F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1B127F33-E0C4-484E-A8E1-0ED6CA5A911A}"/>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D12A6715-A92E-462C-BCE3-C7E5094F4DF6}"/>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81A3F5EF-ADB4-450D-A4E6-CCD5A6632766}"/>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04646FFD-6488-4B9A-9A3F-5842A857AE6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630F1E1A-005A-441A-B3A6-AEF4E2B31BB9}"/>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587220AB-F0F5-4BCF-993F-B4A81A2CECED}"/>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583A37FD-6E30-4879-AD5C-E5F1DE5814F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294173F1-CD1B-490B-99F3-4472FAB5019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3E4370D0-CD0F-43BF-848B-A42CC1B78AE3}"/>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dirty="0"/>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A58B061-DE2B-4AB2-8357-8EE53D87BEC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EB8FDAD6-E828-4937-9236-FD35307FA7F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dirty="0"/>
              </a:p>
            </p:txBody>
          </p:sp>
        </p:grpSp>
      </p:grpSp>
      <p:grpSp>
        <p:nvGrpSpPr>
          <p:cNvPr id="50" name="Рисунок 57">
            <a:extLst>
              <a:ext uri="{FF2B5EF4-FFF2-40B4-BE49-F238E27FC236}">
                <a16:creationId xmlns:a16="http://schemas.microsoft.com/office/drawing/2014/main" id="{27D4141A-A46A-48C4-B726-16FF881A0634}"/>
              </a:ext>
            </a:extLst>
          </p:cNvPr>
          <p:cNvGrpSpPr/>
          <p:nvPr userDrawn="1"/>
        </p:nvGrpSpPr>
        <p:grpSpPr>
          <a:xfrm>
            <a:off x="8136200" y="3576603"/>
            <a:ext cx="4055803" cy="3281403"/>
            <a:chOff x="9229500" y="4053477"/>
            <a:chExt cx="4600800" cy="3718923"/>
          </a:xfrm>
        </p:grpSpPr>
        <p:sp>
          <p:nvSpPr>
            <p:cNvPr id="51" name="Полилиния: фигура 50">
              <a:extLst>
                <a:ext uri="{FF2B5EF4-FFF2-40B4-BE49-F238E27FC236}">
                  <a16:creationId xmlns:a16="http://schemas.microsoft.com/office/drawing/2014/main" id="{EEAF0323-EC87-4E1F-ABE7-C9482865C375}"/>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dirty="0"/>
            </a:p>
          </p:txBody>
        </p:sp>
        <p:sp>
          <p:nvSpPr>
            <p:cNvPr id="52" name="Полилиния: фигура 51">
              <a:extLst>
                <a:ext uri="{FF2B5EF4-FFF2-40B4-BE49-F238E27FC236}">
                  <a16:creationId xmlns:a16="http://schemas.microsoft.com/office/drawing/2014/main" id="{550EC2D7-107E-4E4B-9588-08A4EA8CD556}"/>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dirty="0"/>
            </a:p>
          </p:txBody>
        </p:sp>
        <p:grpSp>
          <p:nvGrpSpPr>
            <p:cNvPr id="53" name="Рисунок 57">
              <a:extLst>
                <a:ext uri="{FF2B5EF4-FFF2-40B4-BE49-F238E27FC236}">
                  <a16:creationId xmlns:a16="http://schemas.microsoft.com/office/drawing/2014/main" id="{C25841FC-4C11-4104-8CF8-BCFD768E0621}"/>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825E57E4-5D6E-444A-A9A8-D3570F0163A2}"/>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dirty="0"/>
              </a:p>
            </p:txBody>
          </p:sp>
          <p:sp>
            <p:nvSpPr>
              <p:cNvPr id="55" name="Полилиния: фигура 54">
                <a:extLst>
                  <a:ext uri="{FF2B5EF4-FFF2-40B4-BE49-F238E27FC236}">
                    <a16:creationId xmlns:a16="http://schemas.microsoft.com/office/drawing/2014/main" id="{F86007ED-C7B5-4123-8454-CC691E876A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56" name="Полилиния: фигура 55">
                <a:extLst>
                  <a:ext uri="{FF2B5EF4-FFF2-40B4-BE49-F238E27FC236}">
                    <a16:creationId xmlns:a16="http://schemas.microsoft.com/office/drawing/2014/main" id="{1ADEB15B-011A-4DB8-8DE6-CF516E1BB4BE}"/>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dirty="0"/>
              </a:p>
            </p:txBody>
          </p:sp>
          <p:sp>
            <p:nvSpPr>
              <p:cNvPr id="57" name="Полилиния: фигура 56">
                <a:extLst>
                  <a:ext uri="{FF2B5EF4-FFF2-40B4-BE49-F238E27FC236}">
                    <a16:creationId xmlns:a16="http://schemas.microsoft.com/office/drawing/2014/main" id="{C4192CD7-043F-438C-B0BD-0F5EE615583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58" name="Полилиния: фигура 57">
                <a:extLst>
                  <a:ext uri="{FF2B5EF4-FFF2-40B4-BE49-F238E27FC236}">
                    <a16:creationId xmlns:a16="http://schemas.microsoft.com/office/drawing/2014/main" id="{136CD97C-C691-44B3-BCD6-C772C54D09E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59" name="Полилиния: фигура 58">
                <a:extLst>
                  <a:ext uri="{FF2B5EF4-FFF2-40B4-BE49-F238E27FC236}">
                    <a16:creationId xmlns:a16="http://schemas.microsoft.com/office/drawing/2014/main" id="{190A6D8B-4BEF-40E9-8FA0-5BE0CC7C2DF1}"/>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dirty="0"/>
              </a:p>
            </p:txBody>
          </p:sp>
          <p:sp>
            <p:nvSpPr>
              <p:cNvPr id="60" name="Полилиния: фигура 59">
                <a:extLst>
                  <a:ext uri="{FF2B5EF4-FFF2-40B4-BE49-F238E27FC236}">
                    <a16:creationId xmlns:a16="http://schemas.microsoft.com/office/drawing/2014/main" id="{F726FDE0-6098-4425-A5F4-69C59AC508F0}"/>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1" name="Полилиния: фигура 60">
                <a:extLst>
                  <a:ext uri="{FF2B5EF4-FFF2-40B4-BE49-F238E27FC236}">
                    <a16:creationId xmlns:a16="http://schemas.microsoft.com/office/drawing/2014/main" id="{35662C93-D66D-466F-8CDC-2413E7DBCA9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2" name="Полилиния: фигура 61">
                <a:extLst>
                  <a:ext uri="{FF2B5EF4-FFF2-40B4-BE49-F238E27FC236}">
                    <a16:creationId xmlns:a16="http://schemas.microsoft.com/office/drawing/2014/main" id="{7C707321-EAD3-4F8F-85D9-F7B8966BF544}"/>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dirty="0"/>
              </a:p>
            </p:txBody>
          </p:sp>
          <p:sp>
            <p:nvSpPr>
              <p:cNvPr id="63" name="Полилиния: фигура 62">
                <a:extLst>
                  <a:ext uri="{FF2B5EF4-FFF2-40B4-BE49-F238E27FC236}">
                    <a16:creationId xmlns:a16="http://schemas.microsoft.com/office/drawing/2014/main" id="{06873F35-D1B3-4204-B5FD-E6D2970BF47C}"/>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4" name="Полилиния: фигура 63">
                <a:extLst>
                  <a:ext uri="{FF2B5EF4-FFF2-40B4-BE49-F238E27FC236}">
                    <a16:creationId xmlns:a16="http://schemas.microsoft.com/office/drawing/2014/main" id="{CD2202D4-F4B9-43E0-B29A-278655DC334A}"/>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dirty="0"/>
              </a:p>
            </p:txBody>
          </p:sp>
          <p:sp>
            <p:nvSpPr>
              <p:cNvPr id="65" name="Полилиния: фигура 64">
                <a:extLst>
                  <a:ext uri="{FF2B5EF4-FFF2-40B4-BE49-F238E27FC236}">
                    <a16:creationId xmlns:a16="http://schemas.microsoft.com/office/drawing/2014/main" id="{97370960-AF8F-46A4-A1A2-458F9A7D389A}"/>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6" name="Полилиния: фигура 65">
                <a:extLst>
                  <a:ext uri="{FF2B5EF4-FFF2-40B4-BE49-F238E27FC236}">
                    <a16:creationId xmlns:a16="http://schemas.microsoft.com/office/drawing/2014/main" id="{C3F9B3A2-3E8D-457F-AE8E-D0C04B4E776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dirty="0"/>
              </a:p>
            </p:txBody>
          </p:sp>
          <p:sp>
            <p:nvSpPr>
              <p:cNvPr id="67" name="Полилиния: фигура 66">
                <a:extLst>
                  <a:ext uri="{FF2B5EF4-FFF2-40B4-BE49-F238E27FC236}">
                    <a16:creationId xmlns:a16="http://schemas.microsoft.com/office/drawing/2014/main" id="{16F6E03A-D087-406B-AD2E-FE9DE4E18BDF}"/>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dirty="0"/>
              </a:p>
            </p:txBody>
          </p:sp>
          <p:sp>
            <p:nvSpPr>
              <p:cNvPr id="68" name="Полилиния: фигура 67">
                <a:extLst>
                  <a:ext uri="{FF2B5EF4-FFF2-40B4-BE49-F238E27FC236}">
                    <a16:creationId xmlns:a16="http://schemas.microsoft.com/office/drawing/2014/main" id="{C20F25E4-8177-42E4-A41F-38DFC9D0C385}"/>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592ECA8F-37A9-4B05-9371-CEF76C7D9B1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dirty="0"/>
              </a:p>
            </p:txBody>
          </p:sp>
          <p:sp>
            <p:nvSpPr>
              <p:cNvPr id="70" name="Полилиния: фигура 69">
                <a:extLst>
                  <a:ext uri="{FF2B5EF4-FFF2-40B4-BE49-F238E27FC236}">
                    <a16:creationId xmlns:a16="http://schemas.microsoft.com/office/drawing/2014/main" id="{0FDEAFE5-E626-449F-B030-E4BA86873AA4}"/>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71" name="Полилиния: фигура 70">
                <a:extLst>
                  <a:ext uri="{FF2B5EF4-FFF2-40B4-BE49-F238E27FC236}">
                    <a16:creationId xmlns:a16="http://schemas.microsoft.com/office/drawing/2014/main" id="{4DAE6C28-A9E3-4928-8E66-D683D70A8FEC}"/>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74" name="Полилиния: фигура 73">
                <a:extLst>
                  <a:ext uri="{FF2B5EF4-FFF2-40B4-BE49-F238E27FC236}">
                    <a16:creationId xmlns:a16="http://schemas.microsoft.com/office/drawing/2014/main" id="{BE980FD3-7264-4701-8D99-15E6143C52C9}"/>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374C0A3E-9045-47FA-B9B2-1F5D8FBFD45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7DF5AA4F-F9DC-45E5-AE14-FFB5EC718C6C}"/>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74C0AE16-F32A-4D68-A34D-14796B9DBB44}"/>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4499235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7" y="4679858"/>
            <a:ext cx="6122833" cy="48605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7" y="5293663"/>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8" name="Текст 22">
            <a:extLst>
              <a:ext uri="{FF2B5EF4-FFF2-40B4-BE49-F238E27FC236}">
                <a16:creationId xmlns:a16="http://schemas.microsoft.com/office/drawing/2014/main" id="{56BC6E93-5D38-443A-AEC0-8285E14AE003}"/>
              </a:ext>
            </a:extLst>
          </p:cNvPr>
          <p:cNvSpPr>
            <a:spLocks noGrp="1"/>
          </p:cNvSpPr>
          <p:nvPr>
            <p:ph type="body" sz="quarter" idx="14" hasCustomPrompt="1"/>
          </p:nvPr>
        </p:nvSpPr>
        <p:spPr>
          <a:xfrm>
            <a:off x="417517" y="2481065"/>
            <a:ext cx="3507471" cy="660488"/>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B5FAC386-9BC7-4450-9ACA-7FC8E665EA0F}"/>
              </a:ext>
            </a:extLst>
          </p:cNvPr>
          <p:cNvSpPr>
            <a:spLocks noGrp="1"/>
          </p:cNvSpPr>
          <p:nvPr>
            <p:ph type="body" sz="quarter" idx="22" hasCustomPrompt="1"/>
          </p:nvPr>
        </p:nvSpPr>
        <p:spPr>
          <a:xfrm>
            <a:off x="417515" y="3144231"/>
            <a:ext cx="3883677" cy="644096"/>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9" y="418822"/>
            <a:ext cx="3319209" cy="845607"/>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2705120-3F07-44D3-BF01-38555B5CE5A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28E17CE5-5105-4F66-BB80-217F867AA25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A7FB1D01-F055-45E7-B6B9-4AAFCF3E1A5D}"/>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89B3D799-EEB7-4009-A9DA-B72EB7084488}"/>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CADB25CB-8730-4234-856E-0A5906BCE74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008A1576-8FBE-4920-8257-A4214B54E1CB}"/>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B6B642E6-9405-4DA0-9160-D9C67BBC7B8E}"/>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63178C04-9558-4361-8FE2-611204C3457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04ADA4FA-96DA-4B2E-9B81-9342E56FC64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E339B585-4B2F-4F17-97DD-E1822B2DCB6D}"/>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dirty="0"/>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2D40C61B-9A45-4269-B365-B3C2930B6B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0D4516EA-4E59-489D-B011-E487625FF0F2}"/>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dirty="0"/>
              </a:p>
            </p:txBody>
          </p:sp>
        </p:grpSp>
      </p:grpSp>
      <p:grpSp>
        <p:nvGrpSpPr>
          <p:cNvPr id="51" name="Рисунок 57">
            <a:extLst>
              <a:ext uri="{FF2B5EF4-FFF2-40B4-BE49-F238E27FC236}">
                <a16:creationId xmlns:a16="http://schemas.microsoft.com/office/drawing/2014/main" id="{E9B69683-D32B-404D-99B5-F9F2FDBDCA37}"/>
              </a:ext>
            </a:extLst>
          </p:cNvPr>
          <p:cNvGrpSpPr/>
          <p:nvPr userDrawn="1"/>
        </p:nvGrpSpPr>
        <p:grpSpPr>
          <a:xfrm>
            <a:off x="8136200" y="3576603"/>
            <a:ext cx="4055803" cy="3281403"/>
            <a:chOff x="9229500" y="4053477"/>
            <a:chExt cx="4600800" cy="3718923"/>
          </a:xfrm>
        </p:grpSpPr>
        <p:sp>
          <p:nvSpPr>
            <p:cNvPr id="52" name="Полилиния: фигура 51">
              <a:extLst>
                <a:ext uri="{FF2B5EF4-FFF2-40B4-BE49-F238E27FC236}">
                  <a16:creationId xmlns:a16="http://schemas.microsoft.com/office/drawing/2014/main" id="{4856A306-2482-468D-8D76-06267CC6AAE6}"/>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dirty="0"/>
            </a:p>
          </p:txBody>
        </p:sp>
        <p:sp>
          <p:nvSpPr>
            <p:cNvPr id="53" name="Полилиния: фигура 52">
              <a:extLst>
                <a:ext uri="{FF2B5EF4-FFF2-40B4-BE49-F238E27FC236}">
                  <a16:creationId xmlns:a16="http://schemas.microsoft.com/office/drawing/2014/main" id="{F2D561B4-B8EC-4174-A8B8-1AED4956BE19}"/>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dirty="0"/>
            </a:p>
          </p:txBody>
        </p:sp>
        <p:grpSp>
          <p:nvGrpSpPr>
            <p:cNvPr id="54" name="Рисунок 57">
              <a:extLst>
                <a:ext uri="{FF2B5EF4-FFF2-40B4-BE49-F238E27FC236}">
                  <a16:creationId xmlns:a16="http://schemas.microsoft.com/office/drawing/2014/main" id="{27A62E3F-A15A-42D9-8C4F-AA15D7F9E028}"/>
                </a:ext>
              </a:extLst>
            </p:cNvPr>
            <p:cNvGrpSpPr/>
            <p:nvPr/>
          </p:nvGrpSpPr>
          <p:grpSpPr>
            <a:xfrm>
              <a:off x="11333699" y="6786611"/>
              <a:ext cx="2054294" cy="554420"/>
              <a:chOff x="11333699" y="6786611"/>
              <a:chExt cx="2054294" cy="554420"/>
            </a:xfrm>
            <a:solidFill>
              <a:srgbClr val="FFFFFF"/>
            </a:solidFill>
          </p:grpSpPr>
          <p:sp>
            <p:nvSpPr>
              <p:cNvPr id="55" name="Полилиния: фигура 54">
                <a:extLst>
                  <a:ext uri="{FF2B5EF4-FFF2-40B4-BE49-F238E27FC236}">
                    <a16:creationId xmlns:a16="http://schemas.microsoft.com/office/drawing/2014/main" id="{34A3D016-5BA0-4ED6-9ACE-FC34476AAA45}"/>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dirty="0"/>
              </a:p>
            </p:txBody>
          </p:sp>
          <p:sp>
            <p:nvSpPr>
              <p:cNvPr id="56" name="Полилиния: фигура 55">
                <a:extLst>
                  <a:ext uri="{FF2B5EF4-FFF2-40B4-BE49-F238E27FC236}">
                    <a16:creationId xmlns:a16="http://schemas.microsoft.com/office/drawing/2014/main" id="{7953CF65-242E-482F-B2DF-86F253CEEC4D}"/>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57" name="Полилиния: фигура 56">
                <a:extLst>
                  <a:ext uri="{FF2B5EF4-FFF2-40B4-BE49-F238E27FC236}">
                    <a16:creationId xmlns:a16="http://schemas.microsoft.com/office/drawing/2014/main" id="{9E9A0033-3335-4CBB-AD11-843DA5D6382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dirty="0"/>
              </a:p>
            </p:txBody>
          </p:sp>
          <p:sp>
            <p:nvSpPr>
              <p:cNvPr id="58" name="Полилиния: фигура 57">
                <a:extLst>
                  <a:ext uri="{FF2B5EF4-FFF2-40B4-BE49-F238E27FC236}">
                    <a16:creationId xmlns:a16="http://schemas.microsoft.com/office/drawing/2014/main" id="{3D49E0EE-FB95-4FDD-9468-1CC861D5B6EE}"/>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59" name="Полилиния: фигура 58">
                <a:extLst>
                  <a:ext uri="{FF2B5EF4-FFF2-40B4-BE49-F238E27FC236}">
                    <a16:creationId xmlns:a16="http://schemas.microsoft.com/office/drawing/2014/main" id="{E6F65BD4-A697-4996-BC84-6404976011FE}"/>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60" name="Полилиния: фигура 59">
                <a:extLst>
                  <a:ext uri="{FF2B5EF4-FFF2-40B4-BE49-F238E27FC236}">
                    <a16:creationId xmlns:a16="http://schemas.microsoft.com/office/drawing/2014/main" id="{86803931-9E12-4514-8232-3120C28DA74F}"/>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dirty="0"/>
              </a:p>
            </p:txBody>
          </p:sp>
          <p:sp>
            <p:nvSpPr>
              <p:cNvPr id="61" name="Полилиния: фигура 60">
                <a:extLst>
                  <a:ext uri="{FF2B5EF4-FFF2-40B4-BE49-F238E27FC236}">
                    <a16:creationId xmlns:a16="http://schemas.microsoft.com/office/drawing/2014/main" id="{18EF904E-6C25-43AB-ABF3-ED22EADF53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2" name="Полилиния: фигура 61">
                <a:extLst>
                  <a:ext uri="{FF2B5EF4-FFF2-40B4-BE49-F238E27FC236}">
                    <a16:creationId xmlns:a16="http://schemas.microsoft.com/office/drawing/2014/main" id="{CE2C2FDF-3A4B-44C0-A5FF-7AFA0F08801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3" name="Полилиния: фигура 62">
                <a:extLst>
                  <a:ext uri="{FF2B5EF4-FFF2-40B4-BE49-F238E27FC236}">
                    <a16:creationId xmlns:a16="http://schemas.microsoft.com/office/drawing/2014/main" id="{86AB470A-01B7-43CF-9E4D-5778BC8EAACC}"/>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dirty="0"/>
              </a:p>
            </p:txBody>
          </p:sp>
          <p:sp>
            <p:nvSpPr>
              <p:cNvPr id="64" name="Полилиния: фигура 63">
                <a:extLst>
                  <a:ext uri="{FF2B5EF4-FFF2-40B4-BE49-F238E27FC236}">
                    <a16:creationId xmlns:a16="http://schemas.microsoft.com/office/drawing/2014/main" id="{026C58BB-31DF-4880-ADAF-251FCE3306A8}"/>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5" name="Полилиния: фигура 64">
                <a:extLst>
                  <a:ext uri="{FF2B5EF4-FFF2-40B4-BE49-F238E27FC236}">
                    <a16:creationId xmlns:a16="http://schemas.microsoft.com/office/drawing/2014/main" id="{2B0C4947-3E54-4977-9302-0AC82FDAF080}"/>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dirty="0"/>
              </a:p>
            </p:txBody>
          </p:sp>
          <p:sp>
            <p:nvSpPr>
              <p:cNvPr id="66" name="Полилиния: фигура 65">
                <a:extLst>
                  <a:ext uri="{FF2B5EF4-FFF2-40B4-BE49-F238E27FC236}">
                    <a16:creationId xmlns:a16="http://schemas.microsoft.com/office/drawing/2014/main" id="{905CDA91-003C-45DD-A273-AF5326A5F650}"/>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7" name="Полилиния: фигура 66">
                <a:extLst>
                  <a:ext uri="{FF2B5EF4-FFF2-40B4-BE49-F238E27FC236}">
                    <a16:creationId xmlns:a16="http://schemas.microsoft.com/office/drawing/2014/main" id="{2B8DA1C8-8B81-4317-9183-3DE64177A85A}"/>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dirty="0"/>
              </a:p>
            </p:txBody>
          </p:sp>
          <p:sp>
            <p:nvSpPr>
              <p:cNvPr id="68" name="Полилиния: фигура 67">
                <a:extLst>
                  <a:ext uri="{FF2B5EF4-FFF2-40B4-BE49-F238E27FC236}">
                    <a16:creationId xmlns:a16="http://schemas.microsoft.com/office/drawing/2014/main" id="{BF8F9595-2203-41DD-AF7A-72D43A7B9A37}"/>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CD00A5BB-4889-4BE0-A304-1376FE705A8A}"/>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72" name="Полилиния: фигура 71">
                <a:extLst>
                  <a:ext uri="{FF2B5EF4-FFF2-40B4-BE49-F238E27FC236}">
                    <a16:creationId xmlns:a16="http://schemas.microsoft.com/office/drawing/2014/main" id="{73A7BDA9-F3A9-475A-8A40-330ADE105D12}"/>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dirty="0"/>
              </a:p>
            </p:txBody>
          </p:sp>
          <p:sp>
            <p:nvSpPr>
              <p:cNvPr id="73" name="Полилиния: фигура 72">
                <a:extLst>
                  <a:ext uri="{FF2B5EF4-FFF2-40B4-BE49-F238E27FC236}">
                    <a16:creationId xmlns:a16="http://schemas.microsoft.com/office/drawing/2014/main" id="{F92FCC6C-0441-444F-A2B5-02CA598CA813}"/>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74" name="Полилиния: фигура 73">
                <a:extLst>
                  <a:ext uri="{FF2B5EF4-FFF2-40B4-BE49-F238E27FC236}">
                    <a16:creationId xmlns:a16="http://schemas.microsoft.com/office/drawing/2014/main" id="{260FC961-71B3-46E3-AE9F-87D59509CB47}"/>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E92FCF72-7F68-4FAE-8130-51406CF2480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FCF268A1-EAB7-495C-9F96-82FFC8D48161}"/>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9FEEF589-44D5-4D0C-9E80-D2B3988FC1DB}"/>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6763E981-5CE5-48C2-A1E0-927E21E50F3A}"/>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15942056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контакты_4">
    <p:spTree>
      <p:nvGrpSpPr>
        <p:cNvPr id="1" name=""/>
        <p:cNvGrpSpPr/>
        <p:nvPr/>
      </p:nvGrpSpPr>
      <p:grpSpPr>
        <a:xfrm>
          <a:off x="0" y="0"/>
          <a:ext cx="0" cy="0"/>
          <a:chOff x="0" y="0"/>
          <a:chExt cx="0" cy="0"/>
        </a:xfrm>
      </p:grpSpPr>
      <p:sp>
        <p:nvSpPr>
          <p:cNvPr id="69" name="Текст 22">
            <a:extLst>
              <a:ext uri="{FF2B5EF4-FFF2-40B4-BE49-F238E27FC236}">
                <a16:creationId xmlns:a16="http://schemas.microsoft.com/office/drawing/2014/main" id="{E82F1677-475D-47DE-B3CA-E18B1910E66B}"/>
              </a:ext>
            </a:extLst>
          </p:cNvPr>
          <p:cNvSpPr>
            <a:spLocks noGrp="1"/>
          </p:cNvSpPr>
          <p:nvPr>
            <p:ph type="body" sz="quarter" idx="14" hasCustomPrompt="1"/>
          </p:nvPr>
        </p:nvSpPr>
        <p:spPr>
          <a:xfrm>
            <a:off x="417517" y="2481065"/>
            <a:ext cx="3507471" cy="660488"/>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70" name="Текст 22">
            <a:extLst>
              <a:ext uri="{FF2B5EF4-FFF2-40B4-BE49-F238E27FC236}">
                <a16:creationId xmlns:a16="http://schemas.microsoft.com/office/drawing/2014/main" id="{F6644D52-3EBC-4C40-994F-5CBA47274EBA}"/>
              </a:ext>
            </a:extLst>
          </p:cNvPr>
          <p:cNvSpPr>
            <a:spLocks noGrp="1"/>
          </p:cNvSpPr>
          <p:nvPr>
            <p:ph type="body" sz="quarter" idx="22" hasCustomPrompt="1"/>
          </p:nvPr>
        </p:nvSpPr>
        <p:spPr>
          <a:xfrm>
            <a:off x="417515" y="3144231"/>
            <a:ext cx="3883677" cy="644096"/>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9" y="418822"/>
            <a:ext cx="3319209" cy="845607"/>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26C013BB-B648-4826-BC90-AFD5ECEB1C40}"/>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C28E2596-8DB6-4F41-8790-2F2FCA8F3701}"/>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38CF34C7-2CFB-4311-8605-71FD64465D53}"/>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AE777A4A-0DD8-4113-94C0-9C3680FE770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67A888A3-D7ED-4D14-BDC0-3687A829E4B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799FC612-B681-416C-B7C7-E3777754A8BC}"/>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54282490-FCDB-4502-B362-773987F2B8C3}"/>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7BD04A6E-A091-4E4F-B9B5-904C5FF3C06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464FD514-0A85-4FAB-96C0-0FDF09E701F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3B85137F-21BC-4495-AD6E-5D645319D882}"/>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dirty="0"/>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89F35DDF-2362-48C1-904E-1DE74A6A25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1D8D9070-C2BA-4B5A-8D63-FE784ACEEBF3}"/>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dirty="0"/>
              </a:p>
            </p:txBody>
          </p:sp>
        </p:grpSp>
      </p:grpSp>
      <p:grpSp>
        <p:nvGrpSpPr>
          <p:cNvPr id="76" name="Рисунок 57">
            <a:extLst>
              <a:ext uri="{FF2B5EF4-FFF2-40B4-BE49-F238E27FC236}">
                <a16:creationId xmlns:a16="http://schemas.microsoft.com/office/drawing/2014/main" id="{02DC70BD-7363-4996-A659-7D562FE75734}"/>
              </a:ext>
            </a:extLst>
          </p:cNvPr>
          <p:cNvGrpSpPr/>
          <p:nvPr userDrawn="1"/>
        </p:nvGrpSpPr>
        <p:grpSpPr>
          <a:xfrm>
            <a:off x="8136200" y="3576603"/>
            <a:ext cx="4055803" cy="3281403"/>
            <a:chOff x="9229500" y="4053477"/>
            <a:chExt cx="4600800" cy="3718923"/>
          </a:xfrm>
        </p:grpSpPr>
        <p:sp>
          <p:nvSpPr>
            <p:cNvPr id="77" name="Полилиния: фигура 76">
              <a:extLst>
                <a:ext uri="{FF2B5EF4-FFF2-40B4-BE49-F238E27FC236}">
                  <a16:creationId xmlns:a16="http://schemas.microsoft.com/office/drawing/2014/main" id="{8286EFC6-E665-4CF9-A9C1-6E1C164E05E1}"/>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dirty="0"/>
            </a:p>
          </p:txBody>
        </p:sp>
        <p:sp>
          <p:nvSpPr>
            <p:cNvPr id="78" name="Полилиния: фигура 77">
              <a:extLst>
                <a:ext uri="{FF2B5EF4-FFF2-40B4-BE49-F238E27FC236}">
                  <a16:creationId xmlns:a16="http://schemas.microsoft.com/office/drawing/2014/main" id="{F19788FE-C501-4EA8-BD94-2DF9C19001E8}"/>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dirty="0"/>
            </a:p>
          </p:txBody>
        </p:sp>
        <p:grpSp>
          <p:nvGrpSpPr>
            <p:cNvPr id="79" name="Рисунок 57">
              <a:extLst>
                <a:ext uri="{FF2B5EF4-FFF2-40B4-BE49-F238E27FC236}">
                  <a16:creationId xmlns:a16="http://schemas.microsoft.com/office/drawing/2014/main" id="{4D2246A2-1DC1-40B5-9B02-B827A23C0B17}"/>
                </a:ext>
              </a:extLst>
            </p:cNvPr>
            <p:cNvGrpSpPr/>
            <p:nvPr/>
          </p:nvGrpSpPr>
          <p:grpSpPr>
            <a:xfrm>
              <a:off x="11333699" y="6786611"/>
              <a:ext cx="2054294" cy="554420"/>
              <a:chOff x="11333699" y="6786611"/>
              <a:chExt cx="2054294" cy="554420"/>
            </a:xfrm>
            <a:solidFill>
              <a:srgbClr val="FFFFFF"/>
            </a:solidFill>
          </p:grpSpPr>
          <p:sp>
            <p:nvSpPr>
              <p:cNvPr id="80" name="Полилиния: фигура 79">
                <a:extLst>
                  <a:ext uri="{FF2B5EF4-FFF2-40B4-BE49-F238E27FC236}">
                    <a16:creationId xmlns:a16="http://schemas.microsoft.com/office/drawing/2014/main" id="{7CDC0E0A-E46B-4B0A-9F6A-D3732B94A708}"/>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EF0CBD5B-3FAA-41C9-BADD-CBB3EF90F6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0D6438F7-55B2-4F2B-9F3F-7511B4A663C5}"/>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A750C33A-604D-4433-8FDB-6EF8F23ABB67}"/>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030E56A9-CA49-474F-9990-0E7C83E1C75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136DDB9C-5474-4C1C-AE4E-5B3341B51F20}"/>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dirty="0"/>
              </a:p>
            </p:txBody>
          </p:sp>
          <p:sp>
            <p:nvSpPr>
              <p:cNvPr id="86" name="Полилиния: фигура 85">
                <a:extLst>
                  <a:ext uri="{FF2B5EF4-FFF2-40B4-BE49-F238E27FC236}">
                    <a16:creationId xmlns:a16="http://schemas.microsoft.com/office/drawing/2014/main" id="{01FA4C9B-54A6-4C09-BA75-9D0DBB3E397A}"/>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87" name="Полилиния: фигура 86">
                <a:extLst>
                  <a:ext uri="{FF2B5EF4-FFF2-40B4-BE49-F238E27FC236}">
                    <a16:creationId xmlns:a16="http://schemas.microsoft.com/office/drawing/2014/main" id="{FDC2F04F-4BB6-433A-8E5A-13153BE779D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88" name="Полилиния: фигура 87">
                <a:extLst>
                  <a:ext uri="{FF2B5EF4-FFF2-40B4-BE49-F238E27FC236}">
                    <a16:creationId xmlns:a16="http://schemas.microsoft.com/office/drawing/2014/main" id="{F86C597A-B304-4453-AE46-557231C320A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dirty="0"/>
              </a:p>
            </p:txBody>
          </p:sp>
          <p:sp>
            <p:nvSpPr>
              <p:cNvPr id="89" name="Полилиния: фигура 88">
                <a:extLst>
                  <a:ext uri="{FF2B5EF4-FFF2-40B4-BE49-F238E27FC236}">
                    <a16:creationId xmlns:a16="http://schemas.microsoft.com/office/drawing/2014/main" id="{8766849F-AE58-49A9-BE98-0201C50C38C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90" name="Полилиния: фигура 89">
                <a:extLst>
                  <a:ext uri="{FF2B5EF4-FFF2-40B4-BE49-F238E27FC236}">
                    <a16:creationId xmlns:a16="http://schemas.microsoft.com/office/drawing/2014/main" id="{8518125E-DE11-40F5-8CBC-2863D98710C9}"/>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dirty="0"/>
              </a:p>
            </p:txBody>
          </p:sp>
          <p:sp>
            <p:nvSpPr>
              <p:cNvPr id="91" name="Полилиния: фигура 90">
                <a:extLst>
                  <a:ext uri="{FF2B5EF4-FFF2-40B4-BE49-F238E27FC236}">
                    <a16:creationId xmlns:a16="http://schemas.microsoft.com/office/drawing/2014/main" id="{A4406ABF-008C-43D5-B0AF-AB97F596B87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92" name="Полилиния: фигура 91">
                <a:extLst>
                  <a:ext uri="{FF2B5EF4-FFF2-40B4-BE49-F238E27FC236}">
                    <a16:creationId xmlns:a16="http://schemas.microsoft.com/office/drawing/2014/main" id="{CF8C1F43-C930-4840-9CA8-FB91542BCD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dirty="0"/>
              </a:p>
            </p:txBody>
          </p:sp>
          <p:sp>
            <p:nvSpPr>
              <p:cNvPr id="93" name="Полилиния: фигура 92">
                <a:extLst>
                  <a:ext uri="{FF2B5EF4-FFF2-40B4-BE49-F238E27FC236}">
                    <a16:creationId xmlns:a16="http://schemas.microsoft.com/office/drawing/2014/main" id="{F5D044BC-70E8-4052-A4D4-A56781F344F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dirty="0"/>
              </a:p>
            </p:txBody>
          </p:sp>
          <p:sp>
            <p:nvSpPr>
              <p:cNvPr id="94" name="Полилиния: фигура 93">
                <a:extLst>
                  <a:ext uri="{FF2B5EF4-FFF2-40B4-BE49-F238E27FC236}">
                    <a16:creationId xmlns:a16="http://schemas.microsoft.com/office/drawing/2014/main" id="{12251EA3-4060-4857-965F-87796D3F6B32}"/>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95" name="Полилиния: фигура 94">
                <a:extLst>
                  <a:ext uri="{FF2B5EF4-FFF2-40B4-BE49-F238E27FC236}">
                    <a16:creationId xmlns:a16="http://schemas.microsoft.com/office/drawing/2014/main" id="{B61F8117-52E8-4D15-AF1B-5110F17A7F2C}"/>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dirty="0"/>
              </a:p>
            </p:txBody>
          </p:sp>
          <p:sp>
            <p:nvSpPr>
              <p:cNvPr id="96" name="Полилиния: фигура 95">
                <a:extLst>
                  <a:ext uri="{FF2B5EF4-FFF2-40B4-BE49-F238E27FC236}">
                    <a16:creationId xmlns:a16="http://schemas.microsoft.com/office/drawing/2014/main" id="{AB99F188-6397-40A9-B605-820C2D2962C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97" name="Полилиния: фигура 96">
                <a:extLst>
                  <a:ext uri="{FF2B5EF4-FFF2-40B4-BE49-F238E27FC236}">
                    <a16:creationId xmlns:a16="http://schemas.microsoft.com/office/drawing/2014/main" id="{21B27619-56D2-42C5-9765-9C7FF4C48A9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98" name="Полилиния: фигура 97">
                <a:extLst>
                  <a:ext uri="{FF2B5EF4-FFF2-40B4-BE49-F238E27FC236}">
                    <a16:creationId xmlns:a16="http://schemas.microsoft.com/office/drawing/2014/main" id="{6BB645C9-0E6A-4609-9501-558B0DEF86CF}"/>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dirty="0"/>
              </a:p>
            </p:txBody>
          </p:sp>
          <p:sp>
            <p:nvSpPr>
              <p:cNvPr id="99" name="Полилиния: фигура 98">
                <a:extLst>
                  <a:ext uri="{FF2B5EF4-FFF2-40B4-BE49-F238E27FC236}">
                    <a16:creationId xmlns:a16="http://schemas.microsoft.com/office/drawing/2014/main" id="{22B648B3-AEBE-4A66-A3BA-AEEAB6EA7E69}"/>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dirty="0"/>
              </a:p>
            </p:txBody>
          </p:sp>
          <p:sp>
            <p:nvSpPr>
              <p:cNvPr id="100" name="Полилиния: фигура 99">
                <a:extLst>
                  <a:ext uri="{FF2B5EF4-FFF2-40B4-BE49-F238E27FC236}">
                    <a16:creationId xmlns:a16="http://schemas.microsoft.com/office/drawing/2014/main" id="{741A2ABC-0827-46AE-BAFA-1A3F5816A93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101" name="Полилиния: фигура 100">
                <a:extLst>
                  <a:ext uri="{FF2B5EF4-FFF2-40B4-BE49-F238E27FC236}">
                    <a16:creationId xmlns:a16="http://schemas.microsoft.com/office/drawing/2014/main" id="{D319D22B-F7C6-4146-AF35-104758D6F6B5}"/>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39217278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текст три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sz="3527">
                <a:solidFill>
                  <a:schemeClr val="tx1"/>
                </a:solidFill>
              </a:defRPr>
            </a:lvl1pPr>
          </a:lstStyle>
          <a:p>
            <a:r>
              <a:rPr lang="ru-RU" dirty="0"/>
              <a:t>Заголовок слайда </a:t>
            </a:r>
            <a:br>
              <a:rPr lang="ru-RU" dirty="0"/>
            </a:br>
            <a:r>
              <a:rPr lang="ru-RU" dirty="0"/>
              <a:t>с текстом 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1" y="2158928"/>
            <a:ext cx="3096675"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3" y="5257129"/>
            <a:ext cx="2669844" cy="649795"/>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
        <p:nvSpPr>
          <p:cNvPr id="7" name="Текст 4">
            <a:extLst>
              <a:ext uri="{FF2B5EF4-FFF2-40B4-BE49-F238E27FC236}">
                <a16:creationId xmlns:a16="http://schemas.microsoft.com/office/drawing/2014/main" id="{253F15D4-8FD1-49EF-8103-2177CB724B7D}"/>
              </a:ext>
            </a:extLst>
          </p:cNvPr>
          <p:cNvSpPr>
            <a:spLocks noGrp="1"/>
          </p:cNvSpPr>
          <p:nvPr>
            <p:ph type="body" sz="quarter" idx="28" hasCustomPrompt="1"/>
          </p:nvPr>
        </p:nvSpPr>
        <p:spPr>
          <a:xfrm>
            <a:off x="4276719" y="2158928"/>
            <a:ext cx="3120295"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8" name="Текст 4">
            <a:extLst>
              <a:ext uri="{FF2B5EF4-FFF2-40B4-BE49-F238E27FC236}">
                <a16:creationId xmlns:a16="http://schemas.microsoft.com/office/drawing/2014/main" id="{0994DF9A-B8DE-4760-B932-6DAB04CABCA6}"/>
              </a:ext>
            </a:extLst>
          </p:cNvPr>
          <p:cNvSpPr>
            <a:spLocks noGrp="1"/>
          </p:cNvSpPr>
          <p:nvPr>
            <p:ph type="body" sz="quarter" idx="29" hasCustomPrompt="1"/>
          </p:nvPr>
        </p:nvSpPr>
        <p:spPr>
          <a:xfrm>
            <a:off x="8137799" y="2158928"/>
            <a:ext cx="3120295" cy="156142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Tree>
    <p:extLst>
      <p:ext uri="{BB962C8B-B14F-4D97-AF65-F5344CB8AC3E}">
        <p14:creationId xmlns:p14="http://schemas.microsoft.com/office/powerpoint/2010/main" val="124097339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7" y="4445589"/>
            <a:ext cx="1701731"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8" y="4797803"/>
            <a:ext cx="3202839" cy="54065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8" y="5413159"/>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50" name="Текст 22">
            <a:extLst>
              <a:ext uri="{FF2B5EF4-FFF2-40B4-BE49-F238E27FC236}">
                <a16:creationId xmlns:a16="http://schemas.microsoft.com/office/drawing/2014/main" id="{6B7ADCA3-99F9-40B7-BB2F-D2BD8641F280}"/>
              </a:ext>
            </a:extLst>
          </p:cNvPr>
          <p:cNvSpPr>
            <a:spLocks noGrp="1"/>
          </p:cNvSpPr>
          <p:nvPr>
            <p:ph type="body" sz="quarter" idx="14" hasCustomPrompt="1"/>
          </p:nvPr>
        </p:nvSpPr>
        <p:spPr>
          <a:xfrm>
            <a:off x="417517" y="2481064"/>
            <a:ext cx="3738271" cy="1273920"/>
          </a:xfrm>
          <a:prstGeom prst="rect">
            <a:avLst/>
          </a:prstGeom>
          <a:noFill/>
        </p:spPr>
        <p:txBody>
          <a:bodyPr wrap="none" lIns="0" tIns="108000" rIns="108000" bIns="0">
            <a:spAutoFit/>
          </a:bodyPr>
          <a:lstStyle>
            <a:lvl1pPr>
              <a:lnSpc>
                <a:spcPts val="4409"/>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9" y="418822"/>
            <a:ext cx="3319209" cy="845607"/>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17001691-A57D-4F3B-9B19-86CC9DDC3888}"/>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8D216E14-0BF1-46BF-89EE-4D5DC3DEE5E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A6460135-83F9-45A3-B6D3-A6C4D6D343D4}"/>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101E3016-404F-479D-80E7-24FC72F8D72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E08E943D-004F-4C10-A7C6-59EBD467F9C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1E8A79A4-50F0-4512-BEB6-2BA85173C7E5}"/>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8DA6E5C9-59E9-4CBE-8327-076A3EB9C57B}"/>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DC6ED969-9A90-48F2-94AA-C2F8CAEE40A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E6E745B0-C99B-45C5-A22D-ECD323885054}"/>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047183EE-2786-44E8-B54F-1130D1668AB0}"/>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dirty="0"/>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919E33B-69A1-454A-94CD-A23AC2CBD54B}"/>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D3E9A2EC-B86E-4F98-8836-532308A99FEA}"/>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dirty="0"/>
              </a:p>
            </p:txBody>
          </p:sp>
        </p:grpSp>
      </p:grpSp>
      <p:grpSp>
        <p:nvGrpSpPr>
          <p:cNvPr id="78" name="Рисунок 57">
            <a:extLst>
              <a:ext uri="{FF2B5EF4-FFF2-40B4-BE49-F238E27FC236}">
                <a16:creationId xmlns:a16="http://schemas.microsoft.com/office/drawing/2014/main" id="{B92E240B-3154-4E05-A780-688DAD61213E}"/>
              </a:ext>
            </a:extLst>
          </p:cNvPr>
          <p:cNvGrpSpPr/>
          <p:nvPr userDrawn="1"/>
        </p:nvGrpSpPr>
        <p:grpSpPr>
          <a:xfrm>
            <a:off x="8136200" y="3576603"/>
            <a:ext cx="4055803" cy="3281403"/>
            <a:chOff x="9229500" y="4053477"/>
            <a:chExt cx="4600800" cy="3718923"/>
          </a:xfrm>
        </p:grpSpPr>
        <p:sp>
          <p:nvSpPr>
            <p:cNvPr id="79" name="Полилиния: фигура 78">
              <a:extLst>
                <a:ext uri="{FF2B5EF4-FFF2-40B4-BE49-F238E27FC236}">
                  <a16:creationId xmlns:a16="http://schemas.microsoft.com/office/drawing/2014/main" id="{539ED854-EF62-445E-ADCE-8169570F5E30}"/>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B69BE18A-706C-4376-82AD-970D23B48CFB}"/>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dirty="0"/>
            </a:p>
          </p:txBody>
        </p:sp>
        <p:grpSp>
          <p:nvGrpSpPr>
            <p:cNvPr id="81" name="Рисунок 57">
              <a:extLst>
                <a:ext uri="{FF2B5EF4-FFF2-40B4-BE49-F238E27FC236}">
                  <a16:creationId xmlns:a16="http://schemas.microsoft.com/office/drawing/2014/main" id="{7E74105A-6806-4532-A699-F9FD59FB5A93}"/>
                </a:ext>
              </a:extLst>
            </p:cNvPr>
            <p:cNvGrpSpPr/>
            <p:nvPr/>
          </p:nvGrpSpPr>
          <p:grpSpPr>
            <a:xfrm>
              <a:off x="11333699" y="6786611"/>
              <a:ext cx="2054294" cy="554420"/>
              <a:chOff x="11333699" y="6786611"/>
              <a:chExt cx="2054294" cy="554420"/>
            </a:xfrm>
            <a:solidFill>
              <a:srgbClr val="FFFFFF"/>
            </a:solidFill>
          </p:grpSpPr>
          <p:sp>
            <p:nvSpPr>
              <p:cNvPr id="82" name="Полилиния: фигура 81">
                <a:extLst>
                  <a:ext uri="{FF2B5EF4-FFF2-40B4-BE49-F238E27FC236}">
                    <a16:creationId xmlns:a16="http://schemas.microsoft.com/office/drawing/2014/main" id="{542CAA76-3DCE-4661-9267-C32ED8C6197E}"/>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3B502A7E-E205-4D31-A5DC-C7E3D2815088}"/>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CECE097E-52AB-454E-B3A5-692FD208C6D3}"/>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D9B223D6-E891-4436-A555-A6F34D807F70}"/>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86" name="Полилиния: фигура 85">
                <a:extLst>
                  <a:ext uri="{FF2B5EF4-FFF2-40B4-BE49-F238E27FC236}">
                    <a16:creationId xmlns:a16="http://schemas.microsoft.com/office/drawing/2014/main" id="{44D9CCB9-8DC8-47F9-BAC0-05E002A18E6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87" name="Полилиния: фигура 86">
                <a:extLst>
                  <a:ext uri="{FF2B5EF4-FFF2-40B4-BE49-F238E27FC236}">
                    <a16:creationId xmlns:a16="http://schemas.microsoft.com/office/drawing/2014/main" id="{D7F35B7A-102D-4079-9BCC-EBB86EBC0672}"/>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dirty="0"/>
              </a:p>
            </p:txBody>
          </p:sp>
          <p:sp>
            <p:nvSpPr>
              <p:cNvPr id="88" name="Полилиния: фигура 87">
                <a:extLst>
                  <a:ext uri="{FF2B5EF4-FFF2-40B4-BE49-F238E27FC236}">
                    <a16:creationId xmlns:a16="http://schemas.microsoft.com/office/drawing/2014/main" id="{0A8F9A32-F863-4604-BD63-B841D7FB64F1}"/>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89" name="Полилиния: фигура 88">
                <a:extLst>
                  <a:ext uri="{FF2B5EF4-FFF2-40B4-BE49-F238E27FC236}">
                    <a16:creationId xmlns:a16="http://schemas.microsoft.com/office/drawing/2014/main" id="{9245E941-47A6-4706-B1F5-B95F82387B7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90" name="Полилиния: фигура 89">
                <a:extLst>
                  <a:ext uri="{FF2B5EF4-FFF2-40B4-BE49-F238E27FC236}">
                    <a16:creationId xmlns:a16="http://schemas.microsoft.com/office/drawing/2014/main" id="{A4E79ACD-89A7-4A0C-97C3-E86BD68DB10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dirty="0"/>
              </a:p>
            </p:txBody>
          </p:sp>
          <p:sp>
            <p:nvSpPr>
              <p:cNvPr id="91" name="Полилиния: фигура 90">
                <a:extLst>
                  <a:ext uri="{FF2B5EF4-FFF2-40B4-BE49-F238E27FC236}">
                    <a16:creationId xmlns:a16="http://schemas.microsoft.com/office/drawing/2014/main" id="{A1AA4465-A09E-4553-9A01-AB8D65F65C83}"/>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92" name="Полилиния: фигура 91">
                <a:extLst>
                  <a:ext uri="{FF2B5EF4-FFF2-40B4-BE49-F238E27FC236}">
                    <a16:creationId xmlns:a16="http://schemas.microsoft.com/office/drawing/2014/main" id="{07B56CFD-D9EE-47BF-9C3D-EE34A3583A73}"/>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dirty="0"/>
              </a:p>
            </p:txBody>
          </p:sp>
          <p:sp>
            <p:nvSpPr>
              <p:cNvPr id="93" name="Полилиния: фигура 92">
                <a:extLst>
                  <a:ext uri="{FF2B5EF4-FFF2-40B4-BE49-F238E27FC236}">
                    <a16:creationId xmlns:a16="http://schemas.microsoft.com/office/drawing/2014/main" id="{5882EB76-3433-448A-B6A2-5A7F5A460FB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94" name="Полилиния: фигура 93">
                <a:extLst>
                  <a:ext uri="{FF2B5EF4-FFF2-40B4-BE49-F238E27FC236}">
                    <a16:creationId xmlns:a16="http://schemas.microsoft.com/office/drawing/2014/main" id="{0CC22BCF-399F-4C00-BB1B-83DE1B84693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dirty="0"/>
              </a:p>
            </p:txBody>
          </p:sp>
          <p:sp>
            <p:nvSpPr>
              <p:cNvPr id="95" name="Полилиния: фигура 94">
                <a:extLst>
                  <a:ext uri="{FF2B5EF4-FFF2-40B4-BE49-F238E27FC236}">
                    <a16:creationId xmlns:a16="http://schemas.microsoft.com/office/drawing/2014/main" id="{2DB4262C-2856-4CD3-BB1C-41E6ECDD235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dirty="0"/>
              </a:p>
            </p:txBody>
          </p:sp>
          <p:sp>
            <p:nvSpPr>
              <p:cNvPr id="96" name="Полилиния: фигура 95">
                <a:extLst>
                  <a:ext uri="{FF2B5EF4-FFF2-40B4-BE49-F238E27FC236}">
                    <a16:creationId xmlns:a16="http://schemas.microsoft.com/office/drawing/2014/main" id="{19D65C76-A092-41FD-ADB8-EB7F040990EE}"/>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97" name="Полилиния: фигура 96">
                <a:extLst>
                  <a:ext uri="{FF2B5EF4-FFF2-40B4-BE49-F238E27FC236}">
                    <a16:creationId xmlns:a16="http://schemas.microsoft.com/office/drawing/2014/main" id="{1A37A5BE-3877-4574-84F6-E01060CCA1C3}"/>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dirty="0"/>
              </a:p>
            </p:txBody>
          </p:sp>
          <p:sp>
            <p:nvSpPr>
              <p:cNvPr id="98" name="Полилиния: фигура 97">
                <a:extLst>
                  <a:ext uri="{FF2B5EF4-FFF2-40B4-BE49-F238E27FC236}">
                    <a16:creationId xmlns:a16="http://schemas.microsoft.com/office/drawing/2014/main" id="{5E9CF0FC-772F-4557-B3BC-DA3F7FF8D4AF}"/>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99" name="Полилиния: фигура 98">
                <a:extLst>
                  <a:ext uri="{FF2B5EF4-FFF2-40B4-BE49-F238E27FC236}">
                    <a16:creationId xmlns:a16="http://schemas.microsoft.com/office/drawing/2014/main" id="{27ABF1C0-34A7-4FE2-95C0-8EB0C4CAD212}"/>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100" name="Полилиния: фигура 99">
                <a:extLst>
                  <a:ext uri="{FF2B5EF4-FFF2-40B4-BE49-F238E27FC236}">
                    <a16:creationId xmlns:a16="http://schemas.microsoft.com/office/drawing/2014/main" id="{9B39EED0-63E3-4EB2-B077-F42249AB1FBA}"/>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dirty="0"/>
              </a:p>
            </p:txBody>
          </p:sp>
          <p:sp>
            <p:nvSpPr>
              <p:cNvPr id="101" name="Полилиния: фигура 100">
                <a:extLst>
                  <a:ext uri="{FF2B5EF4-FFF2-40B4-BE49-F238E27FC236}">
                    <a16:creationId xmlns:a16="http://schemas.microsoft.com/office/drawing/2014/main" id="{87C402AC-605B-45B6-996F-F708C4A6610B}"/>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dirty="0"/>
              </a:p>
            </p:txBody>
          </p:sp>
          <p:sp>
            <p:nvSpPr>
              <p:cNvPr id="102" name="Полилиния: фигура 101">
                <a:extLst>
                  <a:ext uri="{FF2B5EF4-FFF2-40B4-BE49-F238E27FC236}">
                    <a16:creationId xmlns:a16="http://schemas.microsoft.com/office/drawing/2014/main" id="{EFF7342F-46F4-46D6-8682-BCBA3D43EEAE}"/>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103" name="Полилиния: фигура 102">
                <a:extLst>
                  <a:ext uri="{FF2B5EF4-FFF2-40B4-BE49-F238E27FC236}">
                    <a16:creationId xmlns:a16="http://schemas.microsoft.com/office/drawing/2014/main" id="{BDD9DFA7-E50A-49C5-89DA-B54516233172}"/>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13095111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8" y="5156611"/>
            <a:ext cx="3202839" cy="54065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8" y="5771967"/>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C8DE6A77-6880-4607-8652-D16D372B5844}"/>
              </a:ext>
            </a:extLst>
          </p:cNvPr>
          <p:cNvSpPr>
            <a:spLocks noGrp="1"/>
          </p:cNvSpPr>
          <p:nvPr>
            <p:ph type="body" sz="quarter" idx="14" hasCustomPrompt="1"/>
          </p:nvPr>
        </p:nvSpPr>
        <p:spPr>
          <a:xfrm>
            <a:off x="417517" y="2481064"/>
            <a:ext cx="3738271" cy="1273920"/>
          </a:xfrm>
          <a:prstGeom prst="rect">
            <a:avLst/>
          </a:prstGeom>
          <a:noFill/>
        </p:spPr>
        <p:txBody>
          <a:bodyPr wrap="none" lIns="0" tIns="108000" rIns="108000" bIns="0">
            <a:spAutoFit/>
          </a:bodyPr>
          <a:lstStyle>
            <a:lvl1pPr>
              <a:lnSpc>
                <a:spcPts val="4409"/>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9" y="418822"/>
            <a:ext cx="3319209" cy="845607"/>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8AB77C21-9B93-4EEA-BB88-C3E68F633725}"/>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3E8AFC6D-0FFC-4C46-A530-06979C65C9E2}"/>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91498783-858D-4EF7-9337-8AD525CA6ED5}"/>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87308D26-AF0B-447F-8502-0FC1B28F188C}"/>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82C88651-4E0B-4E12-9526-7A3DC5F971A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9071BE21-43E0-4DF1-8E75-F868DC924C9A}"/>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C15EE4A6-7BD2-4F1E-8C09-26A188B57DA4}"/>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A1C47667-2A96-4DD6-81DC-DC6D402347CC}"/>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63A7051D-553E-4EDC-AAA8-3F095093B65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F757B798-7947-4173-BEF9-A2B4B2A4B176}"/>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dirty="0"/>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FA7094DC-22D4-469F-8494-8D1AACC01D39}"/>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D695C9BB-1124-4240-B241-F09BEF24342B}"/>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dirty="0"/>
              </a:p>
            </p:txBody>
          </p:sp>
        </p:grpSp>
      </p:grpSp>
      <p:grpSp>
        <p:nvGrpSpPr>
          <p:cNvPr id="49" name="Рисунок 57">
            <a:extLst>
              <a:ext uri="{FF2B5EF4-FFF2-40B4-BE49-F238E27FC236}">
                <a16:creationId xmlns:a16="http://schemas.microsoft.com/office/drawing/2014/main" id="{A5312A1B-14E4-4FBA-8ADD-5008F83EC692}"/>
              </a:ext>
            </a:extLst>
          </p:cNvPr>
          <p:cNvGrpSpPr/>
          <p:nvPr userDrawn="1"/>
        </p:nvGrpSpPr>
        <p:grpSpPr>
          <a:xfrm>
            <a:off x="8136200" y="3576603"/>
            <a:ext cx="4055803" cy="3281403"/>
            <a:chOff x="9229500" y="4053477"/>
            <a:chExt cx="4600800" cy="3718923"/>
          </a:xfrm>
        </p:grpSpPr>
        <p:sp>
          <p:nvSpPr>
            <p:cNvPr id="50" name="Полилиния: фигура 49">
              <a:extLst>
                <a:ext uri="{FF2B5EF4-FFF2-40B4-BE49-F238E27FC236}">
                  <a16:creationId xmlns:a16="http://schemas.microsoft.com/office/drawing/2014/main" id="{4ADC157A-C038-45C9-9D7E-879D59B484F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dirty="0"/>
            </a:p>
          </p:txBody>
        </p:sp>
        <p:sp>
          <p:nvSpPr>
            <p:cNvPr id="51" name="Полилиния: фигура 50">
              <a:extLst>
                <a:ext uri="{FF2B5EF4-FFF2-40B4-BE49-F238E27FC236}">
                  <a16:creationId xmlns:a16="http://schemas.microsoft.com/office/drawing/2014/main" id="{2B2F4831-4C70-4227-8EB4-7066CCF515BC}"/>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dirty="0"/>
            </a:p>
          </p:txBody>
        </p:sp>
        <p:grpSp>
          <p:nvGrpSpPr>
            <p:cNvPr id="52" name="Рисунок 57">
              <a:extLst>
                <a:ext uri="{FF2B5EF4-FFF2-40B4-BE49-F238E27FC236}">
                  <a16:creationId xmlns:a16="http://schemas.microsoft.com/office/drawing/2014/main" id="{A933FDD1-B45B-40ED-AB5B-67607803873F}"/>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D7845D97-8D5A-40DA-BE24-9D9A9F6D5404}"/>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dirty="0"/>
              </a:p>
            </p:txBody>
          </p:sp>
          <p:sp>
            <p:nvSpPr>
              <p:cNvPr id="54" name="Полилиния: фигура 53">
                <a:extLst>
                  <a:ext uri="{FF2B5EF4-FFF2-40B4-BE49-F238E27FC236}">
                    <a16:creationId xmlns:a16="http://schemas.microsoft.com/office/drawing/2014/main" id="{EF151728-DE3F-4A99-8058-5424EC0F58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55" name="Полилиния: фигура 54">
                <a:extLst>
                  <a:ext uri="{FF2B5EF4-FFF2-40B4-BE49-F238E27FC236}">
                    <a16:creationId xmlns:a16="http://schemas.microsoft.com/office/drawing/2014/main" id="{84E65ECB-E1D5-4B5B-9A00-B664E2B39BCF}"/>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dirty="0"/>
              </a:p>
            </p:txBody>
          </p:sp>
          <p:sp>
            <p:nvSpPr>
              <p:cNvPr id="56" name="Полилиния: фигура 55">
                <a:extLst>
                  <a:ext uri="{FF2B5EF4-FFF2-40B4-BE49-F238E27FC236}">
                    <a16:creationId xmlns:a16="http://schemas.microsoft.com/office/drawing/2014/main" id="{09617DCE-AB42-4A40-8AFB-FC67D373B591}"/>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57" name="Полилиния: фигура 56">
                <a:extLst>
                  <a:ext uri="{FF2B5EF4-FFF2-40B4-BE49-F238E27FC236}">
                    <a16:creationId xmlns:a16="http://schemas.microsoft.com/office/drawing/2014/main" id="{5F905FE8-66E6-4DC6-9276-75937D5F59C7}"/>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58" name="Полилиния: фигура 57">
                <a:extLst>
                  <a:ext uri="{FF2B5EF4-FFF2-40B4-BE49-F238E27FC236}">
                    <a16:creationId xmlns:a16="http://schemas.microsoft.com/office/drawing/2014/main" id="{D7A61077-1F5A-413A-AE7E-EAC460A1EB4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dirty="0"/>
              </a:p>
            </p:txBody>
          </p:sp>
          <p:sp>
            <p:nvSpPr>
              <p:cNvPr id="59" name="Полилиния: фигура 58">
                <a:extLst>
                  <a:ext uri="{FF2B5EF4-FFF2-40B4-BE49-F238E27FC236}">
                    <a16:creationId xmlns:a16="http://schemas.microsoft.com/office/drawing/2014/main" id="{6D0FB866-7787-499D-A7FE-2AF656B433B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0" name="Полилиния: фигура 59">
                <a:extLst>
                  <a:ext uri="{FF2B5EF4-FFF2-40B4-BE49-F238E27FC236}">
                    <a16:creationId xmlns:a16="http://schemas.microsoft.com/office/drawing/2014/main" id="{D8A7CD9B-E09C-477D-A216-58152FCB8183}"/>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1" name="Полилиния: фигура 60">
                <a:extLst>
                  <a:ext uri="{FF2B5EF4-FFF2-40B4-BE49-F238E27FC236}">
                    <a16:creationId xmlns:a16="http://schemas.microsoft.com/office/drawing/2014/main" id="{E3A33E41-E1E2-4F56-B598-AE116B601316}"/>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dirty="0"/>
              </a:p>
            </p:txBody>
          </p:sp>
          <p:sp>
            <p:nvSpPr>
              <p:cNvPr id="62" name="Полилиния: фигура 61">
                <a:extLst>
                  <a:ext uri="{FF2B5EF4-FFF2-40B4-BE49-F238E27FC236}">
                    <a16:creationId xmlns:a16="http://schemas.microsoft.com/office/drawing/2014/main" id="{A2E23E4C-64DB-41C3-B64E-D41066BC5821}"/>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3" name="Полилиния: фигура 62">
                <a:extLst>
                  <a:ext uri="{FF2B5EF4-FFF2-40B4-BE49-F238E27FC236}">
                    <a16:creationId xmlns:a16="http://schemas.microsoft.com/office/drawing/2014/main" id="{03E84062-D03C-4E55-940A-C97C1D27B121}"/>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dirty="0"/>
              </a:p>
            </p:txBody>
          </p:sp>
          <p:sp>
            <p:nvSpPr>
              <p:cNvPr id="64" name="Полилиния: фигура 63">
                <a:extLst>
                  <a:ext uri="{FF2B5EF4-FFF2-40B4-BE49-F238E27FC236}">
                    <a16:creationId xmlns:a16="http://schemas.microsoft.com/office/drawing/2014/main" id="{C113395A-3C12-4886-AFE8-C6E7CBFAA38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5" name="Полилиния: фигура 64">
                <a:extLst>
                  <a:ext uri="{FF2B5EF4-FFF2-40B4-BE49-F238E27FC236}">
                    <a16:creationId xmlns:a16="http://schemas.microsoft.com/office/drawing/2014/main" id="{5ECD317B-1B4C-42BC-8BF2-AE427282EC0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dirty="0"/>
              </a:p>
            </p:txBody>
          </p:sp>
          <p:sp>
            <p:nvSpPr>
              <p:cNvPr id="66" name="Полилиния: фигура 65">
                <a:extLst>
                  <a:ext uri="{FF2B5EF4-FFF2-40B4-BE49-F238E27FC236}">
                    <a16:creationId xmlns:a16="http://schemas.microsoft.com/office/drawing/2014/main" id="{57F9AC2F-76D7-414A-A4CC-F683BB6FEC33}"/>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dirty="0"/>
              </a:p>
            </p:txBody>
          </p:sp>
          <p:sp>
            <p:nvSpPr>
              <p:cNvPr id="67" name="Полилиния: фигура 66">
                <a:extLst>
                  <a:ext uri="{FF2B5EF4-FFF2-40B4-BE49-F238E27FC236}">
                    <a16:creationId xmlns:a16="http://schemas.microsoft.com/office/drawing/2014/main" id="{D7635451-368E-4725-AC0B-BD9E9A4CB000}"/>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68" name="Полилиния: фигура 67">
                <a:extLst>
                  <a:ext uri="{FF2B5EF4-FFF2-40B4-BE49-F238E27FC236}">
                    <a16:creationId xmlns:a16="http://schemas.microsoft.com/office/drawing/2014/main" id="{7BB0643D-3A58-4451-8A5A-8B5E82532451}"/>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B9B60D5A-0AB9-4458-8245-F53F8AD68E2E}"/>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70" name="Полилиния: фигура 69">
                <a:extLst>
                  <a:ext uri="{FF2B5EF4-FFF2-40B4-BE49-F238E27FC236}">
                    <a16:creationId xmlns:a16="http://schemas.microsoft.com/office/drawing/2014/main" id="{A5B46944-C7E2-4CDD-8C56-734D3F297B0A}"/>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71" name="Полилиния: фигура 70">
                <a:extLst>
                  <a:ext uri="{FF2B5EF4-FFF2-40B4-BE49-F238E27FC236}">
                    <a16:creationId xmlns:a16="http://schemas.microsoft.com/office/drawing/2014/main" id="{A2DBB532-1724-4852-B0A6-0CF466280363}"/>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dirty="0"/>
              </a:p>
            </p:txBody>
          </p:sp>
          <p:sp>
            <p:nvSpPr>
              <p:cNvPr id="74" name="Полилиния: фигура 73">
                <a:extLst>
                  <a:ext uri="{FF2B5EF4-FFF2-40B4-BE49-F238E27FC236}">
                    <a16:creationId xmlns:a16="http://schemas.microsoft.com/office/drawing/2014/main" id="{BD837A04-C565-4012-A352-9B5899CF64B6}"/>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02EB8E3D-7FE4-4D8A-9E89-81BD5F216051}"/>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294323A4-E707-40C0-9EDA-F387FB366CEC}"/>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244582369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7" y="4679858"/>
            <a:ext cx="6122833" cy="48605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7" y="5293663"/>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9" name="Текст 22">
            <a:extLst>
              <a:ext uri="{FF2B5EF4-FFF2-40B4-BE49-F238E27FC236}">
                <a16:creationId xmlns:a16="http://schemas.microsoft.com/office/drawing/2014/main" id="{6B4C4C44-AB05-44AC-B63C-AB1EBD4200D1}"/>
              </a:ext>
            </a:extLst>
          </p:cNvPr>
          <p:cNvSpPr>
            <a:spLocks noGrp="1"/>
          </p:cNvSpPr>
          <p:nvPr>
            <p:ph type="body" sz="quarter" idx="14" hasCustomPrompt="1"/>
          </p:nvPr>
        </p:nvSpPr>
        <p:spPr>
          <a:xfrm>
            <a:off x="417517" y="2481064"/>
            <a:ext cx="3738271" cy="1273920"/>
          </a:xfrm>
          <a:prstGeom prst="rect">
            <a:avLst/>
          </a:prstGeom>
          <a:noFill/>
        </p:spPr>
        <p:txBody>
          <a:bodyPr wrap="none" lIns="0" tIns="108000" rIns="108000" bIns="0">
            <a:spAutoFit/>
          </a:bodyPr>
          <a:lstStyle>
            <a:lvl1pPr>
              <a:lnSpc>
                <a:spcPts val="4409"/>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9" y="418822"/>
            <a:ext cx="3319209" cy="845607"/>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DAA75C33-8D5F-4239-995A-6C38EEE58C6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3E28C639-B8D1-47BF-B0F1-99514506607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B4443EC2-A8D6-4327-91FB-FDB8AF4B13EB}"/>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E1EC6444-8F3F-457D-A2DF-42BD1CC49439}"/>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7F990E55-81BC-4FE0-8D2C-6764E352EBAB}"/>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0CC19760-0822-4B49-801D-92648589BC93}"/>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D2747985-1F4A-4B53-B398-DF8ED811145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1F0061B8-5B61-474D-8A79-E681F318D1C9}"/>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31E7C212-BAA8-41C0-B209-BE7F3F96A1A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86FD2C03-45A5-4FC0-B67A-E07FFC9BB55A}"/>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dirty="0"/>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057A06E-C9E8-4B17-B397-ABDA4685D03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49AC947C-0F71-42E7-B659-CDBEFF7E632C}"/>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dirty="0"/>
              </a:p>
            </p:txBody>
          </p:sp>
        </p:grpSp>
      </p:grpSp>
      <p:grpSp>
        <p:nvGrpSpPr>
          <p:cNvPr id="48" name="Рисунок 57">
            <a:extLst>
              <a:ext uri="{FF2B5EF4-FFF2-40B4-BE49-F238E27FC236}">
                <a16:creationId xmlns:a16="http://schemas.microsoft.com/office/drawing/2014/main" id="{692F1B6F-4C5C-48F5-9647-2C568C52A16F}"/>
              </a:ext>
            </a:extLst>
          </p:cNvPr>
          <p:cNvGrpSpPr/>
          <p:nvPr userDrawn="1"/>
        </p:nvGrpSpPr>
        <p:grpSpPr>
          <a:xfrm>
            <a:off x="8136200" y="3576603"/>
            <a:ext cx="4055803" cy="3281403"/>
            <a:chOff x="9229500" y="4053477"/>
            <a:chExt cx="4600800" cy="3718923"/>
          </a:xfrm>
        </p:grpSpPr>
        <p:sp>
          <p:nvSpPr>
            <p:cNvPr id="50" name="Полилиния: фигура 49">
              <a:extLst>
                <a:ext uri="{FF2B5EF4-FFF2-40B4-BE49-F238E27FC236}">
                  <a16:creationId xmlns:a16="http://schemas.microsoft.com/office/drawing/2014/main" id="{77602831-E0ED-435A-8B1F-4E63147E2AC7}"/>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dirty="0"/>
            </a:p>
          </p:txBody>
        </p:sp>
        <p:sp>
          <p:nvSpPr>
            <p:cNvPr id="51" name="Полилиния: фигура 50">
              <a:extLst>
                <a:ext uri="{FF2B5EF4-FFF2-40B4-BE49-F238E27FC236}">
                  <a16:creationId xmlns:a16="http://schemas.microsoft.com/office/drawing/2014/main" id="{2545C9BD-AAE9-411A-B3FC-313D68D32E24}"/>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dirty="0"/>
            </a:p>
          </p:txBody>
        </p:sp>
        <p:grpSp>
          <p:nvGrpSpPr>
            <p:cNvPr id="52" name="Рисунок 57">
              <a:extLst>
                <a:ext uri="{FF2B5EF4-FFF2-40B4-BE49-F238E27FC236}">
                  <a16:creationId xmlns:a16="http://schemas.microsoft.com/office/drawing/2014/main" id="{9C88424F-8BD8-4053-93EF-80B45CC64002}"/>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E6DED3D8-A16D-4FD4-A7AB-13FC2BE14C66}"/>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dirty="0"/>
              </a:p>
            </p:txBody>
          </p:sp>
          <p:sp>
            <p:nvSpPr>
              <p:cNvPr id="54" name="Полилиния: фигура 53">
                <a:extLst>
                  <a:ext uri="{FF2B5EF4-FFF2-40B4-BE49-F238E27FC236}">
                    <a16:creationId xmlns:a16="http://schemas.microsoft.com/office/drawing/2014/main" id="{EFBE7B26-3AE8-438A-9F55-D3C329AFC1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55" name="Полилиния: фигура 54">
                <a:extLst>
                  <a:ext uri="{FF2B5EF4-FFF2-40B4-BE49-F238E27FC236}">
                    <a16:creationId xmlns:a16="http://schemas.microsoft.com/office/drawing/2014/main" id="{149C24EE-A8D3-460C-9EC6-262ED7C7F0C7}"/>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dirty="0"/>
              </a:p>
            </p:txBody>
          </p:sp>
          <p:sp>
            <p:nvSpPr>
              <p:cNvPr id="56" name="Полилиния: фигура 55">
                <a:extLst>
                  <a:ext uri="{FF2B5EF4-FFF2-40B4-BE49-F238E27FC236}">
                    <a16:creationId xmlns:a16="http://schemas.microsoft.com/office/drawing/2014/main" id="{D69BE875-ACEB-43B7-AAC3-BA9380BBE8B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57" name="Полилиния: фигура 56">
                <a:extLst>
                  <a:ext uri="{FF2B5EF4-FFF2-40B4-BE49-F238E27FC236}">
                    <a16:creationId xmlns:a16="http://schemas.microsoft.com/office/drawing/2014/main" id="{0BA314ED-A081-4E15-B8A3-8BA0EE9A3A79}"/>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58" name="Полилиния: фигура 57">
                <a:extLst>
                  <a:ext uri="{FF2B5EF4-FFF2-40B4-BE49-F238E27FC236}">
                    <a16:creationId xmlns:a16="http://schemas.microsoft.com/office/drawing/2014/main" id="{01436FA5-43D1-4173-B81A-1FEC0A07FDC7}"/>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dirty="0"/>
              </a:p>
            </p:txBody>
          </p:sp>
          <p:sp>
            <p:nvSpPr>
              <p:cNvPr id="59" name="Полилиния: фигура 58">
                <a:extLst>
                  <a:ext uri="{FF2B5EF4-FFF2-40B4-BE49-F238E27FC236}">
                    <a16:creationId xmlns:a16="http://schemas.microsoft.com/office/drawing/2014/main" id="{2DF8F55A-6B88-45FA-8919-AD6D79F0DBF2}"/>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0" name="Полилиния: фигура 59">
                <a:extLst>
                  <a:ext uri="{FF2B5EF4-FFF2-40B4-BE49-F238E27FC236}">
                    <a16:creationId xmlns:a16="http://schemas.microsoft.com/office/drawing/2014/main" id="{E64324DE-977A-47B2-84EB-58A6A94DE30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1" name="Полилиния: фигура 60">
                <a:extLst>
                  <a:ext uri="{FF2B5EF4-FFF2-40B4-BE49-F238E27FC236}">
                    <a16:creationId xmlns:a16="http://schemas.microsoft.com/office/drawing/2014/main" id="{172D2B0A-B6A7-46C4-9BD2-BFA43877BAEF}"/>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dirty="0"/>
              </a:p>
            </p:txBody>
          </p:sp>
          <p:sp>
            <p:nvSpPr>
              <p:cNvPr id="62" name="Полилиния: фигура 61">
                <a:extLst>
                  <a:ext uri="{FF2B5EF4-FFF2-40B4-BE49-F238E27FC236}">
                    <a16:creationId xmlns:a16="http://schemas.microsoft.com/office/drawing/2014/main" id="{B70AE1CD-EC7B-4598-B45C-88EE944C018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63" name="Полилиния: фигура 62">
                <a:extLst>
                  <a:ext uri="{FF2B5EF4-FFF2-40B4-BE49-F238E27FC236}">
                    <a16:creationId xmlns:a16="http://schemas.microsoft.com/office/drawing/2014/main" id="{79624786-D5E5-4EB6-BF99-2510AB7FB807}"/>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dirty="0"/>
              </a:p>
            </p:txBody>
          </p:sp>
          <p:sp>
            <p:nvSpPr>
              <p:cNvPr id="64" name="Полилиния: фигура 63">
                <a:extLst>
                  <a:ext uri="{FF2B5EF4-FFF2-40B4-BE49-F238E27FC236}">
                    <a16:creationId xmlns:a16="http://schemas.microsoft.com/office/drawing/2014/main" id="{3D751F75-3E46-4688-B44A-A66D756F359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65" name="Полилиния: фигура 64">
                <a:extLst>
                  <a:ext uri="{FF2B5EF4-FFF2-40B4-BE49-F238E27FC236}">
                    <a16:creationId xmlns:a16="http://schemas.microsoft.com/office/drawing/2014/main" id="{865E2FCC-4D53-4658-9D85-BE25F09938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dirty="0"/>
              </a:p>
            </p:txBody>
          </p:sp>
          <p:sp>
            <p:nvSpPr>
              <p:cNvPr id="66" name="Полилиния: фигура 65">
                <a:extLst>
                  <a:ext uri="{FF2B5EF4-FFF2-40B4-BE49-F238E27FC236}">
                    <a16:creationId xmlns:a16="http://schemas.microsoft.com/office/drawing/2014/main" id="{ABE365DB-327C-4E34-A4EE-4861051FD388}"/>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dirty="0"/>
              </a:p>
            </p:txBody>
          </p:sp>
          <p:sp>
            <p:nvSpPr>
              <p:cNvPr id="67" name="Полилиния: фигура 66">
                <a:extLst>
                  <a:ext uri="{FF2B5EF4-FFF2-40B4-BE49-F238E27FC236}">
                    <a16:creationId xmlns:a16="http://schemas.microsoft.com/office/drawing/2014/main" id="{988E6428-F7EE-4D45-AD44-2F719CFA7E07}"/>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68" name="Полилиния: фигура 67">
                <a:extLst>
                  <a:ext uri="{FF2B5EF4-FFF2-40B4-BE49-F238E27FC236}">
                    <a16:creationId xmlns:a16="http://schemas.microsoft.com/office/drawing/2014/main" id="{80D7720D-5CCB-4C79-9F54-48D47FE8B4B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dirty="0"/>
              </a:p>
            </p:txBody>
          </p:sp>
          <p:sp>
            <p:nvSpPr>
              <p:cNvPr id="69" name="Полилиния: фигура 68">
                <a:extLst>
                  <a:ext uri="{FF2B5EF4-FFF2-40B4-BE49-F238E27FC236}">
                    <a16:creationId xmlns:a16="http://schemas.microsoft.com/office/drawing/2014/main" id="{9BDB3807-0D6E-4433-91B4-F9BAE5F8C13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72" name="Полилиния: фигура 71">
                <a:extLst>
                  <a:ext uri="{FF2B5EF4-FFF2-40B4-BE49-F238E27FC236}">
                    <a16:creationId xmlns:a16="http://schemas.microsoft.com/office/drawing/2014/main" id="{DF49A586-84E4-4DE9-A6C2-5FAB46360795}"/>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73" name="Полилиния: фигура 72">
                <a:extLst>
                  <a:ext uri="{FF2B5EF4-FFF2-40B4-BE49-F238E27FC236}">
                    <a16:creationId xmlns:a16="http://schemas.microsoft.com/office/drawing/2014/main" id="{C34CF262-B843-4B3C-B092-F68BE4947B60}"/>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dirty="0"/>
              </a:p>
            </p:txBody>
          </p:sp>
          <p:sp>
            <p:nvSpPr>
              <p:cNvPr id="74" name="Полилиния: фигура 73">
                <a:extLst>
                  <a:ext uri="{FF2B5EF4-FFF2-40B4-BE49-F238E27FC236}">
                    <a16:creationId xmlns:a16="http://schemas.microsoft.com/office/drawing/2014/main" id="{790C8533-F936-483A-9443-A3118B5CDFF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dirty="0"/>
              </a:p>
            </p:txBody>
          </p:sp>
          <p:sp>
            <p:nvSpPr>
              <p:cNvPr id="75" name="Полилиния: фигура 74">
                <a:extLst>
                  <a:ext uri="{FF2B5EF4-FFF2-40B4-BE49-F238E27FC236}">
                    <a16:creationId xmlns:a16="http://schemas.microsoft.com/office/drawing/2014/main" id="{1C863F7F-9941-447A-AF15-61C7774FEAB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76" name="Полилиния: фигура 75">
                <a:extLst>
                  <a:ext uri="{FF2B5EF4-FFF2-40B4-BE49-F238E27FC236}">
                    <a16:creationId xmlns:a16="http://schemas.microsoft.com/office/drawing/2014/main" id="{3134F649-3321-404F-8870-7746D1CBE131}"/>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3824924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контакты_4">
    <p:spTree>
      <p:nvGrpSpPr>
        <p:cNvPr id="1" name=""/>
        <p:cNvGrpSpPr/>
        <p:nvPr/>
      </p:nvGrpSpPr>
      <p:grpSpPr>
        <a:xfrm>
          <a:off x="0" y="0"/>
          <a:ext cx="0" cy="0"/>
          <a:chOff x="0" y="0"/>
          <a:chExt cx="0" cy="0"/>
        </a:xfrm>
      </p:grpSpPr>
      <p:sp>
        <p:nvSpPr>
          <p:cNvPr id="49" name="Текст 22">
            <a:extLst>
              <a:ext uri="{FF2B5EF4-FFF2-40B4-BE49-F238E27FC236}">
                <a16:creationId xmlns:a16="http://schemas.microsoft.com/office/drawing/2014/main" id="{9C039501-9FA3-4827-8BD0-0538498113B6}"/>
              </a:ext>
            </a:extLst>
          </p:cNvPr>
          <p:cNvSpPr>
            <a:spLocks noGrp="1"/>
          </p:cNvSpPr>
          <p:nvPr>
            <p:ph type="body" sz="quarter" idx="14" hasCustomPrompt="1"/>
          </p:nvPr>
        </p:nvSpPr>
        <p:spPr>
          <a:xfrm>
            <a:off x="417517" y="2481064"/>
            <a:ext cx="3738271" cy="1273920"/>
          </a:xfrm>
          <a:prstGeom prst="rect">
            <a:avLst/>
          </a:prstGeom>
          <a:noFill/>
        </p:spPr>
        <p:txBody>
          <a:bodyPr wrap="none" lIns="0" tIns="108000" rIns="108000" bIns="0">
            <a:spAutoFit/>
          </a:bodyPr>
          <a:lstStyle>
            <a:lvl1pPr>
              <a:lnSpc>
                <a:spcPts val="4409"/>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9" y="418822"/>
            <a:ext cx="3319209" cy="845607"/>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736D9289-6057-408D-9D59-23508B9BD311}"/>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56B72CA4-B502-478A-B2B2-880DE635713E}"/>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578C0BD7-7387-440E-90BE-5834B2B8DCAA}"/>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4C1DDDB4-41EE-4119-BA0F-10529681058D}"/>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F54D4632-938E-40AA-8B77-BAC6207660D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351C8F2E-F717-41F9-AB46-0488C7109BB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F14C746F-8717-4A9F-8F9D-DF7149D6EC8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91A0C6BD-877F-433D-A5BF-49E1FEE76D1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8226B843-2542-40F3-8471-2366A86F3D42}"/>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A7A84E21-39C4-405A-9437-E999066924C8}"/>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dirty="0"/>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49A56474-6DE4-4A1B-A053-FC273B31CFB1}"/>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dirty="0"/>
              </a:p>
            </p:txBody>
          </p:sp>
          <p:sp>
            <p:nvSpPr>
              <p:cNvPr id="25" name="Полилиния: фигура 24">
                <a:extLst>
                  <a:ext uri="{FF2B5EF4-FFF2-40B4-BE49-F238E27FC236}">
                    <a16:creationId xmlns:a16="http://schemas.microsoft.com/office/drawing/2014/main" id="{35C18093-E547-4C39-A523-E39837D4FED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dirty="0"/>
              </a:p>
            </p:txBody>
          </p:sp>
        </p:grpSp>
      </p:grpSp>
      <p:grpSp>
        <p:nvGrpSpPr>
          <p:cNvPr id="75" name="Рисунок 57">
            <a:extLst>
              <a:ext uri="{FF2B5EF4-FFF2-40B4-BE49-F238E27FC236}">
                <a16:creationId xmlns:a16="http://schemas.microsoft.com/office/drawing/2014/main" id="{E8021B12-77DD-4234-8DBE-78559ECA85FF}"/>
              </a:ext>
            </a:extLst>
          </p:cNvPr>
          <p:cNvGrpSpPr/>
          <p:nvPr userDrawn="1"/>
        </p:nvGrpSpPr>
        <p:grpSpPr>
          <a:xfrm>
            <a:off x="8136200" y="3576603"/>
            <a:ext cx="4055803" cy="3281403"/>
            <a:chOff x="9229500" y="4053477"/>
            <a:chExt cx="4600800" cy="3718923"/>
          </a:xfrm>
        </p:grpSpPr>
        <p:sp>
          <p:nvSpPr>
            <p:cNvPr id="76" name="Полилиния: фигура 75">
              <a:extLst>
                <a:ext uri="{FF2B5EF4-FFF2-40B4-BE49-F238E27FC236}">
                  <a16:creationId xmlns:a16="http://schemas.microsoft.com/office/drawing/2014/main" id="{A19B561F-4378-47FD-A264-E5AE18B20F8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dirty="0"/>
            </a:p>
          </p:txBody>
        </p:sp>
        <p:sp>
          <p:nvSpPr>
            <p:cNvPr id="77" name="Полилиния: фигура 76">
              <a:extLst>
                <a:ext uri="{FF2B5EF4-FFF2-40B4-BE49-F238E27FC236}">
                  <a16:creationId xmlns:a16="http://schemas.microsoft.com/office/drawing/2014/main" id="{87ECADDB-8E5D-4A65-9ABA-6BF8449BF531}"/>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dirty="0"/>
            </a:p>
          </p:txBody>
        </p:sp>
        <p:grpSp>
          <p:nvGrpSpPr>
            <p:cNvPr id="78" name="Рисунок 57">
              <a:extLst>
                <a:ext uri="{FF2B5EF4-FFF2-40B4-BE49-F238E27FC236}">
                  <a16:creationId xmlns:a16="http://schemas.microsoft.com/office/drawing/2014/main" id="{A675EFF5-B692-4CCA-8693-0F36970A3780}"/>
                </a:ext>
              </a:extLst>
            </p:cNvPr>
            <p:cNvGrpSpPr/>
            <p:nvPr/>
          </p:nvGrpSpPr>
          <p:grpSpPr>
            <a:xfrm>
              <a:off x="11333699" y="6786611"/>
              <a:ext cx="2054294" cy="554420"/>
              <a:chOff x="11333699" y="6786611"/>
              <a:chExt cx="2054294" cy="554420"/>
            </a:xfrm>
            <a:solidFill>
              <a:srgbClr val="FFFFFF"/>
            </a:solidFill>
          </p:grpSpPr>
          <p:sp>
            <p:nvSpPr>
              <p:cNvPr id="79" name="Полилиния: фигура 78">
                <a:extLst>
                  <a:ext uri="{FF2B5EF4-FFF2-40B4-BE49-F238E27FC236}">
                    <a16:creationId xmlns:a16="http://schemas.microsoft.com/office/drawing/2014/main" id="{7393735C-74D2-4738-AC66-1CA40B4E0EEB}"/>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dirty="0"/>
              </a:p>
            </p:txBody>
          </p:sp>
          <p:sp>
            <p:nvSpPr>
              <p:cNvPr id="80" name="Полилиния: фигура 79">
                <a:extLst>
                  <a:ext uri="{FF2B5EF4-FFF2-40B4-BE49-F238E27FC236}">
                    <a16:creationId xmlns:a16="http://schemas.microsoft.com/office/drawing/2014/main" id="{36B2CAA4-85F0-469A-8761-973F8058073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81" name="Полилиния: фигура 80">
                <a:extLst>
                  <a:ext uri="{FF2B5EF4-FFF2-40B4-BE49-F238E27FC236}">
                    <a16:creationId xmlns:a16="http://schemas.microsoft.com/office/drawing/2014/main" id="{A503703D-4D77-4897-B348-E1ED11EBC1C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dirty="0"/>
              </a:p>
            </p:txBody>
          </p:sp>
          <p:sp>
            <p:nvSpPr>
              <p:cNvPr id="82" name="Полилиния: фигура 81">
                <a:extLst>
                  <a:ext uri="{FF2B5EF4-FFF2-40B4-BE49-F238E27FC236}">
                    <a16:creationId xmlns:a16="http://schemas.microsoft.com/office/drawing/2014/main" id="{876408F3-04AC-4A75-95B9-9F2E98C3C128}"/>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83" name="Полилиния: фигура 82">
                <a:extLst>
                  <a:ext uri="{FF2B5EF4-FFF2-40B4-BE49-F238E27FC236}">
                    <a16:creationId xmlns:a16="http://schemas.microsoft.com/office/drawing/2014/main" id="{C3532461-17D5-43E0-ACB8-3062FFA0F5A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84" name="Полилиния: фигура 83">
                <a:extLst>
                  <a:ext uri="{FF2B5EF4-FFF2-40B4-BE49-F238E27FC236}">
                    <a16:creationId xmlns:a16="http://schemas.microsoft.com/office/drawing/2014/main" id="{F63AF163-A08C-4CA9-9929-18ACAD8E548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dirty="0"/>
              </a:p>
            </p:txBody>
          </p:sp>
          <p:sp>
            <p:nvSpPr>
              <p:cNvPr id="85" name="Полилиния: фигура 84">
                <a:extLst>
                  <a:ext uri="{FF2B5EF4-FFF2-40B4-BE49-F238E27FC236}">
                    <a16:creationId xmlns:a16="http://schemas.microsoft.com/office/drawing/2014/main" id="{052A014E-4CFA-46E5-8BAF-EBF1D53CD7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86" name="Полилиния: фигура 85">
                <a:extLst>
                  <a:ext uri="{FF2B5EF4-FFF2-40B4-BE49-F238E27FC236}">
                    <a16:creationId xmlns:a16="http://schemas.microsoft.com/office/drawing/2014/main" id="{B77F68C1-2474-4A4E-9828-CAB55D8AD94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87" name="Полилиния: фигура 86">
                <a:extLst>
                  <a:ext uri="{FF2B5EF4-FFF2-40B4-BE49-F238E27FC236}">
                    <a16:creationId xmlns:a16="http://schemas.microsoft.com/office/drawing/2014/main" id="{F8E4829D-EAD9-461D-9F17-A95E955F1A25}"/>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dirty="0"/>
              </a:p>
            </p:txBody>
          </p:sp>
          <p:sp>
            <p:nvSpPr>
              <p:cNvPr id="88" name="Полилиния: фигура 87">
                <a:extLst>
                  <a:ext uri="{FF2B5EF4-FFF2-40B4-BE49-F238E27FC236}">
                    <a16:creationId xmlns:a16="http://schemas.microsoft.com/office/drawing/2014/main" id="{3A8A2161-FC25-469C-8ED8-612BBEF689B7}"/>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89" name="Полилиния: фигура 88">
                <a:extLst>
                  <a:ext uri="{FF2B5EF4-FFF2-40B4-BE49-F238E27FC236}">
                    <a16:creationId xmlns:a16="http://schemas.microsoft.com/office/drawing/2014/main" id="{CD25B9FB-36AA-4AC3-BCD3-52DA359FC664}"/>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dirty="0"/>
              </a:p>
            </p:txBody>
          </p:sp>
          <p:sp>
            <p:nvSpPr>
              <p:cNvPr id="90" name="Полилиния: фигура 89">
                <a:extLst>
                  <a:ext uri="{FF2B5EF4-FFF2-40B4-BE49-F238E27FC236}">
                    <a16:creationId xmlns:a16="http://schemas.microsoft.com/office/drawing/2014/main" id="{7CF9F08D-15C5-48A9-9A62-4CB64F9A53A5}"/>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91" name="Полилиния: фигура 90">
                <a:extLst>
                  <a:ext uri="{FF2B5EF4-FFF2-40B4-BE49-F238E27FC236}">
                    <a16:creationId xmlns:a16="http://schemas.microsoft.com/office/drawing/2014/main" id="{BE5B5B32-764C-4B3B-90F8-7EF0D1228858}"/>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dirty="0"/>
              </a:p>
            </p:txBody>
          </p:sp>
          <p:sp>
            <p:nvSpPr>
              <p:cNvPr id="92" name="Полилиния: фигура 91">
                <a:extLst>
                  <a:ext uri="{FF2B5EF4-FFF2-40B4-BE49-F238E27FC236}">
                    <a16:creationId xmlns:a16="http://schemas.microsoft.com/office/drawing/2014/main" id="{49E35AA8-C017-474E-B526-D06C4F3152DA}"/>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dirty="0"/>
              </a:p>
            </p:txBody>
          </p:sp>
          <p:sp>
            <p:nvSpPr>
              <p:cNvPr id="93" name="Полилиния: фигура 92">
                <a:extLst>
                  <a:ext uri="{FF2B5EF4-FFF2-40B4-BE49-F238E27FC236}">
                    <a16:creationId xmlns:a16="http://schemas.microsoft.com/office/drawing/2014/main" id="{87AA8FCF-0290-4923-868F-291038BFA963}"/>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dirty="0"/>
              </a:p>
            </p:txBody>
          </p:sp>
          <p:sp>
            <p:nvSpPr>
              <p:cNvPr id="94" name="Полилиния: фигура 93">
                <a:extLst>
                  <a:ext uri="{FF2B5EF4-FFF2-40B4-BE49-F238E27FC236}">
                    <a16:creationId xmlns:a16="http://schemas.microsoft.com/office/drawing/2014/main" id="{13A2101F-256F-42E7-8470-ABE0D70F89DF}"/>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dirty="0"/>
              </a:p>
            </p:txBody>
          </p:sp>
          <p:sp>
            <p:nvSpPr>
              <p:cNvPr id="95" name="Полилиния: фигура 94">
                <a:extLst>
                  <a:ext uri="{FF2B5EF4-FFF2-40B4-BE49-F238E27FC236}">
                    <a16:creationId xmlns:a16="http://schemas.microsoft.com/office/drawing/2014/main" id="{60F07C11-02B4-4966-8074-262390D60727}"/>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dirty="0"/>
              </a:p>
            </p:txBody>
          </p:sp>
          <p:sp>
            <p:nvSpPr>
              <p:cNvPr id="96" name="Полилиния: фигура 95">
                <a:extLst>
                  <a:ext uri="{FF2B5EF4-FFF2-40B4-BE49-F238E27FC236}">
                    <a16:creationId xmlns:a16="http://schemas.microsoft.com/office/drawing/2014/main" id="{B5C1DA0F-CD10-402C-A979-B8837E66D98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dirty="0"/>
              </a:p>
            </p:txBody>
          </p:sp>
          <p:sp>
            <p:nvSpPr>
              <p:cNvPr id="97" name="Полилиния: фигура 96">
                <a:extLst>
                  <a:ext uri="{FF2B5EF4-FFF2-40B4-BE49-F238E27FC236}">
                    <a16:creationId xmlns:a16="http://schemas.microsoft.com/office/drawing/2014/main" id="{FCAF9270-54EA-462A-AD41-51BBCFC4A59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dirty="0"/>
              </a:p>
            </p:txBody>
          </p:sp>
          <p:sp>
            <p:nvSpPr>
              <p:cNvPr id="98" name="Полилиния: фигура 97">
                <a:extLst>
                  <a:ext uri="{FF2B5EF4-FFF2-40B4-BE49-F238E27FC236}">
                    <a16:creationId xmlns:a16="http://schemas.microsoft.com/office/drawing/2014/main" id="{1062A411-403B-469C-9760-500F54B4B6FE}"/>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dirty="0"/>
              </a:p>
            </p:txBody>
          </p:sp>
          <p:sp>
            <p:nvSpPr>
              <p:cNvPr id="99" name="Полилиния: фигура 98">
                <a:extLst>
                  <a:ext uri="{FF2B5EF4-FFF2-40B4-BE49-F238E27FC236}">
                    <a16:creationId xmlns:a16="http://schemas.microsoft.com/office/drawing/2014/main" id="{C2E21D55-DCDD-4A13-BA01-EFE79DD125C9}"/>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dirty="0"/>
              </a:p>
            </p:txBody>
          </p:sp>
          <p:sp>
            <p:nvSpPr>
              <p:cNvPr id="100" name="Полилиния: фигура 99">
                <a:extLst>
                  <a:ext uri="{FF2B5EF4-FFF2-40B4-BE49-F238E27FC236}">
                    <a16:creationId xmlns:a16="http://schemas.microsoft.com/office/drawing/2014/main" id="{259D53F7-1DCF-4F74-B647-5EBF301818BE}"/>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214169038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Пользовательский макет">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9A169BB1-C026-489B-AAB4-89A1809FCAED}"/>
              </a:ext>
            </a:extLst>
          </p:cNvPr>
          <p:cNvSpPr txBox="1"/>
          <p:nvPr userDrawn="1"/>
        </p:nvSpPr>
        <p:spPr>
          <a:xfrm>
            <a:off x="417040" y="426641"/>
            <a:ext cx="7720761" cy="524465"/>
          </a:xfrm>
          <a:prstGeom prst="rect">
            <a:avLst/>
          </a:prstGeom>
        </p:spPr>
        <p:txBody>
          <a:bodyPr lIns="0" tIns="0" rIns="0" bIns="0"/>
          <a:lstStyle>
            <a:lvl1pPr defTabSz="914400">
              <a:lnSpc>
                <a:spcPts val="4200"/>
              </a:lnSpc>
              <a:spcBef>
                <a:spcPct val="0"/>
              </a:spcBef>
              <a:buNone/>
              <a:defRPr sz="4000">
                <a:latin typeface="+mj-lt"/>
                <a:ea typeface="+mj-ea"/>
                <a:cs typeface="+mj-cs"/>
              </a:defRPr>
            </a:lvl1pPr>
          </a:lstStyle>
          <a:p>
            <a:pPr lvl="0"/>
            <a:r>
              <a:rPr lang="ru-RU" sz="3527" dirty="0"/>
              <a:t>Набор выделителей-маркеров</a:t>
            </a:r>
          </a:p>
        </p:txBody>
      </p:sp>
    </p:spTree>
    <p:extLst>
      <p:ext uri="{BB962C8B-B14F-4D97-AF65-F5344CB8AC3E}">
        <p14:creationId xmlns:p14="http://schemas.microsoft.com/office/powerpoint/2010/main" val="160046020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97019064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7561298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5934086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61027163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0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3976022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6" y="419101"/>
            <a:ext cx="5569331" cy="1011236"/>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7" y="2158929"/>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176022917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1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48087339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5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91089008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6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6F1591DC-C29F-4CF6-A136-C504407CE3E7}"/>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96882499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7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074D241D-2857-4CB0-8CC6-C1536CA2882D}"/>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97277697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10599742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7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06119645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8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82895223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2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73938981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19955220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6000233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6" y="419101"/>
            <a:ext cx="5569331" cy="1011236"/>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7" y="2158929"/>
            <a:ext cx="4599513" cy="1969631"/>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2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13175249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solidFill>
            <a:schemeClr val="accent1"/>
          </a:solidFill>
        </p:spPr>
        <p:txBody>
          <a:bodyPr wrap="none" lIns="72000" tIns="72000" rIns="72000" bIns="0">
            <a:spAutoFit/>
          </a:bodyPr>
          <a:lstStyle>
            <a:lvl1pPr>
              <a:lnSpc>
                <a:spcPts val="3702"/>
              </a:lnSpc>
              <a:defRPr sz="3526">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18702"/>
            <a:ext cx="2851256" cy="502400"/>
          </a:xfrm>
          <a:prstGeom prst="rect">
            <a:avLst/>
          </a:prstGeom>
          <a:solidFill>
            <a:schemeClr val="accent1"/>
          </a:solidFill>
        </p:spPr>
        <p:txBody>
          <a:bodyPr wrap="none" lIns="72000" tIns="0" rIns="72000" bIns="0">
            <a:spAutoFit/>
          </a:bodyPr>
          <a:lstStyle>
            <a:lvl1pPr>
              <a:defRPr lang="ru-RU" sz="3526"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162689443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solidFill>
            <a:schemeClr val="accent1"/>
          </a:solidFill>
        </p:spPr>
        <p:txBody>
          <a:bodyPr wrap="none" lIns="72000" tIns="72000" rIns="72000" bIns="0">
            <a:spAutoFit/>
          </a:bodyPr>
          <a:lstStyle>
            <a:lvl1pPr>
              <a:lnSpc>
                <a:spcPts val="3702"/>
              </a:lnSpc>
              <a:defRPr sz="3526">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18702"/>
            <a:ext cx="2851256" cy="502400"/>
          </a:xfrm>
          <a:prstGeom prst="rect">
            <a:avLst/>
          </a:prstGeom>
          <a:solidFill>
            <a:schemeClr val="accent1"/>
          </a:solidFill>
        </p:spPr>
        <p:txBody>
          <a:bodyPr wrap="none" lIns="72000" tIns="0" rIns="72000" bIns="0">
            <a:spAutoFit/>
          </a:bodyPr>
          <a:lstStyle>
            <a:lvl1pPr>
              <a:defRPr lang="ru-RU" sz="3526"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127162975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4" y="1166813"/>
            <a:ext cx="4253066" cy="556366"/>
          </a:xfrm>
          <a:prstGeom prst="rect">
            <a:avLst/>
          </a:prstGeom>
          <a:solidFill>
            <a:schemeClr val="bg1"/>
          </a:solidFill>
        </p:spPr>
        <p:txBody>
          <a:bodyPr wrap="none" lIns="72000" tIns="72000" rIns="72000" bIns="0">
            <a:spAutoFit/>
          </a:bodyPr>
          <a:lstStyle>
            <a:lvl1pPr>
              <a:lnSpc>
                <a:spcPts val="3702"/>
              </a:lnSpc>
              <a:defRPr sz="3526">
                <a:solidFill>
                  <a:schemeClr val="tx1"/>
                </a:solidFill>
              </a:defRPr>
            </a:lvl1pPr>
          </a:lstStyle>
          <a:p>
            <a:r>
              <a:rPr lang="ru-RU" dirty="0"/>
              <a:t>Заголовок раздела</a:t>
            </a:r>
          </a:p>
        </p:txBody>
      </p:sp>
      <p:sp>
        <p:nvSpPr>
          <p:cNvPr id="5" name="Текст 9">
            <a:extLst>
              <a:ext uri="{FF2B5EF4-FFF2-40B4-BE49-F238E27FC236}">
                <a16:creationId xmlns:a16="http://schemas.microsoft.com/office/drawing/2014/main" id="{B7CA871B-387E-4CC6-A5FD-EBE782541D5D}"/>
              </a:ext>
            </a:extLst>
          </p:cNvPr>
          <p:cNvSpPr>
            <a:spLocks noGrp="1"/>
          </p:cNvSpPr>
          <p:nvPr>
            <p:ph type="body" sz="quarter" idx="11" hasCustomPrompt="1"/>
          </p:nvPr>
        </p:nvSpPr>
        <p:spPr>
          <a:xfrm>
            <a:off x="417036" y="1720804"/>
            <a:ext cx="2851256" cy="502400"/>
          </a:xfrm>
          <a:prstGeom prst="rect">
            <a:avLst/>
          </a:prstGeom>
          <a:solidFill>
            <a:schemeClr val="bg1"/>
          </a:solidFill>
        </p:spPr>
        <p:txBody>
          <a:bodyPr wrap="none" lIns="72000" tIns="0" rIns="72000" bIns="0">
            <a:spAutoFit/>
          </a:bodyPr>
          <a:lstStyle>
            <a:lvl1pPr>
              <a:defRPr lang="ru-RU" sz="3526" b="0" smtClean="0">
                <a:solidFill>
                  <a:schemeClr val="tx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grpSp>
        <p:nvGrpSpPr>
          <p:cNvPr id="2" name="Группа 1">
            <a:extLst>
              <a:ext uri="{FF2B5EF4-FFF2-40B4-BE49-F238E27FC236}">
                <a16:creationId xmlns:a16="http://schemas.microsoft.com/office/drawing/2014/main" id="{184AE344-B5F3-4225-8535-B40AFFEB73B4}"/>
              </a:ext>
            </a:extLst>
          </p:cNvPr>
          <p:cNvGrpSpPr/>
          <p:nvPr userDrawn="1"/>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40804460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286926095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bg1"/>
                </a:solidFill>
              </a:defRPr>
            </a:lvl1pPr>
          </a:lstStyle>
          <a:p>
            <a:r>
              <a:rPr lang="ru-RU" dirty="0"/>
              <a:t>Заголовок раздела</a:t>
            </a:r>
          </a:p>
        </p:txBody>
      </p:sp>
    </p:spTree>
    <p:extLst>
      <p:ext uri="{BB962C8B-B14F-4D97-AF65-F5344CB8AC3E}">
        <p14:creationId xmlns:p14="http://schemas.microsoft.com/office/powerpoint/2010/main" val="411003398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bg1"/>
                </a:solidFill>
              </a:defRPr>
            </a:lvl1pPr>
          </a:lstStyle>
          <a:p>
            <a:r>
              <a:rPr lang="ru-RU" dirty="0"/>
              <a:t>Заголовок раздела</a:t>
            </a:r>
          </a:p>
        </p:txBody>
      </p:sp>
      <p:grpSp>
        <p:nvGrpSpPr>
          <p:cNvPr id="2" name="Группа 1">
            <a:extLst>
              <a:ext uri="{FF2B5EF4-FFF2-40B4-BE49-F238E27FC236}">
                <a16:creationId xmlns:a16="http://schemas.microsoft.com/office/drawing/2014/main" id="{6FEBC6B2-51B5-4E2F-ADB0-C45F51C04056}"/>
              </a:ext>
            </a:extLst>
          </p:cNvPr>
          <p:cNvGrpSpPr/>
          <p:nvPr userDrawn="1"/>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47714113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389355894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4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lumMod val="25000"/>
            </a:schemeClr>
          </a:solidFill>
        </p:spPr>
        <p:txBody>
          <a:bodyPr anchor="ctr"/>
          <a:lstStyle>
            <a:lvl1pPr algn="ctr">
              <a:defRPr lang="ru-RU" dirty="0">
                <a:solidFill>
                  <a:schemeClr val="bg1"/>
                </a:solidFill>
              </a:defRPr>
            </a:lvl1pPr>
          </a:lstStyle>
          <a:p>
            <a:pPr lvl="0" algn="ct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400732611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контакты с картой">
    <p:spTree>
      <p:nvGrpSpPr>
        <p:cNvPr id="1" name=""/>
        <p:cNvGrpSpPr/>
        <p:nvPr/>
      </p:nvGrpSpPr>
      <p:grpSpPr>
        <a:xfrm>
          <a:off x="0" y="0"/>
          <a:ext cx="0" cy="0"/>
          <a:chOff x="0" y="0"/>
          <a:chExt cx="0" cy="0"/>
        </a:xfrm>
      </p:grpSpPr>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1385788" y="2809969"/>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Центральный офис </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1385788" y="3215136"/>
            <a:ext cx="4591260" cy="456641"/>
          </a:xfrm>
          <a:prstGeom prst="rect">
            <a:avLst/>
          </a:prstGeom>
        </p:spPr>
        <p:txBody>
          <a:bodyPr lIns="0" tIns="0" rIns="0" bIns="0"/>
          <a:lstStyle>
            <a:lvl1pPr>
              <a:lnSpc>
                <a:spcPct val="100000"/>
              </a:lnSpc>
              <a:spcBef>
                <a:spcPts val="0"/>
              </a:spcBef>
              <a:defRPr sz="2468" b="0" strike="noStrike">
                <a:solidFill>
                  <a:schemeClr val="tx1"/>
                </a:solidFill>
                <a:latin typeface="+mj-lt"/>
                <a:ea typeface="Rostelecom Basis" panose="020B0503040504020204" pitchFamily="34" charset="-52"/>
              </a:defRPr>
            </a:lvl1pPr>
          </a:lstStyle>
          <a:p>
            <a:pPr lvl="0"/>
            <a:r>
              <a:rPr lang="ru-RU" dirty="0"/>
              <a:t>Москва, ул. Гончарная, 30с1</a:t>
            </a:r>
          </a:p>
        </p:txBody>
      </p:sp>
      <p:pic>
        <p:nvPicPr>
          <p:cNvPr id="2" name="Рисунок 1">
            <a:extLst>
              <a:ext uri="{FF2B5EF4-FFF2-40B4-BE49-F238E27FC236}">
                <a16:creationId xmlns:a16="http://schemas.microsoft.com/office/drawing/2014/main" id="{E3E2A300-4F5C-4EAD-85A6-F5191BA3FE3C}"/>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17514" y="418821"/>
            <a:ext cx="3316778" cy="849518"/>
          </a:xfrm>
          <a:prstGeom prst="rect">
            <a:avLst/>
          </a:prstGeom>
        </p:spPr>
      </p:pic>
      <p:sp>
        <p:nvSpPr>
          <p:cNvPr id="12" name="Текст 14">
            <a:extLst>
              <a:ext uri="{FF2B5EF4-FFF2-40B4-BE49-F238E27FC236}">
                <a16:creationId xmlns:a16="http://schemas.microsoft.com/office/drawing/2014/main" id="{343F05C0-34A6-46C3-BA12-9FFF1BB86C43}"/>
              </a:ext>
            </a:extLst>
          </p:cNvPr>
          <p:cNvSpPr>
            <a:spLocks noGrp="1"/>
          </p:cNvSpPr>
          <p:nvPr>
            <p:ph type="body" sz="quarter" idx="69" hasCustomPrompt="1"/>
          </p:nvPr>
        </p:nvSpPr>
        <p:spPr>
          <a:xfrm>
            <a:off x="1385788" y="403232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7 (499) 999-82-83 </a:t>
            </a:r>
          </a:p>
        </p:txBody>
      </p:sp>
      <p:sp>
        <p:nvSpPr>
          <p:cNvPr id="18" name="Текст 14">
            <a:extLst>
              <a:ext uri="{FF2B5EF4-FFF2-40B4-BE49-F238E27FC236}">
                <a16:creationId xmlns:a16="http://schemas.microsoft.com/office/drawing/2014/main" id="{CB2D70F3-7DAB-4B7D-954C-321676FD680D}"/>
              </a:ext>
            </a:extLst>
          </p:cNvPr>
          <p:cNvSpPr>
            <a:spLocks noGrp="1"/>
          </p:cNvSpPr>
          <p:nvPr>
            <p:ph type="body" sz="quarter" idx="70" hasCustomPrompt="1"/>
          </p:nvPr>
        </p:nvSpPr>
        <p:spPr>
          <a:xfrm>
            <a:off x="1385788" y="433176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en-US" dirty="0"/>
              <a:t>rostelecom@rt.ru </a:t>
            </a:r>
            <a:endParaRPr lang="ru-RU" dirty="0"/>
          </a:p>
        </p:txBody>
      </p:sp>
      <p:sp>
        <p:nvSpPr>
          <p:cNvPr id="19" name="Рисунок 3">
            <a:extLst>
              <a:ext uri="{FF2B5EF4-FFF2-40B4-BE49-F238E27FC236}">
                <a16:creationId xmlns:a16="http://schemas.microsoft.com/office/drawing/2014/main" id="{37EC9C42-BA90-4460-97F7-383718696CE0}"/>
              </a:ext>
            </a:extLst>
          </p:cNvPr>
          <p:cNvSpPr>
            <a:spLocks noGrp="1"/>
          </p:cNvSpPr>
          <p:nvPr>
            <p:ph type="pic" sz="quarter" idx="57" hasCustomPrompt="1"/>
          </p:nvPr>
        </p:nvSpPr>
        <p:spPr>
          <a:xfrm>
            <a:off x="6205157" y="0"/>
            <a:ext cx="5986843" cy="6858000"/>
          </a:xfrm>
          <a:prstGeom prst="rect">
            <a:avLst/>
          </a:prstGeom>
          <a:solidFill>
            <a:schemeClr val="bg1">
              <a:lumMod val="95000"/>
            </a:schemeClr>
          </a:solidFill>
        </p:spPr>
        <p:txBody>
          <a:bodyPr anchor="ctr"/>
          <a:lstStyle>
            <a:lvl1pPr algn="ctr">
              <a:defRPr sz="1763" b="0"/>
            </a:lvl1pPr>
          </a:lstStyle>
          <a:p>
            <a:r>
              <a:rPr lang="ru-RU" dirty="0"/>
              <a:t>Карта</a:t>
            </a:r>
          </a:p>
        </p:txBody>
      </p:sp>
      <p:pic>
        <p:nvPicPr>
          <p:cNvPr id="3" name="Рисунок 2">
            <a:extLst>
              <a:ext uri="{FF2B5EF4-FFF2-40B4-BE49-F238E27FC236}">
                <a16:creationId xmlns:a16="http://schemas.microsoft.com/office/drawing/2014/main" id="{19FA6A69-DE07-4644-B415-61DA402D5C9D}"/>
              </a:ext>
            </a:extLst>
          </p:cNvPr>
          <p:cNvPicPr>
            <a:picLocks noChangeAspect="1"/>
          </p:cNvPicPr>
          <p:nvPr userDrawn="1"/>
        </p:nvPicPr>
        <p:blipFill>
          <a:blip r:embed="rId4">
            <a:extLst>
              <a:ext uri="{96DAC541-7B7A-43D3-8B79-37D633B846F1}">
                <asvg:svgBlip xmlns:asvg="http://schemas.microsoft.com/office/drawing/2016/SVG/main" xmlns="" r:embed="rId5"/>
              </a:ext>
            </a:extLst>
          </a:blip>
          <a:stretch>
            <a:fillRect/>
          </a:stretch>
        </p:blipFill>
        <p:spPr>
          <a:xfrm>
            <a:off x="538651" y="2809969"/>
            <a:ext cx="446704" cy="670672"/>
          </a:xfrm>
          <a:prstGeom prst="rect">
            <a:avLst/>
          </a:prstGeom>
        </p:spPr>
      </p:pic>
    </p:spTree>
    <p:extLst>
      <p:ext uri="{BB962C8B-B14F-4D97-AF65-F5344CB8AC3E}">
        <p14:creationId xmlns:p14="http://schemas.microsoft.com/office/powerpoint/2010/main" val="100014738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0371C666-2605-4E6C-931E-2B94EAB1DF37}"/>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E7243789-F54D-47E8-899E-A16D3B83E9B1}"/>
              </a:ext>
            </a:extLst>
          </p:cNvPr>
          <p:cNvSpPr>
            <a:spLocks noGrp="1"/>
          </p:cNvSpPr>
          <p:nvPr>
            <p:ph type="body" sz="quarter" idx="24"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C1438913-78CD-4BDF-9AEE-B931FDD79F07}"/>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BD86835F-EE05-4EFB-8F67-59F801DD9A45}"/>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DEFAF73C-DCF4-4716-9426-999859F702CC}"/>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501AEFEF-FEF2-428A-923C-7509E355D622}"/>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BD0D7565-7AE1-4BF3-B0A9-74AEC796F85D}"/>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4D318DB0-704E-4686-8321-275E394C0D6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69ECC171-CBCA-4830-8A69-F1680CD3A2A0}"/>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6BFF2E0-5D95-4925-AF43-229E4F40D063}"/>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7B0278FA-4EEB-481D-B0DE-9629489CFFC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57961734-335F-4CCC-AB08-67B5CC3F7779}"/>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4916AE1-159A-479B-9E17-0227D7369D2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C1223CC-C0C5-4878-8C5E-723E17570855}"/>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B0728CBD-E2F3-4F9E-B100-78A65E21CB29}"/>
              </a:ext>
            </a:extLst>
          </p:cNvPr>
          <p:cNvGrpSpPr/>
          <p:nvPr userDrawn="1"/>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62F3E3F5-24F6-498A-93CC-CA7ACD45DC6B}"/>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1C9783A5-E4E2-4AEF-AE8E-5DAF53153005}"/>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36B6E78D-5BF5-43EA-829E-CF7073DB63C6}"/>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61529A89-6807-4152-9AAD-7B0FB40E2BAF}"/>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0BD70C6A-9D3C-46E5-AB6A-FE33FC483CB0}"/>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5B6E5F1E-A808-438B-A9C3-C5F9C41E7BC6}"/>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567DE91E-7DDD-410F-8BFD-A21C4B92166C}"/>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7397149B-FD6A-4B52-9B52-42A6F3739828}"/>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0B3F7717-B1D3-483C-8D75-455DA51C4D4C}"/>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EDBDC90A-6F6C-4434-A58E-752EFBDBB856}"/>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2DB2E0C9-3EA4-412C-8F1A-D3CEC75C8CB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87338948-E890-4ED6-AE77-7C97CD3B5E9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A6C57E86-918B-488B-A7B3-48F7DD566D20}"/>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B921BE76-56CF-40A0-91F6-F56F5D462AD8}"/>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80D1D5E7-5D33-4AEB-B93C-3E524A9D2EFB}"/>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8069FC91-5E2F-4272-8533-2B31A351CBD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98CB319-8876-43BD-927B-1B5FD6A20EC9}"/>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22D8C9D2-C8EB-4978-BE7A-26A070CE59CC}"/>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A408EDAE-41F4-4E83-9E84-69EF4F9B63B0}"/>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8550D452-7AEB-4487-AAE0-6978B26E24F9}"/>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B1642EF5-3AF5-48DE-832B-CF1DB2CB2733}"/>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754ECE2A-41EF-454E-8F4A-FE7A5924ED97}"/>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10070D1D-B652-46FB-9A0B-19D67726FC2F}"/>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4FCD12D1-74EB-4162-829A-CD9C4A94ABEF}"/>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AE2D753D-BECD-49B0-A45B-E377DCD3CE3F}"/>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4131108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2" y="3065929"/>
            <a:ext cx="4419116" cy="35543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6"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81" y="3065929"/>
            <a:ext cx="4416585" cy="35543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9"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420962642"/>
      </p:ext>
    </p:extLst>
  </p:cSld>
  <p:clrMapOvr>
    <a:masterClrMapping/>
  </p:clrMapOvr>
  <p:extLst mod="1">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BB286E9D-4A95-441B-9433-7CAD40A5AECA}"/>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D58DC37B-78B5-4083-BB5E-8C3D20756790}"/>
              </a:ext>
            </a:extLst>
          </p:cNvPr>
          <p:cNvSpPr>
            <a:spLocks noGrp="1"/>
          </p:cNvSpPr>
          <p:nvPr>
            <p:ph type="body" sz="quarter" idx="24"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CDDD78D-4AFD-4F28-BDE0-87ED325C71F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B127F33-E0C4-484E-A8E1-0ED6CA5A911A}"/>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D12A6715-A92E-462C-BCE3-C7E5094F4DF6}"/>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1A3F5EF-ADB4-450D-A4E6-CCD5A6632766}"/>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04646FFD-6488-4B9A-9A3F-5842A857AE6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630F1E1A-005A-441A-B3A6-AEF4E2B31BB9}"/>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87220AB-F0F5-4BCF-993F-B4A81A2CECED}"/>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83A37FD-6E30-4879-AD5C-E5F1DE5814F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294173F1-CD1B-490B-99F3-4472FAB5019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3E4370D0-CD0F-43BF-848B-A42CC1B78AE3}"/>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A58B061-DE2B-4AB2-8357-8EE53D87BEC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EB8FDAD6-E828-4937-9236-FD35307FA7F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27D4141A-A46A-48C4-B726-16FF881A0634}"/>
              </a:ext>
            </a:extLst>
          </p:cNvPr>
          <p:cNvGrpSpPr/>
          <p:nvPr userDrawn="1"/>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EEAF0323-EC87-4E1F-ABE7-C9482865C375}"/>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550EC2D7-107E-4E4B-9588-08A4EA8CD556}"/>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C25841FC-4C11-4104-8CF8-BCFD768E0621}"/>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825E57E4-5D6E-444A-A9A8-D3570F0163A2}"/>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F86007ED-C7B5-4123-8454-CC691E876A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1ADEB15B-011A-4DB8-8DE6-CF516E1BB4BE}"/>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C4192CD7-043F-438C-B0BD-0F5EE615583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136CD97C-C691-44B3-BCD6-C772C54D09E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190A6D8B-4BEF-40E9-8FA0-5BE0CC7C2DF1}"/>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F726FDE0-6098-4425-A5F4-69C59AC508F0}"/>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35662C93-D66D-466F-8CDC-2413E7DBCA9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7C707321-EAD3-4F8F-85D9-F7B8966BF544}"/>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06873F35-D1B3-4204-B5FD-E6D2970BF47C}"/>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D2202D4-F4B9-43E0-B29A-278655DC334A}"/>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97370960-AF8F-46A4-A1A2-458F9A7D389A}"/>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C3F9B3A2-3E8D-457F-AE8E-D0C04B4E776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16F6E03A-D087-406B-AD2E-FE9DE4E18BDF}"/>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C20F25E4-8177-42E4-A41F-38DFC9D0C385}"/>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592ECA8F-37A9-4B05-9371-CEF76C7D9B1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0FDEAFE5-E626-449F-B030-E4BA86873AA4}"/>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4DAE6C28-A9E3-4928-8E66-D683D70A8FEC}"/>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BE980FD3-7264-4701-8D99-15E6143C52C9}"/>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374C0A3E-9045-47FA-B9B2-1F5D8FBFD45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7DF5AA4F-F9DC-45E5-AE14-FFB5EC718C6C}"/>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74C0AE16-F32A-4D68-A34D-14796B9DBB44}"/>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53826272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8" name="Текст 22">
            <a:extLst>
              <a:ext uri="{FF2B5EF4-FFF2-40B4-BE49-F238E27FC236}">
                <a16:creationId xmlns:a16="http://schemas.microsoft.com/office/drawing/2014/main" id="{56BC6E93-5D38-443A-AEC0-8285E14AE003}"/>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B5FAC386-9BC7-4450-9ACA-7FC8E665EA0F}"/>
              </a:ext>
            </a:extLst>
          </p:cNvPr>
          <p:cNvSpPr>
            <a:spLocks noGrp="1"/>
          </p:cNvSpPr>
          <p:nvPr>
            <p:ph type="body" sz="quarter" idx="22"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2705120-3F07-44D3-BF01-38555B5CE5A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28E17CE5-5105-4F66-BB80-217F867AA25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A7FB1D01-F055-45E7-B6B9-4AAFCF3E1A5D}"/>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9B3D799-EEB7-4009-A9DA-B72EB7084488}"/>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CADB25CB-8730-4234-856E-0A5906BCE74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008A1576-8FBE-4920-8257-A4214B54E1CB}"/>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B6B642E6-9405-4DA0-9160-D9C67BBC7B8E}"/>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63178C04-9558-4361-8FE2-611204C3457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04ADA4FA-96DA-4B2E-9B81-9342E56FC64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E339B585-4B2F-4F17-97DD-E1822B2DCB6D}"/>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2D40C61B-9A45-4269-B365-B3C2930B6B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0D4516EA-4E59-489D-B011-E487625FF0F2}"/>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1" name="Рисунок 57">
            <a:extLst>
              <a:ext uri="{FF2B5EF4-FFF2-40B4-BE49-F238E27FC236}">
                <a16:creationId xmlns:a16="http://schemas.microsoft.com/office/drawing/2014/main" id="{E9B69683-D32B-404D-99B5-F9F2FDBDCA37}"/>
              </a:ext>
            </a:extLst>
          </p:cNvPr>
          <p:cNvGrpSpPr/>
          <p:nvPr userDrawn="1"/>
        </p:nvGrpSpPr>
        <p:grpSpPr>
          <a:xfrm>
            <a:off x="8136198" y="3576598"/>
            <a:ext cx="4055802" cy="3281403"/>
            <a:chOff x="9229500" y="4053477"/>
            <a:chExt cx="4600800" cy="3718923"/>
          </a:xfrm>
        </p:grpSpPr>
        <p:sp>
          <p:nvSpPr>
            <p:cNvPr id="52" name="Полилиния: фигура 51">
              <a:extLst>
                <a:ext uri="{FF2B5EF4-FFF2-40B4-BE49-F238E27FC236}">
                  <a16:creationId xmlns:a16="http://schemas.microsoft.com/office/drawing/2014/main" id="{4856A306-2482-468D-8D76-06267CC6AAE6}"/>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3" name="Полилиния: фигура 52">
              <a:extLst>
                <a:ext uri="{FF2B5EF4-FFF2-40B4-BE49-F238E27FC236}">
                  <a16:creationId xmlns:a16="http://schemas.microsoft.com/office/drawing/2014/main" id="{F2D561B4-B8EC-4174-A8B8-1AED4956BE19}"/>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4" name="Рисунок 57">
              <a:extLst>
                <a:ext uri="{FF2B5EF4-FFF2-40B4-BE49-F238E27FC236}">
                  <a16:creationId xmlns:a16="http://schemas.microsoft.com/office/drawing/2014/main" id="{27A62E3F-A15A-42D9-8C4F-AA15D7F9E028}"/>
                </a:ext>
              </a:extLst>
            </p:cNvPr>
            <p:cNvGrpSpPr/>
            <p:nvPr/>
          </p:nvGrpSpPr>
          <p:grpSpPr>
            <a:xfrm>
              <a:off x="11333699" y="6786611"/>
              <a:ext cx="2054294" cy="554420"/>
              <a:chOff x="11333699" y="6786611"/>
              <a:chExt cx="2054294" cy="554420"/>
            </a:xfrm>
            <a:solidFill>
              <a:srgbClr val="FFFFFF"/>
            </a:solidFill>
          </p:grpSpPr>
          <p:sp>
            <p:nvSpPr>
              <p:cNvPr id="55" name="Полилиния: фигура 54">
                <a:extLst>
                  <a:ext uri="{FF2B5EF4-FFF2-40B4-BE49-F238E27FC236}">
                    <a16:creationId xmlns:a16="http://schemas.microsoft.com/office/drawing/2014/main" id="{34A3D016-5BA0-4ED6-9ACE-FC34476AAA45}"/>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7953CF65-242E-482F-B2DF-86F253CEEC4D}"/>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9E9A0033-3335-4CBB-AD11-843DA5D6382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3D49E0EE-FB95-4FDD-9468-1CC861D5B6EE}"/>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E6F65BD4-A697-4996-BC84-6404976011FE}"/>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86803931-9E12-4514-8232-3120C28DA74F}"/>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18EF904E-6C25-43AB-ABF3-ED22EADF53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CE2C2FDF-3A4B-44C0-A5FF-7AFA0F08801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86AB470A-01B7-43CF-9E4D-5778BC8EAACC}"/>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026C58BB-31DF-4880-ADAF-251FCE3306A8}"/>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2B0C4947-3E54-4977-9302-0AC82FDAF080}"/>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905CDA91-003C-45DD-A273-AF5326A5F650}"/>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2B8DA1C8-8B81-4317-9183-3DE64177A85A}"/>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BF8F9595-2203-41DD-AF7A-72D43A7B9A37}"/>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CD00A5BB-4889-4BE0-A304-1376FE705A8A}"/>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73A7BDA9-F3A9-475A-8A40-330ADE105D12}"/>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F92FCC6C-0441-444F-A2B5-02CA598CA813}"/>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260FC961-71B3-46E3-AE9F-87D59509CB47}"/>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E92FCF72-7F68-4FAE-8130-51406CF2480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FCF268A1-EAB7-495C-9F96-82FFC8D48161}"/>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9FEEF589-44D5-4D0C-9E80-D2B3988FC1DB}"/>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6763E981-5CE5-48C2-A1E0-927E21E50F3A}"/>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4254345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контакты_4">
    <p:spTree>
      <p:nvGrpSpPr>
        <p:cNvPr id="1" name=""/>
        <p:cNvGrpSpPr/>
        <p:nvPr/>
      </p:nvGrpSpPr>
      <p:grpSpPr>
        <a:xfrm>
          <a:off x="0" y="0"/>
          <a:ext cx="0" cy="0"/>
          <a:chOff x="0" y="0"/>
          <a:chExt cx="0" cy="0"/>
        </a:xfrm>
      </p:grpSpPr>
      <p:sp>
        <p:nvSpPr>
          <p:cNvPr id="69" name="Текст 22">
            <a:extLst>
              <a:ext uri="{FF2B5EF4-FFF2-40B4-BE49-F238E27FC236}">
                <a16:creationId xmlns:a16="http://schemas.microsoft.com/office/drawing/2014/main" id="{E82F1677-475D-47DE-B3CA-E18B1910E66B}"/>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70" name="Текст 22">
            <a:extLst>
              <a:ext uri="{FF2B5EF4-FFF2-40B4-BE49-F238E27FC236}">
                <a16:creationId xmlns:a16="http://schemas.microsoft.com/office/drawing/2014/main" id="{F6644D52-3EBC-4C40-994F-5CBA47274EBA}"/>
              </a:ext>
            </a:extLst>
          </p:cNvPr>
          <p:cNvSpPr>
            <a:spLocks noGrp="1"/>
          </p:cNvSpPr>
          <p:nvPr>
            <p:ph type="body" sz="quarter" idx="22"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26C013BB-B648-4826-BC90-AFD5ECEB1C40}"/>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C28E2596-8DB6-4F41-8790-2F2FCA8F3701}"/>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38CF34C7-2CFB-4311-8605-71FD64465D53}"/>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AE777A4A-0DD8-4113-94C0-9C3680FE770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67A888A3-D7ED-4D14-BDC0-3687A829E4B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799FC612-B681-416C-B7C7-E3777754A8BC}"/>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4282490-FCDB-4502-B362-773987F2B8C3}"/>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7BD04A6E-A091-4E4F-B9B5-904C5FF3C06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464FD514-0A85-4FAB-96C0-0FDF09E701F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3B85137F-21BC-4495-AD6E-5D645319D882}"/>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89F35DDF-2362-48C1-904E-1DE74A6A25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1D8D9070-C2BA-4B5A-8D63-FE784ACEEBF3}"/>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6" name="Рисунок 57">
            <a:extLst>
              <a:ext uri="{FF2B5EF4-FFF2-40B4-BE49-F238E27FC236}">
                <a16:creationId xmlns:a16="http://schemas.microsoft.com/office/drawing/2014/main" id="{02DC70BD-7363-4996-A659-7D562FE75734}"/>
              </a:ext>
            </a:extLst>
          </p:cNvPr>
          <p:cNvGrpSpPr/>
          <p:nvPr userDrawn="1"/>
        </p:nvGrpSpPr>
        <p:grpSpPr>
          <a:xfrm>
            <a:off x="8136198" y="3576598"/>
            <a:ext cx="4055802" cy="3281403"/>
            <a:chOff x="9229500" y="4053477"/>
            <a:chExt cx="4600800" cy="3718923"/>
          </a:xfrm>
        </p:grpSpPr>
        <p:sp>
          <p:nvSpPr>
            <p:cNvPr id="77" name="Полилиния: фигура 76">
              <a:extLst>
                <a:ext uri="{FF2B5EF4-FFF2-40B4-BE49-F238E27FC236}">
                  <a16:creationId xmlns:a16="http://schemas.microsoft.com/office/drawing/2014/main" id="{8286EFC6-E665-4CF9-A9C1-6E1C164E05E1}"/>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F19788FE-C501-4EA8-BD94-2DF9C19001E8}"/>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79" name="Рисунок 57">
              <a:extLst>
                <a:ext uri="{FF2B5EF4-FFF2-40B4-BE49-F238E27FC236}">
                  <a16:creationId xmlns:a16="http://schemas.microsoft.com/office/drawing/2014/main" id="{4D2246A2-1DC1-40B5-9B02-B827A23C0B17}"/>
                </a:ext>
              </a:extLst>
            </p:cNvPr>
            <p:cNvGrpSpPr/>
            <p:nvPr/>
          </p:nvGrpSpPr>
          <p:grpSpPr>
            <a:xfrm>
              <a:off x="11333699" y="6786611"/>
              <a:ext cx="2054294" cy="554420"/>
              <a:chOff x="11333699" y="6786611"/>
              <a:chExt cx="2054294" cy="554420"/>
            </a:xfrm>
            <a:solidFill>
              <a:srgbClr val="FFFFFF"/>
            </a:solidFill>
          </p:grpSpPr>
          <p:sp>
            <p:nvSpPr>
              <p:cNvPr id="80" name="Полилиния: фигура 79">
                <a:extLst>
                  <a:ext uri="{FF2B5EF4-FFF2-40B4-BE49-F238E27FC236}">
                    <a16:creationId xmlns:a16="http://schemas.microsoft.com/office/drawing/2014/main" id="{7CDC0E0A-E46B-4B0A-9F6A-D3732B94A708}"/>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1" name="Полилиния: фигура 80">
                <a:extLst>
                  <a:ext uri="{FF2B5EF4-FFF2-40B4-BE49-F238E27FC236}">
                    <a16:creationId xmlns:a16="http://schemas.microsoft.com/office/drawing/2014/main" id="{EF0CBD5B-3FAA-41C9-BADD-CBB3EF90F6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2" name="Полилиния: фигура 81">
                <a:extLst>
                  <a:ext uri="{FF2B5EF4-FFF2-40B4-BE49-F238E27FC236}">
                    <a16:creationId xmlns:a16="http://schemas.microsoft.com/office/drawing/2014/main" id="{0D6438F7-55B2-4F2B-9F3F-7511B4A663C5}"/>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A750C33A-604D-4433-8FDB-6EF8F23ABB67}"/>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030E56A9-CA49-474F-9990-0E7C83E1C75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136DDB9C-5474-4C1C-AE4E-5B3341B51F20}"/>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01FA4C9B-54A6-4C09-BA75-9D0DBB3E397A}"/>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FDC2F04F-4BB6-433A-8E5A-13153BE779D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F86C597A-B304-4453-AE46-557231C320A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8766849F-AE58-49A9-BE98-0201C50C38C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8518125E-DE11-40F5-8CBC-2863D98710C9}"/>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A4406ABF-008C-43D5-B0AF-AB97F596B87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CF8C1F43-C930-4840-9CA8-FB91542BCD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F5D044BC-70E8-4052-A4D4-A56781F344F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12251EA3-4060-4857-965F-87796D3F6B32}"/>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B61F8117-52E8-4D15-AF1B-5110F17A7F2C}"/>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AB99F188-6397-40A9-B605-820C2D2962C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21B27619-56D2-42C5-9765-9C7FF4C48A9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6BB645C9-0E6A-4609-9501-558B0DEF86CF}"/>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22B648B3-AEBE-4A66-A3BA-AEEAB6EA7E69}"/>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741A2ABC-0827-46AE-BAFA-1A3F5816A93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1" name="Полилиния: фигура 100">
                <a:extLst>
                  <a:ext uri="{FF2B5EF4-FFF2-40B4-BE49-F238E27FC236}">
                    <a16:creationId xmlns:a16="http://schemas.microsoft.com/office/drawing/2014/main" id="{D319D22B-F7C6-4146-AF35-104758D6F6B5}"/>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63272751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50" name="Текст 22">
            <a:extLst>
              <a:ext uri="{FF2B5EF4-FFF2-40B4-BE49-F238E27FC236}">
                <a16:creationId xmlns:a16="http://schemas.microsoft.com/office/drawing/2014/main" id="{6B7ADCA3-99F9-40B7-BB2F-D2BD8641F280}"/>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17001691-A57D-4F3B-9B19-86CC9DDC3888}"/>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8D216E14-0BF1-46BF-89EE-4D5DC3DEE5E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A6460135-83F9-45A3-B6D3-A6C4D6D343D4}"/>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101E3016-404F-479D-80E7-24FC72F8D72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E08E943D-004F-4C10-A7C6-59EBD467F9C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1E8A79A4-50F0-4512-BEB6-2BA85173C7E5}"/>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8DA6E5C9-59E9-4CBE-8327-076A3EB9C57B}"/>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DC6ED969-9A90-48F2-94AA-C2F8CAEE40A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E6E745B0-C99B-45C5-A22D-ECD323885054}"/>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047183EE-2786-44E8-B54F-1130D1668AB0}"/>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919E33B-69A1-454A-94CD-A23AC2CBD54B}"/>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3E9A2EC-B86E-4F98-8836-532308A99FEA}"/>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8" name="Рисунок 57">
            <a:extLst>
              <a:ext uri="{FF2B5EF4-FFF2-40B4-BE49-F238E27FC236}">
                <a16:creationId xmlns:a16="http://schemas.microsoft.com/office/drawing/2014/main" id="{B92E240B-3154-4E05-A780-688DAD61213E}"/>
              </a:ext>
            </a:extLst>
          </p:cNvPr>
          <p:cNvGrpSpPr/>
          <p:nvPr userDrawn="1"/>
        </p:nvGrpSpPr>
        <p:grpSpPr>
          <a:xfrm>
            <a:off x="8136198" y="3576598"/>
            <a:ext cx="4055802" cy="3281403"/>
            <a:chOff x="9229500" y="4053477"/>
            <a:chExt cx="4600800" cy="3718923"/>
          </a:xfrm>
        </p:grpSpPr>
        <p:sp>
          <p:nvSpPr>
            <p:cNvPr id="79" name="Полилиния: фигура 78">
              <a:extLst>
                <a:ext uri="{FF2B5EF4-FFF2-40B4-BE49-F238E27FC236}">
                  <a16:creationId xmlns:a16="http://schemas.microsoft.com/office/drawing/2014/main" id="{539ED854-EF62-445E-ADCE-8169570F5E30}"/>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80" name="Полилиния: фигура 79">
              <a:extLst>
                <a:ext uri="{FF2B5EF4-FFF2-40B4-BE49-F238E27FC236}">
                  <a16:creationId xmlns:a16="http://schemas.microsoft.com/office/drawing/2014/main" id="{B69BE18A-706C-4376-82AD-970D23B48CFB}"/>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81" name="Рисунок 57">
              <a:extLst>
                <a:ext uri="{FF2B5EF4-FFF2-40B4-BE49-F238E27FC236}">
                  <a16:creationId xmlns:a16="http://schemas.microsoft.com/office/drawing/2014/main" id="{7E74105A-6806-4532-A699-F9FD59FB5A93}"/>
                </a:ext>
              </a:extLst>
            </p:cNvPr>
            <p:cNvGrpSpPr/>
            <p:nvPr/>
          </p:nvGrpSpPr>
          <p:grpSpPr>
            <a:xfrm>
              <a:off x="11333699" y="6786611"/>
              <a:ext cx="2054294" cy="554420"/>
              <a:chOff x="11333699" y="6786611"/>
              <a:chExt cx="2054294" cy="554420"/>
            </a:xfrm>
            <a:solidFill>
              <a:srgbClr val="FFFFFF"/>
            </a:solidFill>
          </p:grpSpPr>
          <p:sp>
            <p:nvSpPr>
              <p:cNvPr id="82" name="Полилиния: фигура 81">
                <a:extLst>
                  <a:ext uri="{FF2B5EF4-FFF2-40B4-BE49-F238E27FC236}">
                    <a16:creationId xmlns:a16="http://schemas.microsoft.com/office/drawing/2014/main" id="{542CAA76-3DCE-4661-9267-C32ED8C6197E}"/>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3B502A7E-E205-4D31-A5DC-C7E3D2815088}"/>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CECE097E-52AB-454E-B3A5-692FD208C6D3}"/>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D9B223D6-E891-4436-A555-A6F34D807F70}"/>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44D9CCB9-8DC8-47F9-BAC0-05E002A18E6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D7F35B7A-102D-4079-9BCC-EBB86EBC0672}"/>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0A8F9A32-F863-4604-BD63-B841D7FB64F1}"/>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9245E941-47A6-4706-B1F5-B95F82387B7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A4E79ACD-89A7-4A0C-97C3-E86BD68DB10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A1AA4465-A09E-4553-9A01-AB8D65F65C83}"/>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07B56CFD-D9EE-47BF-9C3D-EE34A3583A73}"/>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5882EB76-3433-448A-B6A2-5A7F5A460FB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0CC22BCF-399F-4C00-BB1B-83DE1B84693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2DB4262C-2856-4CD3-BB1C-41E6ECDD235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19D65C76-A092-41FD-ADB8-EB7F040990EE}"/>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1A37A5BE-3877-4574-84F6-E01060CCA1C3}"/>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5E9CF0FC-772F-4557-B3BC-DA3F7FF8D4AF}"/>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27ABF1C0-34A7-4FE2-95C0-8EB0C4CAD212}"/>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9B39EED0-63E3-4EB2-B077-F42249AB1FBA}"/>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101" name="Полилиния: фигура 100">
                <a:extLst>
                  <a:ext uri="{FF2B5EF4-FFF2-40B4-BE49-F238E27FC236}">
                    <a16:creationId xmlns:a16="http://schemas.microsoft.com/office/drawing/2014/main" id="{87C402AC-605B-45B6-996F-F708C4A6610B}"/>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102" name="Полилиния: фигура 101">
                <a:extLst>
                  <a:ext uri="{FF2B5EF4-FFF2-40B4-BE49-F238E27FC236}">
                    <a16:creationId xmlns:a16="http://schemas.microsoft.com/office/drawing/2014/main" id="{EFF7342F-46F4-46D6-8682-BCBA3D43EEAE}"/>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3" name="Полилиния: фигура 102">
                <a:extLst>
                  <a:ext uri="{FF2B5EF4-FFF2-40B4-BE49-F238E27FC236}">
                    <a16:creationId xmlns:a16="http://schemas.microsoft.com/office/drawing/2014/main" id="{BDD9DFA7-E50A-49C5-89DA-B54516233172}"/>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15023512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C8DE6A77-6880-4607-8652-D16D372B5844}"/>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8AB77C21-9B93-4EEA-BB88-C3E68F633725}"/>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8AFC6D-0FFC-4C46-A530-06979C65C9E2}"/>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91498783-858D-4EF7-9337-8AD525CA6ED5}"/>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7308D26-AF0B-447F-8502-0FC1B28F188C}"/>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2C88651-4E0B-4E12-9526-7A3DC5F971A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9071BE21-43E0-4DF1-8E75-F868DC924C9A}"/>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C15EE4A6-7BD2-4F1E-8C09-26A188B57DA4}"/>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A1C47667-2A96-4DD6-81DC-DC6D402347CC}"/>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3A7051D-553E-4EDC-AAA8-3F095093B65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F757B798-7947-4173-BEF9-A2B4B2A4B176}"/>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FA7094DC-22D4-469F-8494-8D1AACC01D39}"/>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695C9BB-1124-4240-B241-F09BEF24342B}"/>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9" name="Рисунок 57">
            <a:extLst>
              <a:ext uri="{FF2B5EF4-FFF2-40B4-BE49-F238E27FC236}">
                <a16:creationId xmlns:a16="http://schemas.microsoft.com/office/drawing/2014/main" id="{A5312A1B-14E4-4FBA-8ADD-5008F83EC692}"/>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4ADC157A-C038-45C9-9D7E-879D59B484F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2B2F4831-4C70-4227-8EB4-7066CCF515BC}"/>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A933FDD1-B45B-40ED-AB5B-67607803873F}"/>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D7845D97-8D5A-40DA-BE24-9D9A9F6D5404}"/>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EF151728-DE3F-4A99-8058-5424EC0F58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84E65ECB-E1D5-4B5B-9A00-B664E2B39BCF}"/>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09617DCE-AB42-4A40-8AFB-FC67D373B591}"/>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5F905FE8-66E6-4DC6-9276-75937D5F59C7}"/>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D7A61077-1F5A-413A-AE7E-EAC460A1EB4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6D0FB866-7787-499D-A7FE-2AF656B433B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D8A7CD9B-E09C-477D-A216-58152FCB8183}"/>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E3A33E41-E1E2-4F56-B598-AE116B601316}"/>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A2E23E4C-64DB-41C3-B64E-D41066BC5821}"/>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03E84062-D03C-4E55-940A-C97C1D27B121}"/>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113395A-3C12-4886-AFE8-C6E7CBFAA38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5ECD317B-1B4C-42BC-8BF2-AE427282EC0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57F9AC2F-76D7-414A-A4CC-F683BB6FEC33}"/>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D7635451-368E-4725-AC0B-BD9E9A4CB000}"/>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7BB0643D-3A58-4451-8A5A-8B5E82532451}"/>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B9B60D5A-0AB9-4458-8245-F53F8AD68E2E}"/>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A5B46944-C7E2-4CDD-8C56-734D3F297B0A}"/>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A2DBB532-1724-4852-B0A6-0CF466280363}"/>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BD837A04-C565-4012-A352-9B5899CF64B6}"/>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02EB8E3D-7FE4-4D8A-9E89-81BD5F216051}"/>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294323A4-E707-40C0-9EDA-F387FB366CEC}"/>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69372662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ahyp="http://schemas.microsoft.com/office/drawing/2018/hyperlinkcolor" xmlns=""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ahyp="http://schemas.microsoft.com/office/drawing/2018/hyperlinkcolor" xmlns="" val="tx"/>
                    </a:ext>
                  </a:extLst>
                </a:hlinkClick>
              </a:rPr>
              <a:t>pr@rt.ru</a:t>
            </a:r>
            <a:endParaRPr lang="ru-RU" sz="1587" dirty="0"/>
          </a:p>
        </p:txBody>
      </p:sp>
      <p:sp>
        <p:nvSpPr>
          <p:cNvPr id="49" name="Текст 22">
            <a:extLst>
              <a:ext uri="{FF2B5EF4-FFF2-40B4-BE49-F238E27FC236}">
                <a16:creationId xmlns:a16="http://schemas.microsoft.com/office/drawing/2014/main" id="{6B4C4C44-AB05-44AC-B63C-AB1EBD4200D1}"/>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DAA75C33-8D5F-4239-995A-6C38EEE58C6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28C639-B8D1-47BF-B0F1-99514506607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B4443EC2-A8D6-4327-91FB-FDB8AF4B13EB}"/>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E1EC6444-8F3F-457D-A2DF-42BD1CC49439}"/>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7F990E55-81BC-4FE0-8D2C-6764E352EBAB}"/>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0CC19760-0822-4B49-801D-92648589BC93}"/>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2747985-1F4A-4B53-B398-DF8ED811145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F0061B8-5B61-474D-8A79-E681F318D1C9}"/>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31E7C212-BAA8-41C0-B209-BE7F3F96A1A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86FD2C03-45A5-4FC0-B67A-E07FFC9BB55A}"/>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057A06E-C9E8-4B17-B397-ABDA4685D03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49AC947C-0F71-42E7-B659-CDBEFF7E632C}"/>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692F1B6F-4C5C-48F5-9647-2C568C52A16F}"/>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77602831-E0ED-435A-8B1F-4E63147E2AC7}"/>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2545C9BD-AAE9-411A-B3FC-313D68D32E24}"/>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9C88424F-8BD8-4053-93EF-80B45CC64002}"/>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E6DED3D8-A16D-4FD4-A7AB-13FC2BE14C66}"/>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EFBE7B26-3AE8-438A-9F55-D3C329AFC1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149C24EE-A8D3-460C-9EC6-262ED7C7F0C7}"/>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D69BE875-ACEB-43B7-AAC3-BA9380BBE8B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0BA314ED-A081-4E15-B8A3-8BA0EE9A3A79}"/>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01436FA5-43D1-4173-B81A-1FEC0A07FDC7}"/>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2DF8F55A-6B88-45FA-8919-AD6D79F0DBF2}"/>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E64324DE-977A-47B2-84EB-58A6A94DE30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172D2B0A-B6A7-46C4-9BD2-BFA43877BAEF}"/>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B70AE1CD-EC7B-4598-B45C-88EE944C018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79624786-D5E5-4EB6-BF99-2510AB7FB807}"/>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3D751F75-3E46-4688-B44A-A66D756F359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865E2FCC-4D53-4658-9D85-BE25F09938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ABE365DB-327C-4E34-A4EE-4861051FD388}"/>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88E6428-F7EE-4D45-AD44-2F719CFA7E07}"/>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80D7720D-5CCB-4C79-9F54-48D47FE8B4B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9BDB3807-0D6E-4433-91B4-F9BAE5F8C13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DF49A586-84E4-4DE9-A6C2-5FAB46360795}"/>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C34CF262-B843-4B3C-B092-F68BE4947B60}"/>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790C8533-F936-483A-9443-A3118B5CDFF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1C863F7F-9941-447A-AF15-61C7774FEAB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3134F649-3321-404F-8870-7746D1CBE131}"/>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8741756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контакты_4">
    <p:spTree>
      <p:nvGrpSpPr>
        <p:cNvPr id="1" name=""/>
        <p:cNvGrpSpPr/>
        <p:nvPr/>
      </p:nvGrpSpPr>
      <p:grpSpPr>
        <a:xfrm>
          <a:off x="0" y="0"/>
          <a:ext cx="0" cy="0"/>
          <a:chOff x="0" y="0"/>
          <a:chExt cx="0" cy="0"/>
        </a:xfrm>
      </p:grpSpPr>
      <p:sp>
        <p:nvSpPr>
          <p:cNvPr id="49" name="Текст 22">
            <a:extLst>
              <a:ext uri="{FF2B5EF4-FFF2-40B4-BE49-F238E27FC236}">
                <a16:creationId xmlns:a16="http://schemas.microsoft.com/office/drawing/2014/main" id="{9C039501-9FA3-4827-8BD0-0538498113B6}"/>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736D9289-6057-408D-9D59-23508B9BD311}"/>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56B72CA4-B502-478A-B2B2-880DE635713E}"/>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578C0BD7-7387-440E-90BE-5834B2B8DCAA}"/>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4C1DDDB4-41EE-4119-BA0F-10529681058D}"/>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F54D4632-938E-40AA-8B77-BAC6207660D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351C8F2E-F717-41F9-AB46-0488C7109BB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F14C746F-8717-4A9F-8F9D-DF7149D6EC8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91A0C6BD-877F-433D-A5BF-49E1FEE76D1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8226B843-2542-40F3-8471-2366A86F3D42}"/>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A7A84E21-39C4-405A-9437-E999066924C8}"/>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49A56474-6DE4-4A1B-A053-FC273B31CFB1}"/>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35C18093-E547-4C39-A523-E39837D4FED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5" name="Рисунок 57">
            <a:extLst>
              <a:ext uri="{FF2B5EF4-FFF2-40B4-BE49-F238E27FC236}">
                <a16:creationId xmlns:a16="http://schemas.microsoft.com/office/drawing/2014/main" id="{E8021B12-77DD-4234-8DBE-78559ECA85FF}"/>
              </a:ext>
            </a:extLst>
          </p:cNvPr>
          <p:cNvGrpSpPr/>
          <p:nvPr userDrawn="1"/>
        </p:nvGrpSpPr>
        <p:grpSpPr>
          <a:xfrm>
            <a:off x="8136198" y="3576598"/>
            <a:ext cx="4055802" cy="3281403"/>
            <a:chOff x="9229500" y="4053477"/>
            <a:chExt cx="4600800" cy="3718923"/>
          </a:xfrm>
        </p:grpSpPr>
        <p:sp>
          <p:nvSpPr>
            <p:cNvPr id="76" name="Полилиния: фигура 75">
              <a:extLst>
                <a:ext uri="{FF2B5EF4-FFF2-40B4-BE49-F238E27FC236}">
                  <a16:creationId xmlns:a16="http://schemas.microsoft.com/office/drawing/2014/main" id="{A19B561F-4378-47FD-A264-E5AE18B20F8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87ECADDB-8E5D-4A65-9ABA-6BF8449BF531}"/>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78" name="Рисунок 57">
              <a:extLst>
                <a:ext uri="{FF2B5EF4-FFF2-40B4-BE49-F238E27FC236}">
                  <a16:creationId xmlns:a16="http://schemas.microsoft.com/office/drawing/2014/main" id="{A675EFF5-B692-4CCA-8693-0F36970A3780}"/>
                </a:ext>
              </a:extLst>
            </p:cNvPr>
            <p:cNvGrpSpPr/>
            <p:nvPr/>
          </p:nvGrpSpPr>
          <p:grpSpPr>
            <a:xfrm>
              <a:off x="11333699" y="6786611"/>
              <a:ext cx="2054294" cy="554420"/>
              <a:chOff x="11333699" y="6786611"/>
              <a:chExt cx="2054294" cy="554420"/>
            </a:xfrm>
            <a:solidFill>
              <a:srgbClr val="FFFFFF"/>
            </a:solidFill>
          </p:grpSpPr>
          <p:sp>
            <p:nvSpPr>
              <p:cNvPr id="79" name="Полилиния: фигура 78">
                <a:extLst>
                  <a:ext uri="{FF2B5EF4-FFF2-40B4-BE49-F238E27FC236}">
                    <a16:creationId xmlns:a16="http://schemas.microsoft.com/office/drawing/2014/main" id="{7393735C-74D2-4738-AC66-1CA40B4E0EEB}"/>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0" name="Полилиния: фигура 79">
                <a:extLst>
                  <a:ext uri="{FF2B5EF4-FFF2-40B4-BE49-F238E27FC236}">
                    <a16:creationId xmlns:a16="http://schemas.microsoft.com/office/drawing/2014/main" id="{36B2CAA4-85F0-469A-8761-973F8058073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1" name="Полилиния: фигура 80">
                <a:extLst>
                  <a:ext uri="{FF2B5EF4-FFF2-40B4-BE49-F238E27FC236}">
                    <a16:creationId xmlns:a16="http://schemas.microsoft.com/office/drawing/2014/main" id="{A503703D-4D77-4897-B348-E1ED11EBC1C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2" name="Полилиния: фигура 81">
                <a:extLst>
                  <a:ext uri="{FF2B5EF4-FFF2-40B4-BE49-F238E27FC236}">
                    <a16:creationId xmlns:a16="http://schemas.microsoft.com/office/drawing/2014/main" id="{876408F3-04AC-4A75-95B9-9F2E98C3C128}"/>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C3532461-17D5-43E0-ACB8-3062FFA0F5A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F63AF163-A08C-4CA9-9929-18ACAD8E548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052A014E-4CFA-46E5-8BAF-EBF1D53CD7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B77F68C1-2474-4A4E-9828-CAB55D8AD94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F8E4829D-EAD9-461D-9F17-A95E955F1A25}"/>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3A8A2161-FC25-469C-8ED8-612BBEF689B7}"/>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CD25B9FB-36AA-4AC3-BCD3-52DA359FC664}"/>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7CF9F08D-15C5-48A9-9A62-4CB64F9A53A5}"/>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BE5B5B32-764C-4B3B-90F8-7EF0D1228858}"/>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49E35AA8-C017-474E-B526-D06C4F3152DA}"/>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87AA8FCF-0290-4923-868F-291038BFA963}"/>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13A2101F-256F-42E7-8470-ABE0D70F89DF}"/>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60F07C11-02B4-4966-8074-262390D60727}"/>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B5C1DA0F-CD10-402C-A979-B8837E66D98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FCAF9270-54EA-462A-AD41-51BBCFC4A59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1062A411-403B-469C-9760-500F54B4B6FE}"/>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C2E21D55-DCDD-4A13-BA01-EFE79DD125C9}"/>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259D53F7-1DCF-4F74-B647-5EBF301818BE}"/>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88734241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Пользовательский макет">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9A169BB1-C026-489B-AAB4-89A1809FCAED}"/>
              </a:ext>
            </a:extLst>
          </p:cNvPr>
          <p:cNvSpPr txBox="1"/>
          <p:nvPr userDrawn="1"/>
        </p:nvSpPr>
        <p:spPr>
          <a:xfrm>
            <a:off x="417037" y="426635"/>
            <a:ext cx="7720761" cy="524465"/>
          </a:xfrm>
          <a:prstGeom prst="rect">
            <a:avLst/>
          </a:prstGeom>
        </p:spPr>
        <p:txBody>
          <a:bodyPr lIns="0" tIns="0" rIns="0" bIns="0"/>
          <a:lstStyle>
            <a:lvl1pPr defTabSz="914400">
              <a:lnSpc>
                <a:spcPts val="4200"/>
              </a:lnSpc>
              <a:spcBef>
                <a:spcPct val="0"/>
              </a:spcBef>
              <a:buNone/>
              <a:defRPr sz="4000">
                <a:latin typeface="+mj-lt"/>
                <a:ea typeface="+mj-ea"/>
                <a:cs typeface="+mj-cs"/>
              </a:defRPr>
            </a:lvl1pPr>
          </a:lstStyle>
          <a:p>
            <a:pPr lvl="0"/>
            <a:r>
              <a:rPr lang="ru-RU" sz="3526" dirty="0"/>
              <a:t>Набор выделителей-маркеров</a:t>
            </a:r>
          </a:p>
        </p:txBody>
      </p:sp>
    </p:spTree>
    <p:extLst>
      <p:ext uri="{BB962C8B-B14F-4D97-AF65-F5344CB8AC3E}">
        <p14:creationId xmlns:p14="http://schemas.microsoft.com/office/powerpoint/2010/main" val="164136407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2 ">
    <p:bg>
      <p:bgPr>
        <a:solidFill>
          <a:srgbClr val="FFFFFF"/>
        </a:solidFill>
        <a:effectLst/>
      </p:bgPr>
    </p:bg>
    <p:spTree>
      <p:nvGrpSpPr>
        <p:cNvPr id="1" name=""/>
        <p:cNvGrpSpPr/>
        <p:nvPr/>
      </p:nvGrpSpPr>
      <p:grpSpPr>
        <a:xfrm>
          <a:off x="0" y="0"/>
          <a:ext cx="0" cy="0"/>
          <a:chOff x="0" y="0"/>
          <a:chExt cx="0" cy="0"/>
        </a:xfrm>
      </p:grpSpPr>
      <p:sp>
        <p:nvSpPr>
          <p:cNvPr id="22" name="Рисунок 21">
            <a:extLst>
              <a:ext uri="{FF2B5EF4-FFF2-40B4-BE49-F238E27FC236}">
                <a16:creationId xmlns:a16="http://schemas.microsoft.com/office/drawing/2014/main" id="{92E0083F-874C-43F9-8135-355E38DE3676}"/>
              </a:ext>
            </a:extLst>
          </p:cNvPr>
          <p:cNvSpPr>
            <a:spLocks noGrp="1"/>
          </p:cNvSpPr>
          <p:nvPr>
            <p:ph type="pic" sz="quarter" idx="11" hasCustomPrompt="1"/>
          </p:nvPr>
        </p:nvSpPr>
        <p:spPr>
          <a:xfrm>
            <a:off x="5971142" y="0"/>
            <a:ext cx="6224084" cy="6859200"/>
          </a:xfrm>
          <a:custGeom>
            <a:avLst/>
            <a:gdLst>
              <a:gd name="connsiteX0" fmla="*/ 0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0 w 5005840"/>
              <a:gd name="connsiteY4" fmla="*/ 0 h 5143500"/>
              <a:gd name="connsiteX0" fmla="*/ 2235941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2235941 w 5005840"/>
              <a:gd name="connsiteY4" fmla="*/ 0 h 5143500"/>
              <a:gd name="connsiteX0" fmla="*/ 1882195 w 4652094"/>
              <a:gd name="connsiteY0" fmla="*/ 0 h 5143500"/>
              <a:gd name="connsiteX1" fmla="*/ 4652094 w 4652094"/>
              <a:gd name="connsiteY1" fmla="*/ 0 h 5143500"/>
              <a:gd name="connsiteX2" fmla="*/ 4652094 w 4652094"/>
              <a:gd name="connsiteY2" fmla="*/ 5143500 h 5143500"/>
              <a:gd name="connsiteX3" fmla="*/ 0 w 4652094"/>
              <a:gd name="connsiteY3" fmla="*/ 5136825 h 5143500"/>
              <a:gd name="connsiteX4" fmla="*/ 1882195 w 4652094"/>
              <a:gd name="connsiteY4" fmla="*/ 0 h 5143500"/>
              <a:gd name="connsiteX0" fmla="*/ 1839332 w 4609231"/>
              <a:gd name="connsiteY0" fmla="*/ 0 h 5167782"/>
              <a:gd name="connsiteX1" fmla="*/ 4609231 w 4609231"/>
              <a:gd name="connsiteY1" fmla="*/ 0 h 5167782"/>
              <a:gd name="connsiteX2" fmla="*/ 4609231 w 4609231"/>
              <a:gd name="connsiteY2" fmla="*/ 5143500 h 5167782"/>
              <a:gd name="connsiteX3" fmla="*/ 0 w 4609231"/>
              <a:gd name="connsiteY3" fmla="*/ 5167782 h 5167782"/>
              <a:gd name="connsiteX4" fmla="*/ 1839332 w 4609231"/>
              <a:gd name="connsiteY4" fmla="*/ 0 h 5167782"/>
              <a:gd name="connsiteX0" fmla="*/ 1886957 w 4656856"/>
              <a:gd name="connsiteY0" fmla="*/ 0 h 5146350"/>
              <a:gd name="connsiteX1" fmla="*/ 4656856 w 4656856"/>
              <a:gd name="connsiteY1" fmla="*/ 0 h 5146350"/>
              <a:gd name="connsiteX2" fmla="*/ 4656856 w 4656856"/>
              <a:gd name="connsiteY2" fmla="*/ 5143500 h 5146350"/>
              <a:gd name="connsiteX3" fmla="*/ 0 w 4656856"/>
              <a:gd name="connsiteY3" fmla="*/ 5146350 h 5146350"/>
              <a:gd name="connsiteX4" fmla="*/ 1886957 w 4656856"/>
              <a:gd name="connsiteY4" fmla="*/ 0 h 5146350"/>
              <a:gd name="connsiteX0" fmla="*/ 1883782 w 4656856"/>
              <a:gd name="connsiteY0" fmla="*/ 0 h 5149525"/>
              <a:gd name="connsiteX1" fmla="*/ 4656856 w 4656856"/>
              <a:gd name="connsiteY1" fmla="*/ 3175 h 5149525"/>
              <a:gd name="connsiteX2" fmla="*/ 4656856 w 4656856"/>
              <a:gd name="connsiteY2" fmla="*/ 5146675 h 5149525"/>
              <a:gd name="connsiteX3" fmla="*/ 0 w 4656856"/>
              <a:gd name="connsiteY3" fmla="*/ 5149525 h 5149525"/>
              <a:gd name="connsiteX4" fmla="*/ 1883782 w 4656856"/>
              <a:gd name="connsiteY4" fmla="*/ 0 h 5149525"/>
              <a:gd name="connsiteX0" fmla="*/ 1820886 w 4593960"/>
              <a:gd name="connsiteY0" fmla="*/ 0 h 5146675"/>
              <a:gd name="connsiteX1" fmla="*/ 4593960 w 4593960"/>
              <a:gd name="connsiteY1" fmla="*/ 3175 h 5146675"/>
              <a:gd name="connsiteX2" fmla="*/ 4593960 w 4593960"/>
              <a:gd name="connsiteY2" fmla="*/ 5146675 h 5146675"/>
              <a:gd name="connsiteX3" fmla="*/ 0 w 4593960"/>
              <a:gd name="connsiteY3" fmla="*/ 5098725 h 5146675"/>
              <a:gd name="connsiteX4" fmla="*/ 1820886 w 4593960"/>
              <a:gd name="connsiteY4" fmla="*/ 0 h 5146675"/>
              <a:gd name="connsiteX0" fmla="*/ 1886201 w 4659275"/>
              <a:gd name="connsiteY0" fmla="*/ 0 h 5146675"/>
              <a:gd name="connsiteX1" fmla="*/ 4659275 w 4659275"/>
              <a:gd name="connsiteY1" fmla="*/ 3175 h 5146675"/>
              <a:gd name="connsiteX2" fmla="*/ 4659275 w 4659275"/>
              <a:gd name="connsiteY2" fmla="*/ 5146675 h 5146675"/>
              <a:gd name="connsiteX3" fmla="*/ 0 w 4659275"/>
              <a:gd name="connsiteY3" fmla="*/ 5144687 h 5146675"/>
              <a:gd name="connsiteX4" fmla="*/ 1886201 w 4659275"/>
              <a:gd name="connsiteY4" fmla="*/ 0 h 5146675"/>
              <a:gd name="connsiteX0" fmla="*/ 1886201 w 4659275"/>
              <a:gd name="connsiteY0" fmla="*/ 0 h 5144687"/>
              <a:gd name="connsiteX1" fmla="*/ 4659275 w 4659275"/>
              <a:gd name="connsiteY1" fmla="*/ 3175 h 5144687"/>
              <a:gd name="connsiteX2" fmla="*/ 4591542 w 4659275"/>
              <a:gd name="connsiteY2" fmla="*/ 5086199 h 5144687"/>
              <a:gd name="connsiteX3" fmla="*/ 0 w 4659275"/>
              <a:gd name="connsiteY3" fmla="*/ 5144687 h 5144687"/>
              <a:gd name="connsiteX4" fmla="*/ 1886201 w 4659275"/>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25408 w 4661694"/>
              <a:gd name="connsiteY1" fmla="*/ 41880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900716 w 4661694"/>
              <a:gd name="connsiteY0" fmla="*/ 37949 h 5141512"/>
              <a:gd name="connsiteX1" fmla="*/ 4659275 w 4661694"/>
              <a:gd name="connsiteY1" fmla="*/ 0 h 5141512"/>
              <a:gd name="connsiteX2" fmla="*/ 4661694 w 4661694"/>
              <a:gd name="connsiteY2" fmla="*/ 5141081 h 5141512"/>
              <a:gd name="connsiteX3" fmla="*/ 0 w 4661694"/>
              <a:gd name="connsiteY3" fmla="*/ 5141512 h 5141512"/>
              <a:gd name="connsiteX4" fmla="*/ 1900716 w 4661694"/>
              <a:gd name="connsiteY4" fmla="*/ 37949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3462"/>
              <a:gd name="connsiteX1" fmla="*/ 4659275 w 4661694"/>
              <a:gd name="connsiteY1" fmla="*/ 0 h 5143462"/>
              <a:gd name="connsiteX2" fmla="*/ 4661694 w 4661694"/>
              <a:gd name="connsiteY2" fmla="*/ 5143462 h 5143462"/>
              <a:gd name="connsiteX3" fmla="*/ 0 w 4661694"/>
              <a:gd name="connsiteY3" fmla="*/ 5141512 h 5143462"/>
              <a:gd name="connsiteX4" fmla="*/ 1886201 w 4661694"/>
              <a:gd name="connsiteY4" fmla="*/ 1663 h 5143462"/>
              <a:gd name="connsiteX0" fmla="*/ 1886201 w 4661694"/>
              <a:gd name="connsiteY0" fmla="*/ 1663 h 5141512"/>
              <a:gd name="connsiteX1" fmla="*/ 4659275 w 4661694"/>
              <a:gd name="connsiteY1" fmla="*/ 0 h 5141512"/>
              <a:gd name="connsiteX2" fmla="*/ 4661694 w 4661694"/>
              <a:gd name="connsiteY2" fmla="*/ 5141080 h 5141512"/>
              <a:gd name="connsiteX3" fmla="*/ 0 w 4661694"/>
              <a:gd name="connsiteY3" fmla="*/ 5141512 h 5141512"/>
              <a:gd name="connsiteX4" fmla="*/ 1886201 w 4661694"/>
              <a:gd name="connsiteY4" fmla="*/ 1663 h 5141512"/>
              <a:gd name="connsiteX0" fmla="*/ 1888582 w 4664075"/>
              <a:gd name="connsiteY0" fmla="*/ 1663 h 5141512"/>
              <a:gd name="connsiteX1" fmla="*/ 4661656 w 4664075"/>
              <a:gd name="connsiteY1" fmla="*/ 0 h 5141512"/>
              <a:gd name="connsiteX2" fmla="*/ 4664075 w 4664075"/>
              <a:gd name="connsiteY2" fmla="*/ 5141080 h 5141512"/>
              <a:gd name="connsiteX3" fmla="*/ 0 w 4664075"/>
              <a:gd name="connsiteY3" fmla="*/ 5141512 h 5141512"/>
              <a:gd name="connsiteX4" fmla="*/ 1888582 w 4664075"/>
              <a:gd name="connsiteY4" fmla="*/ 1663 h 5141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075" h="5141512">
                <a:moveTo>
                  <a:pt x="1888582" y="1663"/>
                </a:moveTo>
                <a:lnTo>
                  <a:pt x="4661656" y="0"/>
                </a:lnTo>
                <a:cubicBezTo>
                  <a:pt x="4662462" y="1713694"/>
                  <a:pt x="4663269" y="3427386"/>
                  <a:pt x="4664075" y="5141080"/>
                </a:cubicBezTo>
                <a:lnTo>
                  <a:pt x="0" y="5141512"/>
                </a:lnTo>
                <a:lnTo>
                  <a:pt x="1888582" y="1663"/>
                </a:lnTo>
                <a:close/>
              </a:path>
            </a:pathLst>
          </a:custGeom>
          <a:solidFill>
            <a:schemeClr val="bg1">
              <a:lumMod val="95000"/>
            </a:schemeClr>
          </a:solidFill>
        </p:spPr>
        <p:txBody>
          <a:bodyPr anchor="b" anchorCtr="1"/>
          <a:lstStyle>
            <a:lvl1pPr marL="0" indent="0" algn="r">
              <a:buNone/>
              <a:defRPr sz="1333" b="0">
                <a:latin typeface="Basis Grotesque Pro Medium" panose="02000603030000020004" pitchFamily="50" charset="0"/>
              </a:defRPr>
            </a:lvl1pPr>
          </a:lstStyle>
          <a:p>
            <a:r>
              <a:rPr lang="ru-RU" dirty="0"/>
              <a:t>Кликните иконку для вставки изображения. </a:t>
            </a:r>
            <a:br>
              <a:rPr lang="ru-RU" dirty="0"/>
            </a:br>
            <a:r>
              <a:rPr lang="ru-RU" dirty="0" err="1"/>
              <a:t>Кадрировать</a:t>
            </a:r>
            <a:r>
              <a:rPr lang="ru-RU" dirty="0"/>
              <a:t>, перемещать — в режиме «Обрезать»</a:t>
            </a:r>
          </a:p>
          <a:p>
            <a:endParaRPr lang="ru-RU" dirty="0"/>
          </a:p>
        </p:txBody>
      </p:sp>
      <p:sp>
        <p:nvSpPr>
          <p:cNvPr id="11" name="Прямоугольник 6">
            <a:extLst>
              <a:ext uri="{FF2B5EF4-FFF2-40B4-BE49-F238E27FC236}">
                <a16:creationId xmlns:a16="http://schemas.microsoft.com/office/drawing/2014/main" id="{4CF3D02A-AF50-4BAC-B3BA-DB6BA1BFBD8C}"/>
              </a:ext>
            </a:extLst>
          </p:cNvPr>
          <p:cNvSpPr/>
          <p:nvPr userDrawn="1"/>
        </p:nvSpPr>
        <p:spPr>
          <a:xfrm>
            <a:off x="1" y="-347"/>
            <a:ext cx="8490759" cy="6857891"/>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2"/>
              <a:gd name="connsiteX1" fmla="*/ 6869152 w 6869152"/>
              <a:gd name="connsiteY1" fmla="*/ 0 h 6869152"/>
              <a:gd name="connsiteX2" fmla="*/ 5371493 w 6869152"/>
              <a:gd name="connsiteY2" fmla="*/ 6858002 h 6869152"/>
              <a:gd name="connsiteX3" fmla="*/ 0 w 6869152"/>
              <a:gd name="connsiteY3" fmla="*/ 6869152 h 6869152"/>
              <a:gd name="connsiteX4" fmla="*/ 0 w 6869152"/>
              <a:gd name="connsiteY4" fmla="*/ 0 h 6869152"/>
              <a:gd name="connsiteX0" fmla="*/ 0 w 7632391"/>
              <a:gd name="connsiteY0" fmla="*/ 0 h 6869152"/>
              <a:gd name="connsiteX1" fmla="*/ 7632391 w 7632391"/>
              <a:gd name="connsiteY1" fmla="*/ 11151 h 6869152"/>
              <a:gd name="connsiteX2" fmla="*/ 5371493 w 7632391"/>
              <a:gd name="connsiteY2" fmla="*/ 6858002 h 6869152"/>
              <a:gd name="connsiteX3" fmla="*/ 0 w 7632391"/>
              <a:gd name="connsiteY3" fmla="*/ 6869152 h 6869152"/>
              <a:gd name="connsiteX4" fmla="*/ 0 w 7632391"/>
              <a:gd name="connsiteY4" fmla="*/ 0 h 6869152"/>
              <a:gd name="connsiteX0" fmla="*/ 0 w 7629198"/>
              <a:gd name="connsiteY0" fmla="*/ 0 h 6869152"/>
              <a:gd name="connsiteX1" fmla="*/ 7629198 w 7629198"/>
              <a:gd name="connsiteY1" fmla="*/ 21754 h 6869152"/>
              <a:gd name="connsiteX2" fmla="*/ 5371493 w 7629198"/>
              <a:gd name="connsiteY2" fmla="*/ 6858002 h 6869152"/>
              <a:gd name="connsiteX3" fmla="*/ 0 w 7629198"/>
              <a:gd name="connsiteY3" fmla="*/ 6869152 h 6869152"/>
              <a:gd name="connsiteX4" fmla="*/ 0 w 7629198"/>
              <a:gd name="connsiteY4" fmla="*/ 0 h 6869152"/>
              <a:gd name="connsiteX0" fmla="*/ 31928 w 7629198"/>
              <a:gd name="connsiteY0" fmla="*/ 20655 h 6847398"/>
              <a:gd name="connsiteX1" fmla="*/ 7629198 w 7629198"/>
              <a:gd name="connsiteY1" fmla="*/ 0 h 6847398"/>
              <a:gd name="connsiteX2" fmla="*/ 5371493 w 7629198"/>
              <a:gd name="connsiteY2" fmla="*/ 6836248 h 6847398"/>
              <a:gd name="connsiteX3" fmla="*/ 0 w 7629198"/>
              <a:gd name="connsiteY3" fmla="*/ 6847398 h 6847398"/>
              <a:gd name="connsiteX4" fmla="*/ 31928 w 7629198"/>
              <a:gd name="connsiteY4" fmla="*/ 20655 h 6847398"/>
              <a:gd name="connsiteX0" fmla="*/ 0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0 w 7629198"/>
              <a:gd name="connsiteY4" fmla="*/ 2985 h 6847398"/>
              <a:gd name="connsiteX0" fmla="*/ 34766 w 7629198"/>
              <a:gd name="connsiteY0" fmla="*/ 31848 h 6847398"/>
              <a:gd name="connsiteX1" fmla="*/ 7629198 w 7629198"/>
              <a:gd name="connsiteY1" fmla="*/ 0 h 6847398"/>
              <a:gd name="connsiteX2" fmla="*/ 5371493 w 7629198"/>
              <a:gd name="connsiteY2" fmla="*/ 6836248 h 6847398"/>
              <a:gd name="connsiteX3" fmla="*/ 0 w 7629198"/>
              <a:gd name="connsiteY3" fmla="*/ 6847398 h 6847398"/>
              <a:gd name="connsiteX4" fmla="*/ 34766 w 7629198"/>
              <a:gd name="connsiteY4" fmla="*/ 31848 h 6847398"/>
              <a:gd name="connsiteX0" fmla="*/ 2897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2897 w 7629198"/>
              <a:gd name="connsiteY4" fmla="*/ 2985 h 6847398"/>
              <a:gd name="connsiteX0" fmla="*/ 19 w 7626320"/>
              <a:gd name="connsiteY0" fmla="*/ 2985 h 6836248"/>
              <a:gd name="connsiteX1" fmla="*/ 7626320 w 7626320"/>
              <a:gd name="connsiteY1" fmla="*/ 0 h 6836248"/>
              <a:gd name="connsiteX2" fmla="*/ 5368615 w 7626320"/>
              <a:gd name="connsiteY2" fmla="*/ 6836248 h 6836248"/>
              <a:gd name="connsiteX3" fmla="*/ 34785 w 7626320"/>
              <a:gd name="connsiteY3" fmla="*/ 6786467 h 6836248"/>
              <a:gd name="connsiteX4" fmla="*/ 19 w 7626320"/>
              <a:gd name="connsiteY4" fmla="*/ 2985 h 6836248"/>
              <a:gd name="connsiteX0" fmla="*/ 278 w 7626579"/>
              <a:gd name="connsiteY0" fmla="*/ 2985 h 6836248"/>
              <a:gd name="connsiteX1" fmla="*/ 7626579 w 7626579"/>
              <a:gd name="connsiteY1" fmla="*/ 0 h 6836248"/>
              <a:gd name="connsiteX2" fmla="*/ 5368874 w 7626579"/>
              <a:gd name="connsiteY2" fmla="*/ 6836248 h 6836248"/>
              <a:gd name="connsiteX3" fmla="*/ 278 w 7626579"/>
              <a:gd name="connsiteY3" fmla="*/ 6818536 h 6836248"/>
              <a:gd name="connsiteX4" fmla="*/ 278 w 7626579"/>
              <a:gd name="connsiteY4" fmla="*/ 2985 h 6836248"/>
              <a:gd name="connsiteX0" fmla="*/ 278 w 7626579"/>
              <a:gd name="connsiteY0" fmla="*/ 2985 h 6818536"/>
              <a:gd name="connsiteX1" fmla="*/ 7626579 w 7626579"/>
              <a:gd name="connsiteY1" fmla="*/ 0 h 6818536"/>
              <a:gd name="connsiteX2" fmla="*/ 5368874 w 7626579"/>
              <a:gd name="connsiteY2" fmla="*/ 6817007 h 6818536"/>
              <a:gd name="connsiteX3" fmla="*/ 278 w 7626579"/>
              <a:gd name="connsiteY3" fmla="*/ 6818536 h 6818536"/>
              <a:gd name="connsiteX4" fmla="*/ 278 w 7626579"/>
              <a:gd name="connsiteY4" fmla="*/ 2985 h 6818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6579" h="6818536">
                <a:moveTo>
                  <a:pt x="278" y="2985"/>
                </a:moveTo>
                <a:lnTo>
                  <a:pt x="7626579" y="0"/>
                </a:lnTo>
                <a:lnTo>
                  <a:pt x="5368874" y="6817007"/>
                </a:lnTo>
                <a:lnTo>
                  <a:pt x="278" y="6818536"/>
                </a:lnTo>
                <a:cubicBezTo>
                  <a:pt x="1244" y="4537065"/>
                  <a:pt x="-688" y="2284456"/>
                  <a:pt x="278" y="2985"/>
                </a:cubicBezTo>
                <a:close/>
              </a:path>
            </a:pathLst>
          </a:custGeom>
          <a:solidFill>
            <a:srgbClr val="77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18" name="Заголовок 17">
            <a:extLst>
              <a:ext uri="{FF2B5EF4-FFF2-40B4-BE49-F238E27FC236}">
                <a16:creationId xmlns:a16="http://schemas.microsoft.com/office/drawing/2014/main" id="{7449E508-9816-4CBE-AE42-475D8AA060E4}"/>
              </a:ext>
            </a:extLst>
          </p:cNvPr>
          <p:cNvSpPr>
            <a:spLocks noGrp="1"/>
          </p:cNvSpPr>
          <p:nvPr>
            <p:ph type="title" hasCustomPrompt="1"/>
          </p:nvPr>
        </p:nvSpPr>
        <p:spPr>
          <a:xfrm>
            <a:off x="580852" y="2363238"/>
            <a:ext cx="7833016" cy="1928733"/>
          </a:xfrm>
          <a:prstGeom prst="rect">
            <a:avLst/>
          </a:prstGeom>
        </p:spPr>
        <p:txBody>
          <a:bodyPr wrap="square" lIns="0">
            <a:spAutoFit/>
          </a:bodyPr>
          <a:lstStyle>
            <a:lvl1pPr algn="l">
              <a:defRPr sz="5867" b="0" i="0">
                <a:solidFill>
                  <a:schemeClr val="bg1"/>
                </a:solidFill>
                <a:latin typeface="Rostelecom Basis Medium" panose="020B0503030604040103" pitchFamily="34" charset="0"/>
              </a:defRPr>
            </a:lvl1pPr>
          </a:lstStyle>
          <a:p>
            <a:r>
              <a:rPr lang="ru-RU" dirty="0"/>
              <a:t>Кликните, чтобы добавить заголовок</a:t>
            </a:r>
          </a:p>
        </p:txBody>
      </p:sp>
      <p:sp>
        <p:nvSpPr>
          <p:cNvPr id="3" name="Text Placeholder 2">
            <a:extLst>
              <a:ext uri="{FF2B5EF4-FFF2-40B4-BE49-F238E27FC236}">
                <a16:creationId xmlns:a16="http://schemas.microsoft.com/office/drawing/2014/main" id="{1F5B30F1-71AC-483A-82D4-FC45AA9955AF}"/>
              </a:ext>
            </a:extLst>
          </p:cNvPr>
          <p:cNvSpPr>
            <a:spLocks noGrp="1"/>
          </p:cNvSpPr>
          <p:nvPr>
            <p:ph type="body" sz="quarter" idx="12" hasCustomPrompt="1"/>
          </p:nvPr>
        </p:nvSpPr>
        <p:spPr>
          <a:xfrm>
            <a:off x="581394" y="4481720"/>
            <a:ext cx="5829300" cy="713317"/>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Введите подзаголовок</a:t>
            </a:r>
            <a:endParaRPr lang="en-US" dirty="0"/>
          </a:p>
        </p:txBody>
      </p:sp>
      <p:pic>
        <p:nvPicPr>
          <p:cNvPr id="4" name="Рисунок 3">
            <a:extLst>
              <a:ext uri="{FF2B5EF4-FFF2-40B4-BE49-F238E27FC236}">
                <a16:creationId xmlns:a16="http://schemas.microsoft.com/office/drawing/2014/main" id="{64BDFD29-D0C9-584F-920D-695890D6E6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10" name="Рисунок 9">
            <a:extLst>
              <a:ext uri="{FF2B5EF4-FFF2-40B4-BE49-F238E27FC236}">
                <a16:creationId xmlns:a16="http://schemas.microsoft.com/office/drawing/2014/main" id="{1A878DCC-37AD-DA49-BF16-9D184DDC69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17" name="Рисунок 16">
            <a:extLst>
              <a:ext uri="{FF2B5EF4-FFF2-40B4-BE49-F238E27FC236}">
                <a16:creationId xmlns:a16="http://schemas.microsoft.com/office/drawing/2014/main" id="{EC0C4EDD-56AD-1F45-9B85-324A3D52DB2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1062128"/>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текст одна колонка">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08C9E3-7AF1-4E94-8B1C-1B2112267FB0}"/>
              </a:ext>
            </a:extLst>
          </p:cNvPr>
          <p:cNvGraphicFramePr>
            <a:graphicFrameLocks noChangeAspect="1"/>
          </p:cNvGraphicFramePr>
          <p:nvPr userDrawn="1">
            <p:custDataLst>
              <p:tags r:id="rId2"/>
            </p:custDataLst>
            <p:extLst/>
          </p:nvPr>
        </p:nvGraphicFramePr>
        <p:xfrm>
          <a:off x="1400" y="1401"/>
          <a:ext cx="1400" cy="1401"/>
        </p:xfrm>
        <a:graphic>
          <a:graphicData uri="http://schemas.openxmlformats.org/presentationml/2006/ole">
            <mc:AlternateContent xmlns:mc="http://schemas.openxmlformats.org/markup-compatibility/2006">
              <mc:Choice xmlns:v="urn:schemas-microsoft-com:vml" Requires="v">
                <p:oleObj spid="_x0000_s2129" name="Слайд think-cell" r:id="rId4" imgW="473" imgH="473" progId="TCLayout.ActiveDocument.1">
                  <p:embed/>
                </p:oleObj>
              </mc:Choice>
              <mc:Fallback>
                <p:oleObj name="Слайд think-cell" r:id="rId4" imgW="473" imgH="473" progId="TCLayout.ActiveDocument.1">
                  <p:embed/>
                  <p:pic>
                    <p:nvPicPr>
                      <p:cNvPr id="3" name="Object 2" hidden="1">
                        <a:extLst>
                          <a:ext uri="{FF2B5EF4-FFF2-40B4-BE49-F238E27FC236}">
                            <a16:creationId xmlns:a16="http://schemas.microsoft.com/office/drawing/2014/main" id="{AE08C9E3-7AF1-4E94-8B1C-1B2112267FB0}"/>
                          </a:ext>
                        </a:extLst>
                      </p:cNvPr>
                      <p:cNvPicPr/>
                      <p:nvPr/>
                    </p:nvPicPr>
                    <p:blipFill>
                      <a:blip r:embed="rId5"/>
                      <a:stretch>
                        <a:fillRect/>
                      </a:stretch>
                    </p:blipFill>
                    <p:spPr>
                      <a:xfrm>
                        <a:off x="1400" y="1401"/>
                        <a:ext cx="1400" cy="1401"/>
                      </a:xfrm>
                      <a:prstGeom prst="rect">
                        <a:avLst/>
                      </a:prstGeom>
                    </p:spPr>
                  </p:pic>
                </p:oleObj>
              </mc:Fallback>
            </mc:AlternateContent>
          </a:graphicData>
        </a:graphic>
      </p:graphicFrame>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vert="horz" lIns="0" tIns="0" rIns="0" bIns="0"/>
          <a:lstStyle>
            <a:lvl1pPr>
              <a:lnSpc>
                <a:spcPct val="100000"/>
              </a:lnSpc>
              <a:defRPr sz="3526">
                <a:solidFill>
                  <a:schemeClr val="tx1"/>
                </a:solidFill>
              </a:defRPr>
            </a:lvl1pPr>
          </a:lstStyle>
          <a:p>
            <a:r>
              <a:rPr lang="ru-RU" dirty="0"/>
              <a:t>Заголовок слайда </a:t>
            </a:r>
            <a:br>
              <a:rPr lang="ru-RU" dirty="0"/>
            </a:br>
            <a:r>
              <a:rPr lang="ru-RU" dirty="0"/>
              <a:t>с текстом в одну колонку</a:t>
            </a:r>
          </a:p>
        </p:txBody>
      </p:sp>
    </p:spTree>
    <p:extLst>
      <p:ext uri="{BB962C8B-B14F-4D97-AF65-F5344CB8AC3E}">
        <p14:creationId xmlns:p14="http://schemas.microsoft.com/office/powerpoint/2010/main" val="96443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2" y="2789655"/>
            <a:ext cx="4419116" cy="631707"/>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6"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81" y="2789655"/>
            <a:ext cx="4416585" cy="631707"/>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9" y="3570260"/>
            <a:ext cx="4393157" cy="970085"/>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999876077"/>
      </p:ext>
    </p:extLst>
  </p:cSld>
  <p:clrMapOvr>
    <a:masterClrMapping/>
  </p:clrMapOvr>
  <p:extLst mod="1">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текст одна колонка">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08C9E3-7AF1-4E94-8B1C-1B2112267FB0}"/>
              </a:ext>
            </a:extLst>
          </p:cNvPr>
          <p:cNvGraphicFramePr>
            <a:graphicFrameLocks noChangeAspect="1"/>
          </p:cNvGraphicFramePr>
          <p:nvPr userDrawn="1">
            <p:custDataLst>
              <p:tags r:id="rId2"/>
            </p:custDataLst>
            <p:extLst/>
          </p:nvPr>
        </p:nvGraphicFramePr>
        <p:xfrm>
          <a:off x="1400" y="1401"/>
          <a:ext cx="1400" cy="1401"/>
        </p:xfrm>
        <a:graphic>
          <a:graphicData uri="http://schemas.openxmlformats.org/presentationml/2006/ole">
            <mc:AlternateContent xmlns:mc="http://schemas.openxmlformats.org/markup-compatibility/2006">
              <mc:Choice xmlns:v="urn:schemas-microsoft-com:vml" Requires="v">
                <p:oleObj spid="_x0000_s3153" name="Слайд think-cell" r:id="rId4" imgW="473" imgH="473" progId="TCLayout.ActiveDocument.1">
                  <p:embed/>
                </p:oleObj>
              </mc:Choice>
              <mc:Fallback>
                <p:oleObj name="Слайд think-cell" r:id="rId4" imgW="473" imgH="473" progId="TCLayout.ActiveDocument.1">
                  <p:embed/>
                  <p:pic>
                    <p:nvPicPr>
                      <p:cNvPr id="3" name="Object 2" hidden="1">
                        <a:extLst>
                          <a:ext uri="{FF2B5EF4-FFF2-40B4-BE49-F238E27FC236}">
                            <a16:creationId xmlns:a16="http://schemas.microsoft.com/office/drawing/2014/main" id="{AE08C9E3-7AF1-4E94-8B1C-1B2112267FB0}"/>
                          </a:ext>
                        </a:extLst>
                      </p:cNvPr>
                      <p:cNvPicPr/>
                      <p:nvPr/>
                    </p:nvPicPr>
                    <p:blipFill>
                      <a:blip r:embed="rId5"/>
                      <a:stretch>
                        <a:fillRect/>
                      </a:stretch>
                    </p:blipFill>
                    <p:spPr>
                      <a:xfrm>
                        <a:off x="1400" y="1401"/>
                        <a:ext cx="1400" cy="1401"/>
                      </a:xfrm>
                      <a:prstGeom prst="rect">
                        <a:avLst/>
                      </a:prstGeom>
                    </p:spPr>
                  </p:pic>
                </p:oleObj>
              </mc:Fallback>
            </mc:AlternateContent>
          </a:graphicData>
        </a:graphic>
      </p:graphicFrame>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vert="horz" lIns="0" tIns="0" rIns="0" bIns="0"/>
          <a:lstStyle>
            <a:lvl1pPr>
              <a:lnSpc>
                <a:spcPct val="100000"/>
              </a:lnSpc>
              <a:defRPr sz="3526">
                <a:solidFill>
                  <a:schemeClr val="bg1"/>
                </a:solidFill>
              </a:defRPr>
            </a:lvl1pPr>
          </a:lstStyle>
          <a:p>
            <a:r>
              <a:rPr lang="ru-RU" dirty="0"/>
              <a:t>Заголовок слайда </a:t>
            </a:r>
            <a:br>
              <a:rPr lang="ru-RU" dirty="0"/>
            </a:br>
            <a:r>
              <a:rPr lang="ru-RU" dirty="0"/>
              <a:t>с текстом в одну колонку</a:t>
            </a:r>
          </a:p>
        </p:txBody>
      </p:sp>
      <p:grpSp>
        <p:nvGrpSpPr>
          <p:cNvPr id="50" name="Рисунок 3">
            <a:extLst>
              <a:ext uri="{FF2B5EF4-FFF2-40B4-BE49-F238E27FC236}">
                <a16:creationId xmlns:a16="http://schemas.microsoft.com/office/drawing/2014/main" id="{56ABE0A5-9B74-4E8F-8E7E-302E14C56F7A}"/>
              </a:ext>
            </a:extLst>
          </p:cNvPr>
          <p:cNvGrpSpPr/>
          <p:nvPr/>
        </p:nvGrpSpPr>
        <p:grpSpPr>
          <a:xfrm>
            <a:off x="10500891" y="6414405"/>
            <a:ext cx="1272023" cy="165007"/>
            <a:chOff x="11911948" y="7197820"/>
            <a:chExt cx="1442951" cy="187008"/>
          </a:xfrm>
          <a:solidFill>
            <a:schemeClr val="bg1"/>
          </a:solidFill>
        </p:grpSpPr>
        <p:sp>
          <p:nvSpPr>
            <p:cNvPr id="74" name="Полилиния: фигура 60">
              <a:extLst>
                <a:ext uri="{FF2B5EF4-FFF2-40B4-BE49-F238E27FC236}">
                  <a16:creationId xmlns:a16="http://schemas.microsoft.com/office/drawing/2014/main" id="{6840E24B-7C69-40E1-85BF-12125F881333}"/>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75" name="Полилиния: фигура 61">
              <a:extLst>
                <a:ext uri="{FF2B5EF4-FFF2-40B4-BE49-F238E27FC236}">
                  <a16:creationId xmlns:a16="http://schemas.microsoft.com/office/drawing/2014/main" id="{36A785EE-16C9-4E77-A85E-1DEF8DAE588F}"/>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76" name="Полилиния: фигура 62">
              <a:extLst>
                <a:ext uri="{FF2B5EF4-FFF2-40B4-BE49-F238E27FC236}">
                  <a16:creationId xmlns:a16="http://schemas.microsoft.com/office/drawing/2014/main" id="{79EDC0CA-2B1B-45E7-9190-F6E8FD868BD0}"/>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77" name="Полилиния: фигура 63">
              <a:extLst>
                <a:ext uri="{FF2B5EF4-FFF2-40B4-BE49-F238E27FC236}">
                  <a16:creationId xmlns:a16="http://schemas.microsoft.com/office/drawing/2014/main" id="{881CF575-26D6-4146-AA07-E98E73DEC944}"/>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78" name="Полилиния: фигура 64">
              <a:extLst>
                <a:ext uri="{FF2B5EF4-FFF2-40B4-BE49-F238E27FC236}">
                  <a16:creationId xmlns:a16="http://schemas.microsoft.com/office/drawing/2014/main" id="{BFF9FFAE-F269-4A9D-9D62-0943445747EE}"/>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79" name="Полилиния: фигура 65">
              <a:extLst>
                <a:ext uri="{FF2B5EF4-FFF2-40B4-BE49-F238E27FC236}">
                  <a16:creationId xmlns:a16="http://schemas.microsoft.com/office/drawing/2014/main" id="{7DD351F1-0338-44B8-A67C-90DC5D238F18}"/>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80" name="Полилиния: фигура 66">
              <a:extLst>
                <a:ext uri="{FF2B5EF4-FFF2-40B4-BE49-F238E27FC236}">
                  <a16:creationId xmlns:a16="http://schemas.microsoft.com/office/drawing/2014/main" id="{0A6D0267-900B-4700-A7E8-20F42AE07FBE}"/>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81" name="Полилиния: фигура 67">
              <a:extLst>
                <a:ext uri="{FF2B5EF4-FFF2-40B4-BE49-F238E27FC236}">
                  <a16:creationId xmlns:a16="http://schemas.microsoft.com/office/drawing/2014/main" id="{6A64EB43-48CD-4855-96E7-5BDB6C81A198}"/>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82" name="Полилиния: фигура 68">
              <a:extLst>
                <a:ext uri="{FF2B5EF4-FFF2-40B4-BE49-F238E27FC236}">
                  <a16:creationId xmlns:a16="http://schemas.microsoft.com/office/drawing/2014/main" id="{A4F86F14-9D6D-4BDF-9174-2721A24A7E55}"/>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83" name="Полилиния: фигура 69">
              <a:extLst>
                <a:ext uri="{FF2B5EF4-FFF2-40B4-BE49-F238E27FC236}">
                  <a16:creationId xmlns:a16="http://schemas.microsoft.com/office/drawing/2014/main" id="{B4D58B20-9A10-4251-8DA3-FC5D01F89144}"/>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spTree>
    <p:extLst>
      <p:ext uri="{BB962C8B-B14F-4D97-AF65-F5344CB8AC3E}">
        <p14:creationId xmlns:p14="http://schemas.microsoft.com/office/powerpoint/2010/main" val="357981939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текст две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a:solidFill>
                  <a:schemeClr val="tx1"/>
                </a:solidFill>
              </a:defRPr>
            </a:lvl1pPr>
          </a:lstStyle>
          <a:p>
            <a:r>
              <a:rPr lang="ru-RU" dirty="0"/>
              <a:t>Заголовок слайда </a:t>
            </a:r>
            <a:br>
              <a:rPr lang="ru-RU" dirty="0"/>
            </a:br>
            <a:r>
              <a:rPr lang="ru-RU" dirty="0"/>
              <a:t>с текстом 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036" y="2158923"/>
            <a:ext cx="5234616" cy="2192908"/>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 текста рекомендуемый объём текста для блока</a:t>
            </a:r>
          </a:p>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endParaRPr lang="ru-RU" sz="1587" dirty="0"/>
          </a:p>
          <a:p>
            <a:pPr lvl="0">
              <a:lnSpc>
                <a:spcPts val="1851"/>
              </a:lnSpc>
              <a:spcBef>
                <a:spcPts val="0"/>
              </a:spcBef>
            </a:pPr>
            <a:endParaRPr lang="ru-RU" sz="1587" dirty="0"/>
          </a:p>
        </p:txBody>
      </p:sp>
      <p:sp>
        <p:nvSpPr>
          <p:cNvPr id="16" name="Текст 4">
            <a:extLst>
              <a:ext uri="{FF2B5EF4-FFF2-40B4-BE49-F238E27FC236}">
                <a16:creationId xmlns:a16="http://schemas.microsoft.com/office/drawing/2014/main" id="{4A57722E-129C-4EC9-80A8-65B21DE4C17D}"/>
              </a:ext>
            </a:extLst>
          </p:cNvPr>
          <p:cNvSpPr>
            <a:spLocks noGrp="1"/>
          </p:cNvSpPr>
          <p:nvPr>
            <p:ph type="body" sz="quarter" idx="25" hasCustomPrompt="1"/>
          </p:nvPr>
        </p:nvSpPr>
        <p:spPr>
          <a:xfrm>
            <a:off x="6206860" y="2158271"/>
            <a:ext cx="5256531" cy="1461939"/>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рекомендуемый объём текста для блока объём текста рекомендуемый объём для блока рекомендуемый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487313"/>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Tree>
    <p:extLst>
      <p:ext uri="{BB962C8B-B14F-4D97-AF65-F5344CB8AC3E}">
        <p14:creationId xmlns:p14="http://schemas.microsoft.com/office/powerpoint/2010/main" val="10199518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текст три колонки">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sz="3526">
                <a:solidFill>
                  <a:schemeClr val="tx1"/>
                </a:solidFill>
              </a:defRPr>
            </a:lvl1pPr>
          </a:lstStyle>
          <a:p>
            <a:r>
              <a:rPr lang="ru-RU" dirty="0"/>
              <a:t>Заголовок слайда </a:t>
            </a:r>
            <a:br>
              <a:rPr lang="ru-RU" dirty="0"/>
            </a:br>
            <a:r>
              <a:rPr lang="ru-RU" dirty="0"/>
              <a:t>с текстом 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8741" y="2158923"/>
            <a:ext cx="3096675" cy="1218282"/>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18" name="Текст 4">
            <a:extLst>
              <a:ext uri="{FF2B5EF4-FFF2-40B4-BE49-F238E27FC236}">
                <a16:creationId xmlns:a16="http://schemas.microsoft.com/office/drawing/2014/main" id="{6E881DC9-9247-4F95-AFAE-92EDF724E204}"/>
              </a:ext>
            </a:extLst>
          </p:cNvPr>
          <p:cNvSpPr>
            <a:spLocks noGrp="1"/>
          </p:cNvSpPr>
          <p:nvPr>
            <p:ph type="body" sz="quarter" idx="27" hasCustomPrompt="1"/>
          </p:nvPr>
        </p:nvSpPr>
        <p:spPr>
          <a:xfrm>
            <a:off x="418741" y="5257129"/>
            <a:ext cx="2669844" cy="487313"/>
          </a:xfrm>
          <a:prstGeom prst="rect">
            <a:avLst/>
          </a:prstGeom>
        </p:spPr>
        <p:txBody>
          <a:bodyPr lIns="0" tIns="0" rIns="0" bIns="0"/>
          <a:lstStyle>
            <a:lvl1pPr>
              <a:lnSpc>
                <a:spcPts val="1851"/>
              </a:lnSpc>
              <a:spcBef>
                <a:spcPts val="0"/>
              </a:spcBef>
              <a:defRPr sz="1587" b="0">
                <a:solidFill>
                  <a:srgbClr val="979799"/>
                </a:solidFill>
                <a:latin typeface="+mn-lt"/>
              </a:defRPr>
            </a:lvl1pPr>
          </a:lstStyle>
          <a:p>
            <a:pPr algn="l"/>
            <a:r>
              <a:rPr lang="ru-RU" sz="1587" dirty="0"/>
              <a:t>Дополнительный текст</a:t>
            </a:r>
            <a:br>
              <a:rPr lang="ru-RU" sz="1587" dirty="0"/>
            </a:br>
            <a:r>
              <a:rPr lang="ru-RU" sz="1587" dirty="0"/>
              <a:t>в две-три строки</a:t>
            </a:r>
          </a:p>
        </p:txBody>
      </p:sp>
      <p:sp>
        <p:nvSpPr>
          <p:cNvPr id="7" name="Текст 4">
            <a:extLst>
              <a:ext uri="{FF2B5EF4-FFF2-40B4-BE49-F238E27FC236}">
                <a16:creationId xmlns:a16="http://schemas.microsoft.com/office/drawing/2014/main" id="{253F15D4-8FD1-49EF-8103-2177CB724B7D}"/>
              </a:ext>
            </a:extLst>
          </p:cNvPr>
          <p:cNvSpPr>
            <a:spLocks noGrp="1"/>
          </p:cNvSpPr>
          <p:nvPr>
            <p:ph type="body" sz="quarter" idx="28" hasCustomPrompt="1"/>
          </p:nvPr>
        </p:nvSpPr>
        <p:spPr>
          <a:xfrm>
            <a:off x="4276716" y="2158923"/>
            <a:ext cx="3120294" cy="1218282"/>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
        <p:nvSpPr>
          <p:cNvPr id="8" name="Текст 4">
            <a:extLst>
              <a:ext uri="{FF2B5EF4-FFF2-40B4-BE49-F238E27FC236}">
                <a16:creationId xmlns:a16="http://schemas.microsoft.com/office/drawing/2014/main" id="{0994DF9A-B8DE-4760-B932-6DAB04CABCA6}"/>
              </a:ext>
            </a:extLst>
          </p:cNvPr>
          <p:cNvSpPr>
            <a:spLocks noGrp="1"/>
          </p:cNvSpPr>
          <p:nvPr>
            <p:ph type="body" sz="quarter" idx="29" hasCustomPrompt="1"/>
          </p:nvPr>
        </p:nvSpPr>
        <p:spPr>
          <a:xfrm>
            <a:off x="8137797" y="2158923"/>
            <a:ext cx="3120294" cy="1218282"/>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a:t>
            </a:r>
          </a:p>
        </p:txBody>
      </p:sp>
    </p:spTree>
    <p:extLst>
      <p:ext uri="{BB962C8B-B14F-4D97-AF65-F5344CB8AC3E}">
        <p14:creationId xmlns:p14="http://schemas.microsoft.com/office/powerpoint/2010/main" val="379793727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3260749"/>
            <a:ext cx="5986843" cy="336502"/>
          </a:xfrm>
          <a:prstGeom prst="rect">
            <a:avLst/>
          </a:prstGeom>
          <a:solidFill>
            <a:schemeClr val="bg1">
              <a:lumMod val="95000"/>
            </a:schemeClr>
          </a:solidFill>
        </p:spPr>
        <p:txBody>
          <a:bodyPr anchor="ctr"/>
          <a:lstStyle>
            <a:lvl1pPr algn="ctr">
              <a:defRPr sz="1763" b="0"/>
            </a:lvl1pPr>
          </a:lstStyle>
          <a:p>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3" y="2158923"/>
            <a:ext cx="4599513" cy="1461939"/>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30046419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_текст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Заголовок слайда </a:t>
            </a:r>
            <a:br>
              <a:rPr lang="ru-RU" dirty="0"/>
            </a:br>
            <a:r>
              <a:rPr lang="ru-RU" dirty="0"/>
              <a:t>с текстом и фото</a:t>
            </a:r>
          </a:p>
        </p:txBody>
      </p:sp>
      <p:sp>
        <p:nvSpPr>
          <p:cNvPr id="10" name="Рисунок 3">
            <a:extLst>
              <a:ext uri="{FF2B5EF4-FFF2-40B4-BE49-F238E27FC236}">
                <a16:creationId xmlns:a16="http://schemas.microsoft.com/office/drawing/2014/main" id="{C601F09C-CD6B-43FE-A931-A7F096B3BC15}"/>
              </a:ext>
            </a:extLst>
          </p:cNvPr>
          <p:cNvSpPr>
            <a:spLocks noGrp="1"/>
          </p:cNvSpPr>
          <p:nvPr>
            <p:ph type="pic" sz="quarter" idx="57"/>
          </p:nvPr>
        </p:nvSpPr>
        <p:spPr>
          <a:xfrm>
            <a:off x="6205157" y="3260749"/>
            <a:ext cx="5986843" cy="336502"/>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
        <p:nvSpPr>
          <p:cNvPr id="9" name="Текст 4">
            <a:extLst>
              <a:ext uri="{FF2B5EF4-FFF2-40B4-BE49-F238E27FC236}">
                <a16:creationId xmlns:a16="http://schemas.microsoft.com/office/drawing/2014/main" id="{EEEF86BB-89AC-435E-999C-0F2F982B8BFC}"/>
              </a:ext>
            </a:extLst>
          </p:cNvPr>
          <p:cNvSpPr>
            <a:spLocks noGrp="1"/>
          </p:cNvSpPr>
          <p:nvPr>
            <p:ph type="body" sz="quarter" idx="19" hasCustomPrompt="1"/>
          </p:nvPr>
        </p:nvSpPr>
        <p:spPr>
          <a:xfrm>
            <a:off x="417513" y="2158923"/>
            <a:ext cx="4599513" cy="1461939"/>
          </a:xfrm>
          <a:prstGeom prst="rect">
            <a:avLst/>
          </a:prstGeom>
        </p:spPr>
        <p:txBody>
          <a:bodyPr lIns="0" tIns="0" rIns="0" bIns="0"/>
          <a:lstStyle>
            <a:lvl1pPr>
              <a:lnSpc>
                <a:spcPts val="1851"/>
              </a:lnSpc>
              <a:spcBef>
                <a:spcPts val="0"/>
              </a:spcBef>
              <a:defRPr lang="ru-RU" sz="1587" b="0" dirty="0">
                <a:latin typeface="+mn-lt"/>
              </a:defRPr>
            </a:lvl1pPr>
          </a:lstStyle>
          <a:p>
            <a:pPr marL="0" marR="0" lvl="0" indent="0" algn="l" defTabSz="806044" rtl="0" eaLnBrk="1" fontAlgn="auto" latinLnBrk="0" hangingPunct="1">
              <a:lnSpc>
                <a:spcPts val="1851"/>
              </a:lnSpc>
              <a:spcBef>
                <a:spcPts val="0"/>
              </a:spcBef>
              <a:spcAft>
                <a:spcPts val="0"/>
              </a:spcAft>
              <a:buClrTx/>
              <a:buSzTx/>
              <a:buFont typeface="Rostelecom Basis" panose="020B0604020202020204" pitchFamily="34" charset="0"/>
              <a:buNone/>
              <a:tabLst/>
              <a:defRPr/>
            </a:pPr>
            <a:r>
              <a:rPr lang="ru-RU" sz="1587" dirty="0"/>
              <a:t>Рекомендуемый объём текста рекомендуемый объём для блока рекомендуемый объём текста для блока объём текста для блока объём текста рекомендуемый объём текста рекомендуемый объём для блока рекомендуемый объём текста для блока объём текста</a:t>
            </a:r>
          </a:p>
        </p:txBody>
      </p:sp>
    </p:spTree>
    <p:extLst>
      <p:ext uri="{BB962C8B-B14F-4D97-AF65-F5344CB8AC3E}">
        <p14:creationId xmlns:p14="http://schemas.microsoft.com/office/powerpoint/2010/main" val="303230624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1" y="3126408"/>
            <a:ext cx="4419116"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3126408"/>
            <a:ext cx="4416584"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418014751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2">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3"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8" name="Текст 4">
            <a:extLst>
              <a:ext uri="{FF2B5EF4-FFF2-40B4-BE49-F238E27FC236}">
                <a16:creationId xmlns:a16="http://schemas.microsoft.com/office/drawing/2014/main" id="{C53A4D03-327F-4CFF-B054-20AD882BE763}"/>
              </a:ext>
            </a:extLst>
          </p:cNvPr>
          <p:cNvSpPr>
            <a:spLocks noGrp="1"/>
          </p:cNvSpPr>
          <p:nvPr>
            <p:ph type="body" sz="quarter" idx="18" hasCustomPrompt="1"/>
          </p:nvPr>
        </p:nvSpPr>
        <p:spPr>
          <a:xfrm>
            <a:off x="1385021" y="2831456"/>
            <a:ext cx="4419116" cy="58990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9E47DE1-5F55-4EAE-AE09-8150DC697C18}"/>
              </a:ext>
            </a:extLst>
          </p:cNvPr>
          <p:cNvSpPr>
            <a:spLocks noGrp="1"/>
          </p:cNvSpPr>
          <p:nvPr>
            <p:ph type="body" sz="quarter" idx="19" hasCustomPrompt="1"/>
          </p:nvPr>
        </p:nvSpPr>
        <p:spPr>
          <a:xfrm>
            <a:off x="1385453" y="3570260"/>
            <a:ext cx="4393157"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B22AD7E2-F82A-403E-9B87-82A790C8F766}"/>
              </a:ext>
            </a:extLst>
          </p:cNvPr>
          <p:cNvSpPr>
            <a:spLocks noGrp="1"/>
          </p:cNvSpPr>
          <p:nvPr>
            <p:ph type="body" sz="quarter" idx="20" hasCustomPrompt="1"/>
          </p:nvPr>
        </p:nvSpPr>
        <p:spPr>
          <a:xfrm>
            <a:off x="7174977" y="2831456"/>
            <a:ext cx="4416584" cy="58990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5151BB9F-1D86-48AC-A842-9C7D96F50819}"/>
              </a:ext>
            </a:extLst>
          </p:cNvPr>
          <p:cNvSpPr>
            <a:spLocks noGrp="1"/>
          </p:cNvSpPr>
          <p:nvPr>
            <p:ph type="body" sz="quarter" idx="21" hasCustomPrompt="1"/>
          </p:nvPr>
        </p:nvSpPr>
        <p:spPr>
          <a:xfrm>
            <a:off x="7174977" y="3570260"/>
            <a:ext cx="4393157"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для блока рекомендуемый объём текста для блока</a:t>
            </a:r>
          </a:p>
        </p:txBody>
      </p:sp>
      <p:sp>
        <p:nvSpPr>
          <p:cNvPr id="10" name="Текст 14">
            <a:extLst>
              <a:ext uri="{FF2B5EF4-FFF2-40B4-BE49-F238E27FC236}">
                <a16:creationId xmlns:a16="http://schemas.microsoft.com/office/drawing/2014/main" id="{9B6A61A5-726A-4313-9C08-BCC1AA071130}"/>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499005534"/>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2" y="2465283"/>
            <a:ext cx="4591594"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4"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5" y="2465283"/>
            <a:ext cx="459095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6" y="2909133"/>
            <a:ext cx="459095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2" y="4642205"/>
            <a:ext cx="4591594"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55"/>
            <a:ext cx="4591594"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5" y="4642205"/>
            <a:ext cx="459095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6" y="5086055"/>
            <a:ext cx="459095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4178902030"/>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2" y="2170331"/>
            <a:ext cx="4591594" cy="58990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4"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5" y="2170331"/>
            <a:ext cx="4590959" cy="58990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6" y="2909133"/>
            <a:ext cx="459095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2" y="4347253"/>
            <a:ext cx="4591594" cy="58990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55"/>
            <a:ext cx="4591594"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5" y="4347253"/>
            <a:ext cx="4590959" cy="58990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6" y="5086055"/>
            <a:ext cx="459095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318141104"/>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2" y="1646151"/>
            <a:ext cx="4284298"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5" y="1646151"/>
            <a:ext cx="4284298"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4" y="1967662"/>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5" y="1967662"/>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2" y="3264045"/>
            <a:ext cx="4284298"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5" y="3264045"/>
            <a:ext cx="4284298"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4" y="3585556"/>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5" y="3585556"/>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2" y="4879004"/>
            <a:ext cx="4284298"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5" y="4879004"/>
            <a:ext cx="4284298"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4" y="5200515"/>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5" y="5200515"/>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237137752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11356052" cy="532000"/>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3" y="2442889"/>
            <a:ext cx="4591595"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5" cy="95589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9" y="2442889"/>
            <a:ext cx="4590959"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9" y="2909133"/>
            <a:ext cx="4590959" cy="95589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3" y="4619810"/>
            <a:ext cx="4591595"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60"/>
            <a:ext cx="4591595"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9" y="4619810"/>
            <a:ext cx="4590959" cy="3173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9" y="5086060"/>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4081033535"/>
      </p:ext>
    </p:extLst>
  </p:cSld>
  <p:clrMapOvr>
    <a:masterClrMapping/>
  </p:clrMapOvr>
  <p:extLst mod="1">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2" y="1402494"/>
            <a:ext cx="4284298" cy="487313"/>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5" y="1402494"/>
            <a:ext cx="4284298" cy="487313"/>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4" y="1967662"/>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5" y="1967662"/>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2" y="3020388"/>
            <a:ext cx="4284298" cy="487313"/>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br>
              <a:rPr lang="ru-RU" dirty="0"/>
            </a:br>
            <a:r>
              <a:rPr lang="ru-RU" dirty="0"/>
              <a:t>две строки</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5" y="3020388"/>
            <a:ext cx="4284298" cy="487313"/>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4" y="3585556"/>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5" y="3585556"/>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2" y="4635347"/>
            <a:ext cx="4284298" cy="487313"/>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5" y="4635347"/>
            <a:ext cx="4284298" cy="487313"/>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4" y="5200515"/>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5" y="5200515"/>
            <a:ext cx="4284298" cy="820738"/>
          </a:xfrm>
          <a:prstGeom prst="rect">
            <a:avLst/>
          </a:prstGeom>
        </p:spPr>
        <p:txBody>
          <a:bodyPr lIns="0" tIns="0" rIns="0" bIns="0"/>
          <a:lstStyle>
            <a:lvl1pPr>
              <a:lnSpc>
                <a:spcPts val="1587"/>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1080256532"/>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3">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иконками</a:t>
            </a:r>
          </a:p>
        </p:txBody>
      </p:sp>
      <p:sp>
        <p:nvSpPr>
          <p:cNvPr id="14" name="Текст 4">
            <a:extLst>
              <a:ext uri="{FF2B5EF4-FFF2-40B4-BE49-F238E27FC236}">
                <a16:creationId xmlns:a16="http://schemas.microsoft.com/office/drawing/2014/main" id="{27D7F168-DBE9-4AAE-9176-DF9CA55C7605}"/>
              </a:ext>
            </a:extLst>
          </p:cNvPr>
          <p:cNvSpPr>
            <a:spLocks noGrp="1"/>
          </p:cNvSpPr>
          <p:nvPr>
            <p:ph type="body" sz="quarter" idx="18" hasCustomPrompt="1"/>
          </p:nvPr>
        </p:nvSpPr>
        <p:spPr>
          <a:xfrm>
            <a:off x="1385453" y="2078791"/>
            <a:ext cx="7491249"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24E519ED-FA49-4252-A2D0-2497C847A331}"/>
              </a:ext>
            </a:extLst>
          </p:cNvPr>
          <p:cNvSpPr>
            <a:spLocks noGrp="1"/>
          </p:cNvSpPr>
          <p:nvPr>
            <p:ph type="body" sz="quarter" idx="27" hasCustomPrompt="1"/>
          </p:nvPr>
        </p:nvSpPr>
        <p:spPr>
          <a:xfrm>
            <a:off x="1385455" y="2400301"/>
            <a:ext cx="7491250" cy="406906"/>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18" name="Текст 4">
            <a:extLst>
              <a:ext uri="{FF2B5EF4-FFF2-40B4-BE49-F238E27FC236}">
                <a16:creationId xmlns:a16="http://schemas.microsoft.com/office/drawing/2014/main" id="{CE6D2CA7-37CA-4ACB-BB41-3FF89B1FEAA3}"/>
              </a:ext>
            </a:extLst>
          </p:cNvPr>
          <p:cNvSpPr>
            <a:spLocks noGrp="1"/>
          </p:cNvSpPr>
          <p:nvPr>
            <p:ph type="body" sz="quarter" idx="30" hasCustomPrompt="1"/>
          </p:nvPr>
        </p:nvSpPr>
        <p:spPr>
          <a:xfrm>
            <a:off x="1385453" y="3541458"/>
            <a:ext cx="7491249"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5CA7E28D-839E-443A-A2E2-15D09B408E98}"/>
              </a:ext>
            </a:extLst>
          </p:cNvPr>
          <p:cNvSpPr>
            <a:spLocks noGrp="1"/>
          </p:cNvSpPr>
          <p:nvPr>
            <p:ph type="body" sz="quarter" idx="32" hasCustomPrompt="1"/>
          </p:nvPr>
        </p:nvSpPr>
        <p:spPr>
          <a:xfrm>
            <a:off x="1385455" y="3862969"/>
            <a:ext cx="7491250" cy="406906"/>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21" name="Текст 4">
            <a:extLst>
              <a:ext uri="{FF2B5EF4-FFF2-40B4-BE49-F238E27FC236}">
                <a16:creationId xmlns:a16="http://schemas.microsoft.com/office/drawing/2014/main" id="{72ED0BAE-E7F3-49CE-AED5-D7B126322842}"/>
              </a:ext>
            </a:extLst>
          </p:cNvPr>
          <p:cNvSpPr>
            <a:spLocks noGrp="1"/>
          </p:cNvSpPr>
          <p:nvPr>
            <p:ph type="body" sz="quarter" idx="34" hasCustomPrompt="1"/>
          </p:nvPr>
        </p:nvSpPr>
        <p:spPr>
          <a:xfrm>
            <a:off x="1385453" y="5090670"/>
            <a:ext cx="7491249" cy="243656"/>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2" name="Текст 14">
            <a:extLst>
              <a:ext uri="{FF2B5EF4-FFF2-40B4-BE49-F238E27FC236}">
                <a16:creationId xmlns:a16="http://schemas.microsoft.com/office/drawing/2014/main" id="{475B0105-23BE-4ECF-9BE3-89F667FDD950}"/>
              </a:ext>
            </a:extLst>
          </p:cNvPr>
          <p:cNvSpPr>
            <a:spLocks noGrp="1"/>
          </p:cNvSpPr>
          <p:nvPr>
            <p:ph type="body" sz="quarter" idx="36" hasCustomPrompt="1"/>
          </p:nvPr>
        </p:nvSpPr>
        <p:spPr>
          <a:xfrm>
            <a:off x="1385455" y="5412181"/>
            <a:ext cx="7491250" cy="406906"/>
          </a:xfrm>
          <a:prstGeom prst="rect">
            <a:avLst/>
          </a:prstGeom>
        </p:spPr>
        <p:txBody>
          <a:bodyPr lIns="0" tIns="0" rIns="0" bIns="0"/>
          <a:lstStyle>
            <a:lvl1pPr>
              <a:lnSpc>
                <a:spcPct val="100000"/>
              </a:lnSpc>
              <a:spcBef>
                <a:spcPts val="0"/>
              </a:spcBef>
              <a:defRPr sz="1322"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a:t>
            </a:r>
            <a:r>
              <a:rPr lang="ru-RU" dirty="0" err="1"/>
              <a:t>текстадля</a:t>
            </a:r>
            <a:r>
              <a:rPr lang="ru-RU" dirty="0"/>
              <a:t> блока рекомендуемый объём для блока рекомендуемый объём текста для блока объём текста объём текста для блока</a:t>
            </a:r>
          </a:p>
        </p:txBody>
      </p:sp>
      <p:sp>
        <p:nvSpPr>
          <p:cNvPr id="23" name="Текст 14">
            <a:extLst>
              <a:ext uri="{FF2B5EF4-FFF2-40B4-BE49-F238E27FC236}">
                <a16:creationId xmlns:a16="http://schemas.microsoft.com/office/drawing/2014/main" id="{724C2C64-D4C7-4484-8803-343D3EDE1076}"/>
              </a:ext>
            </a:extLst>
          </p:cNvPr>
          <p:cNvSpPr>
            <a:spLocks noGrp="1"/>
          </p:cNvSpPr>
          <p:nvPr>
            <p:ph type="body" sz="quarter" idx="56" hasCustomPrompt="1"/>
          </p:nvPr>
        </p:nvSpPr>
        <p:spPr>
          <a:xfrm>
            <a:off x="417514" y="1035866"/>
            <a:ext cx="7282657" cy="487313"/>
          </a:xfrm>
          <a:prstGeom prst="rect">
            <a:avLst/>
          </a:prstGeom>
        </p:spPr>
        <p:txBody>
          <a:bodyPr lIns="0" tIns="0" rIns="0" bIns="0"/>
          <a:lstStyle>
            <a:lvl1pPr>
              <a:lnSpc>
                <a:spcPts val="1851"/>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Tree>
    <p:extLst>
      <p:ext uri="{BB962C8B-B14F-4D97-AF65-F5344CB8AC3E}">
        <p14:creationId xmlns:p14="http://schemas.microsoft.com/office/powerpoint/2010/main" val="173106973"/>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и буллитам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1967662"/>
            <a:ext cx="4304787" cy="3667671"/>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21" name="Текст 14">
            <a:extLst>
              <a:ext uri="{FF2B5EF4-FFF2-40B4-BE49-F238E27FC236}">
                <a16:creationId xmlns:a16="http://schemas.microsoft.com/office/drawing/2014/main" id="{5DE1CF8A-9771-41FE-B9F7-FE0C00D121DC}"/>
              </a:ext>
            </a:extLst>
          </p:cNvPr>
          <p:cNvSpPr>
            <a:spLocks noGrp="1"/>
          </p:cNvSpPr>
          <p:nvPr>
            <p:ph type="body" sz="quarter" idx="28" hasCustomPrompt="1"/>
          </p:nvPr>
        </p:nvSpPr>
        <p:spPr>
          <a:xfrm>
            <a:off x="6205158" y="1967662"/>
            <a:ext cx="4304787" cy="3129062"/>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138193049"/>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129062"/>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
        <p:nvSpPr>
          <p:cNvPr id="5" name="Рисунок 3">
            <a:extLst>
              <a:ext uri="{FF2B5EF4-FFF2-40B4-BE49-F238E27FC236}">
                <a16:creationId xmlns:a16="http://schemas.microsoft.com/office/drawing/2014/main" id="{F46D9B35-07AE-4F35-BE50-D7155B968A93}"/>
              </a:ext>
            </a:extLst>
          </p:cNvPr>
          <p:cNvSpPr>
            <a:spLocks noGrp="1"/>
          </p:cNvSpPr>
          <p:nvPr>
            <p:ph type="pic" sz="quarter" idx="57"/>
          </p:nvPr>
        </p:nvSpPr>
        <p:spPr>
          <a:xfrm>
            <a:off x="6205157" y="3260749"/>
            <a:ext cx="5986843" cy="336502"/>
          </a:xfrm>
          <a:prstGeom prst="rect">
            <a:avLst/>
          </a:prstGeom>
          <a:solidFill>
            <a:schemeClr val="bg1">
              <a:lumMod val="95000"/>
            </a:schemeClr>
          </a:solidFill>
        </p:spPr>
        <p:txBody>
          <a:bodyPr anchor="ctr"/>
          <a:lstStyle>
            <a:lvl1pPr algn="ctr">
              <a:defRPr sz="1763" b="0"/>
            </a:lvl1pPr>
          </a:lstStyle>
          <a:p>
            <a:endParaRPr lang="ru-RU" dirty="0"/>
          </a:p>
        </p:txBody>
      </p:sp>
    </p:spTree>
    <p:extLst>
      <p:ext uri="{BB962C8B-B14F-4D97-AF65-F5344CB8AC3E}">
        <p14:creationId xmlns:p14="http://schemas.microsoft.com/office/powerpoint/2010/main" val="1308384865"/>
      </p:ext>
    </p:extLst>
  </p:cSld>
  <p:clrMapOvr>
    <a:masterClrMapping/>
  </p:clrMapOvr>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5559533" cy="898712"/>
          </a:xfrm>
          <a:prstGeom prst="rect">
            <a:avLst/>
          </a:prstGeom>
        </p:spPr>
        <p:txBody>
          <a:bodyPr lIns="0" tIns="0" rIns="0" bIns="0"/>
          <a:lstStyle>
            <a:lvl1pPr>
              <a:lnSpc>
                <a:spcPts val="3702"/>
              </a:lnSpc>
              <a:defRPr lang="ru-RU" sz="3526" dirty="0"/>
            </a:lvl1pPr>
          </a:lstStyle>
          <a:p>
            <a:pPr lvl="0">
              <a:lnSpc>
                <a:spcPts val="3702"/>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4" y="2442882"/>
            <a:ext cx="4304787" cy="3667671"/>
          </a:xfrm>
          <a:prstGeom prst="rect">
            <a:avLst/>
          </a:prstGeom>
        </p:spPr>
        <p:txBody>
          <a:bodyPr lIns="0" tIns="0" rIns="0" bIns="0"/>
          <a:lstStyle>
            <a:lvl1pPr marL="159529" indent="-159529">
              <a:lnSpc>
                <a:spcPts val="1587"/>
              </a:lnSpc>
              <a:spcBef>
                <a:spcPts val="0"/>
              </a:spcBef>
              <a:spcAft>
                <a:spcPts val="2645"/>
              </a:spcAft>
              <a:buClr>
                <a:schemeClr val="tx1"/>
              </a:buClr>
              <a:buFont typeface="Rostelecom Basis" panose="020B0604020202020204" pitchFamily="34" charset="0"/>
              <a:buChar char="•"/>
              <a:defRPr lang="ru-RU" sz="1322"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6" name="Рисунок 3">
            <a:extLst>
              <a:ext uri="{FF2B5EF4-FFF2-40B4-BE49-F238E27FC236}">
                <a16:creationId xmlns:a16="http://schemas.microsoft.com/office/drawing/2014/main" id="{2E8E8FB5-D9ED-4AB0-AFA2-95112BFF0A86}"/>
              </a:ext>
            </a:extLst>
          </p:cNvPr>
          <p:cNvSpPr>
            <a:spLocks noGrp="1"/>
          </p:cNvSpPr>
          <p:nvPr>
            <p:ph type="pic" sz="quarter" idx="57"/>
          </p:nvPr>
        </p:nvSpPr>
        <p:spPr>
          <a:xfrm>
            <a:off x="6205157" y="3260749"/>
            <a:ext cx="5986843" cy="336502"/>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Tree>
    <p:extLst>
      <p:ext uri="{BB962C8B-B14F-4D97-AF65-F5344CB8AC3E}">
        <p14:creationId xmlns:p14="http://schemas.microsoft.com/office/powerpoint/2010/main" val="3542101346"/>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цитаты/тезисы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tabLst>
                <a:tab pos="8776919" algn="l"/>
              </a:tabLst>
              <a:defRPr lang="ru-RU" sz="3526" dirty="0"/>
            </a:lvl1pPr>
          </a:lstStyle>
          <a:p>
            <a:pPr lvl="0">
              <a:lnSpc>
                <a:spcPts val="3702"/>
              </a:lnSpc>
            </a:pPr>
            <a:r>
              <a:rPr lang="ru-RU" dirty="0"/>
              <a:t>Слайд с цитатами/тезисами</a:t>
            </a:r>
            <a:br>
              <a:rPr lang="ru-RU" dirty="0"/>
            </a:br>
            <a:r>
              <a:rPr lang="ru-RU" dirty="0"/>
              <a:t>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189475"/>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6205157" y="3189475"/>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263329834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цитаты/тезисы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2"/>
              </a:lnSpc>
              <a:defRPr lang="ru-RU" sz="3526" dirty="0"/>
            </a:lvl1pPr>
          </a:lstStyle>
          <a:p>
            <a:pPr lvl="0">
              <a:lnSpc>
                <a:spcPts val="3702"/>
              </a:lnSpc>
            </a:pPr>
            <a:r>
              <a:rPr lang="ru-RU" dirty="0"/>
              <a:t>Слайд с цитатами/тезисами</a:t>
            </a:r>
            <a:br>
              <a:rPr lang="ru-RU" dirty="0"/>
            </a:br>
            <a:r>
              <a:rPr lang="ru-RU" dirty="0"/>
              <a:t>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189475"/>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189475"/>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189475"/>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63245807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2251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491350"/>
            <a:ext cx="3202839" cy="1090042"/>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a:p>
            <a:endParaRPr lang="ru-RU" sz="1587" dirty="0"/>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19836" y="5243427"/>
            <a:ext cx="3202839" cy="872034"/>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6964" y="2491350"/>
            <a:ext cx="3202839" cy="872034"/>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9612" y="2144535"/>
            <a:ext cx="3202839"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19835" y="4896611"/>
            <a:ext cx="3202839"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6963" y="2144535"/>
            <a:ext cx="3202839"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AD18AD81-4A32-4BD0-A7E4-3448EB9EA011}"/>
              </a:ext>
            </a:extLst>
          </p:cNvPr>
          <p:cNvSpPr>
            <a:spLocks noGrp="1"/>
          </p:cNvSpPr>
          <p:nvPr>
            <p:ph type="body" sz="quarter" idx="57" hasCustomPrompt="1"/>
          </p:nvPr>
        </p:nvSpPr>
        <p:spPr>
          <a:xfrm>
            <a:off x="8578842" y="5243427"/>
            <a:ext cx="3202839" cy="872034"/>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7" name="Текст 4">
            <a:extLst>
              <a:ext uri="{FF2B5EF4-FFF2-40B4-BE49-F238E27FC236}">
                <a16:creationId xmlns:a16="http://schemas.microsoft.com/office/drawing/2014/main" id="{725D1698-F31C-4B98-B0BE-A3A077544384}"/>
              </a:ext>
            </a:extLst>
          </p:cNvPr>
          <p:cNvSpPr>
            <a:spLocks noGrp="1"/>
          </p:cNvSpPr>
          <p:nvPr>
            <p:ph type="body" sz="quarter" idx="58" hasCustomPrompt="1"/>
          </p:nvPr>
        </p:nvSpPr>
        <p:spPr>
          <a:xfrm>
            <a:off x="8578841" y="4896611"/>
            <a:ext cx="3202839"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C1EB1179-3546-46DE-93F2-D3E56E923F3F}"/>
              </a:ext>
            </a:extLst>
          </p:cNvPr>
          <p:cNvSpPr>
            <a:spLocks noGrp="1"/>
          </p:cNvSpPr>
          <p:nvPr>
            <p:ph type="body" sz="quarter" idx="60" hasCustomPrompt="1"/>
          </p:nvPr>
        </p:nvSpPr>
        <p:spPr>
          <a:xfrm>
            <a:off x="4054204" y="5243427"/>
            <a:ext cx="3621874" cy="654025"/>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9" name="Текст 4">
            <a:extLst>
              <a:ext uri="{FF2B5EF4-FFF2-40B4-BE49-F238E27FC236}">
                <a16:creationId xmlns:a16="http://schemas.microsoft.com/office/drawing/2014/main" id="{1D1227BE-1ADF-49EE-84A6-005D8B8B372E}"/>
              </a:ext>
            </a:extLst>
          </p:cNvPr>
          <p:cNvSpPr>
            <a:spLocks noGrp="1"/>
          </p:cNvSpPr>
          <p:nvPr>
            <p:ph type="body" sz="quarter" idx="61" hasCustomPrompt="1"/>
          </p:nvPr>
        </p:nvSpPr>
        <p:spPr>
          <a:xfrm>
            <a:off x="4054203" y="4896611"/>
            <a:ext cx="3621874"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29" name="Рисунок 2">
            <a:extLst>
              <a:ext uri="{FF2B5EF4-FFF2-40B4-BE49-F238E27FC236}">
                <a16:creationId xmlns:a16="http://schemas.microsoft.com/office/drawing/2014/main" id="{DC9492FA-77C8-42D1-AA07-8CA74CE4A086}"/>
              </a:ext>
            </a:extLst>
          </p:cNvPr>
          <p:cNvSpPr>
            <a:spLocks noGrp="1"/>
          </p:cNvSpPr>
          <p:nvPr>
            <p:ph type="pic" sz="quarter" idx="59"/>
          </p:nvPr>
        </p:nvSpPr>
        <p:spPr>
          <a:xfrm>
            <a:off x="4056081" y="2984604"/>
            <a:ext cx="4081715" cy="336502"/>
          </a:xfrm>
          <a:prstGeom prst="rect">
            <a:avLst/>
          </a:prstGeom>
          <a:solidFill>
            <a:schemeClr val="bg2"/>
          </a:solidFill>
        </p:spPr>
        <p:txBody>
          <a:bodyPr anchor="ctr"/>
          <a:lstStyle>
            <a:lvl1pPr algn="ctr">
              <a:defRPr sz="1763" b="0"/>
            </a:lvl1pPr>
          </a:lstStyle>
          <a:p>
            <a:endParaRPr lang="ru-RU" dirty="0"/>
          </a:p>
        </p:txBody>
      </p:sp>
    </p:spTree>
    <p:extLst>
      <p:ext uri="{BB962C8B-B14F-4D97-AF65-F5344CB8AC3E}">
        <p14:creationId xmlns:p14="http://schemas.microsoft.com/office/powerpoint/2010/main" val="354249686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0234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2696521"/>
            <a:ext cx="3202839" cy="872034"/>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8571648" y="5291559"/>
            <a:ext cx="3202839" cy="872034"/>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1649" y="2696316"/>
            <a:ext cx="3202839" cy="872034"/>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105619"/>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8571648"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1648" y="2105413"/>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52F34850-B661-4A1C-BF75-3880F1B4B63B}"/>
              </a:ext>
            </a:extLst>
          </p:cNvPr>
          <p:cNvSpPr>
            <a:spLocks noGrp="1"/>
          </p:cNvSpPr>
          <p:nvPr>
            <p:ph type="body" sz="quarter" idx="60" hasCustomPrompt="1"/>
          </p:nvPr>
        </p:nvSpPr>
        <p:spPr>
          <a:xfrm>
            <a:off x="4048607" y="5291559"/>
            <a:ext cx="3430949" cy="872034"/>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EE2CC11D-1A00-4340-A9AD-C34BC4C99B85}"/>
              </a:ext>
            </a:extLst>
          </p:cNvPr>
          <p:cNvSpPr>
            <a:spLocks noGrp="1"/>
          </p:cNvSpPr>
          <p:nvPr>
            <p:ph type="body" sz="quarter" idx="61" hasCustomPrompt="1"/>
          </p:nvPr>
        </p:nvSpPr>
        <p:spPr>
          <a:xfrm>
            <a:off x="4048606" y="4700657"/>
            <a:ext cx="343094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BCB8D6B8-C245-4151-901A-517D93A51235}"/>
              </a:ext>
            </a:extLst>
          </p:cNvPr>
          <p:cNvSpPr>
            <a:spLocks noGrp="1"/>
          </p:cNvSpPr>
          <p:nvPr>
            <p:ph type="body" sz="quarter" idx="62" hasCustomPrompt="1"/>
          </p:nvPr>
        </p:nvSpPr>
        <p:spPr>
          <a:xfrm>
            <a:off x="417515" y="5291559"/>
            <a:ext cx="3202839" cy="872034"/>
          </a:xfrm>
          <a:prstGeom prst="rect">
            <a:avLst/>
          </a:prstGeom>
        </p:spPr>
        <p:txBody>
          <a:bodyPr lIns="0" tIns="0" rIns="0" bIns="0"/>
          <a:lstStyle>
            <a:lvl1pPr>
              <a:lnSpc>
                <a:spcPts val="1675"/>
              </a:lnSpc>
              <a:spcBef>
                <a:spcPts val="0"/>
              </a:spcBef>
              <a:defRPr lang="ru-RU" sz="1410" b="0" dirty="0">
                <a:latin typeface="+mn-lt"/>
              </a:defRPr>
            </a:lvl1pPr>
          </a:lstStyle>
          <a:p>
            <a:pPr marL="0" marR="0" lvl="0" indent="0" algn="l" defTabSz="80604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0" b="0" i="0" u="none" strike="noStrike" kern="1200" cap="none" spc="0" normalizeH="0" baseline="0" noProof="0" dirty="0">
                <a:ln>
                  <a:noFill/>
                </a:ln>
                <a:solidFill>
                  <a:srgbClr val="272F3D"/>
                </a:solidFill>
                <a:effectLst/>
                <a:uLnTx/>
                <a:uFillTx/>
                <a:latin typeface="Rostelecom Basis"/>
                <a:ea typeface="+mn-ea"/>
                <a:cs typeface="+mn-cs"/>
              </a:rPr>
            </a:br>
            <a:r>
              <a:rPr kumimoji="0" lang="ru-RU" sz="1410"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0" name="Текст 4">
            <a:extLst>
              <a:ext uri="{FF2B5EF4-FFF2-40B4-BE49-F238E27FC236}">
                <a16:creationId xmlns:a16="http://schemas.microsoft.com/office/drawing/2014/main" id="{47DA447E-777A-412D-9BCE-2405CEB66B83}"/>
              </a:ext>
            </a:extLst>
          </p:cNvPr>
          <p:cNvSpPr>
            <a:spLocks noGrp="1"/>
          </p:cNvSpPr>
          <p:nvPr>
            <p:ph type="body" sz="quarter" idx="63" hasCustomPrompt="1"/>
          </p:nvPr>
        </p:nvSpPr>
        <p:spPr>
          <a:xfrm>
            <a:off x="417514"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2" name="Рисунок 2">
            <a:extLst>
              <a:ext uri="{FF2B5EF4-FFF2-40B4-BE49-F238E27FC236}">
                <a16:creationId xmlns:a16="http://schemas.microsoft.com/office/drawing/2014/main" id="{4F0C5866-E98A-4019-9E53-159821C81FF7}"/>
              </a:ext>
            </a:extLst>
          </p:cNvPr>
          <p:cNvSpPr>
            <a:spLocks noGrp="1"/>
          </p:cNvSpPr>
          <p:nvPr>
            <p:ph type="pic" sz="quarter" idx="59"/>
          </p:nvPr>
        </p:nvSpPr>
        <p:spPr>
          <a:xfrm>
            <a:off x="4070697" y="2917538"/>
            <a:ext cx="4050606" cy="336502"/>
          </a:xfrm>
          <a:prstGeom prst="rect">
            <a:avLst/>
          </a:prstGeom>
          <a:solidFill>
            <a:schemeClr val="bg2"/>
          </a:solidFill>
        </p:spPr>
        <p:txBody>
          <a:bodyPr anchor="ctr"/>
          <a:lstStyle>
            <a:lvl1pPr algn="ctr">
              <a:defRPr sz="1763" b="0"/>
            </a:lvl1pPr>
          </a:lstStyle>
          <a:p>
            <a:endParaRPr lang="ru-RU" dirty="0"/>
          </a:p>
        </p:txBody>
      </p:sp>
    </p:spTree>
    <p:extLst>
      <p:ext uri="{BB962C8B-B14F-4D97-AF65-F5344CB8AC3E}">
        <p14:creationId xmlns:p14="http://schemas.microsoft.com/office/powerpoint/2010/main" val="393819608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цитаты/тезисы">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Почему Ростелеком?</a:t>
            </a:r>
          </a:p>
        </p:txBody>
      </p:sp>
      <p:sp>
        <p:nvSpPr>
          <p:cNvPr id="15" name="Текст 14">
            <a:extLst>
              <a:ext uri="{FF2B5EF4-FFF2-40B4-BE49-F238E27FC236}">
                <a16:creationId xmlns:a16="http://schemas.microsoft.com/office/drawing/2014/main" id="{B2922329-D75E-4206-B92B-65F7F3038B89}"/>
              </a:ext>
            </a:extLst>
          </p:cNvPr>
          <p:cNvSpPr>
            <a:spLocks noGrp="1"/>
          </p:cNvSpPr>
          <p:nvPr>
            <p:ph type="body" sz="quarter" idx="27" hasCustomPrompt="1"/>
          </p:nvPr>
        </p:nvSpPr>
        <p:spPr>
          <a:xfrm>
            <a:off x="417036" y="2659998"/>
            <a:ext cx="10617620" cy="1897955"/>
          </a:xfrm>
          <a:prstGeom prst="rect">
            <a:avLst/>
          </a:prstGeom>
        </p:spPr>
        <p:txBody>
          <a:bodyPr lIns="0" tIns="0" rIns="0" bIns="0"/>
          <a:lstStyle>
            <a:lvl1pPr>
              <a:lnSpc>
                <a:spcPts val="3702"/>
              </a:lnSpc>
              <a:spcBef>
                <a:spcPts val="0"/>
              </a:spcBef>
              <a:defRPr sz="3526" b="0">
                <a:solidFill>
                  <a:schemeClr val="tx1"/>
                </a:solidFill>
                <a:latin typeface="Rostelecom Basis Medium" panose="020B0603030604040103" pitchFamily="34" charset="0"/>
                <a:ea typeface="Rostelecom Basis" panose="020B0503040504020204" pitchFamily="34" charset="-52"/>
              </a:defRPr>
            </a:lvl1pPr>
          </a:lstStyle>
          <a:p>
            <a:pPr marL="0" marR="0" lvl="0" indent="0" algn="l" defTabSz="806044" rtl="0" eaLnBrk="1" fontAlgn="auto" latinLnBrk="0" hangingPunct="1">
              <a:lnSpc>
                <a:spcPts val="3702"/>
              </a:lnSpc>
              <a:spcBef>
                <a:spcPts val="0"/>
              </a:spcBef>
              <a:spcAft>
                <a:spcPts val="0"/>
              </a:spcAft>
              <a:buClrTx/>
              <a:buSzTx/>
              <a:buFont typeface="Rostelecom Basis" panose="020B0604020202020204" pitchFamily="34" charset="0"/>
              <a:buNone/>
              <a:tabLst/>
              <a:defRPr/>
            </a:pPr>
            <a:r>
              <a:rPr lang="ru-RU" sz="3526" dirty="0"/>
              <a:t>Рекомендуемый объём текста этого блока рекомендуемый объём текста блока рекомендуемый объём текста блока</a:t>
            </a:r>
            <a:br>
              <a:rPr lang="ru-RU" sz="3526" dirty="0"/>
            </a:br>
            <a:r>
              <a:rPr lang="ru-RU" sz="3526" dirty="0"/>
              <a:t>рекомендуемый объём текста блока</a:t>
            </a:r>
          </a:p>
        </p:txBody>
      </p:sp>
    </p:spTree>
    <p:extLst>
      <p:ext uri="{BB962C8B-B14F-4D97-AF65-F5344CB8AC3E}">
        <p14:creationId xmlns:p14="http://schemas.microsoft.com/office/powerpoint/2010/main" val="20741080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4032564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4">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11356052" cy="532000"/>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и иконками</a:t>
            </a:r>
          </a:p>
        </p:txBody>
      </p:sp>
      <p:sp>
        <p:nvSpPr>
          <p:cNvPr id="14" name="Текст 4">
            <a:extLst>
              <a:ext uri="{FF2B5EF4-FFF2-40B4-BE49-F238E27FC236}">
                <a16:creationId xmlns:a16="http://schemas.microsoft.com/office/drawing/2014/main" id="{9C9302F2-5AB7-489A-B1BD-5A956316E590}"/>
              </a:ext>
            </a:extLst>
          </p:cNvPr>
          <p:cNvSpPr>
            <a:spLocks noGrp="1"/>
          </p:cNvSpPr>
          <p:nvPr>
            <p:ph type="body" sz="quarter" idx="18" hasCustomPrompt="1"/>
          </p:nvPr>
        </p:nvSpPr>
        <p:spPr>
          <a:xfrm>
            <a:off x="1385453" y="2178425"/>
            <a:ext cx="4591595"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5" name="Текст 4">
            <a:extLst>
              <a:ext uri="{FF2B5EF4-FFF2-40B4-BE49-F238E27FC236}">
                <a16:creationId xmlns:a16="http://schemas.microsoft.com/office/drawing/2014/main" id="{DED8AB9B-CC39-430D-AAD0-488B11B50490}"/>
              </a:ext>
            </a:extLst>
          </p:cNvPr>
          <p:cNvSpPr>
            <a:spLocks noGrp="1"/>
          </p:cNvSpPr>
          <p:nvPr>
            <p:ph type="body" sz="quarter" idx="19" hasCustomPrompt="1"/>
          </p:nvPr>
        </p:nvSpPr>
        <p:spPr>
          <a:xfrm>
            <a:off x="1385453" y="2909133"/>
            <a:ext cx="4591595" cy="95589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6" name="Текст 4">
            <a:extLst>
              <a:ext uri="{FF2B5EF4-FFF2-40B4-BE49-F238E27FC236}">
                <a16:creationId xmlns:a16="http://schemas.microsoft.com/office/drawing/2014/main" id="{E52DABB8-A412-41E4-9179-7B8D1F5457CD}"/>
              </a:ext>
            </a:extLst>
          </p:cNvPr>
          <p:cNvSpPr>
            <a:spLocks noGrp="1"/>
          </p:cNvSpPr>
          <p:nvPr>
            <p:ph type="body" sz="quarter" idx="20" hasCustomPrompt="1"/>
          </p:nvPr>
        </p:nvSpPr>
        <p:spPr>
          <a:xfrm>
            <a:off x="7174979" y="2178425"/>
            <a:ext cx="4590959"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B0D88B3E-D8E0-4570-8A3D-98705A682131}"/>
              </a:ext>
            </a:extLst>
          </p:cNvPr>
          <p:cNvSpPr>
            <a:spLocks noGrp="1"/>
          </p:cNvSpPr>
          <p:nvPr>
            <p:ph type="body" sz="quarter" idx="21" hasCustomPrompt="1"/>
          </p:nvPr>
        </p:nvSpPr>
        <p:spPr>
          <a:xfrm>
            <a:off x="7174979" y="2909133"/>
            <a:ext cx="4590959" cy="95589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18" name="Текст 4">
            <a:extLst>
              <a:ext uri="{FF2B5EF4-FFF2-40B4-BE49-F238E27FC236}">
                <a16:creationId xmlns:a16="http://schemas.microsoft.com/office/drawing/2014/main" id="{A7F1D724-EF34-49DE-A631-AF80F8ACF3C6}"/>
              </a:ext>
            </a:extLst>
          </p:cNvPr>
          <p:cNvSpPr>
            <a:spLocks noGrp="1"/>
          </p:cNvSpPr>
          <p:nvPr>
            <p:ph type="body" sz="quarter" idx="22" hasCustomPrompt="1"/>
          </p:nvPr>
        </p:nvSpPr>
        <p:spPr>
          <a:xfrm>
            <a:off x="1385453" y="4355347"/>
            <a:ext cx="4591595"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EABC1D21-5B5D-4C11-8AB5-DEC8F45863F5}"/>
              </a:ext>
            </a:extLst>
          </p:cNvPr>
          <p:cNvSpPr>
            <a:spLocks noGrp="1"/>
          </p:cNvSpPr>
          <p:nvPr>
            <p:ph type="body" sz="quarter" idx="23" hasCustomPrompt="1"/>
          </p:nvPr>
        </p:nvSpPr>
        <p:spPr>
          <a:xfrm>
            <a:off x="1385453" y="5086060"/>
            <a:ext cx="4591595"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0" name="Текст 4">
            <a:extLst>
              <a:ext uri="{FF2B5EF4-FFF2-40B4-BE49-F238E27FC236}">
                <a16:creationId xmlns:a16="http://schemas.microsoft.com/office/drawing/2014/main" id="{01DC592B-79CD-4869-9542-7B5399709F20}"/>
              </a:ext>
            </a:extLst>
          </p:cNvPr>
          <p:cNvSpPr>
            <a:spLocks noGrp="1"/>
          </p:cNvSpPr>
          <p:nvPr>
            <p:ph type="body" sz="quarter" idx="24" hasCustomPrompt="1"/>
          </p:nvPr>
        </p:nvSpPr>
        <p:spPr>
          <a:xfrm>
            <a:off x="7174979" y="4355347"/>
            <a:ext cx="4590959" cy="581812"/>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6B2AFF13-4502-49F9-943C-3D8F8FCFFF47}"/>
              </a:ext>
            </a:extLst>
          </p:cNvPr>
          <p:cNvSpPr>
            <a:spLocks noGrp="1"/>
          </p:cNvSpPr>
          <p:nvPr>
            <p:ph type="body" sz="quarter" idx="25" hasCustomPrompt="1"/>
          </p:nvPr>
        </p:nvSpPr>
        <p:spPr>
          <a:xfrm>
            <a:off x="7174979" y="5086060"/>
            <a:ext cx="4590959" cy="89116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a:t>
            </a:r>
          </a:p>
        </p:txBody>
      </p:sp>
      <p:sp>
        <p:nvSpPr>
          <p:cNvPr id="24" name="Текст 14">
            <a:extLst>
              <a:ext uri="{FF2B5EF4-FFF2-40B4-BE49-F238E27FC236}">
                <a16:creationId xmlns:a16="http://schemas.microsoft.com/office/drawing/2014/main" id="{EA5F821A-2D02-4420-8E13-144B7A5C5875}"/>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654807284"/>
      </p:ext>
    </p:extLst>
  </p:cSld>
  <p:clrMapOvr>
    <a:masterClrMapping/>
  </p:clrMapOvr>
  <p:extLst mod="1">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цитаты/тезисы_акцент">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3" y="1078649"/>
            <a:ext cx="1922839" cy="848301"/>
          </a:xfrm>
          <a:prstGeom prst="rect">
            <a:avLst/>
          </a:prstGeom>
          <a:solidFill>
            <a:schemeClr val="accent1"/>
          </a:solidFill>
        </p:spPr>
        <p:txBody>
          <a:bodyPr wrap="none" lIns="72000" tIns="72000" rIns="72000" bIns="0">
            <a:spAutoFit/>
          </a:bodyPr>
          <a:lstStyle>
            <a:lvl1pPr>
              <a:lnSpc>
                <a:spcPct val="95000"/>
              </a:lnSpc>
              <a:defRPr sz="5289">
                <a:solidFill>
                  <a:schemeClr val="bg1"/>
                </a:solidFill>
              </a:defRPr>
            </a:lvl1pPr>
          </a:lstStyle>
          <a:p>
            <a:r>
              <a:rPr lang="ru-RU" dirty="0"/>
              <a:t>Текст</a:t>
            </a:r>
          </a:p>
        </p:txBody>
      </p:sp>
      <p:sp>
        <p:nvSpPr>
          <p:cNvPr id="15" name="Текст 14">
            <a:extLst>
              <a:ext uri="{FF2B5EF4-FFF2-40B4-BE49-F238E27FC236}">
                <a16:creationId xmlns:a16="http://schemas.microsoft.com/office/drawing/2014/main" id="{584B1124-8A28-4C0A-B468-BD30024E2440}"/>
              </a:ext>
            </a:extLst>
          </p:cNvPr>
          <p:cNvSpPr>
            <a:spLocks noGrp="1"/>
          </p:cNvSpPr>
          <p:nvPr>
            <p:ph type="body" sz="quarter" idx="56" hasCustomPrompt="1"/>
          </p:nvPr>
        </p:nvSpPr>
        <p:spPr>
          <a:xfrm>
            <a:off x="417513" y="2966933"/>
            <a:ext cx="9639626" cy="307777"/>
          </a:xfrm>
          <a:prstGeom prst="rect">
            <a:avLst/>
          </a:prstGeom>
        </p:spPr>
        <p:txBody>
          <a:bodyPr lIns="0" tIns="0" rIns="0" bIns="0"/>
          <a:lstStyle>
            <a:lvl1pPr>
              <a:lnSpc>
                <a:spcPts val="2380"/>
              </a:lnSpc>
              <a:spcBef>
                <a:spcPts val="0"/>
              </a:spcBef>
              <a:defRPr sz="2027" b="0" strike="noStrike">
                <a:solidFill>
                  <a:schemeClr val="tx1"/>
                </a:solidFill>
                <a:latin typeface="+mn-lt"/>
                <a:ea typeface="Rostelecom Basis" panose="020B0503040504020204" pitchFamily="34" charset="-52"/>
              </a:defRPr>
            </a:lvl1pPr>
          </a:lstStyle>
          <a:p>
            <a:pPr lvl="0"/>
            <a:r>
              <a:rPr lang="ru-RU" dirty="0"/>
              <a:t>Дополнительная информация</a:t>
            </a:r>
          </a:p>
        </p:txBody>
      </p:sp>
      <p:sp>
        <p:nvSpPr>
          <p:cNvPr id="4" name="Текст 3">
            <a:extLst>
              <a:ext uri="{FF2B5EF4-FFF2-40B4-BE49-F238E27FC236}">
                <a16:creationId xmlns:a16="http://schemas.microsoft.com/office/drawing/2014/main" id="{72C1D8C6-89E0-44DD-83DD-92716F48DBDA}"/>
              </a:ext>
            </a:extLst>
          </p:cNvPr>
          <p:cNvSpPr>
            <a:spLocks noGrp="1"/>
          </p:cNvSpPr>
          <p:nvPr>
            <p:ph type="body" sz="quarter" idx="57" hasCustomPrompt="1"/>
          </p:nvPr>
        </p:nvSpPr>
        <p:spPr>
          <a:xfrm>
            <a:off x="417036" y="1862979"/>
            <a:ext cx="3711125" cy="753600"/>
          </a:xfrm>
          <a:prstGeom prst="rect">
            <a:avLst/>
          </a:prstGeom>
          <a:solidFill>
            <a:schemeClr val="accent1"/>
          </a:solidFill>
        </p:spPr>
        <p:txBody>
          <a:bodyPr wrap="none" tIns="0" bIns="0">
            <a:spAutoFit/>
          </a:bodyPr>
          <a:lstStyle>
            <a:lvl1pPr>
              <a:defRPr sz="5289" b="0">
                <a:solidFill>
                  <a:schemeClr val="bg1"/>
                </a:solidFill>
              </a:defRPr>
            </a:lvl1pPr>
          </a:lstStyle>
          <a:p>
            <a:pPr lvl="0"/>
            <a:r>
              <a:rPr lang="ru-RU" dirty="0"/>
              <a:t>две строки</a:t>
            </a:r>
          </a:p>
        </p:txBody>
      </p:sp>
    </p:spTree>
    <p:extLst>
      <p:ext uri="{BB962C8B-B14F-4D97-AF65-F5344CB8AC3E}">
        <p14:creationId xmlns:p14="http://schemas.microsoft.com/office/powerpoint/2010/main" val="3541480007"/>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155449"/>
            <a:ext cx="2666871"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62008"/>
            <a:ext cx="2657448"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154796"/>
            <a:ext cx="2655237"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155449"/>
            <a:ext cx="2669844"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155449"/>
            <a:ext cx="2669844"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62008"/>
            <a:ext cx="266734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62008"/>
            <a:ext cx="267154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62008"/>
            <a:ext cx="2657448"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05534808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4" y="4433354"/>
            <a:ext cx="2666871"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0" y="3639353"/>
            <a:ext cx="2657448"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0" y="4432701"/>
            <a:ext cx="2655237"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1" y="4433354"/>
            <a:ext cx="2669844"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89" y="4433354"/>
            <a:ext cx="2669844"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37" y="3639353"/>
            <a:ext cx="266734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8" y="3639353"/>
            <a:ext cx="267154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89" y="3639353"/>
            <a:ext cx="2657448"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50798678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53043"/>
            <a:ext cx="320283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145831"/>
            <a:ext cx="320283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53043"/>
            <a:ext cx="320283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145831"/>
            <a:ext cx="320283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0" y="4145831"/>
            <a:ext cx="320283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19" y="3653043"/>
            <a:ext cx="320283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35434556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3"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4" y="4441666"/>
            <a:ext cx="320283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6"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17" y="4441666"/>
            <a:ext cx="320283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0" y="4441666"/>
            <a:ext cx="3202839"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19" y="3648318"/>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12351626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3" y="3644078"/>
            <a:ext cx="4824822"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4" y="4136866"/>
            <a:ext cx="4824822"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6" y="3644078"/>
            <a:ext cx="4824822"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7" y="4136866"/>
            <a:ext cx="4824822"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75878007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3" y="3648316"/>
            <a:ext cx="4824822"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4" y="4441666"/>
            <a:ext cx="4824822"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6" y="3648316"/>
            <a:ext cx="4824822"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7" y="4441666"/>
            <a:ext cx="4824822" cy="974626"/>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66881444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3260749"/>
            <a:ext cx="5986843" cy="336502"/>
          </a:xfrm>
          <a:prstGeom prst="rect">
            <a:avLst/>
          </a:prstGeom>
          <a:solidFill>
            <a:schemeClr val="bg1">
              <a:lumMod val="95000"/>
            </a:schemeClr>
          </a:solidFill>
        </p:spPr>
        <p:txBody>
          <a:bodyPr anchor="ctr"/>
          <a:lstStyle>
            <a:lvl1pPr algn="ctr">
              <a:defRPr sz="1763" b="0"/>
            </a:lvl1pPr>
          </a:lstStyle>
          <a:p>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3675321249"/>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5569330"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3260749"/>
            <a:ext cx="5986843" cy="336502"/>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2"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4202722"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4202722"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2521516776"/>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преимущества с иконк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4" y="419100"/>
            <a:ext cx="11356052"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сок преимуществ с иконками</a:t>
            </a:r>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6752344"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3"/>
            <a:ext cx="6752344"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0"/>
            <a:ext cx="6752344"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Tree>
    <p:extLst>
      <p:ext uri="{BB962C8B-B14F-4D97-AF65-F5344CB8AC3E}">
        <p14:creationId xmlns:p14="http://schemas.microsoft.com/office/powerpoint/2010/main" val="2977718578"/>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11356052" cy="532000"/>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3" y="1580032"/>
            <a:ext cx="4284299"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6" y="1580032"/>
            <a:ext cx="4284299"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3" y="1967663"/>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6" y="1967663"/>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3" y="3197929"/>
            <a:ext cx="4284299"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6" y="3197929"/>
            <a:ext cx="4284299"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3" y="3585556"/>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6" y="3585556"/>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3" y="4812889"/>
            <a:ext cx="4284299"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6" y="4812889"/>
            <a:ext cx="4284299" cy="309777"/>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3" y="5200515"/>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6" y="5200515"/>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2827417970"/>
      </p:ext>
    </p:extLst>
  </p:cSld>
  <p:clrMapOvr>
    <a:masterClrMapping/>
  </p:clrMapOvr>
  <p:extLst mod="1">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355752"/>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355752"/>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355752"/>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900008"/>
            <a:ext cx="320283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900008"/>
            <a:ext cx="320283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900008"/>
            <a:ext cx="3202839"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15378902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4"/>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4" y="3651587"/>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17" y="3651587"/>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0" y="3651587"/>
            <a:ext cx="320283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3"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6"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19" y="2895282"/>
            <a:ext cx="3202839" cy="59551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60003376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таймлайн_4">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2" name="Текст 4">
            <a:extLst>
              <a:ext uri="{FF2B5EF4-FFF2-40B4-BE49-F238E27FC236}">
                <a16:creationId xmlns:a16="http://schemas.microsoft.com/office/drawing/2014/main" id="{96A00A3B-9411-4FC5-AB5E-872B0ECB5C15}"/>
              </a:ext>
            </a:extLst>
          </p:cNvPr>
          <p:cNvSpPr>
            <a:spLocks noGrp="1"/>
          </p:cNvSpPr>
          <p:nvPr>
            <p:ph type="body" sz="quarter" idx="19" hasCustomPrompt="1"/>
          </p:nvPr>
        </p:nvSpPr>
        <p:spPr>
          <a:xfrm>
            <a:off x="1111183" y="3504367"/>
            <a:ext cx="2206911"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3" name="Текст 4">
            <a:extLst>
              <a:ext uri="{FF2B5EF4-FFF2-40B4-BE49-F238E27FC236}">
                <a16:creationId xmlns:a16="http://schemas.microsoft.com/office/drawing/2014/main" id="{E7952BA1-F915-41C8-B38B-0881595F2D26}"/>
              </a:ext>
            </a:extLst>
          </p:cNvPr>
          <p:cNvSpPr>
            <a:spLocks noGrp="1"/>
          </p:cNvSpPr>
          <p:nvPr>
            <p:ph type="body" sz="quarter" idx="57" hasCustomPrompt="1"/>
          </p:nvPr>
        </p:nvSpPr>
        <p:spPr>
          <a:xfrm>
            <a:off x="4006601" y="3504367"/>
            <a:ext cx="2206911"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5" name="Текст 4">
            <a:extLst>
              <a:ext uri="{FF2B5EF4-FFF2-40B4-BE49-F238E27FC236}">
                <a16:creationId xmlns:a16="http://schemas.microsoft.com/office/drawing/2014/main" id="{D0FD44F3-A987-419D-8106-26B955536D93}"/>
              </a:ext>
            </a:extLst>
          </p:cNvPr>
          <p:cNvSpPr>
            <a:spLocks noGrp="1"/>
          </p:cNvSpPr>
          <p:nvPr>
            <p:ph type="body" sz="quarter" idx="58" hasCustomPrompt="1"/>
          </p:nvPr>
        </p:nvSpPr>
        <p:spPr>
          <a:xfrm>
            <a:off x="6895064" y="3504367"/>
            <a:ext cx="2209753"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6" name="Текст 4">
            <a:extLst>
              <a:ext uri="{FF2B5EF4-FFF2-40B4-BE49-F238E27FC236}">
                <a16:creationId xmlns:a16="http://schemas.microsoft.com/office/drawing/2014/main" id="{8AD84F1B-5866-457B-ACAC-AFB2B6D33882}"/>
              </a:ext>
            </a:extLst>
          </p:cNvPr>
          <p:cNvSpPr>
            <a:spLocks noGrp="1"/>
          </p:cNvSpPr>
          <p:nvPr>
            <p:ph type="body" sz="quarter" idx="59" hasCustomPrompt="1"/>
          </p:nvPr>
        </p:nvSpPr>
        <p:spPr>
          <a:xfrm>
            <a:off x="9783526" y="3504367"/>
            <a:ext cx="1990507"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392153300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таймлайн_6">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8"/>
            <a:ext cx="2209753"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132014668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таймлайн_8">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3" y="1010654"/>
            <a:ext cx="11356051" cy="256480"/>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3" y="2871863"/>
            <a:ext cx="2206911"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1" y="2871863"/>
            <a:ext cx="2206911"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4" y="2860658"/>
            <a:ext cx="2209753"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6" y="2871863"/>
            <a:ext cx="1990507"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3" y="5379180"/>
            <a:ext cx="2206911"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1" y="5379180"/>
            <a:ext cx="2206911"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7" name="Текст 4">
            <a:extLst>
              <a:ext uri="{FF2B5EF4-FFF2-40B4-BE49-F238E27FC236}">
                <a16:creationId xmlns:a16="http://schemas.microsoft.com/office/drawing/2014/main" id="{062E2782-A52F-4982-A627-26D44F5FAFFA}"/>
              </a:ext>
            </a:extLst>
          </p:cNvPr>
          <p:cNvSpPr>
            <a:spLocks noGrp="1"/>
          </p:cNvSpPr>
          <p:nvPr>
            <p:ph type="body" sz="quarter" idx="67" hasCustomPrompt="1"/>
          </p:nvPr>
        </p:nvSpPr>
        <p:spPr>
          <a:xfrm>
            <a:off x="6895064" y="5379180"/>
            <a:ext cx="2209753"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8" name="Текст 4">
            <a:extLst>
              <a:ext uri="{FF2B5EF4-FFF2-40B4-BE49-F238E27FC236}">
                <a16:creationId xmlns:a16="http://schemas.microsoft.com/office/drawing/2014/main" id="{ACDD9185-E6F1-43BE-8459-35F2503F174A}"/>
              </a:ext>
            </a:extLst>
          </p:cNvPr>
          <p:cNvSpPr>
            <a:spLocks noGrp="1"/>
          </p:cNvSpPr>
          <p:nvPr>
            <p:ph type="body" sz="quarter" idx="68" hasCustomPrompt="1"/>
          </p:nvPr>
        </p:nvSpPr>
        <p:spPr>
          <a:xfrm>
            <a:off x="9783526" y="5379180"/>
            <a:ext cx="1990507"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52294648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1</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434093"/>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269578"/>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88" y="1549647"/>
            <a:ext cx="3865277" cy="730969"/>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88" y="3202164"/>
            <a:ext cx="3865278"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88" y="4901174"/>
            <a:ext cx="3865278" cy="730969"/>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Tree>
    <p:extLst>
      <p:ext uri="{BB962C8B-B14F-4D97-AF65-F5344CB8AC3E}">
        <p14:creationId xmlns:p14="http://schemas.microsoft.com/office/powerpoint/2010/main" val="381628934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434093"/>
          </a:xfrm>
          <a:prstGeom prst="rect">
            <a:avLst/>
          </a:prstGeom>
        </p:spPr>
        <p:txBody>
          <a:bodyPr lIns="0" tIns="0" rIns="0" bIns="0"/>
          <a:lstStyle>
            <a:lvl1pPr>
              <a:lnSpc>
                <a:spcPct val="100000"/>
              </a:lnSpc>
              <a:spcBef>
                <a:spcPts val="0"/>
              </a:spcBef>
              <a:defRPr sz="2821" b="0" strike="noStrike">
                <a:solidFill>
                  <a:schemeClr val="accent1"/>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269578"/>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187938310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434093"/>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269578"/>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64942634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3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4" y="3099305"/>
            <a:ext cx="4601092" cy="434093"/>
          </a:xfrm>
          <a:prstGeom prst="rect">
            <a:avLst/>
          </a:prstGeom>
        </p:spPr>
        <p:txBody>
          <a:bodyPr lIns="0" tIns="0" rIns="0" bIns="0"/>
          <a:lstStyle>
            <a:lvl1pPr>
              <a:lnSpc>
                <a:spcPct val="100000"/>
              </a:lnSpc>
              <a:spcBef>
                <a:spcPts val="0"/>
              </a:spcBef>
              <a:defRPr sz="2821" b="0" strike="noStrike">
                <a:solidFill>
                  <a:schemeClr val="tx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5" y="3551912"/>
            <a:ext cx="4591260" cy="1269578"/>
          </a:xfrm>
          <a:prstGeom prst="rect">
            <a:avLst/>
          </a:prstGeom>
        </p:spPr>
        <p:txBody>
          <a:bodyPr lIns="0" tIns="0" rIns="0" bIns="0"/>
          <a:lstStyle>
            <a:lvl1pPr>
              <a:lnSpc>
                <a:spcPts val="3262"/>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370983056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5" y="4161848"/>
            <a:ext cx="267107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0" name="Текст 4">
            <a:extLst>
              <a:ext uri="{FF2B5EF4-FFF2-40B4-BE49-F238E27FC236}">
                <a16:creationId xmlns:a16="http://schemas.microsoft.com/office/drawing/2014/main" id="{D68F8296-337D-482E-AD55-80838EAF6827}"/>
              </a:ext>
            </a:extLst>
          </p:cNvPr>
          <p:cNvSpPr>
            <a:spLocks noGrp="1"/>
          </p:cNvSpPr>
          <p:nvPr>
            <p:ph type="body" sz="quarter" idx="21" hasCustomPrompt="1"/>
          </p:nvPr>
        </p:nvSpPr>
        <p:spPr>
          <a:xfrm>
            <a:off x="4276718" y="4161848"/>
            <a:ext cx="2671070" cy="974626"/>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8135920" y="4161848"/>
            <a:ext cx="2669227"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4" y="3711388"/>
            <a:ext cx="267107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6EE50B-4393-42FA-B3B3-B51608D21D07}"/>
              </a:ext>
            </a:extLst>
          </p:cNvPr>
          <p:cNvSpPr>
            <a:spLocks noGrp="1"/>
          </p:cNvSpPr>
          <p:nvPr>
            <p:ph type="body" sz="quarter" idx="20" hasCustomPrompt="1"/>
          </p:nvPr>
        </p:nvSpPr>
        <p:spPr>
          <a:xfrm>
            <a:off x="4276716" y="3711388"/>
            <a:ext cx="2671071"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8137797" y="3711388"/>
            <a:ext cx="266735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две</a:t>
            </a:r>
          </a:p>
        </p:txBody>
      </p:sp>
    </p:spTree>
    <p:extLst>
      <p:ext uri="{BB962C8B-B14F-4D97-AF65-F5344CB8AC3E}">
        <p14:creationId xmlns:p14="http://schemas.microsoft.com/office/powerpoint/2010/main" val="15406699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6">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11356052" cy="532000"/>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и иконками</a:t>
            </a:r>
          </a:p>
        </p:txBody>
      </p:sp>
      <p:sp>
        <p:nvSpPr>
          <p:cNvPr id="24" name="Текст 4">
            <a:extLst>
              <a:ext uri="{FF2B5EF4-FFF2-40B4-BE49-F238E27FC236}">
                <a16:creationId xmlns:a16="http://schemas.microsoft.com/office/drawing/2014/main" id="{372C77BF-30C7-450C-BC83-91DF81F1DBAD}"/>
              </a:ext>
            </a:extLst>
          </p:cNvPr>
          <p:cNvSpPr>
            <a:spLocks noGrp="1"/>
          </p:cNvSpPr>
          <p:nvPr>
            <p:ph type="body" sz="quarter" idx="18" hasCustomPrompt="1"/>
          </p:nvPr>
        </p:nvSpPr>
        <p:spPr>
          <a:xfrm>
            <a:off x="1385453" y="1357807"/>
            <a:ext cx="4284299"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5" name="Текст 4">
            <a:extLst>
              <a:ext uri="{FF2B5EF4-FFF2-40B4-BE49-F238E27FC236}">
                <a16:creationId xmlns:a16="http://schemas.microsoft.com/office/drawing/2014/main" id="{0435CEB0-1679-47B7-94C5-4927527DE048}"/>
              </a:ext>
            </a:extLst>
          </p:cNvPr>
          <p:cNvSpPr>
            <a:spLocks noGrp="1"/>
          </p:cNvSpPr>
          <p:nvPr>
            <p:ph type="body" sz="quarter" idx="20" hasCustomPrompt="1"/>
          </p:nvPr>
        </p:nvSpPr>
        <p:spPr>
          <a:xfrm>
            <a:off x="7174976" y="1357807"/>
            <a:ext cx="4284299"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1385453" y="1967663"/>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7" name="Текст 14">
            <a:extLst>
              <a:ext uri="{FF2B5EF4-FFF2-40B4-BE49-F238E27FC236}">
                <a16:creationId xmlns:a16="http://schemas.microsoft.com/office/drawing/2014/main" id="{89597056-2D0A-4781-A6DE-29A0E96F476E}"/>
              </a:ext>
            </a:extLst>
          </p:cNvPr>
          <p:cNvSpPr>
            <a:spLocks noGrp="1"/>
          </p:cNvSpPr>
          <p:nvPr>
            <p:ph type="body" sz="quarter" idx="29" hasCustomPrompt="1"/>
          </p:nvPr>
        </p:nvSpPr>
        <p:spPr>
          <a:xfrm>
            <a:off x="7174976" y="1967663"/>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28" name="Текст 4">
            <a:extLst>
              <a:ext uri="{FF2B5EF4-FFF2-40B4-BE49-F238E27FC236}">
                <a16:creationId xmlns:a16="http://schemas.microsoft.com/office/drawing/2014/main" id="{BF5B2E99-FDDC-421F-96CF-C8C936E6F170}"/>
              </a:ext>
            </a:extLst>
          </p:cNvPr>
          <p:cNvSpPr>
            <a:spLocks noGrp="1"/>
          </p:cNvSpPr>
          <p:nvPr>
            <p:ph type="body" sz="quarter" idx="30" hasCustomPrompt="1"/>
          </p:nvPr>
        </p:nvSpPr>
        <p:spPr>
          <a:xfrm>
            <a:off x="1385453" y="2975701"/>
            <a:ext cx="4284299"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br>
              <a:rPr lang="ru-RU" dirty="0"/>
            </a:br>
            <a:r>
              <a:rPr lang="ru-RU" dirty="0"/>
              <a:t>две строки</a:t>
            </a:r>
          </a:p>
        </p:txBody>
      </p:sp>
      <p:sp>
        <p:nvSpPr>
          <p:cNvPr id="29" name="Текст 4">
            <a:extLst>
              <a:ext uri="{FF2B5EF4-FFF2-40B4-BE49-F238E27FC236}">
                <a16:creationId xmlns:a16="http://schemas.microsoft.com/office/drawing/2014/main" id="{5BA40F02-7128-4E29-9B9E-CDCE0026F1BC}"/>
              </a:ext>
            </a:extLst>
          </p:cNvPr>
          <p:cNvSpPr>
            <a:spLocks noGrp="1"/>
          </p:cNvSpPr>
          <p:nvPr>
            <p:ph type="body" sz="quarter" idx="31" hasCustomPrompt="1"/>
          </p:nvPr>
        </p:nvSpPr>
        <p:spPr>
          <a:xfrm>
            <a:off x="7174976" y="2975701"/>
            <a:ext cx="4284299"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B11E7E58-06D6-421B-9998-4F78ADF65488}"/>
              </a:ext>
            </a:extLst>
          </p:cNvPr>
          <p:cNvSpPr>
            <a:spLocks noGrp="1"/>
          </p:cNvSpPr>
          <p:nvPr>
            <p:ph type="body" sz="quarter" idx="32" hasCustomPrompt="1"/>
          </p:nvPr>
        </p:nvSpPr>
        <p:spPr>
          <a:xfrm>
            <a:off x="1385453" y="3585556"/>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1" name="Текст 14">
            <a:extLst>
              <a:ext uri="{FF2B5EF4-FFF2-40B4-BE49-F238E27FC236}">
                <a16:creationId xmlns:a16="http://schemas.microsoft.com/office/drawing/2014/main" id="{5353FB9E-2BCE-4DE6-A965-871E1A40D09B}"/>
              </a:ext>
            </a:extLst>
          </p:cNvPr>
          <p:cNvSpPr>
            <a:spLocks noGrp="1"/>
          </p:cNvSpPr>
          <p:nvPr>
            <p:ph type="body" sz="quarter" idx="33" hasCustomPrompt="1"/>
          </p:nvPr>
        </p:nvSpPr>
        <p:spPr>
          <a:xfrm>
            <a:off x="7174976" y="3585556"/>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2" name="Текст 4">
            <a:extLst>
              <a:ext uri="{FF2B5EF4-FFF2-40B4-BE49-F238E27FC236}">
                <a16:creationId xmlns:a16="http://schemas.microsoft.com/office/drawing/2014/main" id="{0DF74E4D-3E99-4359-9366-8FC03C0BD1C4}"/>
              </a:ext>
            </a:extLst>
          </p:cNvPr>
          <p:cNvSpPr>
            <a:spLocks noGrp="1"/>
          </p:cNvSpPr>
          <p:nvPr>
            <p:ph type="body" sz="quarter" idx="34" hasCustomPrompt="1"/>
          </p:nvPr>
        </p:nvSpPr>
        <p:spPr>
          <a:xfrm>
            <a:off x="1385453" y="4590660"/>
            <a:ext cx="4284299"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DBEEEDDE-3788-4F83-B814-FA6301F160C1}"/>
              </a:ext>
            </a:extLst>
          </p:cNvPr>
          <p:cNvSpPr>
            <a:spLocks noGrp="1"/>
          </p:cNvSpPr>
          <p:nvPr>
            <p:ph type="body" sz="quarter" idx="35" hasCustomPrompt="1"/>
          </p:nvPr>
        </p:nvSpPr>
        <p:spPr>
          <a:xfrm>
            <a:off x="7174976" y="4590660"/>
            <a:ext cx="4284299" cy="532000"/>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88F4F944-7581-4511-ADE8-D0DB33383C45}"/>
              </a:ext>
            </a:extLst>
          </p:cNvPr>
          <p:cNvSpPr>
            <a:spLocks noGrp="1"/>
          </p:cNvSpPr>
          <p:nvPr>
            <p:ph type="body" sz="quarter" idx="36" hasCustomPrompt="1"/>
          </p:nvPr>
        </p:nvSpPr>
        <p:spPr>
          <a:xfrm>
            <a:off x="1385453" y="5200515"/>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
        <p:nvSpPr>
          <p:cNvPr id="35" name="Текст 14">
            <a:extLst>
              <a:ext uri="{FF2B5EF4-FFF2-40B4-BE49-F238E27FC236}">
                <a16:creationId xmlns:a16="http://schemas.microsoft.com/office/drawing/2014/main" id="{26E5F7F5-D5D5-45B2-871D-463391AAE319}"/>
              </a:ext>
            </a:extLst>
          </p:cNvPr>
          <p:cNvSpPr>
            <a:spLocks noGrp="1"/>
          </p:cNvSpPr>
          <p:nvPr>
            <p:ph type="body" sz="quarter" idx="37" hasCustomPrompt="1"/>
          </p:nvPr>
        </p:nvSpPr>
        <p:spPr>
          <a:xfrm>
            <a:off x="7174976" y="5200515"/>
            <a:ext cx="4284299" cy="869856"/>
          </a:xfrm>
          <a:prstGeom prst="rect">
            <a:avLst/>
          </a:prstGeom>
        </p:spPr>
        <p:txBody>
          <a:bodyPr lIns="0" tIns="0" rIns="0" bIns="0"/>
          <a:lstStyle>
            <a:lvl1pPr>
              <a:lnSpc>
                <a:spcPts val="1587"/>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a:t>
            </a:r>
            <a:br>
              <a:rPr lang="ru-RU" dirty="0"/>
            </a:br>
            <a:r>
              <a:rPr lang="ru-RU" dirty="0"/>
              <a:t>для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306590062"/>
      </p:ext>
    </p:extLst>
  </p:cSld>
  <p:clrMapOvr>
    <a:masterClrMapping/>
  </p:clrMapOvr>
  <p:extLst mod="1">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4" y="4424067"/>
            <a:ext cx="4599511"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6201921" y="4424067"/>
            <a:ext cx="4603226"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3" y="3711388"/>
            <a:ext cx="459951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6205158" y="3711388"/>
            <a:ext cx="459998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212067597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столючатые диаграммы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48"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толбчатые диаграммы 2</a:t>
            </a:r>
          </a:p>
        </p:txBody>
      </p:sp>
      <p:sp>
        <p:nvSpPr>
          <p:cNvPr id="17" name="Текст 4">
            <a:extLst>
              <a:ext uri="{FF2B5EF4-FFF2-40B4-BE49-F238E27FC236}">
                <a16:creationId xmlns:a16="http://schemas.microsoft.com/office/drawing/2014/main" id="{4DEC62C4-D621-4984-B960-28EBE2E29078}"/>
              </a:ext>
            </a:extLst>
          </p:cNvPr>
          <p:cNvSpPr>
            <a:spLocks noGrp="1"/>
          </p:cNvSpPr>
          <p:nvPr>
            <p:ph type="body" sz="quarter" idx="22" hasCustomPrompt="1"/>
          </p:nvPr>
        </p:nvSpPr>
        <p:spPr>
          <a:xfrm>
            <a:off x="7174975" y="1926778"/>
            <a:ext cx="4598588" cy="589905"/>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p>
          <a:p>
            <a:pPr lvl="0"/>
            <a:endParaRPr lang="ru-RU" dirty="0"/>
          </a:p>
        </p:txBody>
      </p:sp>
      <p:sp>
        <p:nvSpPr>
          <p:cNvPr id="18" name="Текст 4">
            <a:extLst>
              <a:ext uri="{FF2B5EF4-FFF2-40B4-BE49-F238E27FC236}">
                <a16:creationId xmlns:a16="http://schemas.microsoft.com/office/drawing/2014/main" id="{E19C20F5-4E03-4631-BA6D-96839A15A987}"/>
              </a:ext>
            </a:extLst>
          </p:cNvPr>
          <p:cNvSpPr>
            <a:spLocks noGrp="1"/>
          </p:cNvSpPr>
          <p:nvPr>
            <p:ph type="body" sz="quarter" idx="23" hasCustomPrompt="1"/>
          </p:nvPr>
        </p:nvSpPr>
        <p:spPr>
          <a:xfrm>
            <a:off x="7174976" y="2420470"/>
            <a:ext cx="4598589" cy="1218282"/>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 Рекомендуемый объём текста рекомендуемый объём текста</a:t>
            </a:r>
          </a:p>
        </p:txBody>
      </p:sp>
    </p:spTree>
    <p:extLst>
      <p:ext uri="{BB962C8B-B14F-4D97-AF65-F5344CB8AC3E}">
        <p14:creationId xmlns:p14="http://schemas.microsoft.com/office/powerpoint/2010/main" val="41957030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159344"/>
            <a:ext cx="267107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159344"/>
            <a:ext cx="2671070" cy="974626"/>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1517" y="4159344"/>
            <a:ext cx="2669227"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44511522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5" y="4457684"/>
            <a:ext cx="267107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18" y="4457684"/>
            <a:ext cx="2671070" cy="974626"/>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0118" y="4457684"/>
            <a:ext cx="2669227"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4" y="3711388"/>
            <a:ext cx="267107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6" y="3711388"/>
            <a:ext cx="26710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7" y="3711388"/>
            <a:ext cx="266735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249234359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таблица_1">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Таблица 1</a:t>
            </a:r>
          </a:p>
        </p:txBody>
      </p:sp>
    </p:spTree>
    <p:extLst>
      <p:ext uri="{BB962C8B-B14F-4D97-AF65-F5344CB8AC3E}">
        <p14:creationId xmlns:p14="http://schemas.microsoft.com/office/powerpoint/2010/main" val="75279624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таблица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Таблица 2</a:t>
            </a:r>
          </a:p>
        </p:txBody>
      </p:sp>
    </p:spTree>
    <p:extLst>
      <p:ext uri="{BB962C8B-B14F-4D97-AF65-F5344CB8AC3E}">
        <p14:creationId xmlns:p14="http://schemas.microsoft.com/office/powerpoint/2010/main" val="314145747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таблица_3">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11356051"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Таблица 3</a:t>
            </a:r>
          </a:p>
        </p:txBody>
      </p:sp>
    </p:spTree>
    <p:extLst>
      <p:ext uri="{BB962C8B-B14F-4D97-AF65-F5344CB8AC3E}">
        <p14:creationId xmlns:p14="http://schemas.microsoft.com/office/powerpoint/2010/main" val="205592523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таблица 4">
    <p:spTree>
      <p:nvGrpSpPr>
        <p:cNvPr id="1" name=""/>
        <p:cNvGrpSpPr/>
        <p:nvPr/>
      </p:nvGrpSpPr>
      <p:grpSpPr>
        <a:xfrm>
          <a:off x="0" y="0"/>
          <a:ext cx="0" cy="0"/>
          <a:chOff x="0" y="0"/>
          <a:chExt cx="0" cy="0"/>
        </a:xfrm>
      </p:grpSpPr>
      <p:sp>
        <p:nvSpPr>
          <p:cNvPr id="56" name="Заголовок 1">
            <a:extLst>
              <a:ext uri="{FF2B5EF4-FFF2-40B4-BE49-F238E27FC236}">
                <a16:creationId xmlns:a16="http://schemas.microsoft.com/office/drawing/2014/main" id="{C09C3CE3-78C9-403E-A0F8-EC2B3D725C30}"/>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a:solidFill>
                  <a:schemeClr val="tx1"/>
                </a:solidFill>
              </a:defRPr>
            </a:lvl1pPr>
          </a:lstStyle>
          <a:p>
            <a:r>
              <a:rPr lang="ru-RU" dirty="0"/>
              <a:t>Таблица 4</a:t>
            </a:r>
          </a:p>
        </p:txBody>
      </p:sp>
      <p:sp>
        <p:nvSpPr>
          <p:cNvPr id="57" name="Текст 14">
            <a:extLst>
              <a:ext uri="{FF2B5EF4-FFF2-40B4-BE49-F238E27FC236}">
                <a16:creationId xmlns:a16="http://schemas.microsoft.com/office/drawing/2014/main" id="{4F6E24AF-3CB7-4D71-AC98-3816CA56BC54}"/>
              </a:ext>
            </a:extLst>
          </p:cNvPr>
          <p:cNvSpPr>
            <a:spLocks noGrp="1"/>
          </p:cNvSpPr>
          <p:nvPr>
            <p:ph type="body" sz="quarter" idx="38" hasCustomPrompt="1"/>
          </p:nvPr>
        </p:nvSpPr>
        <p:spPr>
          <a:xfrm>
            <a:off x="1402704" y="1476079"/>
            <a:ext cx="1694007" cy="577081"/>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59" name="Текст 14">
            <a:extLst>
              <a:ext uri="{FF2B5EF4-FFF2-40B4-BE49-F238E27FC236}">
                <a16:creationId xmlns:a16="http://schemas.microsoft.com/office/drawing/2014/main" id="{1EA9D248-108F-475D-8265-8624FAEC4F98}"/>
              </a:ext>
            </a:extLst>
          </p:cNvPr>
          <p:cNvSpPr>
            <a:spLocks noGrp="1"/>
          </p:cNvSpPr>
          <p:nvPr>
            <p:ph type="body" sz="quarter" idx="77" hasCustomPrompt="1"/>
          </p:nvPr>
        </p:nvSpPr>
        <p:spPr>
          <a:xfrm>
            <a:off x="4278095" y="1476079"/>
            <a:ext cx="1694007" cy="577081"/>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1" name="Текст 14">
            <a:extLst>
              <a:ext uri="{FF2B5EF4-FFF2-40B4-BE49-F238E27FC236}">
                <a16:creationId xmlns:a16="http://schemas.microsoft.com/office/drawing/2014/main" id="{BC3CF167-2FCD-45D8-869C-9D29FF9E5771}"/>
              </a:ext>
            </a:extLst>
          </p:cNvPr>
          <p:cNvSpPr>
            <a:spLocks noGrp="1"/>
          </p:cNvSpPr>
          <p:nvPr>
            <p:ph type="body" sz="quarter" idx="79" hasCustomPrompt="1"/>
          </p:nvPr>
        </p:nvSpPr>
        <p:spPr>
          <a:xfrm>
            <a:off x="7176574" y="1476079"/>
            <a:ext cx="1694007" cy="577081"/>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3" name="Текст 14">
            <a:extLst>
              <a:ext uri="{FF2B5EF4-FFF2-40B4-BE49-F238E27FC236}">
                <a16:creationId xmlns:a16="http://schemas.microsoft.com/office/drawing/2014/main" id="{C513A2BA-B165-40B7-B736-233C0D2350FF}"/>
              </a:ext>
            </a:extLst>
          </p:cNvPr>
          <p:cNvSpPr>
            <a:spLocks noGrp="1"/>
          </p:cNvSpPr>
          <p:nvPr>
            <p:ph type="body" sz="quarter" idx="81" hasCustomPrompt="1"/>
          </p:nvPr>
        </p:nvSpPr>
        <p:spPr>
          <a:xfrm>
            <a:off x="10069014" y="1476079"/>
            <a:ext cx="1694007" cy="577081"/>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16" name="Текст 14">
            <a:extLst>
              <a:ext uri="{FF2B5EF4-FFF2-40B4-BE49-F238E27FC236}">
                <a16:creationId xmlns:a16="http://schemas.microsoft.com/office/drawing/2014/main" id="{6D606FBC-8494-499F-9C61-1768FEA1D822}"/>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952480151"/>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этапы_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pPr lvl="0" algn="l" defTabSz="806044" rtl="0" eaLnBrk="1" latinLnBrk="0" hangingPunct="1">
              <a:lnSpc>
                <a:spcPts val="3702"/>
              </a:lnSpc>
              <a:spcBef>
                <a:spcPct val="0"/>
              </a:spcBef>
              <a:buNone/>
              <a:tabLst>
                <a:tab pos="8776919" algn="l"/>
              </a:tabLst>
            </a:pPr>
            <a:r>
              <a:rPr lang="ru-RU" dirty="0"/>
              <a:t>Слайд с этапами</a:t>
            </a:r>
          </a:p>
        </p:txBody>
      </p:sp>
      <p:sp>
        <p:nvSpPr>
          <p:cNvPr id="26" name="Прямоугольник: скругленные углы 25">
            <a:extLst>
              <a:ext uri="{FF2B5EF4-FFF2-40B4-BE49-F238E27FC236}">
                <a16:creationId xmlns:a16="http://schemas.microsoft.com/office/drawing/2014/main" id="{EBFC0E1C-1DD9-4489-A235-D52F1F6ECCD7}"/>
              </a:ext>
            </a:extLst>
          </p:cNvPr>
          <p:cNvSpPr/>
          <p:nvPr userDrawn="1"/>
        </p:nvSpPr>
        <p:spPr>
          <a:xfrm>
            <a:off x="411153" y="2899522"/>
            <a:ext cx="46058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27" name="Текст 4">
            <a:extLst>
              <a:ext uri="{FF2B5EF4-FFF2-40B4-BE49-F238E27FC236}">
                <a16:creationId xmlns:a16="http://schemas.microsoft.com/office/drawing/2014/main" id="{028AC9FC-6EC1-48F0-A07B-436AB2411613}"/>
              </a:ext>
            </a:extLst>
          </p:cNvPr>
          <p:cNvSpPr>
            <a:spLocks noGrp="1"/>
          </p:cNvSpPr>
          <p:nvPr>
            <p:ph type="body" sz="quarter" idx="19" hasCustomPrompt="1"/>
          </p:nvPr>
        </p:nvSpPr>
        <p:spPr>
          <a:xfrm>
            <a:off x="584970" y="4301761"/>
            <a:ext cx="4165024"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28" name="Текст 14">
            <a:extLst>
              <a:ext uri="{FF2B5EF4-FFF2-40B4-BE49-F238E27FC236}">
                <a16:creationId xmlns:a16="http://schemas.microsoft.com/office/drawing/2014/main" id="{C552E9DD-ADFD-4052-A178-6BAD78FC3FF6}"/>
              </a:ext>
            </a:extLst>
          </p:cNvPr>
          <p:cNvSpPr>
            <a:spLocks noGrp="1"/>
          </p:cNvSpPr>
          <p:nvPr>
            <p:ph type="body" sz="quarter" idx="55" hasCustomPrompt="1"/>
          </p:nvPr>
        </p:nvSpPr>
        <p:spPr>
          <a:xfrm>
            <a:off x="517796" y="1931833"/>
            <a:ext cx="1278854" cy="1736309"/>
          </a:xfrm>
          <a:prstGeom prst="rect">
            <a:avLst/>
          </a:prstGeom>
          <a:noFill/>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29" name="Текст 4">
            <a:extLst>
              <a:ext uri="{FF2B5EF4-FFF2-40B4-BE49-F238E27FC236}">
                <a16:creationId xmlns:a16="http://schemas.microsoft.com/office/drawing/2014/main" id="{49C53157-CA72-4755-9DEE-222D952EBF9A}"/>
              </a:ext>
            </a:extLst>
          </p:cNvPr>
          <p:cNvSpPr>
            <a:spLocks noGrp="1"/>
          </p:cNvSpPr>
          <p:nvPr>
            <p:ph type="body" sz="quarter" idx="18" hasCustomPrompt="1"/>
          </p:nvPr>
        </p:nvSpPr>
        <p:spPr>
          <a:xfrm>
            <a:off x="584970" y="3840812"/>
            <a:ext cx="4165024"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0" name="Прямоугольник: скругленные углы 29">
            <a:extLst>
              <a:ext uri="{FF2B5EF4-FFF2-40B4-BE49-F238E27FC236}">
                <a16:creationId xmlns:a16="http://schemas.microsoft.com/office/drawing/2014/main" id="{FC743F07-6990-4BDB-83CC-B4D99408EA01}"/>
              </a:ext>
            </a:extLst>
          </p:cNvPr>
          <p:cNvSpPr/>
          <p:nvPr userDrawn="1"/>
        </p:nvSpPr>
        <p:spPr>
          <a:xfrm>
            <a:off x="6205157" y="2899522"/>
            <a:ext cx="4599989"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31" name="Текст 4">
            <a:extLst>
              <a:ext uri="{FF2B5EF4-FFF2-40B4-BE49-F238E27FC236}">
                <a16:creationId xmlns:a16="http://schemas.microsoft.com/office/drawing/2014/main" id="{3598AFF4-AF86-4A81-BE8D-CEC085536010}"/>
              </a:ext>
            </a:extLst>
          </p:cNvPr>
          <p:cNvSpPr>
            <a:spLocks noGrp="1"/>
          </p:cNvSpPr>
          <p:nvPr>
            <p:ph type="body" sz="quarter" idx="56" hasCustomPrompt="1"/>
          </p:nvPr>
        </p:nvSpPr>
        <p:spPr>
          <a:xfrm>
            <a:off x="6378973" y="4301761"/>
            <a:ext cx="4191300" cy="48731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32" name="Текст 14">
            <a:extLst>
              <a:ext uri="{FF2B5EF4-FFF2-40B4-BE49-F238E27FC236}">
                <a16:creationId xmlns:a16="http://schemas.microsoft.com/office/drawing/2014/main" id="{E093C0A4-81B8-4290-84CF-E717715D9E95}"/>
              </a:ext>
            </a:extLst>
          </p:cNvPr>
          <p:cNvSpPr>
            <a:spLocks noGrp="1"/>
          </p:cNvSpPr>
          <p:nvPr>
            <p:ph type="body" sz="quarter" idx="57" hasCustomPrompt="1"/>
          </p:nvPr>
        </p:nvSpPr>
        <p:spPr>
          <a:xfrm>
            <a:off x="6311799" y="1931833"/>
            <a:ext cx="1286922" cy="1736309"/>
          </a:xfrm>
          <a:prstGeom prst="rect">
            <a:avLst/>
          </a:prstGeom>
          <a:noFill/>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33" name="Текст 4">
            <a:extLst>
              <a:ext uri="{FF2B5EF4-FFF2-40B4-BE49-F238E27FC236}">
                <a16:creationId xmlns:a16="http://schemas.microsoft.com/office/drawing/2014/main" id="{B7D80B76-193F-49FF-AC69-B8D061F6687E}"/>
              </a:ext>
            </a:extLst>
          </p:cNvPr>
          <p:cNvSpPr>
            <a:spLocks noGrp="1"/>
          </p:cNvSpPr>
          <p:nvPr>
            <p:ph type="body" sz="quarter" idx="58" hasCustomPrompt="1"/>
          </p:nvPr>
        </p:nvSpPr>
        <p:spPr>
          <a:xfrm>
            <a:off x="6378973" y="3840812"/>
            <a:ext cx="4191300"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749100569"/>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этапы_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этапами</a:t>
            </a:r>
          </a:p>
        </p:txBody>
      </p:sp>
      <p:sp>
        <p:nvSpPr>
          <p:cNvPr id="7" name="Прямоугольник: скругленные углы 6">
            <a:extLst>
              <a:ext uri="{FF2B5EF4-FFF2-40B4-BE49-F238E27FC236}">
                <a16:creationId xmlns:a16="http://schemas.microsoft.com/office/drawing/2014/main" id="{657E9BD0-550C-4EB8-A600-CDD6B2713245}"/>
              </a:ext>
            </a:extLst>
          </p:cNvPr>
          <p:cNvSpPr/>
          <p:nvPr userDrawn="1"/>
        </p:nvSpPr>
        <p:spPr>
          <a:xfrm>
            <a:off x="411154"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 name="Текст 4">
            <a:extLst>
              <a:ext uri="{FF2B5EF4-FFF2-40B4-BE49-F238E27FC236}">
                <a16:creationId xmlns:a16="http://schemas.microsoft.com/office/drawing/2014/main" id="{FF2273BE-64FA-48A3-A9A8-56F4C5116010}"/>
              </a:ext>
            </a:extLst>
          </p:cNvPr>
          <p:cNvSpPr>
            <a:spLocks noGrp="1"/>
          </p:cNvSpPr>
          <p:nvPr>
            <p:ph type="body" sz="quarter" idx="19" hasCustomPrompt="1"/>
          </p:nvPr>
        </p:nvSpPr>
        <p:spPr>
          <a:xfrm>
            <a:off x="584970" y="4301761"/>
            <a:ext cx="3289296"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9" name="Текст 14">
            <a:extLst>
              <a:ext uri="{FF2B5EF4-FFF2-40B4-BE49-F238E27FC236}">
                <a16:creationId xmlns:a16="http://schemas.microsoft.com/office/drawing/2014/main" id="{CB8B7118-078E-4F8D-A499-EDFD82E6A80F}"/>
              </a:ext>
            </a:extLst>
          </p:cNvPr>
          <p:cNvSpPr>
            <a:spLocks noGrp="1"/>
          </p:cNvSpPr>
          <p:nvPr>
            <p:ph type="body" sz="quarter" idx="55" hasCustomPrompt="1"/>
          </p:nvPr>
        </p:nvSpPr>
        <p:spPr>
          <a:xfrm>
            <a:off x="524122" y="1931833"/>
            <a:ext cx="1009965" cy="1736309"/>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11" name="Прямоугольник: скругленные углы 10">
            <a:extLst>
              <a:ext uri="{FF2B5EF4-FFF2-40B4-BE49-F238E27FC236}">
                <a16:creationId xmlns:a16="http://schemas.microsoft.com/office/drawing/2014/main" id="{09E560C6-FEB1-4D61-998A-1C74D91AB9ED}"/>
              </a:ext>
            </a:extLst>
          </p:cNvPr>
          <p:cNvSpPr/>
          <p:nvPr userDrawn="1"/>
        </p:nvSpPr>
        <p:spPr>
          <a:xfrm>
            <a:off x="4276716" y="2899522"/>
            <a:ext cx="36315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2" name="Текст 4">
            <a:extLst>
              <a:ext uri="{FF2B5EF4-FFF2-40B4-BE49-F238E27FC236}">
                <a16:creationId xmlns:a16="http://schemas.microsoft.com/office/drawing/2014/main" id="{3972C674-37F1-41FF-A9B9-24C937594321}"/>
              </a:ext>
            </a:extLst>
          </p:cNvPr>
          <p:cNvSpPr>
            <a:spLocks noGrp="1"/>
          </p:cNvSpPr>
          <p:nvPr>
            <p:ph type="body" sz="quarter" idx="56" hasCustomPrompt="1"/>
          </p:nvPr>
        </p:nvSpPr>
        <p:spPr>
          <a:xfrm>
            <a:off x="4472072" y="4301761"/>
            <a:ext cx="3289296"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3" name="Текст 14">
            <a:extLst>
              <a:ext uri="{FF2B5EF4-FFF2-40B4-BE49-F238E27FC236}">
                <a16:creationId xmlns:a16="http://schemas.microsoft.com/office/drawing/2014/main" id="{AC2B7002-5466-439D-924F-89139A69847C}"/>
              </a:ext>
            </a:extLst>
          </p:cNvPr>
          <p:cNvSpPr>
            <a:spLocks noGrp="1"/>
          </p:cNvSpPr>
          <p:nvPr>
            <p:ph type="body" sz="quarter" idx="57" hasCustomPrompt="1"/>
          </p:nvPr>
        </p:nvSpPr>
        <p:spPr>
          <a:xfrm>
            <a:off x="4383286" y="1931833"/>
            <a:ext cx="1009965" cy="1736309"/>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16" name="Прямоугольник: скругленные углы 15">
            <a:extLst>
              <a:ext uri="{FF2B5EF4-FFF2-40B4-BE49-F238E27FC236}">
                <a16:creationId xmlns:a16="http://schemas.microsoft.com/office/drawing/2014/main" id="{BFD97AB3-ACD9-490B-89B2-171FB8751448}"/>
              </a:ext>
            </a:extLst>
          </p:cNvPr>
          <p:cNvSpPr/>
          <p:nvPr userDrawn="1"/>
        </p:nvSpPr>
        <p:spPr>
          <a:xfrm>
            <a:off x="8136113" y="2899522"/>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7" name="Текст 4">
            <a:extLst>
              <a:ext uri="{FF2B5EF4-FFF2-40B4-BE49-F238E27FC236}">
                <a16:creationId xmlns:a16="http://schemas.microsoft.com/office/drawing/2014/main" id="{FE499F3E-281C-4590-B57C-F39E9541450F}"/>
              </a:ext>
            </a:extLst>
          </p:cNvPr>
          <p:cNvSpPr>
            <a:spLocks noGrp="1"/>
          </p:cNvSpPr>
          <p:nvPr>
            <p:ph type="body" sz="quarter" idx="59" hasCustomPrompt="1"/>
          </p:nvPr>
        </p:nvSpPr>
        <p:spPr>
          <a:xfrm>
            <a:off x="8309930" y="4301761"/>
            <a:ext cx="3289296"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8" name="Текст 14">
            <a:extLst>
              <a:ext uri="{FF2B5EF4-FFF2-40B4-BE49-F238E27FC236}">
                <a16:creationId xmlns:a16="http://schemas.microsoft.com/office/drawing/2014/main" id="{01A4F735-EA58-4DFB-B3C8-D332C031F561}"/>
              </a:ext>
            </a:extLst>
          </p:cNvPr>
          <p:cNvSpPr>
            <a:spLocks noGrp="1"/>
          </p:cNvSpPr>
          <p:nvPr>
            <p:ph type="body" sz="quarter" idx="60" hasCustomPrompt="1"/>
          </p:nvPr>
        </p:nvSpPr>
        <p:spPr>
          <a:xfrm>
            <a:off x="8229576" y="1931833"/>
            <a:ext cx="1009965" cy="1736309"/>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3</a:t>
            </a:r>
          </a:p>
        </p:txBody>
      </p:sp>
      <p:sp>
        <p:nvSpPr>
          <p:cNvPr id="21" name="Текст 4">
            <a:extLst>
              <a:ext uri="{FF2B5EF4-FFF2-40B4-BE49-F238E27FC236}">
                <a16:creationId xmlns:a16="http://schemas.microsoft.com/office/drawing/2014/main" id="{106E7059-FDB2-4404-A92E-F851C2D62815}"/>
              </a:ext>
            </a:extLst>
          </p:cNvPr>
          <p:cNvSpPr>
            <a:spLocks noGrp="1"/>
          </p:cNvSpPr>
          <p:nvPr>
            <p:ph type="body" sz="quarter" idx="18" hasCustomPrompt="1"/>
          </p:nvPr>
        </p:nvSpPr>
        <p:spPr>
          <a:xfrm>
            <a:off x="584970" y="3840812"/>
            <a:ext cx="3289296"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8318CA75-65E3-4338-87B4-F2DE5AEBA58E}"/>
              </a:ext>
            </a:extLst>
          </p:cNvPr>
          <p:cNvSpPr>
            <a:spLocks noGrp="1"/>
          </p:cNvSpPr>
          <p:nvPr>
            <p:ph type="body" sz="quarter" idx="61" hasCustomPrompt="1"/>
          </p:nvPr>
        </p:nvSpPr>
        <p:spPr>
          <a:xfrm>
            <a:off x="4463641" y="3840812"/>
            <a:ext cx="3289296"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9F102D-FDBA-4424-AF68-A0C4A74BEB72}"/>
              </a:ext>
            </a:extLst>
          </p:cNvPr>
          <p:cNvSpPr>
            <a:spLocks noGrp="1"/>
          </p:cNvSpPr>
          <p:nvPr>
            <p:ph type="body" sz="quarter" idx="62" hasCustomPrompt="1"/>
          </p:nvPr>
        </p:nvSpPr>
        <p:spPr>
          <a:xfrm>
            <a:off x="8309930" y="3840812"/>
            <a:ext cx="3289296"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93911602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с текстом и иконками_3">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11356052" cy="532000"/>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и иконками</a:t>
            </a:r>
          </a:p>
        </p:txBody>
      </p:sp>
      <p:sp>
        <p:nvSpPr>
          <p:cNvPr id="14" name="Текст 4">
            <a:extLst>
              <a:ext uri="{FF2B5EF4-FFF2-40B4-BE49-F238E27FC236}">
                <a16:creationId xmlns:a16="http://schemas.microsoft.com/office/drawing/2014/main" id="{27D7F168-DBE9-4AAE-9176-DF9CA55C7605}"/>
              </a:ext>
            </a:extLst>
          </p:cNvPr>
          <p:cNvSpPr>
            <a:spLocks noGrp="1"/>
          </p:cNvSpPr>
          <p:nvPr>
            <p:ph type="body" sz="quarter" idx="18" hasCustomPrompt="1"/>
          </p:nvPr>
        </p:nvSpPr>
        <p:spPr>
          <a:xfrm>
            <a:off x="1385457" y="2008357"/>
            <a:ext cx="7491249" cy="314091"/>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24E519ED-FA49-4252-A2D0-2497C847A331}"/>
              </a:ext>
            </a:extLst>
          </p:cNvPr>
          <p:cNvSpPr>
            <a:spLocks noGrp="1"/>
          </p:cNvSpPr>
          <p:nvPr>
            <p:ph type="body" sz="quarter" idx="27" hasCustomPrompt="1"/>
          </p:nvPr>
        </p:nvSpPr>
        <p:spPr>
          <a:xfrm>
            <a:off x="1385457" y="2400302"/>
            <a:ext cx="7491251" cy="521276"/>
          </a:xfrm>
          <a:prstGeom prst="rect">
            <a:avLst/>
          </a:prstGeom>
        </p:spPr>
        <p:txBody>
          <a:bodyPr lIns="0" tIns="0" rIns="0" bIns="0"/>
          <a:lstStyle>
            <a:lvl1pPr>
              <a:lnSpc>
                <a:spcPct val="100000"/>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18" name="Текст 4">
            <a:extLst>
              <a:ext uri="{FF2B5EF4-FFF2-40B4-BE49-F238E27FC236}">
                <a16:creationId xmlns:a16="http://schemas.microsoft.com/office/drawing/2014/main" id="{CE6D2CA7-37CA-4ACB-BB41-3FF89B1FEAA3}"/>
              </a:ext>
            </a:extLst>
          </p:cNvPr>
          <p:cNvSpPr>
            <a:spLocks noGrp="1"/>
          </p:cNvSpPr>
          <p:nvPr>
            <p:ph type="body" sz="quarter" idx="30" hasCustomPrompt="1"/>
          </p:nvPr>
        </p:nvSpPr>
        <p:spPr>
          <a:xfrm>
            <a:off x="1385457" y="3471024"/>
            <a:ext cx="7491249" cy="314091"/>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5CA7E28D-839E-443A-A2E2-15D09B408E98}"/>
              </a:ext>
            </a:extLst>
          </p:cNvPr>
          <p:cNvSpPr>
            <a:spLocks noGrp="1"/>
          </p:cNvSpPr>
          <p:nvPr>
            <p:ph type="body" sz="quarter" idx="32" hasCustomPrompt="1"/>
          </p:nvPr>
        </p:nvSpPr>
        <p:spPr>
          <a:xfrm>
            <a:off x="1385457" y="3862969"/>
            <a:ext cx="7491251" cy="596195"/>
          </a:xfrm>
          <a:prstGeom prst="rect">
            <a:avLst/>
          </a:prstGeom>
        </p:spPr>
        <p:txBody>
          <a:bodyPr lIns="0" tIns="0" rIns="0" bIns="0"/>
          <a:lstStyle>
            <a:lvl1pPr>
              <a:lnSpc>
                <a:spcPct val="100000"/>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текста для блока рекомендуемый объём для блока рекомендуемый объём текста для блока объём текста объём текста для блока</a:t>
            </a:r>
          </a:p>
        </p:txBody>
      </p:sp>
      <p:sp>
        <p:nvSpPr>
          <p:cNvPr id="21" name="Текст 4">
            <a:extLst>
              <a:ext uri="{FF2B5EF4-FFF2-40B4-BE49-F238E27FC236}">
                <a16:creationId xmlns:a16="http://schemas.microsoft.com/office/drawing/2014/main" id="{72ED0BAE-E7F3-49CE-AED5-D7B126322842}"/>
              </a:ext>
            </a:extLst>
          </p:cNvPr>
          <p:cNvSpPr>
            <a:spLocks noGrp="1"/>
          </p:cNvSpPr>
          <p:nvPr>
            <p:ph type="body" sz="quarter" idx="34" hasCustomPrompt="1"/>
          </p:nvPr>
        </p:nvSpPr>
        <p:spPr>
          <a:xfrm>
            <a:off x="1385457" y="5020236"/>
            <a:ext cx="7491249" cy="314091"/>
          </a:xfrm>
          <a:prstGeom prst="rect">
            <a:avLst/>
          </a:prstGeom>
        </p:spPr>
        <p:txBody>
          <a:bodyPr lIns="0" tIns="0" rIns="0" bIns="0" anchor="b"/>
          <a:lstStyle>
            <a:lvl1pPr>
              <a:lnSpc>
                <a:spcPts val="1851"/>
              </a:lnSpc>
              <a:spcBef>
                <a:spcPts val="0"/>
              </a:spcBef>
              <a:defRPr sz="1763" b="0">
                <a:solidFill>
                  <a:schemeClr val="tx1"/>
                </a:solidFill>
                <a:latin typeface="+mj-lt"/>
              </a:defRPr>
            </a:lvl1pPr>
          </a:lstStyle>
          <a:p>
            <a:pPr lvl="0"/>
            <a:r>
              <a:rPr lang="ru-RU" dirty="0"/>
              <a:t>Заголовок</a:t>
            </a:r>
          </a:p>
        </p:txBody>
      </p:sp>
      <p:sp>
        <p:nvSpPr>
          <p:cNvPr id="22" name="Текст 14">
            <a:extLst>
              <a:ext uri="{FF2B5EF4-FFF2-40B4-BE49-F238E27FC236}">
                <a16:creationId xmlns:a16="http://schemas.microsoft.com/office/drawing/2014/main" id="{475B0105-23BE-4ECF-9BE3-89F667FDD950}"/>
              </a:ext>
            </a:extLst>
          </p:cNvPr>
          <p:cNvSpPr>
            <a:spLocks noGrp="1"/>
          </p:cNvSpPr>
          <p:nvPr>
            <p:ph type="body" sz="quarter" idx="36" hasCustomPrompt="1"/>
          </p:nvPr>
        </p:nvSpPr>
        <p:spPr>
          <a:xfrm>
            <a:off x="1385457" y="5412186"/>
            <a:ext cx="7491251" cy="532001"/>
          </a:xfrm>
          <a:prstGeom prst="rect">
            <a:avLst/>
          </a:prstGeom>
        </p:spPr>
        <p:txBody>
          <a:bodyPr lIns="0" tIns="0" rIns="0" bIns="0"/>
          <a:lstStyle>
            <a:lvl1pPr>
              <a:lnSpc>
                <a:spcPct val="100000"/>
              </a:lnSpc>
              <a:spcBef>
                <a:spcPts val="0"/>
              </a:spcBef>
              <a:defRPr sz="1321"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объём </a:t>
            </a:r>
            <a:r>
              <a:rPr lang="ru-RU" dirty="0" err="1"/>
              <a:t>текстадля</a:t>
            </a:r>
            <a:r>
              <a:rPr lang="ru-RU" dirty="0"/>
              <a:t> блока рекомендуемый объём для блока рекомендуемый объём текста для блока объём текста объём текста для блока</a:t>
            </a:r>
          </a:p>
        </p:txBody>
      </p:sp>
      <p:sp>
        <p:nvSpPr>
          <p:cNvPr id="23" name="Текст 14">
            <a:extLst>
              <a:ext uri="{FF2B5EF4-FFF2-40B4-BE49-F238E27FC236}">
                <a16:creationId xmlns:a16="http://schemas.microsoft.com/office/drawing/2014/main" id="{724C2C64-D4C7-4484-8803-343D3EDE1076}"/>
              </a:ext>
            </a:extLst>
          </p:cNvPr>
          <p:cNvSpPr>
            <a:spLocks noGrp="1"/>
          </p:cNvSpPr>
          <p:nvPr>
            <p:ph type="body" sz="quarter" idx="56" hasCustomPrompt="1"/>
          </p:nvPr>
        </p:nvSpPr>
        <p:spPr>
          <a:xfrm>
            <a:off x="417518" y="1035867"/>
            <a:ext cx="7282657" cy="521276"/>
          </a:xfrm>
          <a:prstGeom prst="rect">
            <a:avLst/>
          </a:prstGeom>
        </p:spPr>
        <p:txBody>
          <a:bodyPr lIns="0" tIns="0" rIns="0" bIns="0"/>
          <a:lstStyle>
            <a:lvl1pPr>
              <a:lnSpc>
                <a:spcPts val="1851"/>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Tree>
    <p:extLst>
      <p:ext uri="{BB962C8B-B14F-4D97-AF65-F5344CB8AC3E}">
        <p14:creationId xmlns:p14="http://schemas.microsoft.com/office/powerpoint/2010/main" val="426979550"/>
      </p:ext>
    </p:extLst>
  </p:cSld>
  <p:clrMapOvr>
    <a:masterClrMapping/>
  </p:clrMapOvr>
  <p:extLst mod="1">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этамы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этапами</a:t>
            </a:r>
          </a:p>
        </p:txBody>
      </p:sp>
      <p:sp>
        <p:nvSpPr>
          <p:cNvPr id="20" name="Прямоугольник: скругленные углы 19">
            <a:extLst>
              <a:ext uri="{FF2B5EF4-FFF2-40B4-BE49-F238E27FC236}">
                <a16:creationId xmlns:a16="http://schemas.microsoft.com/office/drawing/2014/main" id="{FA2E6FF4-4A34-44C7-91F9-5D5BBCB34F5C}"/>
              </a:ext>
            </a:extLst>
          </p:cNvPr>
          <p:cNvSpPr/>
          <p:nvPr userDrawn="1"/>
        </p:nvSpPr>
        <p:spPr>
          <a:xfrm>
            <a:off x="411154"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1" name="Текст 4">
            <a:extLst>
              <a:ext uri="{FF2B5EF4-FFF2-40B4-BE49-F238E27FC236}">
                <a16:creationId xmlns:a16="http://schemas.microsoft.com/office/drawing/2014/main" id="{597D408E-0A91-4104-BF66-6A5778FBB1A6}"/>
              </a:ext>
            </a:extLst>
          </p:cNvPr>
          <p:cNvSpPr>
            <a:spLocks noGrp="1"/>
          </p:cNvSpPr>
          <p:nvPr>
            <p:ph type="body" sz="quarter" idx="19" hasCustomPrompt="1"/>
          </p:nvPr>
        </p:nvSpPr>
        <p:spPr>
          <a:xfrm>
            <a:off x="584970" y="4591714"/>
            <a:ext cx="2337124"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2" name="Текст 14">
            <a:extLst>
              <a:ext uri="{FF2B5EF4-FFF2-40B4-BE49-F238E27FC236}">
                <a16:creationId xmlns:a16="http://schemas.microsoft.com/office/drawing/2014/main" id="{DC16EC29-5F36-465A-B5C6-7E8CC03C9663}"/>
              </a:ext>
            </a:extLst>
          </p:cNvPr>
          <p:cNvSpPr>
            <a:spLocks noGrp="1"/>
          </p:cNvSpPr>
          <p:nvPr>
            <p:ph type="body" sz="quarter" idx="55" hasCustomPrompt="1"/>
          </p:nvPr>
        </p:nvSpPr>
        <p:spPr>
          <a:xfrm>
            <a:off x="536988" y="2221786"/>
            <a:ext cx="1009965" cy="1736309"/>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1</a:t>
            </a:r>
          </a:p>
        </p:txBody>
      </p:sp>
      <p:sp>
        <p:nvSpPr>
          <p:cNvPr id="24" name="Прямоугольник: скругленные углы 23">
            <a:extLst>
              <a:ext uri="{FF2B5EF4-FFF2-40B4-BE49-F238E27FC236}">
                <a16:creationId xmlns:a16="http://schemas.microsoft.com/office/drawing/2014/main" id="{C7842E64-F55B-43AD-9753-8EEBD1F582C7}"/>
              </a:ext>
            </a:extLst>
          </p:cNvPr>
          <p:cNvSpPr/>
          <p:nvPr userDrawn="1"/>
        </p:nvSpPr>
        <p:spPr>
          <a:xfrm>
            <a:off x="3318095" y="3189475"/>
            <a:ext cx="265895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5" name="Текст 4">
            <a:extLst>
              <a:ext uri="{FF2B5EF4-FFF2-40B4-BE49-F238E27FC236}">
                <a16:creationId xmlns:a16="http://schemas.microsoft.com/office/drawing/2014/main" id="{D3A7F984-07D2-4752-B8B5-415FC1FAFBA1}"/>
              </a:ext>
            </a:extLst>
          </p:cNvPr>
          <p:cNvSpPr>
            <a:spLocks noGrp="1"/>
          </p:cNvSpPr>
          <p:nvPr>
            <p:ph type="body" sz="quarter" idx="56" hasCustomPrompt="1"/>
          </p:nvPr>
        </p:nvSpPr>
        <p:spPr>
          <a:xfrm>
            <a:off x="3491911" y="4591714"/>
            <a:ext cx="2337124"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6" name="Текст 14">
            <a:extLst>
              <a:ext uri="{FF2B5EF4-FFF2-40B4-BE49-F238E27FC236}">
                <a16:creationId xmlns:a16="http://schemas.microsoft.com/office/drawing/2014/main" id="{4DCC70D2-1AA5-4818-B622-B3BC5FAB6AAF}"/>
              </a:ext>
            </a:extLst>
          </p:cNvPr>
          <p:cNvSpPr>
            <a:spLocks noGrp="1"/>
          </p:cNvSpPr>
          <p:nvPr>
            <p:ph type="body" sz="quarter" idx="57" hasCustomPrompt="1"/>
          </p:nvPr>
        </p:nvSpPr>
        <p:spPr>
          <a:xfrm>
            <a:off x="3443929" y="2221786"/>
            <a:ext cx="1009965" cy="1736309"/>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2</a:t>
            </a:r>
          </a:p>
        </p:txBody>
      </p:sp>
      <p:sp>
        <p:nvSpPr>
          <p:cNvPr id="28" name="Прямоугольник: скругленные углы 27">
            <a:extLst>
              <a:ext uri="{FF2B5EF4-FFF2-40B4-BE49-F238E27FC236}">
                <a16:creationId xmlns:a16="http://schemas.microsoft.com/office/drawing/2014/main" id="{688EF956-FAE3-4DD0-8B70-19A80E900B9A}"/>
              </a:ext>
            </a:extLst>
          </p:cNvPr>
          <p:cNvSpPr/>
          <p:nvPr userDrawn="1"/>
        </p:nvSpPr>
        <p:spPr>
          <a:xfrm>
            <a:off x="6205443" y="3189475"/>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29" name="Текст 4">
            <a:extLst>
              <a:ext uri="{FF2B5EF4-FFF2-40B4-BE49-F238E27FC236}">
                <a16:creationId xmlns:a16="http://schemas.microsoft.com/office/drawing/2014/main" id="{6FE9E5D0-63C1-4D93-B088-6D309952D890}"/>
              </a:ext>
            </a:extLst>
          </p:cNvPr>
          <p:cNvSpPr>
            <a:spLocks noGrp="1"/>
          </p:cNvSpPr>
          <p:nvPr>
            <p:ph type="body" sz="quarter" idx="59" hasCustomPrompt="1"/>
          </p:nvPr>
        </p:nvSpPr>
        <p:spPr>
          <a:xfrm>
            <a:off x="6379259" y="4591714"/>
            <a:ext cx="2337124"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0" name="Текст 14">
            <a:extLst>
              <a:ext uri="{FF2B5EF4-FFF2-40B4-BE49-F238E27FC236}">
                <a16:creationId xmlns:a16="http://schemas.microsoft.com/office/drawing/2014/main" id="{8CAB397E-5BFC-4DA4-B73D-8AF253BD927D}"/>
              </a:ext>
            </a:extLst>
          </p:cNvPr>
          <p:cNvSpPr>
            <a:spLocks noGrp="1"/>
          </p:cNvSpPr>
          <p:nvPr>
            <p:ph type="body" sz="quarter" idx="60" hasCustomPrompt="1"/>
          </p:nvPr>
        </p:nvSpPr>
        <p:spPr>
          <a:xfrm>
            <a:off x="6331277" y="2221786"/>
            <a:ext cx="1009965" cy="1736309"/>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3</a:t>
            </a:r>
          </a:p>
        </p:txBody>
      </p:sp>
      <p:sp>
        <p:nvSpPr>
          <p:cNvPr id="32" name="Прямоугольник: скругленные углы 31">
            <a:extLst>
              <a:ext uri="{FF2B5EF4-FFF2-40B4-BE49-F238E27FC236}">
                <a16:creationId xmlns:a16="http://schemas.microsoft.com/office/drawing/2014/main" id="{EAFBAC7D-ADA9-4A5D-89B8-B8C2C5E4269D}"/>
              </a:ext>
            </a:extLst>
          </p:cNvPr>
          <p:cNvSpPr/>
          <p:nvPr userDrawn="1"/>
        </p:nvSpPr>
        <p:spPr>
          <a:xfrm>
            <a:off x="9111269" y="3189475"/>
            <a:ext cx="2665659"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3" name="Текст 4">
            <a:extLst>
              <a:ext uri="{FF2B5EF4-FFF2-40B4-BE49-F238E27FC236}">
                <a16:creationId xmlns:a16="http://schemas.microsoft.com/office/drawing/2014/main" id="{91E8C4C7-0934-446C-8BAD-A58A5803AD78}"/>
              </a:ext>
            </a:extLst>
          </p:cNvPr>
          <p:cNvSpPr>
            <a:spLocks noGrp="1"/>
          </p:cNvSpPr>
          <p:nvPr>
            <p:ph type="body" sz="quarter" idx="62" hasCustomPrompt="1"/>
          </p:nvPr>
        </p:nvSpPr>
        <p:spPr>
          <a:xfrm>
            <a:off x="9273313" y="4591714"/>
            <a:ext cx="2337124" cy="48731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4" name="Текст 14">
            <a:extLst>
              <a:ext uri="{FF2B5EF4-FFF2-40B4-BE49-F238E27FC236}">
                <a16:creationId xmlns:a16="http://schemas.microsoft.com/office/drawing/2014/main" id="{DD60DD27-F80D-4C9E-B613-7FC59190D218}"/>
              </a:ext>
            </a:extLst>
          </p:cNvPr>
          <p:cNvSpPr>
            <a:spLocks noGrp="1"/>
          </p:cNvSpPr>
          <p:nvPr>
            <p:ph type="body" sz="quarter" idx="63" hasCustomPrompt="1"/>
          </p:nvPr>
        </p:nvSpPr>
        <p:spPr>
          <a:xfrm>
            <a:off x="9225331" y="2221786"/>
            <a:ext cx="1009965" cy="1736309"/>
          </a:xfrm>
          <a:prstGeom prst="rect">
            <a:avLst/>
          </a:prstGeom>
        </p:spPr>
        <p:txBody>
          <a:bodyPr lIns="0" tIns="0" rIns="0" bIns="0"/>
          <a:lstStyle>
            <a:lvl1pPr>
              <a:lnSpc>
                <a:spcPct val="100000"/>
              </a:lnSpc>
              <a:spcBef>
                <a:spcPts val="0"/>
              </a:spcBef>
              <a:defRPr sz="11283" b="0">
                <a:solidFill>
                  <a:schemeClr val="accent2"/>
                </a:solidFill>
                <a:latin typeface="+mn-lt"/>
                <a:ea typeface="Rostelecom Basis" panose="020B0503040504020204" pitchFamily="34" charset="-52"/>
              </a:defRPr>
            </a:lvl1pPr>
          </a:lstStyle>
          <a:p>
            <a:pPr lvl="0"/>
            <a:r>
              <a:rPr lang="ru-RU" dirty="0"/>
              <a:t>4</a:t>
            </a:r>
          </a:p>
        </p:txBody>
      </p:sp>
      <p:sp>
        <p:nvSpPr>
          <p:cNvPr id="39" name="Текст 4">
            <a:extLst>
              <a:ext uri="{FF2B5EF4-FFF2-40B4-BE49-F238E27FC236}">
                <a16:creationId xmlns:a16="http://schemas.microsoft.com/office/drawing/2014/main" id="{89D9DADB-CEE7-4CDC-9DF0-06D6E56B7EC8}"/>
              </a:ext>
            </a:extLst>
          </p:cNvPr>
          <p:cNvSpPr>
            <a:spLocks noGrp="1"/>
          </p:cNvSpPr>
          <p:nvPr>
            <p:ph type="body" sz="quarter" idx="65" hasCustomPrompt="1"/>
          </p:nvPr>
        </p:nvSpPr>
        <p:spPr>
          <a:xfrm>
            <a:off x="584970" y="4134672"/>
            <a:ext cx="2337124"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0" name="Текст 4">
            <a:extLst>
              <a:ext uri="{FF2B5EF4-FFF2-40B4-BE49-F238E27FC236}">
                <a16:creationId xmlns:a16="http://schemas.microsoft.com/office/drawing/2014/main" id="{CE510983-84E9-4826-8101-DC875C8AC35A}"/>
              </a:ext>
            </a:extLst>
          </p:cNvPr>
          <p:cNvSpPr>
            <a:spLocks noGrp="1"/>
          </p:cNvSpPr>
          <p:nvPr>
            <p:ph type="body" sz="quarter" idx="66" hasCustomPrompt="1"/>
          </p:nvPr>
        </p:nvSpPr>
        <p:spPr>
          <a:xfrm>
            <a:off x="3491911" y="4134672"/>
            <a:ext cx="2337124"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1" name="Текст 4">
            <a:extLst>
              <a:ext uri="{FF2B5EF4-FFF2-40B4-BE49-F238E27FC236}">
                <a16:creationId xmlns:a16="http://schemas.microsoft.com/office/drawing/2014/main" id="{B1526BA0-B61D-44AE-8A90-03263D4B1C9E}"/>
              </a:ext>
            </a:extLst>
          </p:cNvPr>
          <p:cNvSpPr>
            <a:spLocks noGrp="1"/>
          </p:cNvSpPr>
          <p:nvPr>
            <p:ph type="body" sz="quarter" idx="67" hasCustomPrompt="1"/>
          </p:nvPr>
        </p:nvSpPr>
        <p:spPr>
          <a:xfrm>
            <a:off x="6379259" y="4134672"/>
            <a:ext cx="2337124"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2" name="Текст 4">
            <a:extLst>
              <a:ext uri="{FF2B5EF4-FFF2-40B4-BE49-F238E27FC236}">
                <a16:creationId xmlns:a16="http://schemas.microsoft.com/office/drawing/2014/main" id="{2ECB30FC-5589-4A26-AD21-49C868786724}"/>
              </a:ext>
            </a:extLst>
          </p:cNvPr>
          <p:cNvSpPr>
            <a:spLocks noGrp="1"/>
          </p:cNvSpPr>
          <p:nvPr>
            <p:ph type="body" sz="quarter" idx="68" hasCustomPrompt="1"/>
          </p:nvPr>
        </p:nvSpPr>
        <p:spPr>
          <a:xfrm>
            <a:off x="9273313" y="4134672"/>
            <a:ext cx="2337124" cy="294953"/>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92255229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этамы_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этапами</a:t>
            </a:r>
          </a:p>
        </p:txBody>
      </p:sp>
      <p:sp>
        <p:nvSpPr>
          <p:cNvPr id="56" name="Прямоугольник: скругленные углы 55">
            <a:extLst>
              <a:ext uri="{FF2B5EF4-FFF2-40B4-BE49-F238E27FC236}">
                <a16:creationId xmlns:a16="http://schemas.microsoft.com/office/drawing/2014/main" id="{A102BE3A-81B6-48B3-B8D9-C54C231396CF}"/>
              </a:ext>
            </a:extLst>
          </p:cNvPr>
          <p:cNvSpPr/>
          <p:nvPr userDrawn="1"/>
        </p:nvSpPr>
        <p:spPr>
          <a:xfrm>
            <a:off x="273977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7" name="Прямоугольник: скругленные углы 56">
            <a:extLst>
              <a:ext uri="{FF2B5EF4-FFF2-40B4-BE49-F238E27FC236}">
                <a16:creationId xmlns:a16="http://schemas.microsoft.com/office/drawing/2014/main" id="{34E22284-9638-4776-91E7-1174D9178B60}"/>
              </a:ext>
            </a:extLst>
          </p:cNvPr>
          <p:cNvSpPr/>
          <p:nvPr userDrawn="1"/>
        </p:nvSpPr>
        <p:spPr>
          <a:xfrm>
            <a:off x="506203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8" name="Прямоугольник: скругленные углы 57">
            <a:extLst>
              <a:ext uri="{FF2B5EF4-FFF2-40B4-BE49-F238E27FC236}">
                <a16:creationId xmlns:a16="http://schemas.microsoft.com/office/drawing/2014/main" id="{83759CD5-C8C9-406C-85CA-8AAF13A01F67}"/>
              </a:ext>
            </a:extLst>
          </p:cNvPr>
          <p:cNvSpPr/>
          <p:nvPr userDrawn="1"/>
        </p:nvSpPr>
        <p:spPr>
          <a:xfrm>
            <a:off x="7384295"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59" name="Прямоугольник: скругленные углы 58">
            <a:extLst>
              <a:ext uri="{FF2B5EF4-FFF2-40B4-BE49-F238E27FC236}">
                <a16:creationId xmlns:a16="http://schemas.microsoft.com/office/drawing/2014/main" id="{37530523-2FE5-4653-A57C-7E83FFF9FFDE}"/>
              </a:ext>
            </a:extLst>
          </p:cNvPr>
          <p:cNvSpPr/>
          <p:nvPr userDrawn="1"/>
        </p:nvSpPr>
        <p:spPr>
          <a:xfrm>
            <a:off x="9706556"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0" name="Прямоугольник: скругленные углы 59">
            <a:extLst>
              <a:ext uri="{FF2B5EF4-FFF2-40B4-BE49-F238E27FC236}">
                <a16:creationId xmlns:a16="http://schemas.microsoft.com/office/drawing/2014/main" id="{2C278F44-1C30-402B-B3F2-92470928B033}"/>
              </a:ext>
            </a:extLst>
          </p:cNvPr>
          <p:cNvSpPr/>
          <p:nvPr userDrawn="1"/>
        </p:nvSpPr>
        <p:spPr>
          <a:xfrm>
            <a:off x="411154" y="3189475"/>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a:p>
        </p:txBody>
      </p:sp>
      <p:sp>
        <p:nvSpPr>
          <p:cNvPr id="61" name="Текст 4">
            <a:extLst>
              <a:ext uri="{FF2B5EF4-FFF2-40B4-BE49-F238E27FC236}">
                <a16:creationId xmlns:a16="http://schemas.microsoft.com/office/drawing/2014/main" id="{F09677B0-9968-4ADF-9B5B-C5D1F9A0A29D}"/>
              </a:ext>
            </a:extLst>
          </p:cNvPr>
          <p:cNvSpPr>
            <a:spLocks noGrp="1"/>
          </p:cNvSpPr>
          <p:nvPr>
            <p:ph type="body" sz="quarter" idx="18" hasCustomPrompt="1"/>
          </p:nvPr>
        </p:nvSpPr>
        <p:spPr>
          <a:xfrm>
            <a:off x="568177" y="4083670"/>
            <a:ext cx="1766105"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2" name="Текст 14">
            <a:extLst>
              <a:ext uri="{FF2B5EF4-FFF2-40B4-BE49-F238E27FC236}">
                <a16:creationId xmlns:a16="http://schemas.microsoft.com/office/drawing/2014/main" id="{1745934B-7FA6-47BE-91E4-6F74FF0B0D3A}"/>
              </a:ext>
            </a:extLst>
          </p:cNvPr>
          <p:cNvSpPr>
            <a:spLocks noGrp="1"/>
          </p:cNvSpPr>
          <p:nvPr>
            <p:ph type="body" sz="quarter" idx="57" hasCustomPrompt="1"/>
          </p:nvPr>
        </p:nvSpPr>
        <p:spPr>
          <a:xfrm>
            <a:off x="2834937" y="2418570"/>
            <a:ext cx="1009965" cy="1356525"/>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2</a:t>
            </a:r>
          </a:p>
        </p:txBody>
      </p:sp>
      <p:sp>
        <p:nvSpPr>
          <p:cNvPr id="63" name="Текст 14">
            <a:extLst>
              <a:ext uri="{FF2B5EF4-FFF2-40B4-BE49-F238E27FC236}">
                <a16:creationId xmlns:a16="http://schemas.microsoft.com/office/drawing/2014/main" id="{3D527EF6-C8EE-48E8-B271-7FAEC6B29B43}"/>
              </a:ext>
            </a:extLst>
          </p:cNvPr>
          <p:cNvSpPr>
            <a:spLocks noGrp="1"/>
          </p:cNvSpPr>
          <p:nvPr>
            <p:ph type="body" sz="quarter" idx="60" hasCustomPrompt="1"/>
          </p:nvPr>
        </p:nvSpPr>
        <p:spPr>
          <a:xfrm>
            <a:off x="5157197" y="2418570"/>
            <a:ext cx="1009965" cy="1356525"/>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3</a:t>
            </a:r>
          </a:p>
        </p:txBody>
      </p:sp>
      <p:sp>
        <p:nvSpPr>
          <p:cNvPr id="64" name="Текст 14">
            <a:extLst>
              <a:ext uri="{FF2B5EF4-FFF2-40B4-BE49-F238E27FC236}">
                <a16:creationId xmlns:a16="http://schemas.microsoft.com/office/drawing/2014/main" id="{E90775EA-C359-422D-BC8F-A505E0FDF9C1}"/>
              </a:ext>
            </a:extLst>
          </p:cNvPr>
          <p:cNvSpPr>
            <a:spLocks noGrp="1"/>
          </p:cNvSpPr>
          <p:nvPr>
            <p:ph type="body" sz="quarter" idx="63" hasCustomPrompt="1"/>
          </p:nvPr>
        </p:nvSpPr>
        <p:spPr>
          <a:xfrm>
            <a:off x="7479457" y="2418570"/>
            <a:ext cx="1009965" cy="1356525"/>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4</a:t>
            </a:r>
          </a:p>
        </p:txBody>
      </p:sp>
      <p:sp>
        <p:nvSpPr>
          <p:cNvPr id="65" name="Текст 14">
            <a:extLst>
              <a:ext uri="{FF2B5EF4-FFF2-40B4-BE49-F238E27FC236}">
                <a16:creationId xmlns:a16="http://schemas.microsoft.com/office/drawing/2014/main" id="{53D8AE4F-EE6F-456E-AAC1-BD8578D29C15}"/>
              </a:ext>
            </a:extLst>
          </p:cNvPr>
          <p:cNvSpPr>
            <a:spLocks noGrp="1"/>
          </p:cNvSpPr>
          <p:nvPr>
            <p:ph type="body" sz="quarter" idx="65" hasCustomPrompt="1"/>
          </p:nvPr>
        </p:nvSpPr>
        <p:spPr>
          <a:xfrm>
            <a:off x="513034" y="2418570"/>
            <a:ext cx="1009965" cy="1356525"/>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1</a:t>
            </a:r>
          </a:p>
        </p:txBody>
      </p:sp>
      <p:sp>
        <p:nvSpPr>
          <p:cNvPr id="66" name="Текст 14">
            <a:extLst>
              <a:ext uri="{FF2B5EF4-FFF2-40B4-BE49-F238E27FC236}">
                <a16:creationId xmlns:a16="http://schemas.microsoft.com/office/drawing/2014/main" id="{68A90BD0-68E0-423F-B94D-829FD9BBF755}"/>
              </a:ext>
            </a:extLst>
          </p:cNvPr>
          <p:cNvSpPr>
            <a:spLocks noGrp="1"/>
          </p:cNvSpPr>
          <p:nvPr>
            <p:ph type="body" sz="quarter" idx="66" hasCustomPrompt="1"/>
          </p:nvPr>
        </p:nvSpPr>
        <p:spPr>
          <a:xfrm>
            <a:off x="9794761" y="2418570"/>
            <a:ext cx="1009965" cy="1356525"/>
          </a:xfrm>
          <a:prstGeom prst="rect">
            <a:avLst/>
          </a:prstGeom>
        </p:spPr>
        <p:txBody>
          <a:bodyPr lIns="0" tIns="0" rIns="0" bIns="0"/>
          <a:lstStyle>
            <a:lvl1pPr>
              <a:lnSpc>
                <a:spcPct val="100000"/>
              </a:lnSpc>
              <a:spcBef>
                <a:spcPts val="0"/>
              </a:spcBef>
              <a:defRPr sz="8815" b="0">
                <a:solidFill>
                  <a:schemeClr val="accent2"/>
                </a:solidFill>
                <a:latin typeface="+mn-lt"/>
                <a:ea typeface="Rostelecom Basis" panose="020B0503040504020204" pitchFamily="34" charset="-52"/>
              </a:defRPr>
            </a:lvl1pPr>
          </a:lstStyle>
          <a:p>
            <a:pPr lvl="0"/>
            <a:r>
              <a:rPr lang="ru-RU" dirty="0"/>
              <a:t>5</a:t>
            </a:r>
          </a:p>
        </p:txBody>
      </p:sp>
      <p:sp>
        <p:nvSpPr>
          <p:cNvPr id="67" name="Текст 4">
            <a:extLst>
              <a:ext uri="{FF2B5EF4-FFF2-40B4-BE49-F238E27FC236}">
                <a16:creationId xmlns:a16="http://schemas.microsoft.com/office/drawing/2014/main" id="{1E94E4C3-850B-48A1-967F-7670CA4CA086}"/>
              </a:ext>
            </a:extLst>
          </p:cNvPr>
          <p:cNvSpPr>
            <a:spLocks noGrp="1"/>
          </p:cNvSpPr>
          <p:nvPr>
            <p:ph type="body" sz="quarter" idx="68" hasCustomPrompt="1"/>
          </p:nvPr>
        </p:nvSpPr>
        <p:spPr>
          <a:xfrm>
            <a:off x="2908055" y="4083670"/>
            <a:ext cx="1766105"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8" name="Текст 4">
            <a:extLst>
              <a:ext uri="{FF2B5EF4-FFF2-40B4-BE49-F238E27FC236}">
                <a16:creationId xmlns:a16="http://schemas.microsoft.com/office/drawing/2014/main" id="{CD3E1660-D50E-4699-ADEA-AD25869CEA8F}"/>
              </a:ext>
            </a:extLst>
          </p:cNvPr>
          <p:cNvSpPr>
            <a:spLocks noGrp="1"/>
          </p:cNvSpPr>
          <p:nvPr>
            <p:ph type="body" sz="quarter" idx="70" hasCustomPrompt="1"/>
          </p:nvPr>
        </p:nvSpPr>
        <p:spPr>
          <a:xfrm>
            <a:off x="5212948" y="4083670"/>
            <a:ext cx="1766105"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9" name="Текст 4">
            <a:extLst>
              <a:ext uri="{FF2B5EF4-FFF2-40B4-BE49-F238E27FC236}">
                <a16:creationId xmlns:a16="http://schemas.microsoft.com/office/drawing/2014/main" id="{6948DA5B-719E-4C55-93D6-775E68E31A62}"/>
              </a:ext>
            </a:extLst>
          </p:cNvPr>
          <p:cNvSpPr>
            <a:spLocks noGrp="1"/>
          </p:cNvSpPr>
          <p:nvPr>
            <p:ph type="body" sz="quarter" idx="72" hasCustomPrompt="1"/>
          </p:nvPr>
        </p:nvSpPr>
        <p:spPr>
          <a:xfrm>
            <a:off x="7528000" y="4083670"/>
            <a:ext cx="1766105"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70" name="Текст 4">
            <a:extLst>
              <a:ext uri="{FF2B5EF4-FFF2-40B4-BE49-F238E27FC236}">
                <a16:creationId xmlns:a16="http://schemas.microsoft.com/office/drawing/2014/main" id="{06827B90-BF94-41AB-A6B5-87E53D5D771B}"/>
              </a:ext>
            </a:extLst>
          </p:cNvPr>
          <p:cNvSpPr>
            <a:spLocks noGrp="1"/>
          </p:cNvSpPr>
          <p:nvPr>
            <p:ph type="body" sz="quarter" idx="74" hasCustomPrompt="1"/>
          </p:nvPr>
        </p:nvSpPr>
        <p:spPr>
          <a:xfrm>
            <a:off x="9867549" y="4083670"/>
            <a:ext cx="1766105" cy="243656"/>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71" name="Текст 4">
            <a:extLst>
              <a:ext uri="{FF2B5EF4-FFF2-40B4-BE49-F238E27FC236}">
                <a16:creationId xmlns:a16="http://schemas.microsoft.com/office/drawing/2014/main" id="{2D2959AB-94F2-41D4-AC88-46CD68B908A5}"/>
              </a:ext>
            </a:extLst>
          </p:cNvPr>
          <p:cNvSpPr>
            <a:spLocks noGrp="1"/>
          </p:cNvSpPr>
          <p:nvPr>
            <p:ph type="body" sz="quarter" idx="19" hasCustomPrompt="1"/>
          </p:nvPr>
        </p:nvSpPr>
        <p:spPr>
          <a:xfrm>
            <a:off x="568177" y="4493323"/>
            <a:ext cx="1766105" cy="654025"/>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2" name="Текст 4">
            <a:extLst>
              <a:ext uri="{FF2B5EF4-FFF2-40B4-BE49-F238E27FC236}">
                <a16:creationId xmlns:a16="http://schemas.microsoft.com/office/drawing/2014/main" id="{D37DC7A6-3875-4EBD-BC25-FD4F40B8334B}"/>
              </a:ext>
            </a:extLst>
          </p:cNvPr>
          <p:cNvSpPr>
            <a:spLocks noGrp="1"/>
          </p:cNvSpPr>
          <p:nvPr>
            <p:ph type="body" sz="quarter" idx="75" hasCustomPrompt="1"/>
          </p:nvPr>
        </p:nvSpPr>
        <p:spPr>
          <a:xfrm>
            <a:off x="2908055" y="4493323"/>
            <a:ext cx="1766105" cy="654025"/>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3" name="Текст 4">
            <a:extLst>
              <a:ext uri="{FF2B5EF4-FFF2-40B4-BE49-F238E27FC236}">
                <a16:creationId xmlns:a16="http://schemas.microsoft.com/office/drawing/2014/main" id="{C52AC642-0488-4ECA-9671-9CF937657A5F}"/>
              </a:ext>
            </a:extLst>
          </p:cNvPr>
          <p:cNvSpPr>
            <a:spLocks noGrp="1"/>
          </p:cNvSpPr>
          <p:nvPr>
            <p:ph type="body" sz="quarter" idx="76" hasCustomPrompt="1"/>
          </p:nvPr>
        </p:nvSpPr>
        <p:spPr>
          <a:xfrm>
            <a:off x="5212948" y="4493323"/>
            <a:ext cx="1766105" cy="654025"/>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4" name="Текст 4">
            <a:extLst>
              <a:ext uri="{FF2B5EF4-FFF2-40B4-BE49-F238E27FC236}">
                <a16:creationId xmlns:a16="http://schemas.microsoft.com/office/drawing/2014/main" id="{063EAF25-2C93-4088-977E-DCFF3DF8FE94}"/>
              </a:ext>
            </a:extLst>
          </p:cNvPr>
          <p:cNvSpPr>
            <a:spLocks noGrp="1"/>
          </p:cNvSpPr>
          <p:nvPr>
            <p:ph type="body" sz="quarter" idx="77" hasCustomPrompt="1"/>
          </p:nvPr>
        </p:nvSpPr>
        <p:spPr>
          <a:xfrm>
            <a:off x="7511207" y="4493323"/>
            <a:ext cx="1766105" cy="654025"/>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
        <p:nvSpPr>
          <p:cNvPr id="75" name="Текст 4">
            <a:extLst>
              <a:ext uri="{FF2B5EF4-FFF2-40B4-BE49-F238E27FC236}">
                <a16:creationId xmlns:a16="http://schemas.microsoft.com/office/drawing/2014/main" id="{DD5B052A-35C0-44C0-B1AC-E9290857D62E}"/>
              </a:ext>
            </a:extLst>
          </p:cNvPr>
          <p:cNvSpPr>
            <a:spLocks noGrp="1"/>
          </p:cNvSpPr>
          <p:nvPr>
            <p:ph type="body" sz="quarter" idx="78" hasCustomPrompt="1"/>
          </p:nvPr>
        </p:nvSpPr>
        <p:spPr>
          <a:xfrm>
            <a:off x="9867549" y="4493323"/>
            <a:ext cx="1766105" cy="654025"/>
          </a:xfrm>
          <a:prstGeom prst="rect">
            <a:avLst/>
          </a:prstGeom>
        </p:spPr>
        <p:txBody>
          <a:bodyPr lIns="0" tIns="0" rIns="0" bIns="0"/>
          <a:lstStyle>
            <a:lvl1pPr>
              <a:lnSpc>
                <a:spcPts val="1675"/>
              </a:lnSpc>
              <a:spcBef>
                <a:spcPts val="0"/>
              </a:spcBef>
              <a:defRPr sz="1410" b="0">
                <a:solidFill>
                  <a:schemeClr val="tx1"/>
                </a:solidFill>
                <a:latin typeface="+mn-lt"/>
              </a:defRPr>
            </a:lvl1pPr>
          </a:lstStyle>
          <a:p>
            <a:r>
              <a:rPr lang="ru-RU" sz="1410" dirty="0"/>
              <a:t>Рекомендуемый объём текста </a:t>
            </a:r>
            <a:br>
              <a:rPr lang="ru-RU" sz="1410" dirty="0"/>
            </a:br>
            <a:r>
              <a:rPr lang="ru-RU" sz="1410" dirty="0"/>
              <a:t>для блока</a:t>
            </a:r>
          </a:p>
        </p:txBody>
      </p:sp>
    </p:spTree>
    <p:extLst>
      <p:ext uri="{BB962C8B-B14F-4D97-AF65-F5344CB8AC3E}">
        <p14:creationId xmlns:p14="http://schemas.microsoft.com/office/powerpoint/2010/main" val="3130646119"/>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карта">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5" y="419100"/>
            <a:ext cx="8079940"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лайд с картой</a:t>
            </a:r>
          </a:p>
        </p:txBody>
      </p:sp>
      <p:grpSp>
        <p:nvGrpSpPr>
          <p:cNvPr id="391" name="Рисунок 388">
            <a:extLst>
              <a:ext uri="{FF2B5EF4-FFF2-40B4-BE49-F238E27FC236}">
                <a16:creationId xmlns:a16="http://schemas.microsoft.com/office/drawing/2014/main" id="{1DA397FD-DC6E-439E-BB40-D0F80476817D}"/>
              </a:ext>
            </a:extLst>
          </p:cNvPr>
          <p:cNvGrpSpPr/>
          <p:nvPr/>
        </p:nvGrpSpPr>
        <p:grpSpPr>
          <a:xfrm>
            <a:off x="642323" y="315987"/>
            <a:ext cx="10976796" cy="5876471"/>
            <a:chOff x="468763" y="445203"/>
            <a:chExt cx="12889901" cy="6894322"/>
          </a:xfrm>
          <a:solidFill>
            <a:srgbClr val="E3E8EC"/>
          </a:solidFill>
        </p:grpSpPr>
        <p:sp>
          <p:nvSpPr>
            <p:cNvPr id="392" name="Полилиния: фигура 391">
              <a:extLst>
                <a:ext uri="{FF2B5EF4-FFF2-40B4-BE49-F238E27FC236}">
                  <a16:creationId xmlns:a16="http://schemas.microsoft.com/office/drawing/2014/main" id="{4256E17B-115A-4693-A3FB-EED063FDD081}"/>
                </a:ext>
              </a:extLst>
            </p:cNvPr>
            <p:cNvSpPr/>
            <p:nvPr/>
          </p:nvSpPr>
          <p:spPr>
            <a:xfrm>
              <a:off x="4765927" y="4857095"/>
              <a:ext cx="665906" cy="951495"/>
            </a:xfrm>
            <a:custGeom>
              <a:avLst/>
              <a:gdLst>
                <a:gd name="connsiteX0" fmla="*/ 636024 w 665906"/>
                <a:gd name="connsiteY0" fmla="*/ 205566 h 951495"/>
                <a:gd name="connsiteX1" fmla="*/ 637671 w 665906"/>
                <a:gd name="connsiteY1" fmla="*/ 238123 h 951495"/>
                <a:gd name="connsiteX2" fmla="*/ 644258 w 665906"/>
                <a:gd name="connsiteY2" fmla="*/ 271441 h 951495"/>
                <a:gd name="connsiteX3" fmla="*/ 625510 w 665906"/>
                <a:gd name="connsiteY3" fmla="*/ 305265 h 951495"/>
                <a:gd name="connsiteX4" fmla="*/ 621456 w 665906"/>
                <a:gd name="connsiteY4" fmla="*/ 347703 h 951495"/>
                <a:gd name="connsiteX5" fmla="*/ 647679 w 665906"/>
                <a:gd name="connsiteY5" fmla="*/ 419533 h 951495"/>
                <a:gd name="connsiteX6" fmla="*/ 647805 w 665906"/>
                <a:gd name="connsiteY6" fmla="*/ 459437 h 951495"/>
                <a:gd name="connsiteX7" fmla="*/ 627536 w 665906"/>
                <a:gd name="connsiteY7" fmla="*/ 486294 h 951495"/>
                <a:gd name="connsiteX8" fmla="*/ 603086 w 665906"/>
                <a:gd name="connsiteY8" fmla="*/ 511757 h 951495"/>
                <a:gd name="connsiteX9" fmla="*/ 608534 w 665906"/>
                <a:gd name="connsiteY9" fmla="*/ 553562 h 951495"/>
                <a:gd name="connsiteX10" fmla="*/ 584971 w 665906"/>
                <a:gd name="connsiteY10" fmla="*/ 582573 h 951495"/>
                <a:gd name="connsiteX11" fmla="*/ 553934 w 665906"/>
                <a:gd name="connsiteY11" fmla="*/ 573199 h 951495"/>
                <a:gd name="connsiteX12" fmla="*/ 506301 w 665906"/>
                <a:gd name="connsiteY12" fmla="*/ 571932 h 951495"/>
                <a:gd name="connsiteX13" fmla="*/ 482232 w 665906"/>
                <a:gd name="connsiteY13" fmla="*/ 607023 h 951495"/>
                <a:gd name="connsiteX14" fmla="*/ 451447 w 665906"/>
                <a:gd name="connsiteY14" fmla="*/ 623618 h 951495"/>
                <a:gd name="connsiteX15" fmla="*/ 457022 w 665906"/>
                <a:gd name="connsiteY15" fmla="*/ 639960 h 951495"/>
                <a:gd name="connsiteX16" fmla="*/ 453854 w 665906"/>
                <a:gd name="connsiteY16" fmla="*/ 654782 h 951495"/>
                <a:gd name="connsiteX17" fmla="*/ 437259 w 665906"/>
                <a:gd name="connsiteY17" fmla="*/ 694307 h 951495"/>
                <a:gd name="connsiteX18" fmla="*/ 447394 w 665906"/>
                <a:gd name="connsiteY18" fmla="*/ 731678 h 951495"/>
                <a:gd name="connsiteX19" fmla="*/ 463102 w 665906"/>
                <a:gd name="connsiteY19" fmla="*/ 770443 h 951495"/>
                <a:gd name="connsiteX20" fmla="*/ 464876 w 665906"/>
                <a:gd name="connsiteY20" fmla="*/ 789699 h 951495"/>
                <a:gd name="connsiteX21" fmla="*/ 438019 w 665906"/>
                <a:gd name="connsiteY21" fmla="*/ 812628 h 951495"/>
                <a:gd name="connsiteX22" fmla="*/ 431812 w 665906"/>
                <a:gd name="connsiteY22" fmla="*/ 821116 h 951495"/>
                <a:gd name="connsiteX23" fmla="*/ 431559 w 665906"/>
                <a:gd name="connsiteY23" fmla="*/ 847719 h 951495"/>
                <a:gd name="connsiteX24" fmla="*/ 430799 w 665906"/>
                <a:gd name="connsiteY24" fmla="*/ 873689 h 951495"/>
                <a:gd name="connsiteX25" fmla="*/ 434852 w 665906"/>
                <a:gd name="connsiteY25" fmla="*/ 905613 h 951495"/>
                <a:gd name="connsiteX26" fmla="*/ 410276 w 665906"/>
                <a:gd name="connsiteY26" fmla="*/ 920435 h 951495"/>
                <a:gd name="connsiteX27" fmla="*/ 395201 w 665906"/>
                <a:gd name="connsiteY27" fmla="*/ 931963 h 951495"/>
                <a:gd name="connsiteX28" fmla="*/ 380759 w 665906"/>
                <a:gd name="connsiteY28" fmla="*/ 930443 h 951495"/>
                <a:gd name="connsiteX29" fmla="*/ 360110 w 665906"/>
                <a:gd name="connsiteY29" fmla="*/ 936397 h 951495"/>
                <a:gd name="connsiteX30" fmla="*/ 334013 w 665906"/>
                <a:gd name="connsiteY30" fmla="*/ 930950 h 951495"/>
                <a:gd name="connsiteX31" fmla="*/ 321852 w 665906"/>
                <a:gd name="connsiteY31" fmla="*/ 940704 h 951495"/>
                <a:gd name="connsiteX32" fmla="*/ 305003 w 665906"/>
                <a:gd name="connsiteY32" fmla="*/ 929683 h 951495"/>
                <a:gd name="connsiteX33" fmla="*/ 288787 w 665906"/>
                <a:gd name="connsiteY33" fmla="*/ 918155 h 951495"/>
                <a:gd name="connsiteX34" fmla="*/ 260410 w 665906"/>
                <a:gd name="connsiteY34" fmla="*/ 950459 h 951495"/>
                <a:gd name="connsiteX35" fmla="*/ 231147 w 665906"/>
                <a:gd name="connsiteY35" fmla="*/ 925376 h 951495"/>
                <a:gd name="connsiteX36" fmla="*/ 217845 w 665906"/>
                <a:gd name="connsiteY36" fmla="*/ 904093 h 951495"/>
                <a:gd name="connsiteX37" fmla="*/ 197702 w 665906"/>
                <a:gd name="connsiteY37" fmla="*/ 911314 h 951495"/>
                <a:gd name="connsiteX38" fmla="*/ 164765 w 665906"/>
                <a:gd name="connsiteY38" fmla="*/ 900799 h 951495"/>
                <a:gd name="connsiteX39" fmla="*/ 191115 w 665906"/>
                <a:gd name="connsiteY39" fmla="*/ 869762 h 951495"/>
                <a:gd name="connsiteX40" fmla="*/ 230007 w 665906"/>
                <a:gd name="connsiteY40" fmla="*/ 843285 h 951495"/>
                <a:gd name="connsiteX41" fmla="*/ 189975 w 665906"/>
                <a:gd name="connsiteY41" fmla="*/ 826310 h 951495"/>
                <a:gd name="connsiteX42" fmla="*/ 170086 w 665906"/>
                <a:gd name="connsiteY42" fmla="*/ 820103 h 951495"/>
                <a:gd name="connsiteX43" fmla="*/ 152223 w 665906"/>
                <a:gd name="connsiteY43" fmla="*/ 795399 h 951495"/>
                <a:gd name="connsiteX44" fmla="*/ 135882 w 665906"/>
                <a:gd name="connsiteY44" fmla="*/ 784252 h 951495"/>
                <a:gd name="connsiteX45" fmla="*/ 107885 w 665906"/>
                <a:gd name="connsiteY45" fmla="*/ 796413 h 951495"/>
                <a:gd name="connsiteX46" fmla="*/ 121440 w 665906"/>
                <a:gd name="connsiteY46" fmla="*/ 764362 h 951495"/>
                <a:gd name="connsiteX47" fmla="*/ 114599 w 665906"/>
                <a:gd name="connsiteY47" fmla="*/ 729398 h 951495"/>
                <a:gd name="connsiteX48" fmla="*/ 102564 w 665906"/>
                <a:gd name="connsiteY48" fmla="*/ 723697 h 951495"/>
                <a:gd name="connsiteX49" fmla="*/ 101044 w 665906"/>
                <a:gd name="connsiteY49" fmla="*/ 737506 h 951495"/>
                <a:gd name="connsiteX50" fmla="*/ 75581 w 665906"/>
                <a:gd name="connsiteY50" fmla="*/ 746373 h 951495"/>
                <a:gd name="connsiteX51" fmla="*/ 44923 w 665906"/>
                <a:gd name="connsiteY51" fmla="*/ 728765 h 951495"/>
                <a:gd name="connsiteX52" fmla="*/ 7299 w 665906"/>
                <a:gd name="connsiteY52" fmla="*/ 721164 h 951495"/>
                <a:gd name="connsiteX53" fmla="*/ 23514 w 665906"/>
                <a:gd name="connsiteY53" fmla="*/ 659722 h 951495"/>
                <a:gd name="connsiteX54" fmla="*/ 50624 w 665906"/>
                <a:gd name="connsiteY54" fmla="*/ 633499 h 951495"/>
                <a:gd name="connsiteX55" fmla="*/ 41123 w 665906"/>
                <a:gd name="connsiteY55" fmla="*/ 590047 h 951495"/>
                <a:gd name="connsiteX56" fmla="*/ 52271 w 665906"/>
                <a:gd name="connsiteY56" fmla="*/ 530000 h 951495"/>
                <a:gd name="connsiteX57" fmla="*/ 23894 w 665906"/>
                <a:gd name="connsiteY57" fmla="*/ 506563 h 951495"/>
                <a:gd name="connsiteX58" fmla="*/ 30735 w 665906"/>
                <a:gd name="connsiteY58" fmla="*/ 496809 h 951495"/>
                <a:gd name="connsiteX59" fmla="*/ 61646 w 665906"/>
                <a:gd name="connsiteY59" fmla="*/ 474133 h 951495"/>
                <a:gd name="connsiteX60" fmla="*/ 69880 w 665906"/>
                <a:gd name="connsiteY60" fmla="*/ 435368 h 951495"/>
                <a:gd name="connsiteX61" fmla="*/ 83435 w 665906"/>
                <a:gd name="connsiteY61" fmla="*/ 422826 h 951495"/>
                <a:gd name="connsiteX62" fmla="*/ 84955 w 665906"/>
                <a:gd name="connsiteY62" fmla="*/ 407118 h 951495"/>
                <a:gd name="connsiteX63" fmla="*/ 104844 w 665906"/>
                <a:gd name="connsiteY63" fmla="*/ 401037 h 951495"/>
                <a:gd name="connsiteX64" fmla="*/ 113332 w 665906"/>
                <a:gd name="connsiteY64" fmla="*/ 392549 h 951495"/>
                <a:gd name="connsiteX65" fmla="*/ 143102 w 665906"/>
                <a:gd name="connsiteY65" fmla="*/ 380388 h 951495"/>
                <a:gd name="connsiteX66" fmla="*/ 141709 w 665906"/>
                <a:gd name="connsiteY66" fmla="*/ 346183 h 951495"/>
                <a:gd name="connsiteX67" fmla="*/ 155264 w 665906"/>
                <a:gd name="connsiteY67" fmla="*/ 334655 h 951495"/>
                <a:gd name="connsiteX68" fmla="*/ 170466 w 665906"/>
                <a:gd name="connsiteY68" fmla="*/ 321607 h 951495"/>
                <a:gd name="connsiteX69" fmla="*/ 178447 w 665906"/>
                <a:gd name="connsiteY69" fmla="*/ 314639 h 951495"/>
                <a:gd name="connsiteX70" fmla="*/ 193902 w 665906"/>
                <a:gd name="connsiteY70" fmla="*/ 322241 h 951495"/>
                <a:gd name="connsiteX71" fmla="*/ 227473 w 665906"/>
                <a:gd name="connsiteY71" fmla="*/ 310079 h 951495"/>
                <a:gd name="connsiteX72" fmla="*/ 224306 w 665906"/>
                <a:gd name="connsiteY72" fmla="*/ 190364 h 951495"/>
                <a:gd name="connsiteX73" fmla="*/ 213285 w 665906"/>
                <a:gd name="connsiteY73" fmla="*/ 117902 h 951495"/>
                <a:gd name="connsiteX74" fmla="*/ 216198 w 665906"/>
                <a:gd name="connsiteY74" fmla="*/ 65075 h 951495"/>
                <a:gd name="connsiteX75" fmla="*/ 237354 w 665906"/>
                <a:gd name="connsiteY75" fmla="*/ 49746 h 951495"/>
                <a:gd name="connsiteX76" fmla="*/ 256863 w 665906"/>
                <a:gd name="connsiteY76" fmla="*/ 26944 h 951495"/>
                <a:gd name="connsiteX77" fmla="*/ 292208 w 665906"/>
                <a:gd name="connsiteY77" fmla="*/ 467 h 951495"/>
                <a:gd name="connsiteX78" fmla="*/ 310450 w 665906"/>
                <a:gd name="connsiteY78" fmla="*/ 35811 h 951495"/>
                <a:gd name="connsiteX79" fmla="*/ 284860 w 665906"/>
                <a:gd name="connsiteY79" fmla="*/ 75970 h 951495"/>
                <a:gd name="connsiteX80" fmla="*/ 286507 w 665906"/>
                <a:gd name="connsiteY80" fmla="*/ 106247 h 951495"/>
                <a:gd name="connsiteX81" fmla="*/ 330846 w 665906"/>
                <a:gd name="connsiteY81" fmla="*/ 99532 h 951495"/>
                <a:gd name="connsiteX82" fmla="*/ 362643 w 665906"/>
                <a:gd name="connsiteY82" fmla="*/ 117902 h 951495"/>
                <a:gd name="connsiteX83" fmla="*/ 403562 w 665906"/>
                <a:gd name="connsiteY83" fmla="*/ 147292 h 951495"/>
                <a:gd name="connsiteX84" fmla="*/ 446760 w 665906"/>
                <a:gd name="connsiteY84" fmla="*/ 151599 h 951495"/>
                <a:gd name="connsiteX85" fmla="*/ 466396 w 665906"/>
                <a:gd name="connsiteY85" fmla="*/ 137791 h 951495"/>
                <a:gd name="connsiteX86" fmla="*/ 492746 w 665906"/>
                <a:gd name="connsiteY86" fmla="*/ 139184 h 951495"/>
                <a:gd name="connsiteX87" fmla="*/ 536072 w 665906"/>
                <a:gd name="connsiteY87" fmla="*/ 166168 h 951495"/>
                <a:gd name="connsiteX88" fmla="*/ 577497 w 665906"/>
                <a:gd name="connsiteY88" fmla="*/ 164267 h 951495"/>
                <a:gd name="connsiteX89" fmla="*/ 623483 w 665906"/>
                <a:gd name="connsiteY89" fmla="*/ 154513 h 951495"/>
                <a:gd name="connsiteX90" fmla="*/ 654393 w 665906"/>
                <a:gd name="connsiteY90" fmla="*/ 136144 h 951495"/>
                <a:gd name="connsiteX91" fmla="*/ 662881 w 665906"/>
                <a:gd name="connsiteY91" fmla="*/ 136650 h 951495"/>
                <a:gd name="connsiteX92" fmla="*/ 664528 w 665906"/>
                <a:gd name="connsiteY92" fmla="*/ 154893 h 951495"/>
                <a:gd name="connsiteX93" fmla="*/ 636024 w 665906"/>
                <a:gd name="connsiteY93" fmla="*/ 205566 h 9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65906" h="951495">
                  <a:moveTo>
                    <a:pt x="636024" y="205566"/>
                  </a:moveTo>
                  <a:cubicBezTo>
                    <a:pt x="628803" y="218234"/>
                    <a:pt x="630070" y="226342"/>
                    <a:pt x="637671" y="238123"/>
                  </a:cubicBezTo>
                  <a:cubicBezTo>
                    <a:pt x="644512" y="248638"/>
                    <a:pt x="648819" y="259026"/>
                    <a:pt x="644258" y="271441"/>
                  </a:cubicBezTo>
                  <a:cubicBezTo>
                    <a:pt x="639698" y="283602"/>
                    <a:pt x="630324" y="293230"/>
                    <a:pt x="625510" y="305265"/>
                  </a:cubicBezTo>
                  <a:cubicBezTo>
                    <a:pt x="620316" y="318567"/>
                    <a:pt x="619555" y="333642"/>
                    <a:pt x="621456" y="347703"/>
                  </a:cubicBezTo>
                  <a:cubicBezTo>
                    <a:pt x="625003" y="374054"/>
                    <a:pt x="645145" y="392929"/>
                    <a:pt x="647679" y="419533"/>
                  </a:cubicBezTo>
                  <a:cubicBezTo>
                    <a:pt x="648946" y="432454"/>
                    <a:pt x="649706" y="446642"/>
                    <a:pt x="647805" y="459437"/>
                  </a:cubicBezTo>
                  <a:cubicBezTo>
                    <a:pt x="645905" y="472233"/>
                    <a:pt x="638051" y="479580"/>
                    <a:pt x="627536" y="486294"/>
                  </a:cubicBezTo>
                  <a:cubicBezTo>
                    <a:pt x="617782" y="492628"/>
                    <a:pt x="604480" y="498709"/>
                    <a:pt x="603086" y="511757"/>
                  </a:cubicBezTo>
                  <a:cubicBezTo>
                    <a:pt x="601566" y="525693"/>
                    <a:pt x="609674" y="539247"/>
                    <a:pt x="608534" y="553562"/>
                  </a:cubicBezTo>
                  <a:cubicBezTo>
                    <a:pt x="607520" y="567244"/>
                    <a:pt x="598906" y="579786"/>
                    <a:pt x="584971" y="582573"/>
                  </a:cubicBezTo>
                  <a:cubicBezTo>
                    <a:pt x="573190" y="584980"/>
                    <a:pt x="563562" y="578773"/>
                    <a:pt x="553934" y="573199"/>
                  </a:cubicBezTo>
                  <a:cubicBezTo>
                    <a:pt x="539112" y="564584"/>
                    <a:pt x="521123" y="562304"/>
                    <a:pt x="506301" y="571932"/>
                  </a:cubicBezTo>
                  <a:cubicBezTo>
                    <a:pt x="492746" y="580546"/>
                    <a:pt x="496293" y="598028"/>
                    <a:pt x="482232" y="607023"/>
                  </a:cubicBezTo>
                  <a:cubicBezTo>
                    <a:pt x="473871" y="612343"/>
                    <a:pt x="453981" y="612090"/>
                    <a:pt x="451447" y="623618"/>
                  </a:cubicBezTo>
                  <a:cubicBezTo>
                    <a:pt x="450181" y="629699"/>
                    <a:pt x="454995" y="634640"/>
                    <a:pt x="457022" y="639960"/>
                  </a:cubicBezTo>
                  <a:cubicBezTo>
                    <a:pt x="459429" y="646041"/>
                    <a:pt x="457402" y="649588"/>
                    <a:pt x="453854" y="654782"/>
                  </a:cubicBezTo>
                  <a:cubicBezTo>
                    <a:pt x="445874" y="666563"/>
                    <a:pt x="440426" y="680499"/>
                    <a:pt x="437259" y="694307"/>
                  </a:cubicBezTo>
                  <a:cubicBezTo>
                    <a:pt x="434346" y="707102"/>
                    <a:pt x="441060" y="720657"/>
                    <a:pt x="447394" y="731678"/>
                  </a:cubicBezTo>
                  <a:cubicBezTo>
                    <a:pt x="454995" y="744980"/>
                    <a:pt x="460062" y="755241"/>
                    <a:pt x="463102" y="770443"/>
                  </a:cubicBezTo>
                  <a:cubicBezTo>
                    <a:pt x="464369" y="776524"/>
                    <a:pt x="466650" y="783492"/>
                    <a:pt x="464876" y="789699"/>
                  </a:cubicBezTo>
                  <a:cubicBezTo>
                    <a:pt x="461456" y="801733"/>
                    <a:pt x="447647" y="807054"/>
                    <a:pt x="438019" y="812628"/>
                  </a:cubicBezTo>
                  <a:cubicBezTo>
                    <a:pt x="434599" y="814655"/>
                    <a:pt x="432699" y="817316"/>
                    <a:pt x="431812" y="821116"/>
                  </a:cubicBezTo>
                  <a:cubicBezTo>
                    <a:pt x="429532" y="829984"/>
                    <a:pt x="430799" y="838852"/>
                    <a:pt x="431559" y="847719"/>
                  </a:cubicBezTo>
                  <a:cubicBezTo>
                    <a:pt x="432319" y="856334"/>
                    <a:pt x="429912" y="864948"/>
                    <a:pt x="430799" y="873689"/>
                  </a:cubicBezTo>
                  <a:cubicBezTo>
                    <a:pt x="431812" y="884331"/>
                    <a:pt x="433332" y="894972"/>
                    <a:pt x="434852" y="905613"/>
                  </a:cubicBezTo>
                  <a:cubicBezTo>
                    <a:pt x="425225" y="906627"/>
                    <a:pt x="417370" y="912454"/>
                    <a:pt x="410276" y="920435"/>
                  </a:cubicBezTo>
                  <a:cubicBezTo>
                    <a:pt x="405208" y="926263"/>
                    <a:pt x="403181" y="931203"/>
                    <a:pt x="395201" y="931963"/>
                  </a:cubicBezTo>
                  <a:cubicBezTo>
                    <a:pt x="390640" y="932343"/>
                    <a:pt x="385193" y="931710"/>
                    <a:pt x="380759" y="930443"/>
                  </a:cubicBezTo>
                  <a:cubicBezTo>
                    <a:pt x="370244" y="927529"/>
                    <a:pt x="368851" y="932597"/>
                    <a:pt x="360110" y="936397"/>
                  </a:cubicBezTo>
                  <a:cubicBezTo>
                    <a:pt x="351115" y="940324"/>
                    <a:pt x="343007" y="931077"/>
                    <a:pt x="334013" y="930950"/>
                  </a:cubicBezTo>
                  <a:cubicBezTo>
                    <a:pt x="325525" y="930697"/>
                    <a:pt x="327932" y="938044"/>
                    <a:pt x="321852" y="940704"/>
                  </a:cubicBezTo>
                  <a:cubicBezTo>
                    <a:pt x="314884" y="943871"/>
                    <a:pt x="308043" y="934497"/>
                    <a:pt x="305003" y="929683"/>
                  </a:cubicBezTo>
                  <a:cubicBezTo>
                    <a:pt x="300569" y="922842"/>
                    <a:pt x="297782" y="918662"/>
                    <a:pt x="288787" y="918155"/>
                  </a:cubicBezTo>
                  <a:cubicBezTo>
                    <a:pt x="264338" y="916635"/>
                    <a:pt x="276753" y="944758"/>
                    <a:pt x="260410" y="950459"/>
                  </a:cubicBezTo>
                  <a:cubicBezTo>
                    <a:pt x="243942" y="956159"/>
                    <a:pt x="234694" y="937031"/>
                    <a:pt x="231147" y="925376"/>
                  </a:cubicBezTo>
                  <a:cubicBezTo>
                    <a:pt x="229120" y="918662"/>
                    <a:pt x="225446" y="906753"/>
                    <a:pt x="217845" y="904093"/>
                  </a:cubicBezTo>
                  <a:cubicBezTo>
                    <a:pt x="211004" y="901813"/>
                    <a:pt x="203530" y="908400"/>
                    <a:pt x="197702" y="911314"/>
                  </a:cubicBezTo>
                  <a:cubicBezTo>
                    <a:pt x="186808" y="916761"/>
                    <a:pt x="164258" y="918915"/>
                    <a:pt x="164765" y="900799"/>
                  </a:cubicBezTo>
                  <a:cubicBezTo>
                    <a:pt x="165145" y="886484"/>
                    <a:pt x="181361" y="877617"/>
                    <a:pt x="191115" y="869762"/>
                  </a:cubicBezTo>
                  <a:cubicBezTo>
                    <a:pt x="202136" y="860894"/>
                    <a:pt x="234947" y="864061"/>
                    <a:pt x="230007" y="843285"/>
                  </a:cubicBezTo>
                  <a:cubicBezTo>
                    <a:pt x="225320" y="823903"/>
                    <a:pt x="204163" y="829477"/>
                    <a:pt x="189975" y="826310"/>
                  </a:cubicBezTo>
                  <a:cubicBezTo>
                    <a:pt x="183894" y="824917"/>
                    <a:pt x="175660" y="823016"/>
                    <a:pt x="170086" y="820103"/>
                  </a:cubicBezTo>
                  <a:cubicBezTo>
                    <a:pt x="161091" y="815289"/>
                    <a:pt x="155897" y="804267"/>
                    <a:pt x="152223" y="795399"/>
                  </a:cubicBezTo>
                  <a:cubicBezTo>
                    <a:pt x="149183" y="787925"/>
                    <a:pt x="145509" y="777537"/>
                    <a:pt x="135882" y="784252"/>
                  </a:cubicBezTo>
                  <a:cubicBezTo>
                    <a:pt x="129294" y="788812"/>
                    <a:pt x="118146" y="807941"/>
                    <a:pt x="107885" y="796413"/>
                  </a:cubicBezTo>
                  <a:cubicBezTo>
                    <a:pt x="100410" y="788179"/>
                    <a:pt x="119666" y="773230"/>
                    <a:pt x="121440" y="764362"/>
                  </a:cubicBezTo>
                  <a:cubicBezTo>
                    <a:pt x="123467" y="754481"/>
                    <a:pt x="120553" y="737632"/>
                    <a:pt x="114599" y="729398"/>
                  </a:cubicBezTo>
                  <a:cubicBezTo>
                    <a:pt x="112319" y="726104"/>
                    <a:pt x="106871" y="720784"/>
                    <a:pt x="102564" y="723697"/>
                  </a:cubicBezTo>
                  <a:cubicBezTo>
                    <a:pt x="98510" y="726484"/>
                    <a:pt x="101044" y="733705"/>
                    <a:pt x="101044" y="737506"/>
                  </a:cubicBezTo>
                  <a:cubicBezTo>
                    <a:pt x="100917" y="751314"/>
                    <a:pt x="85842" y="750554"/>
                    <a:pt x="75581" y="746373"/>
                  </a:cubicBezTo>
                  <a:cubicBezTo>
                    <a:pt x="64179" y="741686"/>
                    <a:pt x="57465" y="731552"/>
                    <a:pt x="44923" y="728765"/>
                  </a:cubicBezTo>
                  <a:cubicBezTo>
                    <a:pt x="32889" y="726104"/>
                    <a:pt x="18320" y="727118"/>
                    <a:pt x="7299" y="721164"/>
                  </a:cubicBezTo>
                  <a:cubicBezTo>
                    <a:pt x="-12590" y="710269"/>
                    <a:pt x="13380" y="669097"/>
                    <a:pt x="23514" y="659722"/>
                  </a:cubicBezTo>
                  <a:cubicBezTo>
                    <a:pt x="33395" y="650475"/>
                    <a:pt x="49231" y="649081"/>
                    <a:pt x="50624" y="633499"/>
                  </a:cubicBezTo>
                  <a:cubicBezTo>
                    <a:pt x="52018" y="618424"/>
                    <a:pt x="44923" y="604109"/>
                    <a:pt x="41123" y="590047"/>
                  </a:cubicBezTo>
                  <a:cubicBezTo>
                    <a:pt x="35042" y="567244"/>
                    <a:pt x="52651" y="551916"/>
                    <a:pt x="52271" y="530000"/>
                  </a:cubicBezTo>
                  <a:cubicBezTo>
                    <a:pt x="52018" y="512391"/>
                    <a:pt x="38843" y="507830"/>
                    <a:pt x="23894" y="506563"/>
                  </a:cubicBezTo>
                  <a:cubicBezTo>
                    <a:pt x="25795" y="503396"/>
                    <a:pt x="27822" y="500102"/>
                    <a:pt x="30735" y="496809"/>
                  </a:cubicBezTo>
                  <a:cubicBezTo>
                    <a:pt x="39603" y="487308"/>
                    <a:pt x="52271" y="483001"/>
                    <a:pt x="61646" y="474133"/>
                  </a:cubicBezTo>
                  <a:cubicBezTo>
                    <a:pt x="72667" y="463745"/>
                    <a:pt x="69753" y="449049"/>
                    <a:pt x="69880" y="435368"/>
                  </a:cubicBezTo>
                  <a:cubicBezTo>
                    <a:pt x="77734" y="432328"/>
                    <a:pt x="84829" y="433214"/>
                    <a:pt x="83435" y="422826"/>
                  </a:cubicBezTo>
                  <a:cubicBezTo>
                    <a:pt x="82802" y="418139"/>
                    <a:pt x="80901" y="410918"/>
                    <a:pt x="84955" y="407118"/>
                  </a:cubicBezTo>
                  <a:cubicBezTo>
                    <a:pt x="89642" y="402684"/>
                    <a:pt x="99143" y="404584"/>
                    <a:pt x="104844" y="401037"/>
                  </a:cubicBezTo>
                  <a:cubicBezTo>
                    <a:pt x="108265" y="398756"/>
                    <a:pt x="110165" y="395083"/>
                    <a:pt x="113332" y="392549"/>
                  </a:cubicBezTo>
                  <a:cubicBezTo>
                    <a:pt x="121567" y="385455"/>
                    <a:pt x="136388" y="389129"/>
                    <a:pt x="143102" y="380388"/>
                  </a:cubicBezTo>
                  <a:cubicBezTo>
                    <a:pt x="150957" y="370126"/>
                    <a:pt x="137275" y="357078"/>
                    <a:pt x="141709" y="346183"/>
                  </a:cubicBezTo>
                  <a:cubicBezTo>
                    <a:pt x="143989" y="340483"/>
                    <a:pt x="150577" y="337696"/>
                    <a:pt x="155264" y="334655"/>
                  </a:cubicBezTo>
                  <a:cubicBezTo>
                    <a:pt x="160965" y="330982"/>
                    <a:pt x="166159" y="326928"/>
                    <a:pt x="170466" y="321607"/>
                  </a:cubicBezTo>
                  <a:cubicBezTo>
                    <a:pt x="172746" y="318820"/>
                    <a:pt x="174393" y="314766"/>
                    <a:pt x="178447" y="314639"/>
                  </a:cubicBezTo>
                  <a:cubicBezTo>
                    <a:pt x="183134" y="314386"/>
                    <a:pt x="189722" y="320340"/>
                    <a:pt x="193902" y="322241"/>
                  </a:cubicBezTo>
                  <a:cubicBezTo>
                    <a:pt x="208977" y="329461"/>
                    <a:pt x="222026" y="326801"/>
                    <a:pt x="227473" y="310079"/>
                  </a:cubicBezTo>
                  <a:cubicBezTo>
                    <a:pt x="240395" y="269921"/>
                    <a:pt x="229500" y="230776"/>
                    <a:pt x="224306" y="190364"/>
                  </a:cubicBezTo>
                  <a:cubicBezTo>
                    <a:pt x="221139" y="165914"/>
                    <a:pt x="219112" y="141971"/>
                    <a:pt x="213285" y="117902"/>
                  </a:cubicBezTo>
                  <a:cubicBezTo>
                    <a:pt x="209231" y="100926"/>
                    <a:pt x="200616" y="78503"/>
                    <a:pt x="216198" y="65075"/>
                  </a:cubicBezTo>
                  <a:cubicBezTo>
                    <a:pt x="222786" y="59374"/>
                    <a:pt x="230767" y="55447"/>
                    <a:pt x="237354" y="49746"/>
                  </a:cubicBezTo>
                  <a:cubicBezTo>
                    <a:pt x="245082" y="43159"/>
                    <a:pt x="251162" y="35178"/>
                    <a:pt x="256863" y="26944"/>
                  </a:cubicBezTo>
                  <a:cubicBezTo>
                    <a:pt x="264718" y="15669"/>
                    <a:pt x="275613" y="-3207"/>
                    <a:pt x="292208" y="467"/>
                  </a:cubicBezTo>
                  <a:cubicBezTo>
                    <a:pt x="307283" y="3761"/>
                    <a:pt x="311970" y="22510"/>
                    <a:pt x="310450" y="35811"/>
                  </a:cubicBezTo>
                  <a:cubicBezTo>
                    <a:pt x="308550" y="53800"/>
                    <a:pt x="296641" y="63935"/>
                    <a:pt x="284860" y="75970"/>
                  </a:cubicBezTo>
                  <a:cubicBezTo>
                    <a:pt x="275739" y="85471"/>
                    <a:pt x="271939" y="99532"/>
                    <a:pt x="286507" y="106247"/>
                  </a:cubicBezTo>
                  <a:cubicBezTo>
                    <a:pt x="301709" y="113214"/>
                    <a:pt x="316277" y="102573"/>
                    <a:pt x="330846" y="99532"/>
                  </a:cubicBezTo>
                  <a:cubicBezTo>
                    <a:pt x="345794" y="96492"/>
                    <a:pt x="353902" y="107894"/>
                    <a:pt x="362643" y="117902"/>
                  </a:cubicBezTo>
                  <a:cubicBezTo>
                    <a:pt x="374045" y="131077"/>
                    <a:pt x="387726" y="140324"/>
                    <a:pt x="403562" y="147292"/>
                  </a:cubicBezTo>
                  <a:cubicBezTo>
                    <a:pt x="416483" y="152992"/>
                    <a:pt x="433459" y="159960"/>
                    <a:pt x="446760" y="151599"/>
                  </a:cubicBezTo>
                  <a:cubicBezTo>
                    <a:pt x="453348" y="147418"/>
                    <a:pt x="458922" y="140451"/>
                    <a:pt x="466396" y="137791"/>
                  </a:cubicBezTo>
                  <a:cubicBezTo>
                    <a:pt x="474631" y="134877"/>
                    <a:pt x="484385" y="137664"/>
                    <a:pt x="492746" y="139184"/>
                  </a:cubicBezTo>
                  <a:cubicBezTo>
                    <a:pt x="510228" y="142478"/>
                    <a:pt x="518843" y="160847"/>
                    <a:pt x="536072" y="166168"/>
                  </a:cubicBezTo>
                  <a:cubicBezTo>
                    <a:pt x="549373" y="170221"/>
                    <a:pt x="564195" y="166294"/>
                    <a:pt x="577497" y="164267"/>
                  </a:cubicBezTo>
                  <a:cubicBezTo>
                    <a:pt x="592825" y="161860"/>
                    <a:pt x="609041" y="160467"/>
                    <a:pt x="623483" y="154513"/>
                  </a:cubicBezTo>
                  <a:cubicBezTo>
                    <a:pt x="634631" y="149952"/>
                    <a:pt x="643245" y="140071"/>
                    <a:pt x="654393" y="136144"/>
                  </a:cubicBezTo>
                  <a:cubicBezTo>
                    <a:pt x="658447" y="134750"/>
                    <a:pt x="661107" y="135130"/>
                    <a:pt x="662881" y="136650"/>
                  </a:cubicBezTo>
                  <a:cubicBezTo>
                    <a:pt x="666935" y="139944"/>
                    <a:pt x="666301" y="148812"/>
                    <a:pt x="664528" y="154893"/>
                  </a:cubicBezTo>
                  <a:cubicBezTo>
                    <a:pt x="658827" y="173515"/>
                    <a:pt x="645525" y="188717"/>
                    <a:pt x="636024" y="2055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3" name="Полилиния: фигура 392">
              <a:extLst>
                <a:ext uri="{FF2B5EF4-FFF2-40B4-BE49-F238E27FC236}">
                  <a16:creationId xmlns:a16="http://schemas.microsoft.com/office/drawing/2014/main" id="{21FED34D-F433-43DD-81A4-A68A67AC498A}"/>
                </a:ext>
              </a:extLst>
            </p:cNvPr>
            <p:cNvSpPr/>
            <p:nvPr/>
          </p:nvSpPr>
          <p:spPr>
            <a:xfrm>
              <a:off x="4400572" y="4630599"/>
              <a:ext cx="1030015" cy="732806"/>
            </a:xfrm>
            <a:custGeom>
              <a:avLst/>
              <a:gdLst>
                <a:gd name="connsiteX0" fmla="*/ 1029503 w 1030015"/>
                <a:gd name="connsiteY0" fmla="*/ 360107 h 732806"/>
                <a:gd name="connsiteX1" fmla="*/ 1027983 w 1030015"/>
                <a:gd name="connsiteY1" fmla="*/ 362767 h 732806"/>
                <a:gd name="connsiteX2" fmla="*/ 1027983 w 1030015"/>
                <a:gd name="connsiteY2" fmla="*/ 362894 h 732806"/>
                <a:gd name="connsiteX3" fmla="*/ 1019495 w 1030015"/>
                <a:gd name="connsiteY3" fmla="*/ 362387 h 732806"/>
                <a:gd name="connsiteX4" fmla="*/ 988585 w 1030015"/>
                <a:gd name="connsiteY4" fmla="*/ 380756 h 732806"/>
                <a:gd name="connsiteX5" fmla="*/ 942599 w 1030015"/>
                <a:gd name="connsiteY5" fmla="*/ 390510 h 732806"/>
                <a:gd name="connsiteX6" fmla="*/ 901173 w 1030015"/>
                <a:gd name="connsiteY6" fmla="*/ 392411 h 732806"/>
                <a:gd name="connsiteX7" fmla="*/ 857848 w 1030015"/>
                <a:gd name="connsiteY7" fmla="*/ 365427 h 732806"/>
                <a:gd name="connsiteX8" fmla="*/ 831498 w 1030015"/>
                <a:gd name="connsiteY8" fmla="*/ 364034 h 732806"/>
                <a:gd name="connsiteX9" fmla="*/ 811862 w 1030015"/>
                <a:gd name="connsiteY9" fmla="*/ 377842 h 732806"/>
                <a:gd name="connsiteX10" fmla="*/ 768663 w 1030015"/>
                <a:gd name="connsiteY10" fmla="*/ 373535 h 732806"/>
                <a:gd name="connsiteX11" fmla="*/ 727745 w 1030015"/>
                <a:gd name="connsiteY11" fmla="*/ 344144 h 732806"/>
                <a:gd name="connsiteX12" fmla="*/ 695948 w 1030015"/>
                <a:gd name="connsiteY12" fmla="*/ 325776 h 732806"/>
                <a:gd name="connsiteX13" fmla="*/ 651609 w 1030015"/>
                <a:gd name="connsiteY13" fmla="*/ 332490 h 732806"/>
                <a:gd name="connsiteX14" fmla="*/ 649962 w 1030015"/>
                <a:gd name="connsiteY14" fmla="*/ 302213 h 732806"/>
                <a:gd name="connsiteX15" fmla="*/ 675552 w 1030015"/>
                <a:gd name="connsiteY15" fmla="*/ 262054 h 732806"/>
                <a:gd name="connsiteX16" fmla="*/ 657309 w 1030015"/>
                <a:gd name="connsiteY16" fmla="*/ 226710 h 732806"/>
                <a:gd name="connsiteX17" fmla="*/ 621965 w 1030015"/>
                <a:gd name="connsiteY17" fmla="*/ 253186 h 732806"/>
                <a:gd name="connsiteX18" fmla="*/ 602456 w 1030015"/>
                <a:gd name="connsiteY18" fmla="*/ 275990 h 732806"/>
                <a:gd name="connsiteX19" fmla="*/ 581300 w 1030015"/>
                <a:gd name="connsiteY19" fmla="*/ 291318 h 732806"/>
                <a:gd name="connsiteX20" fmla="*/ 578387 w 1030015"/>
                <a:gd name="connsiteY20" fmla="*/ 344144 h 732806"/>
                <a:gd name="connsiteX21" fmla="*/ 589408 w 1030015"/>
                <a:gd name="connsiteY21" fmla="*/ 416607 h 732806"/>
                <a:gd name="connsiteX22" fmla="*/ 592575 w 1030015"/>
                <a:gd name="connsiteY22" fmla="*/ 536322 h 732806"/>
                <a:gd name="connsiteX23" fmla="*/ 559004 w 1030015"/>
                <a:gd name="connsiteY23" fmla="*/ 548483 h 732806"/>
                <a:gd name="connsiteX24" fmla="*/ 543549 w 1030015"/>
                <a:gd name="connsiteY24" fmla="*/ 540882 h 732806"/>
                <a:gd name="connsiteX25" fmla="*/ 535568 w 1030015"/>
                <a:gd name="connsiteY25" fmla="*/ 547850 h 732806"/>
                <a:gd name="connsiteX26" fmla="*/ 520366 w 1030015"/>
                <a:gd name="connsiteY26" fmla="*/ 560898 h 732806"/>
                <a:gd name="connsiteX27" fmla="*/ 506811 w 1030015"/>
                <a:gd name="connsiteY27" fmla="*/ 572427 h 732806"/>
                <a:gd name="connsiteX28" fmla="*/ 508204 w 1030015"/>
                <a:gd name="connsiteY28" fmla="*/ 606631 h 732806"/>
                <a:gd name="connsiteX29" fmla="*/ 478434 w 1030015"/>
                <a:gd name="connsiteY29" fmla="*/ 618792 h 732806"/>
                <a:gd name="connsiteX30" fmla="*/ 469946 w 1030015"/>
                <a:gd name="connsiteY30" fmla="*/ 627280 h 732806"/>
                <a:gd name="connsiteX31" fmla="*/ 450057 w 1030015"/>
                <a:gd name="connsiteY31" fmla="*/ 633361 h 732806"/>
                <a:gd name="connsiteX32" fmla="*/ 448537 w 1030015"/>
                <a:gd name="connsiteY32" fmla="*/ 649069 h 732806"/>
                <a:gd name="connsiteX33" fmla="*/ 434982 w 1030015"/>
                <a:gd name="connsiteY33" fmla="*/ 661611 h 732806"/>
                <a:gd name="connsiteX34" fmla="*/ 426748 w 1030015"/>
                <a:gd name="connsiteY34" fmla="*/ 700376 h 732806"/>
                <a:gd name="connsiteX35" fmla="*/ 395837 w 1030015"/>
                <a:gd name="connsiteY35" fmla="*/ 723052 h 732806"/>
                <a:gd name="connsiteX36" fmla="*/ 388996 w 1030015"/>
                <a:gd name="connsiteY36" fmla="*/ 732807 h 732806"/>
                <a:gd name="connsiteX37" fmla="*/ 358846 w 1030015"/>
                <a:gd name="connsiteY37" fmla="*/ 731920 h 732806"/>
                <a:gd name="connsiteX38" fmla="*/ 329329 w 1030015"/>
                <a:gd name="connsiteY38" fmla="*/ 722039 h 732806"/>
                <a:gd name="connsiteX39" fmla="*/ 308046 w 1030015"/>
                <a:gd name="connsiteY39" fmla="*/ 691508 h 732806"/>
                <a:gd name="connsiteX40" fmla="*/ 281063 w 1030015"/>
                <a:gd name="connsiteY40" fmla="*/ 672632 h 732806"/>
                <a:gd name="connsiteX41" fmla="*/ 267254 w 1030015"/>
                <a:gd name="connsiteY41" fmla="*/ 674026 h 732806"/>
                <a:gd name="connsiteX42" fmla="*/ 247238 w 1030015"/>
                <a:gd name="connsiteY42" fmla="*/ 667058 h 732806"/>
                <a:gd name="connsiteX43" fmla="*/ 248252 w 1030015"/>
                <a:gd name="connsiteY43" fmla="*/ 637288 h 732806"/>
                <a:gd name="connsiteX44" fmla="*/ 244831 w 1030015"/>
                <a:gd name="connsiteY44" fmla="*/ 617906 h 732806"/>
                <a:gd name="connsiteX45" fmla="*/ 227349 w 1030015"/>
                <a:gd name="connsiteY45" fmla="*/ 593836 h 732806"/>
                <a:gd name="connsiteX46" fmla="*/ 221522 w 1030015"/>
                <a:gd name="connsiteY46" fmla="*/ 560518 h 732806"/>
                <a:gd name="connsiteX47" fmla="*/ 187064 w 1030015"/>
                <a:gd name="connsiteY47" fmla="*/ 553677 h 732806"/>
                <a:gd name="connsiteX48" fmla="*/ 159321 w 1030015"/>
                <a:gd name="connsiteY48" fmla="*/ 533535 h 732806"/>
                <a:gd name="connsiteX49" fmla="*/ 149946 w 1030015"/>
                <a:gd name="connsiteY49" fmla="*/ 499077 h 732806"/>
                <a:gd name="connsiteX50" fmla="*/ 124990 w 1030015"/>
                <a:gd name="connsiteY50" fmla="*/ 437763 h 732806"/>
                <a:gd name="connsiteX51" fmla="*/ 94966 w 1030015"/>
                <a:gd name="connsiteY51" fmla="*/ 427629 h 732806"/>
                <a:gd name="connsiteX52" fmla="*/ 80271 w 1030015"/>
                <a:gd name="connsiteY52" fmla="*/ 398618 h 732806"/>
                <a:gd name="connsiteX53" fmla="*/ 51514 w 1030015"/>
                <a:gd name="connsiteY53" fmla="*/ 373662 h 732806"/>
                <a:gd name="connsiteX54" fmla="*/ 15409 w 1030015"/>
                <a:gd name="connsiteY54" fmla="*/ 336290 h 732806"/>
                <a:gd name="connsiteX55" fmla="*/ 4895 w 1030015"/>
                <a:gd name="connsiteY55" fmla="*/ 278397 h 732806"/>
                <a:gd name="connsiteX56" fmla="*/ 27064 w 1030015"/>
                <a:gd name="connsiteY56" fmla="*/ 246472 h 732806"/>
                <a:gd name="connsiteX57" fmla="*/ 28711 w 1030015"/>
                <a:gd name="connsiteY57" fmla="*/ 241278 h 732806"/>
                <a:gd name="connsiteX58" fmla="*/ 67096 w 1030015"/>
                <a:gd name="connsiteY58" fmla="*/ 187945 h 732806"/>
                <a:gd name="connsiteX59" fmla="*/ 77484 w 1030015"/>
                <a:gd name="connsiteY59" fmla="*/ 131065 h 732806"/>
                <a:gd name="connsiteX60" fmla="*/ 119036 w 1030015"/>
                <a:gd name="connsiteY60" fmla="*/ 109275 h 732806"/>
                <a:gd name="connsiteX61" fmla="*/ 181364 w 1030015"/>
                <a:gd name="connsiteY61" fmla="*/ 129038 h 732806"/>
                <a:gd name="connsiteX62" fmla="*/ 222029 w 1030015"/>
                <a:gd name="connsiteY62" fmla="*/ 111682 h 732806"/>
                <a:gd name="connsiteX63" fmla="*/ 252685 w 1030015"/>
                <a:gd name="connsiteY63" fmla="*/ 90399 h 732806"/>
                <a:gd name="connsiteX64" fmla="*/ 253319 w 1030015"/>
                <a:gd name="connsiteY64" fmla="*/ 44920 h 732806"/>
                <a:gd name="connsiteX65" fmla="*/ 269661 w 1030015"/>
                <a:gd name="connsiteY65" fmla="*/ 18571 h 732806"/>
                <a:gd name="connsiteX66" fmla="*/ 321474 w 1030015"/>
                <a:gd name="connsiteY66" fmla="*/ 41120 h 732806"/>
                <a:gd name="connsiteX67" fmla="*/ 434982 w 1030015"/>
                <a:gd name="connsiteY67" fmla="*/ 11476 h 732806"/>
                <a:gd name="connsiteX68" fmla="*/ 662630 w 1030015"/>
                <a:gd name="connsiteY68" fmla="*/ 6156 h 732806"/>
                <a:gd name="connsiteX69" fmla="*/ 709503 w 1030015"/>
                <a:gd name="connsiteY69" fmla="*/ 11476 h 732806"/>
                <a:gd name="connsiteX70" fmla="*/ 828331 w 1030015"/>
                <a:gd name="connsiteY70" fmla="*/ 62276 h 732806"/>
                <a:gd name="connsiteX71" fmla="*/ 849487 w 1030015"/>
                <a:gd name="connsiteY71" fmla="*/ 165902 h 732806"/>
                <a:gd name="connsiteX72" fmla="*/ 875964 w 1030015"/>
                <a:gd name="connsiteY72" fmla="*/ 217969 h 732806"/>
                <a:gd name="connsiteX73" fmla="*/ 872036 w 1030015"/>
                <a:gd name="connsiteY73" fmla="*/ 255593 h 732806"/>
                <a:gd name="connsiteX74" fmla="*/ 941332 w 1030015"/>
                <a:gd name="connsiteY74" fmla="*/ 278016 h 732806"/>
                <a:gd name="connsiteX75" fmla="*/ 980857 w 1030015"/>
                <a:gd name="connsiteY75" fmla="*/ 330083 h 732806"/>
                <a:gd name="connsiteX76" fmla="*/ 985544 w 1030015"/>
                <a:gd name="connsiteY76" fmla="*/ 331730 h 732806"/>
                <a:gd name="connsiteX77" fmla="*/ 989091 w 1030015"/>
                <a:gd name="connsiteY77" fmla="*/ 332870 h 732806"/>
                <a:gd name="connsiteX78" fmla="*/ 1000999 w 1030015"/>
                <a:gd name="connsiteY78" fmla="*/ 337050 h 732806"/>
                <a:gd name="connsiteX79" fmla="*/ 1007080 w 1030015"/>
                <a:gd name="connsiteY79" fmla="*/ 339457 h 732806"/>
                <a:gd name="connsiteX80" fmla="*/ 1009107 w 1030015"/>
                <a:gd name="connsiteY80" fmla="*/ 340344 h 732806"/>
                <a:gd name="connsiteX81" fmla="*/ 1013034 w 1030015"/>
                <a:gd name="connsiteY81" fmla="*/ 342118 h 732806"/>
                <a:gd name="connsiteX82" fmla="*/ 1013034 w 1030015"/>
                <a:gd name="connsiteY82" fmla="*/ 342118 h 732806"/>
                <a:gd name="connsiteX83" fmla="*/ 1018481 w 1030015"/>
                <a:gd name="connsiteY83" fmla="*/ 344778 h 732806"/>
                <a:gd name="connsiteX84" fmla="*/ 1018481 w 1030015"/>
                <a:gd name="connsiteY84" fmla="*/ 344778 h 732806"/>
                <a:gd name="connsiteX85" fmla="*/ 1021648 w 1030015"/>
                <a:gd name="connsiteY85" fmla="*/ 346678 h 732806"/>
                <a:gd name="connsiteX86" fmla="*/ 1024435 w 1030015"/>
                <a:gd name="connsiteY86" fmla="*/ 348705 h 732806"/>
                <a:gd name="connsiteX87" fmla="*/ 1025702 w 1030015"/>
                <a:gd name="connsiteY87" fmla="*/ 349719 h 732806"/>
                <a:gd name="connsiteX88" fmla="*/ 1026842 w 1030015"/>
                <a:gd name="connsiteY88" fmla="*/ 350732 h 732806"/>
                <a:gd name="connsiteX89" fmla="*/ 1027856 w 1030015"/>
                <a:gd name="connsiteY89" fmla="*/ 351745 h 732806"/>
                <a:gd name="connsiteX90" fmla="*/ 1029756 w 1030015"/>
                <a:gd name="connsiteY90" fmla="*/ 355039 h 732806"/>
                <a:gd name="connsiteX91" fmla="*/ 1029503 w 1030015"/>
                <a:gd name="connsiteY91" fmla="*/ 360107 h 7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30015" h="732806">
                  <a:moveTo>
                    <a:pt x="1029503" y="360107"/>
                  </a:moveTo>
                  <a:cubicBezTo>
                    <a:pt x="1029123" y="360993"/>
                    <a:pt x="1028616" y="361880"/>
                    <a:pt x="1027983" y="362767"/>
                  </a:cubicBezTo>
                  <a:cubicBezTo>
                    <a:pt x="1027983" y="362894"/>
                    <a:pt x="1027983" y="362894"/>
                    <a:pt x="1027983" y="362894"/>
                  </a:cubicBezTo>
                  <a:cubicBezTo>
                    <a:pt x="1026209" y="361373"/>
                    <a:pt x="1023422" y="360993"/>
                    <a:pt x="1019495" y="362387"/>
                  </a:cubicBezTo>
                  <a:cubicBezTo>
                    <a:pt x="1008347" y="366314"/>
                    <a:pt x="999732" y="376195"/>
                    <a:pt x="988585" y="380756"/>
                  </a:cubicBezTo>
                  <a:cubicBezTo>
                    <a:pt x="974143" y="386710"/>
                    <a:pt x="957927" y="388103"/>
                    <a:pt x="942599" y="390510"/>
                  </a:cubicBezTo>
                  <a:cubicBezTo>
                    <a:pt x="929297" y="392537"/>
                    <a:pt x="914475" y="396464"/>
                    <a:pt x="901173" y="392411"/>
                  </a:cubicBezTo>
                  <a:cubicBezTo>
                    <a:pt x="883818" y="387090"/>
                    <a:pt x="875330" y="368721"/>
                    <a:pt x="857848" y="365427"/>
                  </a:cubicBezTo>
                  <a:cubicBezTo>
                    <a:pt x="849614" y="363907"/>
                    <a:pt x="839859" y="361120"/>
                    <a:pt x="831498" y="364034"/>
                  </a:cubicBezTo>
                  <a:cubicBezTo>
                    <a:pt x="824024" y="366694"/>
                    <a:pt x="818450" y="373662"/>
                    <a:pt x="811862" y="377842"/>
                  </a:cubicBezTo>
                  <a:cubicBezTo>
                    <a:pt x="798687" y="386203"/>
                    <a:pt x="781585" y="379236"/>
                    <a:pt x="768663" y="373535"/>
                  </a:cubicBezTo>
                  <a:cubicBezTo>
                    <a:pt x="752828" y="366567"/>
                    <a:pt x="739020" y="357320"/>
                    <a:pt x="727745" y="344144"/>
                  </a:cubicBezTo>
                  <a:cubicBezTo>
                    <a:pt x="719004" y="334010"/>
                    <a:pt x="710896" y="322609"/>
                    <a:pt x="695948" y="325776"/>
                  </a:cubicBezTo>
                  <a:cubicBezTo>
                    <a:pt x="681379" y="328689"/>
                    <a:pt x="666811" y="339457"/>
                    <a:pt x="651609" y="332490"/>
                  </a:cubicBezTo>
                  <a:cubicBezTo>
                    <a:pt x="637041" y="325776"/>
                    <a:pt x="640714" y="311714"/>
                    <a:pt x="649962" y="302213"/>
                  </a:cubicBezTo>
                  <a:cubicBezTo>
                    <a:pt x="661743" y="290051"/>
                    <a:pt x="673652" y="279917"/>
                    <a:pt x="675552" y="262054"/>
                  </a:cubicBezTo>
                  <a:cubicBezTo>
                    <a:pt x="676945" y="248753"/>
                    <a:pt x="672258" y="230130"/>
                    <a:pt x="657309" y="226710"/>
                  </a:cubicBezTo>
                  <a:cubicBezTo>
                    <a:pt x="640714" y="222910"/>
                    <a:pt x="629820" y="241912"/>
                    <a:pt x="621965" y="253186"/>
                  </a:cubicBezTo>
                  <a:cubicBezTo>
                    <a:pt x="616264" y="261421"/>
                    <a:pt x="610184" y="269402"/>
                    <a:pt x="602456" y="275990"/>
                  </a:cubicBezTo>
                  <a:cubicBezTo>
                    <a:pt x="595869" y="281690"/>
                    <a:pt x="587888" y="285744"/>
                    <a:pt x="581300" y="291318"/>
                  </a:cubicBezTo>
                  <a:cubicBezTo>
                    <a:pt x="565718" y="304746"/>
                    <a:pt x="574333" y="327296"/>
                    <a:pt x="578387" y="344144"/>
                  </a:cubicBezTo>
                  <a:cubicBezTo>
                    <a:pt x="584214" y="368214"/>
                    <a:pt x="586241" y="392157"/>
                    <a:pt x="589408" y="416607"/>
                  </a:cubicBezTo>
                  <a:cubicBezTo>
                    <a:pt x="594602" y="457019"/>
                    <a:pt x="605623" y="496163"/>
                    <a:pt x="592575" y="536322"/>
                  </a:cubicBezTo>
                  <a:cubicBezTo>
                    <a:pt x="587128" y="553171"/>
                    <a:pt x="574079" y="555704"/>
                    <a:pt x="559004" y="548483"/>
                  </a:cubicBezTo>
                  <a:cubicBezTo>
                    <a:pt x="554950" y="546583"/>
                    <a:pt x="548363" y="540629"/>
                    <a:pt x="543549" y="540882"/>
                  </a:cubicBezTo>
                  <a:cubicBezTo>
                    <a:pt x="539495" y="541009"/>
                    <a:pt x="537848" y="545063"/>
                    <a:pt x="535568" y="547850"/>
                  </a:cubicBezTo>
                  <a:cubicBezTo>
                    <a:pt x="531261" y="553171"/>
                    <a:pt x="526067" y="557225"/>
                    <a:pt x="520366" y="560898"/>
                  </a:cubicBezTo>
                  <a:cubicBezTo>
                    <a:pt x="515679" y="563939"/>
                    <a:pt x="509091" y="566853"/>
                    <a:pt x="506811" y="572427"/>
                  </a:cubicBezTo>
                  <a:cubicBezTo>
                    <a:pt x="502377" y="583321"/>
                    <a:pt x="516059" y="596369"/>
                    <a:pt x="508204" y="606631"/>
                  </a:cubicBezTo>
                  <a:cubicBezTo>
                    <a:pt x="501490" y="615372"/>
                    <a:pt x="486668" y="611825"/>
                    <a:pt x="478434" y="618792"/>
                  </a:cubicBezTo>
                  <a:cubicBezTo>
                    <a:pt x="475394" y="621326"/>
                    <a:pt x="473493" y="625000"/>
                    <a:pt x="469946" y="627280"/>
                  </a:cubicBezTo>
                  <a:cubicBezTo>
                    <a:pt x="464245" y="630954"/>
                    <a:pt x="454744" y="629054"/>
                    <a:pt x="450057" y="633361"/>
                  </a:cubicBezTo>
                  <a:cubicBezTo>
                    <a:pt x="446003" y="637035"/>
                    <a:pt x="448030" y="644382"/>
                    <a:pt x="448537" y="649069"/>
                  </a:cubicBezTo>
                  <a:cubicBezTo>
                    <a:pt x="449803" y="659457"/>
                    <a:pt x="442836" y="658571"/>
                    <a:pt x="434982" y="661611"/>
                  </a:cubicBezTo>
                  <a:cubicBezTo>
                    <a:pt x="434855" y="675293"/>
                    <a:pt x="437769" y="690115"/>
                    <a:pt x="426748" y="700376"/>
                  </a:cubicBezTo>
                  <a:cubicBezTo>
                    <a:pt x="417373" y="709244"/>
                    <a:pt x="404705" y="713551"/>
                    <a:pt x="395837" y="723052"/>
                  </a:cubicBezTo>
                  <a:cubicBezTo>
                    <a:pt x="392923" y="726219"/>
                    <a:pt x="390896" y="729640"/>
                    <a:pt x="388996" y="732807"/>
                  </a:cubicBezTo>
                  <a:cubicBezTo>
                    <a:pt x="378482" y="731920"/>
                    <a:pt x="367207" y="732680"/>
                    <a:pt x="358846" y="731920"/>
                  </a:cubicBezTo>
                  <a:cubicBezTo>
                    <a:pt x="348711" y="730906"/>
                    <a:pt x="337943" y="727866"/>
                    <a:pt x="329329" y="722039"/>
                  </a:cubicBezTo>
                  <a:cubicBezTo>
                    <a:pt x="318814" y="714944"/>
                    <a:pt x="314253" y="702149"/>
                    <a:pt x="308046" y="691508"/>
                  </a:cubicBezTo>
                  <a:cubicBezTo>
                    <a:pt x="302218" y="681500"/>
                    <a:pt x="293351" y="673012"/>
                    <a:pt x="281063" y="672632"/>
                  </a:cubicBezTo>
                  <a:cubicBezTo>
                    <a:pt x="276375" y="672506"/>
                    <a:pt x="271941" y="674406"/>
                    <a:pt x="267254" y="674026"/>
                  </a:cubicBezTo>
                  <a:cubicBezTo>
                    <a:pt x="260033" y="673393"/>
                    <a:pt x="253699" y="670225"/>
                    <a:pt x="247238" y="667058"/>
                  </a:cubicBezTo>
                  <a:cubicBezTo>
                    <a:pt x="248252" y="657177"/>
                    <a:pt x="248885" y="647296"/>
                    <a:pt x="248252" y="637288"/>
                  </a:cubicBezTo>
                  <a:cubicBezTo>
                    <a:pt x="247872" y="630827"/>
                    <a:pt x="246731" y="624113"/>
                    <a:pt x="244831" y="617906"/>
                  </a:cubicBezTo>
                  <a:cubicBezTo>
                    <a:pt x="241538" y="606504"/>
                    <a:pt x="231403" y="604224"/>
                    <a:pt x="227349" y="593836"/>
                  </a:cubicBezTo>
                  <a:cubicBezTo>
                    <a:pt x="223675" y="584335"/>
                    <a:pt x="229630" y="567359"/>
                    <a:pt x="221522" y="560518"/>
                  </a:cubicBezTo>
                  <a:cubicBezTo>
                    <a:pt x="213034" y="553297"/>
                    <a:pt x="197072" y="554437"/>
                    <a:pt x="187064" y="553677"/>
                  </a:cubicBezTo>
                  <a:cubicBezTo>
                    <a:pt x="173002" y="552664"/>
                    <a:pt x="162994" y="547723"/>
                    <a:pt x="159321" y="533535"/>
                  </a:cubicBezTo>
                  <a:cubicBezTo>
                    <a:pt x="156027" y="521120"/>
                    <a:pt x="157040" y="510479"/>
                    <a:pt x="149946" y="499077"/>
                  </a:cubicBezTo>
                  <a:cubicBezTo>
                    <a:pt x="137531" y="479062"/>
                    <a:pt x="153113" y="446504"/>
                    <a:pt x="124990" y="437763"/>
                  </a:cubicBezTo>
                  <a:cubicBezTo>
                    <a:pt x="115489" y="434849"/>
                    <a:pt x="103707" y="432062"/>
                    <a:pt x="94966" y="427629"/>
                  </a:cubicBezTo>
                  <a:cubicBezTo>
                    <a:pt x="83945" y="422054"/>
                    <a:pt x="84578" y="408373"/>
                    <a:pt x="80271" y="398618"/>
                  </a:cubicBezTo>
                  <a:cubicBezTo>
                    <a:pt x="75457" y="387850"/>
                    <a:pt x="59368" y="382529"/>
                    <a:pt x="51514" y="373662"/>
                  </a:cubicBezTo>
                  <a:cubicBezTo>
                    <a:pt x="39986" y="360740"/>
                    <a:pt x="25291" y="350479"/>
                    <a:pt x="15409" y="336290"/>
                  </a:cubicBezTo>
                  <a:cubicBezTo>
                    <a:pt x="3248" y="318808"/>
                    <a:pt x="-6127" y="298792"/>
                    <a:pt x="4895" y="278397"/>
                  </a:cubicBezTo>
                  <a:cubicBezTo>
                    <a:pt x="11102" y="266995"/>
                    <a:pt x="21237" y="258000"/>
                    <a:pt x="27064" y="246472"/>
                  </a:cubicBezTo>
                  <a:cubicBezTo>
                    <a:pt x="28204" y="244445"/>
                    <a:pt x="28711" y="242672"/>
                    <a:pt x="28711" y="241278"/>
                  </a:cubicBezTo>
                  <a:cubicBezTo>
                    <a:pt x="28711" y="241278"/>
                    <a:pt x="63675" y="219616"/>
                    <a:pt x="67096" y="187945"/>
                  </a:cubicBezTo>
                  <a:cubicBezTo>
                    <a:pt x="70516" y="156274"/>
                    <a:pt x="64562" y="144873"/>
                    <a:pt x="77484" y="131065"/>
                  </a:cubicBezTo>
                  <a:cubicBezTo>
                    <a:pt x="90279" y="117256"/>
                    <a:pt x="95346" y="107375"/>
                    <a:pt x="119036" y="109275"/>
                  </a:cubicBezTo>
                  <a:cubicBezTo>
                    <a:pt x="142725" y="111302"/>
                    <a:pt x="161094" y="140439"/>
                    <a:pt x="181364" y="129038"/>
                  </a:cubicBezTo>
                  <a:cubicBezTo>
                    <a:pt x="201632" y="117636"/>
                    <a:pt x="209107" y="113709"/>
                    <a:pt x="222029" y="111682"/>
                  </a:cubicBezTo>
                  <a:cubicBezTo>
                    <a:pt x="234824" y="109655"/>
                    <a:pt x="257119" y="104715"/>
                    <a:pt x="252685" y="90399"/>
                  </a:cubicBezTo>
                  <a:cubicBezTo>
                    <a:pt x="248252" y="76085"/>
                    <a:pt x="240524" y="60756"/>
                    <a:pt x="253319" y="44920"/>
                  </a:cubicBezTo>
                  <a:cubicBezTo>
                    <a:pt x="263454" y="32379"/>
                    <a:pt x="271181" y="26932"/>
                    <a:pt x="269661" y="18571"/>
                  </a:cubicBezTo>
                  <a:cubicBezTo>
                    <a:pt x="279796" y="25918"/>
                    <a:pt x="305892" y="43274"/>
                    <a:pt x="321474" y="41120"/>
                  </a:cubicBezTo>
                  <a:cubicBezTo>
                    <a:pt x="341237" y="38460"/>
                    <a:pt x="409265" y="11476"/>
                    <a:pt x="434982" y="11476"/>
                  </a:cubicBezTo>
                  <a:cubicBezTo>
                    <a:pt x="460698" y="11476"/>
                    <a:pt x="640208" y="-10313"/>
                    <a:pt x="662630" y="6156"/>
                  </a:cubicBezTo>
                  <a:cubicBezTo>
                    <a:pt x="685053" y="22625"/>
                    <a:pt x="673145" y="12743"/>
                    <a:pt x="709503" y="11476"/>
                  </a:cubicBezTo>
                  <a:cubicBezTo>
                    <a:pt x="745861" y="10083"/>
                    <a:pt x="808442" y="-3726"/>
                    <a:pt x="828331" y="62276"/>
                  </a:cubicBezTo>
                  <a:cubicBezTo>
                    <a:pt x="848093" y="128278"/>
                    <a:pt x="836312" y="144113"/>
                    <a:pt x="849487" y="165902"/>
                  </a:cubicBezTo>
                  <a:cubicBezTo>
                    <a:pt x="862662" y="187692"/>
                    <a:pt x="891039" y="202133"/>
                    <a:pt x="875964" y="217969"/>
                  </a:cubicBezTo>
                  <a:cubicBezTo>
                    <a:pt x="860762" y="233804"/>
                    <a:pt x="859495" y="253567"/>
                    <a:pt x="872036" y="255593"/>
                  </a:cubicBezTo>
                  <a:cubicBezTo>
                    <a:pt x="884578" y="257620"/>
                    <a:pt x="931451" y="261548"/>
                    <a:pt x="941332" y="278016"/>
                  </a:cubicBezTo>
                  <a:cubicBezTo>
                    <a:pt x="951213" y="294485"/>
                    <a:pt x="963754" y="324256"/>
                    <a:pt x="980857" y="330083"/>
                  </a:cubicBezTo>
                  <a:cubicBezTo>
                    <a:pt x="982250" y="330590"/>
                    <a:pt x="983897" y="331096"/>
                    <a:pt x="985544" y="331730"/>
                  </a:cubicBezTo>
                  <a:cubicBezTo>
                    <a:pt x="986684" y="332110"/>
                    <a:pt x="987824" y="332490"/>
                    <a:pt x="989091" y="332870"/>
                  </a:cubicBezTo>
                  <a:cubicBezTo>
                    <a:pt x="992765" y="334137"/>
                    <a:pt x="996945" y="335530"/>
                    <a:pt x="1000999" y="337050"/>
                  </a:cubicBezTo>
                  <a:cubicBezTo>
                    <a:pt x="1003026" y="337810"/>
                    <a:pt x="1005053" y="338571"/>
                    <a:pt x="1007080" y="339457"/>
                  </a:cubicBezTo>
                  <a:cubicBezTo>
                    <a:pt x="1007713" y="339711"/>
                    <a:pt x="1008473" y="339964"/>
                    <a:pt x="1009107" y="340344"/>
                  </a:cubicBezTo>
                  <a:cubicBezTo>
                    <a:pt x="1010500" y="340977"/>
                    <a:pt x="1011767" y="341484"/>
                    <a:pt x="1013034" y="342118"/>
                  </a:cubicBezTo>
                  <a:cubicBezTo>
                    <a:pt x="1013034" y="342118"/>
                    <a:pt x="1013034" y="342118"/>
                    <a:pt x="1013034" y="342118"/>
                  </a:cubicBezTo>
                  <a:cubicBezTo>
                    <a:pt x="1014934" y="343004"/>
                    <a:pt x="1016708" y="343891"/>
                    <a:pt x="1018481" y="344778"/>
                  </a:cubicBezTo>
                  <a:lnTo>
                    <a:pt x="1018481" y="344778"/>
                  </a:lnTo>
                  <a:cubicBezTo>
                    <a:pt x="1019621" y="345411"/>
                    <a:pt x="1020635" y="346045"/>
                    <a:pt x="1021648" y="346678"/>
                  </a:cubicBezTo>
                  <a:cubicBezTo>
                    <a:pt x="1022662" y="347312"/>
                    <a:pt x="1023549" y="348072"/>
                    <a:pt x="1024435" y="348705"/>
                  </a:cubicBezTo>
                  <a:cubicBezTo>
                    <a:pt x="1024816" y="349085"/>
                    <a:pt x="1025322" y="349465"/>
                    <a:pt x="1025702" y="349719"/>
                  </a:cubicBezTo>
                  <a:cubicBezTo>
                    <a:pt x="1026082" y="350099"/>
                    <a:pt x="1026462" y="350352"/>
                    <a:pt x="1026842" y="350732"/>
                  </a:cubicBezTo>
                  <a:cubicBezTo>
                    <a:pt x="1027223" y="351112"/>
                    <a:pt x="1027476" y="351492"/>
                    <a:pt x="1027856" y="351745"/>
                  </a:cubicBezTo>
                  <a:cubicBezTo>
                    <a:pt x="1028743" y="352759"/>
                    <a:pt x="1029376" y="353899"/>
                    <a:pt x="1029756" y="355039"/>
                  </a:cubicBezTo>
                  <a:cubicBezTo>
                    <a:pt x="1030136" y="356940"/>
                    <a:pt x="1030136" y="358460"/>
                    <a:pt x="1029503" y="3601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4" name="Полилиния: фигура 393">
              <a:extLst>
                <a:ext uri="{FF2B5EF4-FFF2-40B4-BE49-F238E27FC236}">
                  <a16:creationId xmlns:a16="http://schemas.microsoft.com/office/drawing/2014/main" id="{C22728C3-66EB-4622-AB6C-B5F42F54FC6F}"/>
                </a:ext>
              </a:extLst>
            </p:cNvPr>
            <p:cNvSpPr/>
            <p:nvPr/>
          </p:nvSpPr>
          <p:spPr>
            <a:xfrm>
              <a:off x="6395027" y="6255834"/>
              <a:ext cx="1158372" cy="709489"/>
            </a:xfrm>
            <a:custGeom>
              <a:avLst/>
              <a:gdLst>
                <a:gd name="connsiteX0" fmla="*/ 1158373 w 1158372"/>
                <a:gd name="connsiteY0" fmla="*/ 147381 h 709489"/>
                <a:gd name="connsiteX1" fmla="*/ 1157106 w 1158372"/>
                <a:gd name="connsiteY1" fmla="*/ 151055 h 709489"/>
                <a:gd name="connsiteX2" fmla="*/ 1155840 w 1158372"/>
                <a:gd name="connsiteY2" fmla="*/ 152828 h 709489"/>
                <a:gd name="connsiteX3" fmla="*/ 1154953 w 1158372"/>
                <a:gd name="connsiteY3" fmla="*/ 153715 h 709489"/>
                <a:gd name="connsiteX4" fmla="*/ 1139244 w 1158372"/>
                <a:gd name="connsiteY4" fmla="*/ 160556 h 709489"/>
                <a:gd name="connsiteX5" fmla="*/ 1123282 w 1158372"/>
                <a:gd name="connsiteY5" fmla="*/ 160049 h 709489"/>
                <a:gd name="connsiteX6" fmla="*/ 1123916 w 1158372"/>
                <a:gd name="connsiteY6" fmla="*/ 191087 h 709489"/>
                <a:gd name="connsiteX7" fmla="*/ 1124422 w 1158372"/>
                <a:gd name="connsiteY7" fmla="*/ 209202 h 709489"/>
                <a:gd name="connsiteX8" fmla="*/ 1120875 w 1158372"/>
                <a:gd name="connsiteY8" fmla="*/ 235172 h 709489"/>
                <a:gd name="connsiteX9" fmla="*/ 1111754 w 1158372"/>
                <a:gd name="connsiteY9" fmla="*/ 271023 h 709489"/>
                <a:gd name="connsiteX10" fmla="*/ 1119102 w 1158372"/>
                <a:gd name="connsiteY10" fmla="*/ 287112 h 709489"/>
                <a:gd name="connsiteX11" fmla="*/ 1119862 w 1158372"/>
                <a:gd name="connsiteY11" fmla="*/ 289012 h 709489"/>
                <a:gd name="connsiteX12" fmla="*/ 1115048 w 1158372"/>
                <a:gd name="connsiteY12" fmla="*/ 291039 h 709489"/>
                <a:gd name="connsiteX13" fmla="*/ 1104406 w 1158372"/>
                <a:gd name="connsiteY13" fmla="*/ 326130 h 709489"/>
                <a:gd name="connsiteX14" fmla="*/ 1077170 w 1158372"/>
                <a:gd name="connsiteY14" fmla="*/ 360208 h 709489"/>
                <a:gd name="connsiteX15" fmla="*/ 1025737 w 1158372"/>
                <a:gd name="connsiteY15" fmla="*/ 407460 h 709489"/>
                <a:gd name="connsiteX16" fmla="*/ 1014842 w 1158372"/>
                <a:gd name="connsiteY16" fmla="*/ 462440 h 709489"/>
                <a:gd name="connsiteX17" fmla="*/ 1018009 w 1158372"/>
                <a:gd name="connsiteY17" fmla="*/ 518561 h 709489"/>
                <a:gd name="connsiteX18" fmla="*/ 1045626 w 1158372"/>
                <a:gd name="connsiteY18" fmla="*/ 576201 h 709489"/>
                <a:gd name="connsiteX19" fmla="*/ 1029917 w 1158372"/>
                <a:gd name="connsiteY19" fmla="*/ 644357 h 709489"/>
                <a:gd name="connsiteX20" fmla="*/ 1005087 w 1158372"/>
                <a:gd name="connsiteY20" fmla="*/ 653858 h 709489"/>
                <a:gd name="connsiteX21" fmla="*/ 975064 w 1158372"/>
                <a:gd name="connsiteY21" fmla="*/ 677421 h 709489"/>
                <a:gd name="connsiteX22" fmla="*/ 918943 w 1158372"/>
                <a:gd name="connsiteY22" fmla="*/ 708458 h 709489"/>
                <a:gd name="connsiteX23" fmla="*/ 875491 w 1158372"/>
                <a:gd name="connsiteY23" fmla="*/ 690089 h 709489"/>
                <a:gd name="connsiteX24" fmla="*/ 817724 w 1158372"/>
                <a:gd name="connsiteY24" fmla="*/ 684388 h 709489"/>
                <a:gd name="connsiteX25" fmla="*/ 785800 w 1158372"/>
                <a:gd name="connsiteY25" fmla="*/ 665386 h 709489"/>
                <a:gd name="connsiteX26" fmla="*/ 763124 w 1158372"/>
                <a:gd name="connsiteY26" fmla="*/ 656265 h 709489"/>
                <a:gd name="connsiteX27" fmla="*/ 735633 w 1158372"/>
                <a:gd name="connsiteY27" fmla="*/ 662979 h 709489"/>
                <a:gd name="connsiteX28" fmla="*/ 668365 w 1158372"/>
                <a:gd name="connsiteY28" fmla="*/ 644230 h 709489"/>
                <a:gd name="connsiteX29" fmla="*/ 637835 w 1158372"/>
                <a:gd name="connsiteY29" fmla="*/ 610786 h 709489"/>
                <a:gd name="connsiteX30" fmla="*/ 619339 w 1158372"/>
                <a:gd name="connsiteY30" fmla="*/ 595964 h 709489"/>
                <a:gd name="connsiteX31" fmla="*/ 605784 w 1158372"/>
                <a:gd name="connsiteY31" fmla="*/ 571514 h 709489"/>
                <a:gd name="connsiteX32" fmla="*/ 587035 w 1158372"/>
                <a:gd name="connsiteY32" fmla="*/ 542124 h 709489"/>
                <a:gd name="connsiteX33" fmla="*/ 567399 w 1158372"/>
                <a:gd name="connsiteY33" fmla="*/ 532243 h 709489"/>
                <a:gd name="connsiteX34" fmla="*/ 500131 w 1158372"/>
                <a:gd name="connsiteY34" fmla="*/ 529455 h 709489"/>
                <a:gd name="connsiteX35" fmla="*/ 464153 w 1158372"/>
                <a:gd name="connsiteY35" fmla="*/ 530976 h 709489"/>
                <a:gd name="connsiteX36" fmla="*/ 429949 w 1158372"/>
                <a:gd name="connsiteY36" fmla="*/ 542631 h 709489"/>
                <a:gd name="connsiteX37" fmla="*/ 410440 w 1158372"/>
                <a:gd name="connsiteY37" fmla="*/ 540857 h 709489"/>
                <a:gd name="connsiteX38" fmla="*/ 413860 w 1158372"/>
                <a:gd name="connsiteY38" fmla="*/ 519954 h 709489"/>
                <a:gd name="connsiteX39" fmla="*/ 420448 w 1158372"/>
                <a:gd name="connsiteY39" fmla="*/ 494111 h 709489"/>
                <a:gd name="connsiteX40" fmla="*/ 399671 w 1158372"/>
                <a:gd name="connsiteY40" fmla="*/ 487397 h 709489"/>
                <a:gd name="connsiteX41" fmla="*/ 366481 w 1158372"/>
                <a:gd name="connsiteY41" fmla="*/ 495251 h 709489"/>
                <a:gd name="connsiteX42" fmla="*/ 337090 w 1158372"/>
                <a:gd name="connsiteY42" fmla="*/ 499559 h 709489"/>
                <a:gd name="connsiteX43" fmla="*/ 283250 w 1158372"/>
                <a:gd name="connsiteY43" fmla="*/ 518434 h 709489"/>
                <a:gd name="connsiteX44" fmla="*/ 236251 w 1158372"/>
                <a:gd name="connsiteY44" fmla="*/ 531862 h 709489"/>
                <a:gd name="connsiteX45" fmla="*/ 212942 w 1158372"/>
                <a:gd name="connsiteY45" fmla="*/ 532369 h 709489"/>
                <a:gd name="connsiteX46" fmla="*/ 194066 w 1158372"/>
                <a:gd name="connsiteY46" fmla="*/ 543897 h 709489"/>
                <a:gd name="connsiteX47" fmla="*/ 168223 w 1158372"/>
                <a:gd name="connsiteY47" fmla="*/ 559606 h 709489"/>
                <a:gd name="connsiteX48" fmla="*/ 125277 w 1158372"/>
                <a:gd name="connsiteY48" fmla="*/ 578735 h 709489"/>
                <a:gd name="connsiteX49" fmla="*/ 93480 w 1158372"/>
                <a:gd name="connsiteY49" fmla="*/ 575821 h 709489"/>
                <a:gd name="connsiteX50" fmla="*/ 71057 w 1158372"/>
                <a:gd name="connsiteY50" fmla="*/ 574048 h 709489"/>
                <a:gd name="connsiteX51" fmla="*/ 65357 w 1158372"/>
                <a:gd name="connsiteY51" fmla="*/ 576455 h 709489"/>
                <a:gd name="connsiteX52" fmla="*/ 50028 w 1158372"/>
                <a:gd name="connsiteY52" fmla="*/ 557959 h 709489"/>
                <a:gd name="connsiteX53" fmla="*/ 35459 w 1158372"/>
                <a:gd name="connsiteY53" fmla="*/ 536043 h 709489"/>
                <a:gd name="connsiteX54" fmla="*/ 29885 w 1158372"/>
                <a:gd name="connsiteY54" fmla="*/ 517167 h 709489"/>
                <a:gd name="connsiteX55" fmla="*/ 45214 w 1158372"/>
                <a:gd name="connsiteY55" fmla="*/ 500572 h 709489"/>
                <a:gd name="connsiteX56" fmla="*/ 66623 w 1158372"/>
                <a:gd name="connsiteY56" fmla="*/ 519194 h 709489"/>
                <a:gd name="connsiteX57" fmla="*/ 84359 w 1158372"/>
                <a:gd name="connsiteY57" fmla="*/ 512733 h 709489"/>
                <a:gd name="connsiteX58" fmla="*/ 75491 w 1158372"/>
                <a:gd name="connsiteY58" fmla="*/ 474855 h 709489"/>
                <a:gd name="connsiteX59" fmla="*/ 52815 w 1158372"/>
                <a:gd name="connsiteY59" fmla="*/ 453826 h 709489"/>
                <a:gd name="connsiteX60" fmla="*/ 37613 w 1158372"/>
                <a:gd name="connsiteY60" fmla="*/ 427476 h 709489"/>
                <a:gd name="connsiteX61" fmla="*/ 3409 w 1158372"/>
                <a:gd name="connsiteY61" fmla="*/ 371989 h 709489"/>
                <a:gd name="connsiteX62" fmla="*/ 1762 w 1158372"/>
                <a:gd name="connsiteY62" fmla="*/ 307634 h 709489"/>
                <a:gd name="connsiteX63" fmla="*/ 1508 w 1158372"/>
                <a:gd name="connsiteY63" fmla="*/ 302694 h 709489"/>
                <a:gd name="connsiteX64" fmla="*/ 1128 w 1158372"/>
                <a:gd name="connsiteY64" fmla="*/ 298133 h 709489"/>
                <a:gd name="connsiteX65" fmla="*/ 1128 w 1158372"/>
                <a:gd name="connsiteY65" fmla="*/ 297753 h 709489"/>
                <a:gd name="connsiteX66" fmla="*/ 748 w 1158372"/>
                <a:gd name="connsiteY66" fmla="*/ 293193 h 709489"/>
                <a:gd name="connsiteX67" fmla="*/ 748 w 1158372"/>
                <a:gd name="connsiteY67" fmla="*/ 292939 h 709489"/>
                <a:gd name="connsiteX68" fmla="*/ 622 w 1158372"/>
                <a:gd name="connsiteY68" fmla="*/ 289519 h 709489"/>
                <a:gd name="connsiteX69" fmla="*/ 1382 w 1158372"/>
                <a:gd name="connsiteY69" fmla="*/ 279638 h 709489"/>
                <a:gd name="connsiteX70" fmla="*/ 2268 w 1158372"/>
                <a:gd name="connsiteY70" fmla="*/ 276344 h 709489"/>
                <a:gd name="connsiteX71" fmla="*/ 2902 w 1158372"/>
                <a:gd name="connsiteY71" fmla="*/ 274824 h 709489"/>
                <a:gd name="connsiteX72" fmla="*/ 2902 w 1158372"/>
                <a:gd name="connsiteY72" fmla="*/ 274824 h 709489"/>
                <a:gd name="connsiteX73" fmla="*/ 4042 w 1158372"/>
                <a:gd name="connsiteY73" fmla="*/ 272543 h 709489"/>
                <a:gd name="connsiteX74" fmla="*/ 4549 w 1158372"/>
                <a:gd name="connsiteY74" fmla="*/ 271657 h 709489"/>
                <a:gd name="connsiteX75" fmla="*/ 6576 w 1158372"/>
                <a:gd name="connsiteY75" fmla="*/ 268869 h 709489"/>
                <a:gd name="connsiteX76" fmla="*/ 12783 w 1158372"/>
                <a:gd name="connsiteY76" fmla="*/ 263929 h 709489"/>
                <a:gd name="connsiteX77" fmla="*/ 57629 w 1158372"/>
                <a:gd name="connsiteY77" fmla="*/ 270516 h 709489"/>
                <a:gd name="connsiteX78" fmla="*/ 97027 w 1158372"/>
                <a:gd name="connsiteY78" fmla="*/ 276724 h 709489"/>
                <a:gd name="connsiteX79" fmla="*/ 117803 w 1158372"/>
                <a:gd name="connsiteY79" fmla="*/ 256708 h 709489"/>
                <a:gd name="connsiteX80" fmla="*/ 126037 w 1158372"/>
                <a:gd name="connsiteY80" fmla="*/ 235679 h 709489"/>
                <a:gd name="connsiteX81" fmla="*/ 142886 w 1158372"/>
                <a:gd name="connsiteY81" fmla="*/ 201221 h 709489"/>
                <a:gd name="connsiteX82" fmla="*/ 166829 w 1158372"/>
                <a:gd name="connsiteY82" fmla="*/ 192734 h 709489"/>
                <a:gd name="connsiteX83" fmla="*/ 168096 w 1158372"/>
                <a:gd name="connsiteY83" fmla="*/ 192860 h 709489"/>
                <a:gd name="connsiteX84" fmla="*/ 169743 w 1158372"/>
                <a:gd name="connsiteY84" fmla="*/ 193114 h 709489"/>
                <a:gd name="connsiteX85" fmla="*/ 173037 w 1158372"/>
                <a:gd name="connsiteY85" fmla="*/ 193747 h 709489"/>
                <a:gd name="connsiteX86" fmla="*/ 174430 w 1158372"/>
                <a:gd name="connsiteY86" fmla="*/ 194000 h 709489"/>
                <a:gd name="connsiteX87" fmla="*/ 184564 w 1158372"/>
                <a:gd name="connsiteY87" fmla="*/ 197801 h 709489"/>
                <a:gd name="connsiteX88" fmla="*/ 185958 w 1158372"/>
                <a:gd name="connsiteY88" fmla="*/ 198561 h 709489"/>
                <a:gd name="connsiteX89" fmla="*/ 189378 w 1158372"/>
                <a:gd name="connsiteY89" fmla="*/ 200461 h 709489"/>
                <a:gd name="connsiteX90" fmla="*/ 191152 w 1158372"/>
                <a:gd name="connsiteY90" fmla="*/ 201601 h 709489"/>
                <a:gd name="connsiteX91" fmla="*/ 192925 w 1158372"/>
                <a:gd name="connsiteY91" fmla="*/ 202868 h 709489"/>
                <a:gd name="connsiteX92" fmla="*/ 194572 w 1158372"/>
                <a:gd name="connsiteY92" fmla="*/ 204135 h 709489"/>
                <a:gd name="connsiteX93" fmla="*/ 194572 w 1158372"/>
                <a:gd name="connsiteY93" fmla="*/ 204135 h 709489"/>
                <a:gd name="connsiteX94" fmla="*/ 196473 w 1158372"/>
                <a:gd name="connsiteY94" fmla="*/ 205655 h 709489"/>
                <a:gd name="connsiteX95" fmla="*/ 196979 w 1158372"/>
                <a:gd name="connsiteY95" fmla="*/ 206162 h 709489"/>
                <a:gd name="connsiteX96" fmla="*/ 198246 w 1158372"/>
                <a:gd name="connsiteY96" fmla="*/ 207302 h 709489"/>
                <a:gd name="connsiteX97" fmla="*/ 199893 w 1158372"/>
                <a:gd name="connsiteY97" fmla="*/ 209075 h 709489"/>
                <a:gd name="connsiteX98" fmla="*/ 201413 w 1158372"/>
                <a:gd name="connsiteY98" fmla="*/ 210722 h 709489"/>
                <a:gd name="connsiteX99" fmla="*/ 206101 w 1158372"/>
                <a:gd name="connsiteY99" fmla="*/ 218196 h 709489"/>
                <a:gd name="connsiteX100" fmla="*/ 235744 w 1158372"/>
                <a:gd name="connsiteY100" fmla="*/ 266589 h 709489"/>
                <a:gd name="connsiteX101" fmla="*/ 265515 w 1158372"/>
                <a:gd name="connsiteY101" fmla="*/ 252781 h 709489"/>
                <a:gd name="connsiteX102" fmla="*/ 293131 w 1158372"/>
                <a:gd name="connsiteY102" fmla="*/ 250754 h 709489"/>
                <a:gd name="connsiteX103" fmla="*/ 314541 w 1158372"/>
                <a:gd name="connsiteY103" fmla="*/ 274317 h 709489"/>
                <a:gd name="connsiteX104" fmla="*/ 331643 w 1158372"/>
                <a:gd name="connsiteY104" fmla="*/ 281538 h 709489"/>
                <a:gd name="connsiteX105" fmla="*/ 364454 w 1158372"/>
                <a:gd name="connsiteY105" fmla="*/ 294460 h 709489"/>
                <a:gd name="connsiteX106" fmla="*/ 397644 w 1158372"/>
                <a:gd name="connsiteY106" fmla="*/ 292939 h 709489"/>
                <a:gd name="connsiteX107" fmla="*/ 418547 w 1158372"/>
                <a:gd name="connsiteY107" fmla="*/ 283058 h 709489"/>
                <a:gd name="connsiteX108" fmla="*/ 441603 w 1158372"/>
                <a:gd name="connsiteY108" fmla="*/ 271276 h 709489"/>
                <a:gd name="connsiteX109" fmla="*/ 464533 w 1158372"/>
                <a:gd name="connsiteY109" fmla="*/ 260762 h 709489"/>
                <a:gd name="connsiteX110" fmla="*/ 481762 w 1158372"/>
                <a:gd name="connsiteY110" fmla="*/ 247334 h 709489"/>
                <a:gd name="connsiteX111" fmla="*/ 517740 w 1158372"/>
                <a:gd name="connsiteY111" fmla="*/ 221617 h 709489"/>
                <a:gd name="connsiteX112" fmla="*/ 549030 w 1158372"/>
                <a:gd name="connsiteY112" fmla="*/ 202361 h 709489"/>
                <a:gd name="connsiteX113" fmla="*/ 580447 w 1158372"/>
                <a:gd name="connsiteY113" fmla="*/ 180825 h 709489"/>
                <a:gd name="connsiteX114" fmla="*/ 599703 w 1158372"/>
                <a:gd name="connsiteY114" fmla="*/ 163090 h 709489"/>
                <a:gd name="connsiteX115" fmla="*/ 625293 w 1158372"/>
                <a:gd name="connsiteY115" fmla="*/ 152955 h 709489"/>
                <a:gd name="connsiteX116" fmla="*/ 638722 w 1158372"/>
                <a:gd name="connsiteY116" fmla="*/ 146114 h 709489"/>
                <a:gd name="connsiteX117" fmla="*/ 650503 w 1158372"/>
                <a:gd name="connsiteY117" fmla="*/ 138387 h 709489"/>
                <a:gd name="connsiteX118" fmla="*/ 664184 w 1158372"/>
                <a:gd name="connsiteY118" fmla="*/ 132939 h 709489"/>
                <a:gd name="connsiteX119" fmla="*/ 669505 w 1158372"/>
                <a:gd name="connsiteY119" fmla="*/ 123818 h 709489"/>
                <a:gd name="connsiteX120" fmla="*/ 675586 w 1158372"/>
                <a:gd name="connsiteY120" fmla="*/ 93414 h 709489"/>
                <a:gd name="connsiteX121" fmla="*/ 668619 w 1158372"/>
                <a:gd name="connsiteY121" fmla="*/ 62757 h 709489"/>
                <a:gd name="connsiteX122" fmla="*/ 695855 w 1158372"/>
                <a:gd name="connsiteY122" fmla="*/ 27286 h 709489"/>
                <a:gd name="connsiteX123" fmla="*/ 712197 w 1158372"/>
                <a:gd name="connsiteY123" fmla="*/ 28046 h 709489"/>
                <a:gd name="connsiteX124" fmla="*/ 738167 w 1158372"/>
                <a:gd name="connsiteY124" fmla="*/ 35394 h 709489"/>
                <a:gd name="connsiteX125" fmla="*/ 767558 w 1158372"/>
                <a:gd name="connsiteY125" fmla="*/ 32860 h 709489"/>
                <a:gd name="connsiteX126" fmla="*/ 788713 w 1158372"/>
                <a:gd name="connsiteY126" fmla="*/ 36914 h 709489"/>
                <a:gd name="connsiteX127" fmla="*/ 833812 w 1158372"/>
                <a:gd name="connsiteY127" fmla="*/ 42868 h 709489"/>
                <a:gd name="connsiteX128" fmla="*/ 875491 w 1158372"/>
                <a:gd name="connsiteY128" fmla="*/ 45022 h 709489"/>
                <a:gd name="connsiteX129" fmla="*/ 877011 w 1158372"/>
                <a:gd name="connsiteY129" fmla="*/ 44135 h 709489"/>
                <a:gd name="connsiteX130" fmla="*/ 878532 w 1158372"/>
                <a:gd name="connsiteY130" fmla="*/ 43121 h 709489"/>
                <a:gd name="connsiteX131" fmla="*/ 879671 w 1158372"/>
                <a:gd name="connsiteY131" fmla="*/ 42235 h 709489"/>
                <a:gd name="connsiteX132" fmla="*/ 884612 w 1158372"/>
                <a:gd name="connsiteY132" fmla="*/ 36407 h 709489"/>
                <a:gd name="connsiteX133" fmla="*/ 885245 w 1158372"/>
                <a:gd name="connsiteY133" fmla="*/ 35267 h 709489"/>
                <a:gd name="connsiteX134" fmla="*/ 886005 w 1158372"/>
                <a:gd name="connsiteY134" fmla="*/ 33874 h 709489"/>
                <a:gd name="connsiteX135" fmla="*/ 886513 w 1158372"/>
                <a:gd name="connsiteY135" fmla="*/ 32734 h 709489"/>
                <a:gd name="connsiteX136" fmla="*/ 889933 w 1158372"/>
                <a:gd name="connsiteY136" fmla="*/ 23739 h 709489"/>
                <a:gd name="connsiteX137" fmla="*/ 892593 w 1158372"/>
                <a:gd name="connsiteY137" fmla="*/ 16898 h 709489"/>
                <a:gd name="connsiteX138" fmla="*/ 893480 w 1158372"/>
                <a:gd name="connsiteY138" fmla="*/ 15124 h 709489"/>
                <a:gd name="connsiteX139" fmla="*/ 897407 w 1158372"/>
                <a:gd name="connsiteY139" fmla="*/ 9297 h 709489"/>
                <a:gd name="connsiteX140" fmla="*/ 898927 w 1158372"/>
                <a:gd name="connsiteY140" fmla="*/ 7777 h 709489"/>
                <a:gd name="connsiteX141" fmla="*/ 932751 w 1158372"/>
                <a:gd name="connsiteY141" fmla="*/ 7903 h 709489"/>
                <a:gd name="connsiteX142" fmla="*/ 966322 w 1158372"/>
                <a:gd name="connsiteY142" fmla="*/ 37041 h 709489"/>
                <a:gd name="connsiteX143" fmla="*/ 991786 w 1158372"/>
                <a:gd name="connsiteY143" fmla="*/ 46288 h 709489"/>
                <a:gd name="connsiteX144" fmla="*/ 1007874 w 1158372"/>
                <a:gd name="connsiteY144" fmla="*/ 52749 h 709489"/>
                <a:gd name="connsiteX145" fmla="*/ 1022823 w 1158372"/>
                <a:gd name="connsiteY145" fmla="*/ 64657 h 709489"/>
                <a:gd name="connsiteX146" fmla="*/ 1034097 w 1158372"/>
                <a:gd name="connsiteY146" fmla="*/ 75932 h 709489"/>
                <a:gd name="connsiteX147" fmla="*/ 1040431 w 1158372"/>
                <a:gd name="connsiteY147" fmla="*/ 89107 h 709489"/>
                <a:gd name="connsiteX148" fmla="*/ 1048033 w 1158372"/>
                <a:gd name="connsiteY148" fmla="*/ 101015 h 709489"/>
                <a:gd name="connsiteX149" fmla="*/ 1054113 w 1158372"/>
                <a:gd name="connsiteY149" fmla="*/ 110896 h 709489"/>
                <a:gd name="connsiteX150" fmla="*/ 1075776 w 1158372"/>
                <a:gd name="connsiteY150" fmla="*/ 117357 h 709489"/>
                <a:gd name="connsiteX151" fmla="*/ 1108334 w 1158372"/>
                <a:gd name="connsiteY151" fmla="*/ 97088 h 709489"/>
                <a:gd name="connsiteX152" fmla="*/ 1138104 w 1158372"/>
                <a:gd name="connsiteY152" fmla="*/ 97595 h 709489"/>
                <a:gd name="connsiteX153" fmla="*/ 1142285 w 1158372"/>
                <a:gd name="connsiteY153" fmla="*/ 131926 h 709489"/>
                <a:gd name="connsiteX154" fmla="*/ 1144058 w 1158372"/>
                <a:gd name="connsiteY154" fmla="*/ 134080 h 709489"/>
                <a:gd name="connsiteX155" fmla="*/ 1150899 w 1158372"/>
                <a:gd name="connsiteY155" fmla="*/ 139020 h 709489"/>
                <a:gd name="connsiteX156" fmla="*/ 1153052 w 1158372"/>
                <a:gd name="connsiteY156" fmla="*/ 140414 h 709489"/>
                <a:gd name="connsiteX157" fmla="*/ 1158373 w 1158372"/>
                <a:gd name="connsiteY157" fmla="*/ 147381 h 7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58372" h="709489">
                  <a:moveTo>
                    <a:pt x="1158373" y="147381"/>
                  </a:moveTo>
                  <a:cubicBezTo>
                    <a:pt x="1158373" y="148521"/>
                    <a:pt x="1157993" y="149661"/>
                    <a:pt x="1157106" y="151055"/>
                  </a:cubicBezTo>
                  <a:cubicBezTo>
                    <a:pt x="1156726" y="151562"/>
                    <a:pt x="1156346" y="152195"/>
                    <a:pt x="1155840" y="152828"/>
                  </a:cubicBezTo>
                  <a:cubicBezTo>
                    <a:pt x="1155586" y="153082"/>
                    <a:pt x="1155333" y="153335"/>
                    <a:pt x="1154953" y="153715"/>
                  </a:cubicBezTo>
                  <a:cubicBezTo>
                    <a:pt x="1150899" y="157896"/>
                    <a:pt x="1145071" y="160429"/>
                    <a:pt x="1139244" y="160556"/>
                  </a:cubicBezTo>
                  <a:cubicBezTo>
                    <a:pt x="1134050" y="160683"/>
                    <a:pt x="1128349" y="158402"/>
                    <a:pt x="1123282" y="160049"/>
                  </a:cubicBezTo>
                  <a:cubicBezTo>
                    <a:pt x="1109474" y="164356"/>
                    <a:pt x="1121128" y="183106"/>
                    <a:pt x="1123916" y="191087"/>
                  </a:cubicBezTo>
                  <a:cubicBezTo>
                    <a:pt x="1125942" y="197041"/>
                    <a:pt x="1125055" y="203121"/>
                    <a:pt x="1124422" y="209202"/>
                  </a:cubicBezTo>
                  <a:cubicBezTo>
                    <a:pt x="1123535" y="217816"/>
                    <a:pt x="1122902" y="226684"/>
                    <a:pt x="1120875" y="235172"/>
                  </a:cubicBezTo>
                  <a:cubicBezTo>
                    <a:pt x="1117708" y="248220"/>
                    <a:pt x="1107953" y="256708"/>
                    <a:pt x="1111754" y="271023"/>
                  </a:cubicBezTo>
                  <a:cubicBezTo>
                    <a:pt x="1113274" y="276851"/>
                    <a:pt x="1116695" y="281665"/>
                    <a:pt x="1119102" y="287112"/>
                  </a:cubicBezTo>
                  <a:cubicBezTo>
                    <a:pt x="1119355" y="287745"/>
                    <a:pt x="1119608" y="288379"/>
                    <a:pt x="1119862" y="289012"/>
                  </a:cubicBezTo>
                  <a:cubicBezTo>
                    <a:pt x="1118215" y="289139"/>
                    <a:pt x="1116568" y="289772"/>
                    <a:pt x="1115048" y="291039"/>
                  </a:cubicBezTo>
                  <a:cubicBezTo>
                    <a:pt x="1107447" y="297247"/>
                    <a:pt x="1107700" y="317389"/>
                    <a:pt x="1104406" y="326130"/>
                  </a:cubicBezTo>
                  <a:cubicBezTo>
                    <a:pt x="1099085" y="340445"/>
                    <a:pt x="1089457" y="351340"/>
                    <a:pt x="1077170" y="360208"/>
                  </a:cubicBezTo>
                  <a:cubicBezTo>
                    <a:pt x="1058294" y="373763"/>
                    <a:pt x="1041191" y="390105"/>
                    <a:pt x="1025737" y="407460"/>
                  </a:cubicBezTo>
                  <a:cubicBezTo>
                    <a:pt x="1011548" y="423549"/>
                    <a:pt x="1013828" y="442045"/>
                    <a:pt x="1014842" y="462440"/>
                  </a:cubicBezTo>
                  <a:cubicBezTo>
                    <a:pt x="1015728" y="481443"/>
                    <a:pt x="1012941" y="499812"/>
                    <a:pt x="1018009" y="518561"/>
                  </a:cubicBezTo>
                  <a:cubicBezTo>
                    <a:pt x="1023709" y="539590"/>
                    <a:pt x="1041572" y="554792"/>
                    <a:pt x="1045626" y="576201"/>
                  </a:cubicBezTo>
                  <a:cubicBezTo>
                    <a:pt x="1049426" y="595711"/>
                    <a:pt x="1047906" y="631435"/>
                    <a:pt x="1029917" y="644357"/>
                  </a:cubicBezTo>
                  <a:cubicBezTo>
                    <a:pt x="1022696" y="649424"/>
                    <a:pt x="1013068" y="650311"/>
                    <a:pt x="1005087" y="653858"/>
                  </a:cubicBezTo>
                  <a:cubicBezTo>
                    <a:pt x="993306" y="659178"/>
                    <a:pt x="983805" y="668046"/>
                    <a:pt x="975064" y="677421"/>
                  </a:cubicBezTo>
                  <a:cubicBezTo>
                    <a:pt x="959228" y="694270"/>
                    <a:pt x="944786" y="714286"/>
                    <a:pt x="918943" y="708458"/>
                  </a:cubicBezTo>
                  <a:cubicBezTo>
                    <a:pt x="903235" y="704910"/>
                    <a:pt x="890693" y="694016"/>
                    <a:pt x="875491" y="690089"/>
                  </a:cubicBezTo>
                  <a:cubicBezTo>
                    <a:pt x="856489" y="685275"/>
                    <a:pt x="836979" y="691356"/>
                    <a:pt x="817724" y="684388"/>
                  </a:cubicBezTo>
                  <a:cubicBezTo>
                    <a:pt x="805816" y="680081"/>
                    <a:pt x="795934" y="672860"/>
                    <a:pt x="785800" y="665386"/>
                  </a:cubicBezTo>
                  <a:cubicBezTo>
                    <a:pt x="778832" y="660318"/>
                    <a:pt x="772118" y="655505"/>
                    <a:pt x="763124" y="656265"/>
                  </a:cubicBezTo>
                  <a:cubicBezTo>
                    <a:pt x="753749" y="657025"/>
                    <a:pt x="745008" y="661712"/>
                    <a:pt x="735633" y="662979"/>
                  </a:cubicBezTo>
                  <a:cubicBezTo>
                    <a:pt x="714224" y="665892"/>
                    <a:pt x="684073" y="660318"/>
                    <a:pt x="668365" y="644230"/>
                  </a:cubicBezTo>
                  <a:cubicBezTo>
                    <a:pt x="657850" y="633462"/>
                    <a:pt x="648983" y="621047"/>
                    <a:pt x="637835" y="610786"/>
                  </a:cubicBezTo>
                  <a:cubicBezTo>
                    <a:pt x="631880" y="605465"/>
                    <a:pt x="624786" y="601791"/>
                    <a:pt x="619339" y="595964"/>
                  </a:cubicBezTo>
                  <a:cubicBezTo>
                    <a:pt x="612498" y="588743"/>
                    <a:pt x="609711" y="580382"/>
                    <a:pt x="605784" y="571514"/>
                  </a:cubicBezTo>
                  <a:cubicBezTo>
                    <a:pt x="601350" y="561379"/>
                    <a:pt x="594889" y="549978"/>
                    <a:pt x="587035" y="542124"/>
                  </a:cubicBezTo>
                  <a:cubicBezTo>
                    <a:pt x="581588" y="536676"/>
                    <a:pt x="574367" y="534903"/>
                    <a:pt x="567399" y="532243"/>
                  </a:cubicBezTo>
                  <a:cubicBezTo>
                    <a:pt x="546243" y="524135"/>
                    <a:pt x="522047" y="525022"/>
                    <a:pt x="500131" y="529455"/>
                  </a:cubicBezTo>
                  <a:cubicBezTo>
                    <a:pt x="487716" y="531989"/>
                    <a:pt x="476695" y="531229"/>
                    <a:pt x="464153" y="530976"/>
                  </a:cubicBezTo>
                  <a:cubicBezTo>
                    <a:pt x="450091" y="530722"/>
                    <a:pt x="441730" y="536170"/>
                    <a:pt x="429949" y="542631"/>
                  </a:cubicBezTo>
                  <a:cubicBezTo>
                    <a:pt x="423868" y="545924"/>
                    <a:pt x="413733" y="549598"/>
                    <a:pt x="410440" y="540857"/>
                  </a:cubicBezTo>
                  <a:cubicBezTo>
                    <a:pt x="408286" y="535030"/>
                    <a:pt x="412340" y="525528"/>
                    <a:pt x="413860" y="519954"/>
                  </a:cubicBezTo>
                  <a:cubicBezTo>
                    <a:pt x="416014" y="512607"/>
                    <a:pt x="422475" y="501712"/>
                    <a:pt x="420448" y="494111"/>
                  </a:cubicBezTo>
                  <a:cubicBezTo>
                    <a:pt x="418167" y="485117"/>
                    <a:pt x="406892" y="485877"/>
                    <a:pt x="399671" y="487397"/>
                  </a:cubicBezTo>
                  <a:cubicBezTo>
                    <a:pt x="388523" y="489551"/>
                    <a:pt x="377882" y="493605"/>
                    <a:pt x="366481" y="495251"/>
                  </a:cubicBezTo>
                  <a:cubicBezTo>
                    <a:pt x="356599" y="496645"/>
                    <a:pt x="346718" y="496772"/>
                    <a:pt x="337090" y="499559"/>
                  </a:cubicBezTo>
                  <a:cubicBezTo>
                    <a:pt x="318848" y="505006"/>
                    <a:pt x="301239" y="512100"/>
                    <a:pt x="283250" y="518434"/>
                  </a:cubicBezTo>
                  <a:cubicBezTo>
                    <a:pt x="268175" y="523755"/>
                    <a:pt x="252466" y="533129"/>
                    <a:pt x="236251" y="531862"/>
                  </a:cubicBezTo>
                  <a:cubicBezTo>
                    <a:pt x="228270" y="531102"/>
                    <a:pt x="220543" y="528949"/>
                    <a:pt x="212942" y="532369"/>
                  </a:cubicBezTo>
                  <a:cubicBezTo>
                    <a:pt x="206734" y="535030"/>
                    <a:pt x="199513" y="539970"/>
                    <a:pt x="194066" y="543897"/>
                  </a:cubicBezTo>
                  <a:cubicBezTo>
                    <a:pt x="185831" y="549725"/>
                    <a:pt x="175950" y="553525"/>
                    <a:pt x="168223" y="559606"/>
                  </a:cubicBezTo>
                  <a:cubicBezTo>
                    <a:pt x="154668" y="570374"/>
                    <a:pt x="143646" y="579495"/>
                    <a:pt x="125277" y="578735"/>
                  </a:cubicBezTo>
                  <a:cubicBezTo>
                    <a:pt x="114763" y="578355"/>
                    <a:pt x="103741" y="577848"/>
                    <a:pt x="93480" y="575821"/>
                  </a:cubicBezTo>
                  <a:cubicBezTo>
                    <a:pt x="86512" y="574554"/>
                    <a:pt x="78151" y="572654"/>
                    <a:pt x="71057" y="574048"/>
                  </a:cubicBezTo>
                  <a:cubicBezTo>
                    <a:pt x="68904" y="574428"/>
                    <a:pt x="67003" y="575314"/>
                    <a:pt x="65357" y="576455"/>
                  </a:cubicBezTo>
                  <a:cubicBezTo>
                    <a:pt x="59782" y="570754"/>
                    <a:pt x="54335" y="564800"/>
                    <a:pt x="50028" y="557959"/>
                  </a:cubicBezTo>
                  <a:cubicBezTo>
                    <a:pt x="45340" y="550485"/>
                    <a:pt x="40906" y="543011"/>
                    <a:pt x="35459" y="536043"/>
                  </a:cubicBezTo>
                  <a:cubicBezTo>
                    <a:pt x="31025" y="530216"/>
                    <a:pt x="28112" y="524768"/>
                    <a:pt x="29885" y="517167"/>
                  </a:cubicBezTo>
                  <a:cubicBezTo>
                    <a:pt x="31532" y="510326"/>
                    <a:pt x="36979" y="500065"/>
                    <a:pt x="45214" y="500572"/>
                  </a:cubicBezTo>
                  <a:cubicBezTo>
                    <a:pt x="54588" y="501205"/>
                    <a:pt x="60543" y="513620"/>
                    <a:pt x="66623" y="519194"/>
                  </a:cubicBezTo>
                  <a:cubicBezTo>
                    <a:pt x="74731" y="526668"/>
                    <a:pt x="81825" y="522995"/>
                    <a:pt x="84359" y="512733"/>
                  </a:cubicBezTo>
                  <a:cubicBezTo>
                    <a:pt x="87526" y="499812"/>
                    <a:pt x="83472" y="485243"/>
                    <a:pt x="75491" y="474855"/>
                  </a:cubicBezTo>
                  <a:cubicBezTo>
                    <a:pt x="69030" y="466621"/>
                    <a:pt x="59656" y="461680"/>
                    <a:pt x="52815" y="453826"/>
                  </a:cubicBezTo>
                  <a:cubicBezTo>
                    <a:pt x="46101" y="446225"/>
                    <a:pt x="42427" y="436217"/>
                    <a:pt x="37613" y="427476"/>
                  </a:cubicBezTo>
                  <a:cubicBezTo>
                    <a:pt x="27225" y="408600"/>
                    <a:pt x="10123" y="392892"/>
                    <a:pt x="3409" y="371989"/>
                  </a:cubicBezTo>
                  <a:cubicBezTo>
                    <a:pt x="-3306" y="351467"/>
                    <a:pt x="2015" y="328790"/>
                    <a:pt x="1762" y="307634"/>
                  </a:cubicBezTo>
                  <a:cubicBezTo>
                    <a:pt x="1762" y="305987"/>
                    <a:pt x="1635" y="304341"/>
                    <a:pt x="1508" y="302694"/>
                  </a:cubicBezTo>
                  <a:cubicBezTo>
                    <a:pt x="1382" y="301174"/>
                    <a:pt x="1255" y="299653"/>
                    <a:pt x="1128" y="298133"/>
                  </a:cubicBezTo>
                  <a:lnTo>
                    <a:pt x="1128" y="297753"/>
                  </a:lnTo>
                  <a:cubicBezTo>
                    <a:pt x="1002" y="296233"/>
                    <a:pt x="1002" y="294713"/>
                    <a:pt x="748" y="293193"/>
                  </a:cubicBezTo>
                  <a:lnTo>
                    <a:pt x="748" y="292939"/>
                  </a:lnTo>
                  <a:cubicBezTo>
                    <a:pt x="622" y="291799"/>
                    <a:pt x="622" y="290659"/>
                    <a:pt x="622" y="289519"/>
                  </a:cubicBezTo>
                  <a:cubicBezTo>
                    <a:pt x="495" y="286099"/>
                    <a:pt x="748" y="282805"/>
                    <a:pt x="1382" y="279638"/>
                  </a:cubicBezTo>
                  <a:cubicBezTo>
                    <a:pt x="1635" y="278497"/>
                    <a:pt x="1888" y="277484"/>
                    <a:pt x="2268" y="276344"/>
                  </a:cubicBezTo>
                  <a:cubicBezTo>
                    <a:pt x="2522" y="275837"/>
                    <a:pt x="2649" y="275330"/>
                    <a:pt x="2902" y="274824"/>
                  </a:cubicBezTo>
                  <a:lnTo>
                    <a:pt x="2902" y="274824"/>
                  </a:lnTo>
                  <a:cubicBezTo>
                    <a:pt x="3155" y="274064"/>
                    <a:pt x="3662" y="273303"/>
                    <a:pt x="4042" y="272543"/>
                  </a:cubicBezTo>
                  <a:cubicBezTo>
                    <a:pt x="4169" y="272290"/>
                    <a:pt x="4295" y="271910"/>
                    <a:pt x="4549" y="271657"/>
                  </a:cubicBezTo>
                  <a:cubicBezTo>
                    <a:pt x="5182" y="270770"/>
                    <a:pt x="5816" y="269756"/>
                    <a:pt x="6576" y="268869"/>
                  </a:cubicBezTo>
                  <a:cubicBezTo>
                    <a:pt x="8223" y="267096"/>
                    <a:pt x="10250" y="265449"/>
                    <a:pt x="12783" y="263929"/>
                  </a:cubicBezTo>
                  <a:cubicBezTo>
                    <a:pt x="29252" y="254428"/>
                    <a:pt x="42807" y="262409"/>
                    <a:pt x="57629" y="270516"/>
                  </a:cubicBezTo>
                  <a:cubicBezTo>
                    <a:pt x="69537" y="276977"/>
                    <a:pt x="83852" y="282425"/>
                    <a:pt x="97027" y="276724"/>
                  </a:cubicBezTo>
                  <a:cubicBezTo>
                    <a:pt x="106402" y="272670"/>
                    <a:pt x="113369" y="265829"/>
                    <a:pt x="117803" y="256708"/>
                  </a:cubicBezTo>
                  <a:cubicBezTo>
                    <a:pt x="121097" y="249867"/>
                    <a:pt x="123630" y="242773"/>
                    <a:pt x="126037" y="235679"/>
                  </a:cubicBezTo>
                  <a:cubicBezTo>
                    <a:pt x="129711" y="224531"/>
                    <a:pt x="135412" y="210215"/>
                    <a:pt x="142886" y="201221"/>
                  </a:cubicBezTo>
                  <a:cubicBezTo>
                    <a:pt x="148713" y="194254"/>
                    <a:pt x="157455" y="191973"/>
                    <a:pt x="166829" y="192734"/>
                  </a:cubicBezTo>
                  <a:cubicBezTo>
                    <a:pt x="167209" y="192734"/>
                    <a:pt x="167716" y="192860"/>
                    <a:pt x="168096" y="192860"/>
                  </a:cubicBezTo>
                  <a:cubicBezTo>
                    <a:pt x="168603" y="192860"/>
                    <a:pt x="169236" y="192987"/>
                    <a:pt x="169743" y="193114"/>
                  </a:cubicBezTo>
                  <a:cubicBezTo>
                    <a:pt x="170883" y="193240"/>
                    <a:pt x="171896" y="193494"/>
                    <a:pt x="173037" y="193747"/>
                  </a:cubicBezTo>
                  <a:cubicBezTo>
                    <a:pt x="173543" y="193874"/>
                    <a:pt x="173923" y="194000"/>
                    <a:pt x="174430" y="194000"/>
                  </a:cubicBezTo>
                  <a:cubicBezTo>
                    <a:pt x="177850" y="194887"/>
                    <a:pt x="181271" y="196154"/>
                    <a:pt x="184564" y="197801"/>
                  </a:cubicBezTo>
                  <a:cubicBezTo>
                    <a:pt x="185071" y="198054"/>
                    <a:pt x="185451" y="198307"/>
                    <a:pt x="185958" y="198561"/>
                  </a:cubicBezTo>
                  <a:cubicBezTo>
                    <a:pt x="187098" y="199194"/>
                    <a:pt x="188238" y="199828"/>
                    <a:pt x="189378" y="200461"/>
                  </a:cubicBezTo>
                  <a:cubicBezTo>
                    <a:pt x="190012" y="200841"/>
                    <a:pt x="190645" y="201221"/>
                    <a:pt x="191152" y="201601"/>
                  </a:cubicBezTo>
                  <a:cubicBezTo>
                    <a:pt x="191785" y="201981"/>
                    <a:pt x="192292" y="202361"/>
                    <a:pt x="192925" y="202868"/>
                  </a:cubicBezTo>
                  <a:cubicBezTo>
                    <a:pt x="193432" y="203248"/>
                    <a:pt x="194066" y="203755"/>
                    <a:pt x="194572" y="204135"/>
                  </a:cubicBezTo>
                  <a:lnTo>
                    <a:pt x="194572" y="204135"/>
                  </a:lnTo>
                  <a:cubicBezTo>
                    <a:pt x="195206" y="204641"/>
                    <a:pt x="195839" y="205148"/>
                    <a:pt x="196473" y="205655"/>
                  </a:cubicBezTo>
                  <a:cubicBezTo>
                    <a:pt x="196599" y="205782"/>
                    <a:pt x="196853" y="206035"/>
                    <a:pt x="196979" y="206162"/>
                  </a:cubicBezTo>
                  <a:cubicBezTo>
                    <a:pt x="197359" y="206542"/>
                    <a:pt x="197866" y="206922"/>
                    <a:pt x="198246" y="207302"/>
                  </a:cubicBezTo>
                  <a:cubicBezTo>
                    <a:pt x="198880" y="207935"/>
                    <a:pt x="199386" y="208442"/>
                    <a:pt x="199893" y="209075"/>
                  </a:cubicBezTo>
                  <a:cubicBezTo>
                    <a:pt x="200400" y="209582"/>
                    <a:pt x="200907" y="210215"/>
                    <a:pt x="201413" y="210722"/>
                  </a:cubicBezTo>
                  <a:cubicBezTo>
                    <a:pt x="203440" y="213129"/>
                    <a:pt x="204960" y="215663"/>
                    <a:pt x="206101" y="218196"/>
                  </a:cubicBezTo>
                  <a:cubicBezTo>
                    <a:pt x="213448" y="235172"/>
                    <a:pt x="211675" y="263929"/>
                    <a:pt x="235744" y="266589"/>
                  </a:cubicBezTo>
                  <a:cubicBezTo>
                    <a:pt x="247019" y="267856"/>
                    <a:pt x="255127" y="255821"/>
                    <a:pt x="265515" y="252781"/>
                  </a:cubicBezTo>
                  <a:cubicBezTo>
                    <a:pt x="274509" y="250121"/>
                    <a:pt x="284264" y="245307"/>
                    <a:pt x="293131" y="250754"/>
                  </a:cubicBezTo>
                  <a:cubicBezTo>
                    <a:pt x="302759" y="256581"/>
                    <a:pt x="305420" y="268236"/>
                    <a:pt x="314541" y="274317"/>
                  </a:cubicBezTo>
                  <a:cubicBezTo>
                    <a:pt x="319735" y="277737"/>
                    <a:pt x="325562" y="279891"/>
                    <a:pt x="331643" y="281538"/>
                  </a:cubicBezTo>
                  <a:cubicBezTo>
                    <a:pt x="343171" y="284452"/>
                    <a:pt x="353179" y="291673"/>
                    <a:pt x="364454" y="294460"/>
                  </a:cubicBezTo>
                  <a:cubicBezTo>
                    <a:pt x="375222" y="297120"/>
                    <a:pt x="386876" y="294840"/>
                    <a:pt x="397644" y="292939"/>
                  </a:cubicBezTo>
                  <a:cubicBezTo>
                    <a:pt x="406259" y="291419"/>
                    <a:pt x="411580" y="287999"/>
                    <a:pt x="418547" y="283058"/>
                  </a:cubicBezTo>
                  <a:cubicBezTo>
                    <a:pt x="425642" y="278117"/>
                    <a:pt x="433876" y="275077"/>
                    <a:pt x="441603" y="271276"/>
                  </a:cubicBezTo>
                  <a:cubicBezTo>
                    <a:pt x="449204" y="267603"/>
                    <a:pt x="457185" y="264689"/>
                    <a:pt x="464533" y="260762"/>
                  </a:cubicBezTo>
                  <a:cubicBezTo>
                    <a:pt x="471121" y="257468"/>
                    <a:pt x="475808" y="251767"/>
                    <a:pt x="481762" y="247334"/>
                  </a:cubicBezTo>
                  <a:cubicBezTo>
                    <a:pt x="493543" y="238466"/>
                    <a:pt x="505958" y="230485"/>
                    <a:pt x="517740" y="221617"/>
                  </a:cubicBezTo>
                  <a:cubicBezTo>
                    <a:pt x="527621" y="214269"/>
                    <a:pt x="538895" y="209582"/>
                    <a:pt x="549030" y="202361"/>
                  </a:cubicBezTo>
                  <a:cubicBezTo>
                    <a:pt x="559418" y="195140"/>
                    <a:pt x="570566" y="188680"/>
                    <a:pt x="580447" y="180825"/>
                  </a:cubicBezTo>
                  <a:cubicBezTo>
                    <a:pt x="587541" y="175251"/>
                    <a:pt x="593496" y="169677"/>
                    <a:pt x="599703" y="163090"/>
                  </a:cubicBezTo>
                  <a:cubicBezTo>
                    <a:pt x="606544" y="155615"/>
                    <a:pt x="616299" y="155869"/>
                    <a:pt x="625293" y="152955"/>
                  </a:cubicBezTo>
                  <a:cubicBezTo>
                    <a:pt x="629981" y="151435"/>
                    <a:pt x="634921" y="149281"/>
                    <a:pt x="638722" y="146114"/>
                  </a:cubicBezTo>
                  <a:cubicBezTo>
                    <a:pt x="642649" y="142821"/>
                    <a:pt x="645435" y="139780"/>
                    <a:pt x="650503" y="138387"/>
                  </a:cubicBezTo>
                  <a:cubicBezTo>
                    <a:pt x="655063" y="136993"/>
                    <a:pt x="660637" y="136613"/>
                    <a:pt x="664184" y="132939"/>
                  </a:cubicBezTo>
                  <a:cubicBezTo>
                    <a:pt x="666591" y="130406"/>
                    <a:pt x="667605" y="126732"/>
                    <a:pt x="669505" y="123818"/>
                  </a:cubicBezTo>
                  <a:cubicBezTo>
                    <a:pt x="676092" y="114063"/>
                    <a:pt x="679513" y="105322"/>
                    <a:pt x="675586" y="93414"/>
                  </a:cubicBezTo>
                  <a:cubicBezTo>
                    <a:pt x="672039" y="83026"/>
                    <a:pt x="669379" y="73905"/>
                    <a:pt x="668619" y="62757"/>
                  </a:cubicBezTo>
                  <a:cubicBezTo>
                    <a:pt x="667478" y="47302"/>
                    <a:pt x="683821" y="34507"/>
                    <a:pt x="695855" y="27286"/>
                  </a:cubicBezTo>
                  <a:cubicBezTo>
                    <a:pt x="702316" y="23486"/>
                    <a:pt x="706117" y="24372"/>
                    <a:pt x="712197" y="28046"/>
                  </a:cubicBezTo>
                  <a:cubicBezTo>
                    <a:pt x="720305" y="32987"/>
                    <a:pt x="728666" y="35394"/>
                    <a:pt x="738167" y="35394"/>
                  </a:cubicBezTo>
                  <a:cubicBezTo>
                    <a:pt x="748049" y="35394"/>
                    <a:pt x="757676" y="33240"/>
                    <a:pt x="767558" y="32860"/>
                  </a:cubicBezTo>
                  <a:cubicBezTo>
                    <a:pt x="775031" y="32607"/>
                    <a:pt x="781746" y="34507"/>
                    <a:pt x="788713" y="36914"/>
                  </a:cubicBezTo>
                  <a:cubicBezTo>
                    <a:pt x="803535" y="41981"/>
                    <a:pt x="818484" y="49836"/>
                    <a:pt x="833812" y="42868"/>
                  </a:cubicBezTo>
                  <a:cubicBezTo>
                    <a:pt x="848127" y="36281"/>
                    <a:pt x="861049" y="51609"/>
                    <a:pt x="875491" y="45022"/>
                  </a:cubicBezTo>
                  <a:cubicBezTo>
                    <a:pt x="875998" y="44768"/>
                    <a:pt x="876631" y="44388"/>
                    <a:pt x="877011" y="44135"/>
                  </a:cubicBezTo>
                  <a:cubicBezTo>
                    <a:pt x="877518" y="43755"/>
                    <a:pt x="878024" y="43502"/>
                    <a:pt x="878532" y="43121"/>
                  </a:cubicBezTo>
                  <a:cubicBezTo>
                    <a:pt x="878911" y="42868"/>
                    <a:pt x="879292" y="42615"/>
                    <a:pt x="879671" y="42235"/>
                  </a:cubicBezTo>
                  <a:cubicBezTo>
                    <a:pt x="881699" y="40588"/>
                    <a:pt x="883346" y="38688"/>
                    <a:pt x="884612" y="36407"/>
                  </a:cubicBezTo>
                  <a:cubicBezTo>
                    <a:pt x="884866" y="36027"/>
                    <a:pt x="885119" y="35647"/>
                    <a:pt x="885245" y="35267"/>
                  </a:cubicBezTo>
                  <a:cubicBezTo>
                    <a:pt x="885499" y="34887"/>
                    <a:pt x="885753" y="34380"/>
                    <a:pt x="886005" y="33874"/>
                  </a:cubicBezTo>
                  <a:cubicBezTo>
                    <a:pt x="886259" y="33494"/>
                    <a:pt x="886386" y="33114"/>
                    <a:pt x="886513" y="32734"/>
                  </a:cubicBezTo>
                  <a:cubicBezTo>
                    <a:pt x="887779" y="29946"/>
                    <a:pt x="888793" y="26779"/>
                    <a:pt x="889933" y="23739"/>
                  </a:cubicBezTo>
                  <a:cubicBezTo>
                    <a:pt x="890693" y="21459"/>
                    <a:pt x="891579" y="19178"/>
                    <a:pt x="892593" y="16898"/>
                  </a:cubicBezTo>
                  <a:cubicBezTo>
                    <a:pt x="892847" y="16265"/>
                    <a:pt x="893100" y="15758"/>
                    <a:pt x="893480" y="15124"/>
                  </a:cubicBezTo>
                  <a:cubicBezTo>
                    <a:pt x="894494" y="12971"/>
                    <a:pt x="895760" y="11071"/>
                    <a:pt x="897407" y="9297"/>
                  </a:cubicBezTo>
                  <a:cubicBezTo>
                    <a:pt x="897787" y="8790"/>
                    <a:pt x="898294" y="8283"/>
                    <a:pt x="898927" y="7777"/>
                  </a:cubicBezTo>
                  <a:cubicBezTo>
                    <a:pt x="910202" y="-2231"/>
                    <a:pt x="921984" y="-2991"/>
                    <a:pt x="932751" y="7903"/>
                  </a:cubicBezTo>
                  <a:cubicBezTo>
                    <a:pt x="943266" y="18545"/>
                    <a:pt x="952894" y="30073"/>
                    <a:pt x="966322" y="37041"/>
                  </a:cubicBezTo>
                  <a:cubicBezTo>
                    <a:pt x="974303" y="41221"/>
                    <a:pt x="983424" y="42361"/>
                    <a:pt x="991786" y="46288"/>
                  </a:cubicBezTo>
                  <a:cubicBezTo>
                    <a:pt x="997106" y="48822"/>
                    <a:pt x="1002300" y="51356"/>
                    <a:pt x="1007874" y="52749"/>
                  </a:cubicBezTo>
                  <a:cubicBezTo>
                    <a:pt x="1014082" y="54396"/>
                    <a:pt x="1018135" y="60730"/>
                    <a:pt x="1022823" y="64657"/>
                  </a:cubicBezTo>
                  <a:cubicBezTo>
                    <a:pt x="1026876" y="68078"/>
                    <a:pt x="1031057" y="71498"/>
                    <a:pt x="1034097" y="75932"/>
                  </a:cubicBezTo>
                  <a:cubicBezTo>
                    <a:pt x="1036885" y="79986"/>
                    <a:pt x="1038278" y="84800"/>
                    <a:pt x="1040431" y="89107"/>
                  </a:cubicBezTo>
                  <a:cubicBezTo>
                    <a:pt x="1042586" y="93414"/>
                    <a:pt x="1045372" y="97088"/>
                    <a:pt x="1048033" y="101015"/>
                  </a:cubicBezTo>
                  <a:cubicBezTo>
                    <a:pt x="1050186" y="104309"/>
                    <a:pt x="1051580" y="107856"/>
                    <a:pt x="1054113" y="110896"/>
                  </a:cubicBezTo>
                  <a:cubicBezTo>
                    <a:pt x="1059561" y="117231"/>
                    <a:pt x="1067668" y="119511"/>
                    <a:pt x="1075776" y="117357"/>
                  </a:cubicBezTo>
                  <a:cubicBezTo>
                    <a:pt x="1088064" y="114190"/>
                    <a:pt x="1096426" y="101902"/>
                    <a:pt x="1108334" y="97088"/>
                  </a:cubicBezTo>
                  <a:cubicBezTo>
                    <a:pt x="1116695" y="93794"/>
                    <a:pt x="1130250" y="92148"/>
                    <a:pt x="1138104" y="97595"/>
                  </a:cubicBezTo>
                  <a:cubicBezTo>
                    <a:pt x="1149506" y="105576"/>
                    <a:pt x="1136203" y="121791"/>
                    <a:pt x="1142285" y="131926"/>
                  </a:cubicBezTo>
                  <a:cubicBezTo>
                    <a:pt x="1142664" y="132686"/>
                    <a:pt x="1143298" y="133446"/>
                    <a:pt x="1144058" y="134080"/>
                  </a:cubicBezTo>
                  <a:cubicBezTo>
                    <a:pt x="1145958" y="135980"/>
                    <a:pt x="1148492" y="137500"/>
                    <a:pt x="1150899" y="139020"/>
                  </a:cubicBezTo>
                  <a:cubicBezTo>
                    <a:pt x="1151659" y="139527"/>
                    <a:pt x="1152419" y="139907"/>
                    <a:pt x="1153052" y="140414"/>
                  </a:cubicBezTo>
                  <a:cubicBezTo>
                    <a:pt x="1155966" y="142441"/>
                    <a:pt x="1158373" y="144594"/>
                    <a:pt x="1158373" y="147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5" name="Полилиния: фигура 394">
              <a:extLst>
                <a:ext uri="{FF2B5EF4-FFF2-40B4-BE49-F238E27FC236}">
                  <a16:creationId xmlns:a16="http://schemas.microsoft.com/office/drawing/2014/main" id="{59B75241-59C3-471A-8E44-1A95CBF27021}"/>
                </a:ext>
              </a:extLst>
            </p:cNvPr>
            <p:cNvSpPr/>
            <p:nvPr/>
          </p:nvSpPr>
          <p:spPr>
            <a:xfrm>
              <a:off x="3096583" y="3313485"/>
              <a:ext cx="831994" cy="890775"/>
            </a:xfrm>
            <a:custGeom>
              <a:avLst/>
              <a:gdLst>
                <a:gd name="connsiteX0" fmla="*/ 821663 w 831994"/>
                <a:gd name="connsiteY0" fmla="*/ 524789 h 890775"/>
                <a:gd name="connsiteX1" fmla="*/ 760728 w 831994"/>
                <a:gd name="connsiteY1" fmla="*/ 542145 h 890775"/>
                <a:gd name="connsiteX2" fmla="*/ 709802 w 831994"/>
                <a:gd name="connsiteY2" fmla="*/ 572295 h 890775"/>
                <a:gd name="connsiteX3" fmla="*/ 723611 w 831994"/>
                <a:gd name="connsiteY3" fmla="*/ 621321 h 890775"/>
                <a:gd name="connsiteX4" fmla="*/ 695360 w 831994"/>
                <a:gd name="connsiteY4" fmla="*/ 650079 h 890775"/>
                <a:gd name="connsiteX5" fmla="*/ 689913 w 831994"/>
                <a:gd name="connsiteY5" fmla="*/ 696698 h 890775"/>
                <a:gd name="connsiteX6" fmla="*/ 680539 w 831994"/>
                <a:gd name="connsiteY6" fmla="*/ 717473 h 890775"/>
                <a:gd name="connsiteX7" fmla="*/ 618591 w 831994"/>
                <a:gd name="connsiteY7" fmla="*/ 661860 h 890775"/>
                <a:gd name="connsiteX8" fmla="*/ 568424 w 831994"/>
                <a:gd name="connsiteY8" fmla="*/ 663507 h 890775"/>
                <a:gd name="connsiteX9" fmla="*/ 562850 w 831994"/>
                <a:gd name="connsiteY9" fmla="*/ 640451 h 890775"/>
                <a:gd name="connsiteX10" fmla="*/ 537134 w 831994"/>
                <a:gd name="connsiteY10" fmla="*/ 611187 h 890775"/>
                <a:gd name="connsiteX11" fmla="*/ 479367 w 831994"/>
                <a:gd name="connsiteY11" fmla="*/ 628289 h 890775"/>
                <a:gd name="connsiteX12" fmla="*/ 447063 w 831994"/>
                <a:gd name="connsiteY12" fmla="*/ 703159 h 890775"/>
                <a:gd name="connsiteX13" fmla="*/ 401203 w 831994"/>
                <a:gd name="connsiteY13" fmla="*/ 742683 h 890775"/>
                <a:gd name="connsiteX14" fmla="*/ 363326 w 831994"/>
                <a:gd name="connsiteY14" fmla="*/ 718234 h 890775"/>
                <a:gd name="connsiteX15" fmla="*/ 326968 w 831994"/>
                <a:gd name="connsiteY15" fmla="*/ 722541 h 890775"/>
                <a:gd name="connsiteX16" fmla="*/ 322027 w 831994"/>
                <a:gd name="connsiteY16" fmla="*/ 786262 h 890775"/>
                <a:gd name="connsiteX17" fmla="*/ 307585 w 831994"/>
                <a:gd name="connsiteY17" fmla="*/ 819199 h 890775"/>
                <a:gd name="connsiteX18" fmla="*/ 253998 w 831994"/>
                <a:gd name="connsiteY18" fmla="*/ 816539 h 890775"/>
                <a:gd name="connsiteX19" fmla="*/ 253492 w 831994"/>
                <a:gd name="connsiteY19" fmla="*/ 867086 h 890775"/>
                <a:gd name="connsiteX20" fmla="*/ 239303 w 831994"/>
                <a:gd name="connsiteY20" fmla="*/ 878614 h 890775"/>
                <a:gd name="connsiteX21" fmla="*/ 227142 w 831994"/>
                <a:gd name="connsiteY21" fmla="*/ 890775 h 890775"/>
                <a:gd name="connsiteX22" fmla="*/ 189770 w 831994"/>
                <a:gd name="connsiteY22" fmla="*/ 863158 h 890775"/>
                <a:gd name="connsiteX23" fmla="*/ 203325 w 831994"/>
                <a:gd name="connsiteY23" fmla="*/ 825534 h 890775"/>
                <a:gd name="connsiteX24" fmla="*/ 186857 w 831994"/>
                <a:gd name="connsiteY24" fmla="*/ 800831 h 890775"/>
                <a:gd name="connsiteX25" fmla="*/ 201298 w 831994"/>
                <a:gd name="connsiteY25" fmla="*/ 771440 h 890775"/>
                <a:gd name="connsiteX26" fmla="*/ 182423 w 831994"/>
                <a:gd name="connsiteY26" fmla="*/ 728748 h 890775"/>
                <a:gd name="connsiteX27" fmla="*/ 195471 w 831994"/>
                <a:gd name="connsiteY27" fmla="*/ 710886 h 890775"/>
                <a:gd name="connsiteX28" fmla="*/ 203325 w 831994"/>
                <a:gd name="connsiteY28" fmla="*/ 663380 h 890775"/>
                <a:gd name="connsiteX29" fmla="*/ 194838 w 831994"/>
                <a:gd name="connsiteY29" fmla="*/ 638170 h 890775"/>
                <a:gd name="connsiteX30" fmla="*/ 188377 w 831994"/>
                <a:gd name="connsiteY30" fmla="*/ 602573 h 890775"/>
                <a:gd name="connsiteX31" fmla="*/ 187490 w 831994"/>
                <a:gd name="connsiteY31" fmla="*/ 585344 h 890775"/>
                <a:gd name="connsiteX32" fmla="*/ 155313 w 831994"/>
                <a:gd name="connsiteY32" fmla="*/ 592691 h 890775"/>
                <a:gd name="connsiteX33" fmla="*/ 123642 w 831994"/>
                <a:gd name="connsiteY33" fmla="*/ 557980 h 890775"/>
                <a:gd name="connsiteX34" fmla="*/ 48899 w 831994"/>
                <a:gd name="connsiteY34" fmla="*/ 530237 h 890775"/>
                <a:gd name="connsiteX35" fmla="*/ 0 w 831994"/>
                <a:gd name="connsiteY35" fmla="*/ 467022 h 890775"/>
                <a:gd name="connsiteX36" fmla="*/ 59288 w 831994"/>
                <a:gd name="connsiteY36" fmla="*/ 407228 h 890775"/>
                <a:gd name="connsiteX37" fmla="*/ 86018 w 831994"/>
                <a:gd name="connsiteY37" fmla="*/ 433578 h 890775"/>
                <a:gd name="connsiteX38" fmla="*/ 109074 w 831994"/>
                <a:gd name="connsiteY38" fmla="*/ 430284 h 890775"/>
                <a:gd name="connsiteX39" fmla="*/ 159493 w 831994"/>
                <a:gd name="connsiteY39" fmla="*/ 415462 h 890775"/>
                <a:gd name="connsiteX40" fmla="*/ 133143 w 831994"/>
                <a:gd name="connsiteY40" fmla="*/ 338946 h 890775"/>
                <a:gd name="connsiteX41" fmla="*/ 131623 w 831994"/>
                <a:gd name="connsiteY41" fmla="*/ 336919 h 890775"/>
                <a:gd name="connsiteX42" fmla="*/ 130483 w 831994"/>
                <a:gd name="connsiteY42" fmla="*/ 335273 h 890775"/>
                <a:gd name="connsiteX43" fmla="*/ 130356 w 831994"/>
                <a:gd name="connsiteY43" fmla="*/ 335019 h 890775"/>
                <a:gd name="connsiteX44" fmla="*/ 129216 w 831994"/>
                <a:gd name="connsiteY44" fmla="*/ 333119 h 890775"/>
                <a:gd name="connsiteX45" fmla="*/ 127569 w 831994"/>
                <a:gd name="connsiteY45" fmla="*/ 330205 h 890775"/>
                <a:gd name="connsiteX46" fmla="*/ 121615 w 831994"/>
                <a:gd name="connsiteY46" fmla="*/ 319184 h 890775"/>
                <a:gd name="connsiteX47" fmla="*/ 176595 w 831994"/>
                <a:gd name="connsiteY47" fmla="*/ 269904 h 890775"/>
                <a:gd name="connsiteX48" fmla="*/ 209280 w 831994"/>
                <a:gd name="connsiteY48" fmla="*/ 280799 h 890775"/>
                <a:gd name="connsiteX49" fmla="*/ 244371 w 831994"/>
                <a:gd name="connsiteY49" fmla="*/ 272945 h 890775"/>
                <a:gd name="connsiteX50" fmla="*/ 279462 w 831994"/>
                <a:gd name="connsiteY50" fmla="*/ 275478 h 890775"/>
                <a:gd name="connsiteX51" fmla="*/ 301251 w 831994"/>
                <a:gd name="connsiteY51" fmla="*/ 279406 h 890775"/>
                <a:gd name="connsiteX52" fmla="*/ 314679 w 831994"/>
                <a:gd name="connsiteY52" fmla="*/ 242794 h 890775"/>
                <a:gd name="connsiteX53" fmla="*/ 320633 w 831994"/>
                <a:gd name="connsiteY53" fmla="*/ 201622 h 890775"/>
                <a:gd name="connsiteX54" fmla="*/ 345463 w 831994"/>
                <a:gd name="connsiteY54" fmla="*/ 186927 h 890775"/>
                <a:gd name="connsiteX55" fmla="*/ 361172 w 831994"/>
                <a:gd name="connsiteY55" fmla="*/ 149176 h 890775"/>
                <a:gd name="connsiteX56" fmla="*/ 374093 w 831994"/>
                <a:gd name="connsiteY56" fmla="*/ 119152 h 890775"/>
                <a:gd name="connsiteX57" fmla="*/ 352304 w 831994"/>
                <a:gd name="connsiteY57" fmla="*/ 67719 h 890775"/>
                <a:gd name="connsiteX58" fmla="*/ 405131 w 831994"/>
                <a:gd name="connsiteY58" fmla="*/ 63032 h 890775"/>
                <a:gd name="connsiteX59" fmla="*/ 477340 w 831994"/>
                <a:gd name="connsiteY59" fmla="*/ 42256 h 890775"/>
                <a:gd name="connsiteX60" fmla="*/ 506730 w 831994"/>
                <a:gd name="connsiteY60" fmla="*/ 17806 h 890775"/>
                <a:gd name="connsiteX61" fmla="*/ 503436 w 831994"/>
                <a:gd name="connsiteY61" fmla="*/ 6151 h 890775"/>
                <a:gd name="connsiteX62" fmla="*/ 547268 w 831994"/>
                <a:gd name="connsiteY62" fmla="*/ 7545 h 890775"/>
                <a:gd name="connsiteX63" fmla="*/ 562850 w 831994"/>
                <a:gd name="connsiteY63" fmla="*/ 49730 h 890775"/>
                <a:gd name="connsiteX64" fmla="*/ 556896 w 831994"/>
                <a:gd name="connsiteY64" fmla="*/ 74813 h 890775"/>
                <a:gd name="connsiteX65" fmla="*/ 573365 w 831994"/>
                <a:gd name="connsiteY65" fmla="*/ 82921 h 890775"/>
                <a:gd name="connsiteX66" fmla="*/ 570325 w 831994"/>
                <a:gd name="connsiteY66" fmla="*/ 92929 h 890775"/>
                <a:gd name="connsiteX67" fmla="*/ 535107 w 831994"/>
                <a:gd name="connsiteY67" fmla="*/ 160577 h 890775"/>
                <a:gd name="connsiteX68" fmla="*/ 515598 w 831994"/>
                <a:gd name="connsiteY68" fmla="*/ 188321 h 890775"/>
                <a:gd name="connsiteX69" fmla="*/ 478606 w 831994"/>
                <a:gd name="connsiteY69" fmla="*/ 206816 h 890775"/>
                <a:gd name="connsiteX70" fmla="*/ 434014 w 831994"/>
                <a:gd name="connsiteY70" fmla="*/ 267244 h 890775"/>
                <a:gd name="connsiteX71" fmla="*/ 463658 w 831994"/>
                <a:gd name="connsiteY71" fmla="*/ 319184 h 890775"/>
                <a:gd name="connsiteX72" fmla="*/ 458337 w 831994"/>
                <a:gd name="connsiteY72" fmla="*/ 374417 h 890775"/>
                <a:gd name="connsiteX73" fmla="*/ 509137 w 831994"/>
                <a:gd name="connsiteY73" fmla="*/ 369097 h 890775"/>
                <a:gd name="connsiteX74" fmla="*/ 523579 w 831994"/>
                <a:gd name="connsiteY74" fmla="*/ 336159 h 890775"/>
                <a:gd name="connsiteX75" fmla="*/ 574378 w 831994"/>
                <a:gd name="connsiteY75" fmla="*/ 345407 h 890775"/>
                <a:gd name="connsiteX76" fmla="*/ 622265 w 831994"/>
                <a:gd name="connsiteY76" fmla="*/ 359596 h 890775"/>
                <a:gd name="connsiteX77" fmla="*/ 663563 w 831994"/>
                <a:gd name="connsiteY77" fmla="*/ 372770 h 890775"/>
                <a:gd name="connsiteX78" fmla="*/ 684339 w 831994"/>
                <a:gd name="connsiteY78" fmla="*/ 409762 h 890775"/>
                <a:gd name="connsiteX79" fmla="*/ 731212 w 831994"/>
                <a:gd name="connsiteY79" fmla="*/ 365930 h 890775"/>
                <a:gd name="connsiteX80" fmla="*/ 768456 w 831994"/>
                <a:gd name="connsiteY80" fmla="*/ 401021 h 890775"/>
                <a:gd name="connsiteX81" fmla="*/ 778211 w 831994"/>
                <a:gd name="connsiteY81" fmla="*/ 430791 h 890775"/>
                <a:gd name="connsiteX82" fmla="*/ 824323 w 831994"/>
                <a:gd name="connsiteY82" fmla="*/ 460941 h 890775"/>
                <a:gd name="connsiteX83" fmla="*/ 821663 w 831994"/>
                <a:gd name="connsiteY83" fmla="*/ 524789 h 8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31994" h="890775">
                  <a:moveTo>
                    <a:pt x="821663" y="524789"/>
                  </a:moveTo>
                  <a:cubicBezTo>
                    <a:pt x="818116" y="546579"/>
                    <a:pt x="789485" y="540118"/>
                    <a:pt x="760728" y="542145"/>
                  </a:cubicBezTo>
                  <a:cubicBezTo>
                    <a:pt x="732098" y="544045"/>
                    <a:pt x="723611" y="560007"/>
                    <a:pt x="709802" y="572295"/>
                  </a:cubicBezTo>
                  <a:cubicBezTo>
                    <a:pt x="695994" y="584710"/>
                    <a:pt x="709802" y="597505"/>
                    <a:pt x="723611" y="621321"/>
                  </a:cubicBezTo>
                  <a:cubicBezTo>
                    <a:pt x="737419" y="645138"/>
                    <a:pt x="713223" y="641591"/>
                    <a:pt x="695360" y="650079"/>
                  </a:cubicBezTo>
                  <a:cubicBezTo>
                    <a:pt x="677498" y="658440"/>
                    <a:pt x="690420" y="679215"/>
                    <a:pt x="689913" y="696698"/>
                  </a:cubicBezTo>
                  <a:cubicBezTo>
                    <a:pt x="689659" y="703539"/>
                    <a:pt x="686112" y="710506"/>
                    <a:pt x="680539" y="717473"/>
                  </a:cubicBezTo>
                  <a:cubicBezTo>
                    <a:pt x="624292" y="736096"/>
                    <a:pt x="619351" y="680989"/>
                    <a:pt x="618591" y="661860"/>
                  </a:cubicBezTo>
                  <a:cubicBezTo>
                    <a:pt x="617957" y="642731"/>
                    <a:pt x="580333" y="669461"/>
                    <a:pt x="568424" y="663507"/>
                  </a:cubicBezTo>
                  <a:cubicBezTo>
                    <a:pt x="556516" y="657553"/>
                    <a:pt x="556516" y="650965"/>
                    <a:pt x="562850" y="640451"/>
                  </a:cubicBezTo>
                  <a:cubicBezTo>
                    <a:pt x="569058" y="629936"/>
                    <a:pt x="553603" y="623602"/>
                    <a:pt x="537134" y="611187"/>
                  </a:cubicBezTo>
                  <a:cubicBezTo>
                    <a:pt x="520665" y="598646"/>
                    <a:pt x="499889" y="619041"/>
                    <a:pt x="479367" y="628289"/>
                  </a:cubicBezTo>
                  <a:cubicBezTo>
                    <a:pt x="458971" y="637537"/>
                    <a:pt x="453017" y="684029"/>
                    <a:pt x="447063" y="703159"/>
                  </a:cubicBezTo>
                  <a:cubicBezTo>
                    <a:pt x="441109" y="722287"/>
                    <a:pt x="415392" y="741797"/>
                    <a:pt x="401203" y="742683"/>
                  </a:cubicBezTo>
                  <a:cubicBezTo>
                    <a:pt x="387015" y="743697"/>
                    <a:pt x="368899" y="730142"/>
                    <a:pt x="363326" y="718234"/>
                  </a:cubicBezTo>
                  <a:cubicBezTo>
                    <a:pt x="357751" y="706326"/>
                    <a:pt x="346857" y="707719"/>
                    <a:pt x="326968" y="722541"/>
                  </a:cubicBezTo>
                  <a:cubicBezTo>
                    <a:pt x="307205" y="737363"/>
                    <a:pt x="316073" y="768400"/>
                    <a:pt x="322027" y="786262"/>
                  </a:cubicBezTo>
                  <a:cubicBezTo>
                    <a:pt x="327981" y="804125"/>
                    <a:pt x="322407" y="809698"/>
                    <a:pt x="307585" y="819199"/>
                  </a:cubicBezTo>
                  <a:cubicBezTo>
                    <a:pt x="292763" y="828827"/>
                    <a:pt x="274268" y="822493"/>
                    <a:pt x="253998" y="816539"/>
                  </a:cubicBezTo>
                  <a:cubicBezTo>
                    <a:pt x="233729" y="810585"/>
                    <a:pt x="250831" y="849604"/>
                    <a:pt x="253492" y="867086"/>
                  </a:cubicBezTo>
                  <a:cubicBezTo>
                    <a:pt x="256152" y="884568"/>
                    <a:pt x="248551" y="876333"/>
                    <a:pt x="239303" y="878614"/>
                  </a:cubicBezTo>
                  <a:cubicBezTo>
                    <a:pt x="233223" y="880134"/>
                    <a:pt x="229295" y="886468"/>
                    <a:pt x="227142" y="890775"/>
                  </a:cubicBezTo>
                  <a:cubicBezTo>
                    <a:pt x="221568" y="882794"/>
                    <a:pt x="196865" y="873293"/>
                    <a:pt x="189770" y="863158"/>
                  </a:cubicBezTo>
                  <a:cubicBezTo>
                    <a:pt x="180523" y="849984"/>
                    <a:pt x="193317" y="839722"/>
                    <a:pt x="203325" y="825534"/>
                  </a:cubicBezTo>
                  <a:cubicBezTo>
                    <a:pt x="213207" y="811345"/>
                    <a:pt x="190150" y="811979"/>
                    <a:pt x="186857" y="800831"/>
                  </a:cubicBezTo>
                  <a:cubicBezTo>
                    <a:pt x="183563" y="789556"/>
                    <a:pt x="191797" y="781702"/>
                    <a:pt x="201298" y="771440"/>
                  </a:cubicBezTo>
                  <a:cubicBezTo>
                    <a:pt x="210926" y="761179"/>
                    <a:pt x="182423" y="728748"/>
                    <a:pt x="182423" y="728748"/>
                  </a:cubicBezTo>
                  <a:cubicBezTo>
                    <a:pt x="189390" y="724568"/>
                    <a:pt x="194838" y="718994"/>
                    <a:pt x="195471" y="710886"/>
                  </a:cubicBezTo>
                  <a:cubicBezTo>
                    <a:pt x="196991" y="692644"/>
                    <a:pt x="203325" y="672755"/>
                    <a:pt x="203325" y="663380"/>
                  </a:cubicBezTo>
                  <a:cubicBezTo>
                    <a:pt x="203325" y="654006"/>
                    <a:pt x="202312" y="645518"/>
                    <a:pt x="194838" y="638170"/>
                  </a:cubicBezTo>
                  <a:cubicBezTo>
                    <a:pt x="187490" y="630696"/>
                    <a:pt x="181536" y="609920"/>
                    <a:pt x="188377" y="602573"/>
                  </a:cubicBezTo>
                  <a:cubicBezTo>
                    <a:pt x="195344" y="595225"/>
                    <a:pt x="197371" y="580783"/>
                    <a:pt x="187490" y="585344"/>
                  </a:cubicBezTo>
                  <a:cubicBezTo>
                    <a:pt x="177609" y="589778"/>
                    <a:pt x="167728" y="606120"/>
                    <a:pt x="155313" y="592691"/>
                  </a:cubicBezTo>
                  <a:cubicBezTo>
                    <a:pt x="142898" y="579390"/>
                    <a:pt x="142391" y="549113"/>
                    <a:pt x="123642" y="557980"/>
                  </a:cubicBezTo>
                  <a:cubicBezTo>
                    <a:pt x="104766" y="566975"/>
                    <a:pt x="67268" y="554053"/>
                    <a:pt x="48899" y="530237"/>
                  </a:cubicBezTo>
                  <a:cubicBezTo>
                    <a:pt x="32304" y="508701"/>
                    <a:pt x="29897" y="481464"/>
                    <a:pt x="0" y="467022"/>
                  </a:cubicBezTo>
                  <a:cubicBezTo>
                    <a:pt x="18242" y="453721"/>
                    <a:pt x="47886" y="418123"/>
                    <a:pt x="59288" y="407228"/>
                  </a:cubicBezTo>
                  <a:cubicBezTo>
                    <a:pt x="72462" y="394687"/>
                    <a:pt x="78417" y="425090"/>
                    <a:pt x="86018" y="433578"/>
                  </a:cubicBezTo>
                  <a:cubicBezTo>
                    <a:pt x="93618" y="442193"/>
                    <a:pt x="102486" y="435858"/>
                    <a:pt x="109074" y="430284"/>
                  </a:cubicBezTo>
                  <a:cubicBezTo>
                    <a:pt x="115661" y="424710"/>
                    <a:pt x="142138" y="417996"/>
                    <a:pt x="159493" y="415462"/>
                  </a:cubicBezTo>
                  <a:cubicBezTo>
                    <a:pt x="176975" y="412802"/>
                    <a:pt x="141631" y="348827"/>
                    <a:pt x="133143" y="338946"/>
                  </a:cubicBezTo>
                  <a:cubicBezTo>
                    <a:pt x="132637" y="338313"/>
                    <a:pt x="132130" y="337680"/>
                    <a:pt x="131623" y="336919"/>
                  </a:cubicBezTo>
                  <a:cubicBezTo>
                    <a:pt x="131243" y="336413"/>
                    <a:pt x="130863" y="335906"/>
                    <a:pt x="130483" y="335273"/>
                  </a:cubicBezTo>
                  <a:cubicBezTo>
                    <a:pt x="130483" y="335146"/>
                    <a:pt x="130356" y="335146"/>
                    <a:pt x="130356" y="335019"/>
                  </a:cubicBezTo>
                  <a:cubicBezTo>
                    <a:pt x="129976" y="334386"/>
                    <a:pt x="129596" y="333752"/>
                    <a:pt x="129216" y="333119"/>
                  </a:cubicBezTo>
                  <a:cubicBezTo>
                    <a:pt x="128709" y="332232"/>
                    <a:pt x="128076" y="331219"/>
                    <a:pt x="127569" y="330205"/>
                  </a:cubicBezTo>
                  <a:cubicBezTo>
                    <a:pt x="125669" y="326911"/>
                    <a:pt x="123769" y="323111"/>
                    <a:pt x="121615" y="319184"/>
                  </a:cubicBezTo>
                  <a:cubicBezTo>
                    <a:pt x="121615" y="319184"/>
                    <a:pt x="168741" y="265344"/>
                    <a:pt x="176595" y="269904"/>
                  </a:cubicBezTo>
                  <a:cubicBezTo>
                    <a:pt x="184450" y="274338"/>
                    <a:pt x="189010" y="285740"/>
                    <a:pt x="209280" y="280799"/>
                  </a:cubicBezTo>
                  <a:cubicBezTo>
                    <a:pt x="229549" y="275858"/>
                    <a:pt x="227142" y="272945"/>
                    <a:pt x="244371" y="272945"/>
                  </a:cubicBezTo>
                  <a:cubicBezTo>
                    <a:pt x="261726" y="272945"/>
                    <a:pt x="275028" y="270538"/>
                    <a:pt x="279462" y="275478"/>
                  </a:cubicBezTo>
                  <a:cubicBezTo>
                    <a:pt x="283896" y="280419"/>
                    <a:pt x="294790" y="286880"/>
                    <a:pt x="301251" y="279406"/>
                  </a:cubicBezTo>
                  <a:cubicBezTo>
                    <a:pt x="307712" y="272058"/>
                    <a:pt x="315059" y="257616"/>
                    <a:pt x="314679" y="242794"/>
                  </a:cubicBezTo>
                  <a:cubicBezTo>
                    <a:pt x="314173" y="227846"/>
                    <a:pt x="307205" y="210490"/>
                    <a:pt x="320633" y="201622"/>
                  </a:cubicBezTo>
                  <a:cubicBezTo>
                    <a:pt x="330388" y="195162"/>
                    <a:pt x="342676" y="191868"/>
                    <a:pt x="345463" y="186927"/>
                  </a:cubicBezTo>
                  <a:cubicBezTo>
                    <a:pt x="379034" y="172232"/>
                    <a:pt x="364212" y="157410"/>
                    <a:pt x="361172" y="149176"/>
                  </a:cubicBezTo>
                  <a:cubicBezTo>
                    <a:pt x="358258" y="140942"/>
                    <a:pt x="356485" y="135368"/>
                    <a:pt x="374093" y="119152"/>
                  </a:cubicBezTo>
                  <a:cubicBezTo>
                    <a:pt x="391576" y="102937"/>
                    <a:pt x="357245" y="88115"/>
                    <a:pt x="352304" y="67719"/>
                  </a:cubicBezTo>
                  <a:cubicBezTo>
                    <a:pt x="347363" y="47196"/>
                    <a:pt x="392842" y="62145"/>
                    <a:pt x="405131" y="63032"/>
                  </a:cubicBezTo>
                  <a:cubicBezTo>
                    <a:pt x="417419" y="64045"/>
                    <a:pt x="465558" y="46563"/>
                    <a:pt x="477340" y="42256"/>
                  </a:cubicBezTo>
                  <a:cubicBezTo>
                    <a:pt x="489248" y="37949"/>
                    <a:pt x="498116" y="31615"/>
                    <a:pt x="506730" y="17806"/>
                  </a:cubicBezTo>
                  <a:cubicBezTo>
                    <a:pt x="508757" y="14512"/>
                    <a:pt x="507237" y="10459"/>
                    <a:pt x="503436" y="6151"/>
                  </a:cubicBezTo>
                  <a:cubicBezTo>
                    <a:pt x="513951" y="1844"/>
                    <a:pt x="537894" y="-5884"/>
                    <a:pt x="547268" y="7545"/>
                  </a:cubicBezTo>
                  <a:cubicBezTo>
                    <a:pt x="559430" y="25027"/>
                    <a:pt x="567411" y="36555"/>
                    <a:pt x="562850" y="49730"/>
                  </a:cubicBezTo>
                  <a:cubicBezTo>
                    <a:pt x="558163" y="62905"/>
                    <a:pt x="549295" y="67592"/>
                    <a:pt x="556896" y="74813"/>
                  </a:cubicBezTo>
                  <a:cubicBezTo>
                    <a:pt x="561584" y="79247"/>
                    <a:pt x="570198" y="80007"/>
                    <a:pt x="573365" y="82921"/>
                  </a:cubicBezTo>
                  <a:cubicBezTo>
                    <a:pt x="575392" y="84821"/>
                    <a:pt x="575265" y="87608"/>
                    <a:pt x="570325" y="92929"/>
                  </a:cubicBezTo>
                  <a:cubicBezTo>
                    <a:pt x="557783" y="106484"/>
                    <a:pt x="536627" y="141828"/>
                    <a:pt x="535107" y="160577"/>
                  </a:cubicBezTo>
                  <a:cubicBezTo>
                    <a:pt x="533460" y="179326"/>
                    <a:pt x="528773" y="188574"/>
                    <a:pt x="515598" y="188321"/>
                  </a:cubicBezTo>
                  <a:cubicBezTo>
                    <a:pt x="502423" y="187941"/>
                    <a:pt x="488868" y="194528"/>
                    <a:pt x="478606" y="206816"/>
                  </a:cubicBezTo>
                  <a:cubicBezTo>
                    <a:pt x="468345" y="219105"/>
                    <a:pt x="420839" y="250649"/>
                    <a:pt x="434014" y="267244"/>
                  </a:cubicBezTo>
                  <a:cubicBezTo>
                    <a:pt x="447189" y="283713"/>
                    <a:pt x="480127" y="302842"/>
                    <a:pt x="463658" y="319184"/>
                  </a:cubicBezTo>
                  <a:cubicBezTo>
                    <a:pt x="447189" y="335526"/>
                    <a:pt x="445162" y="365550"/>
                    <a:pt x="458337" y="374417"/>
                  </a:cubicBezTo>
                  <a:cubicBezTo>
                    <a:pt x="471512" y="383285"/>
                    <a:pt x="505210" y="386959"/>
                    <a:pt x="509137" y="369097"/>
                  </a:cubicBezTo>
                  <a:cubicBezTo>
                    <a:pt x="513064" y="351234"/>
                    <a:pt x="509770" y="334132"/>
                    <a:pt x="523579" y="336159"/>
                  </a:cubicBezTo>
                  <a:cubicBezTo>
                    <a:pt x="537387" y="338186"/>
                    <a:pt x="557150" y="336159"/>
                    <a:pt x="574378" y="345407"/>
                  </a:cubicBezTo>
                  <a:cubicBezTo>
                    <a:pt x="591607" y="354655"/>
                    <a:pt x="611623" y="357949"/>
                    <a:pt x="622265" y="359596"/>
                  </a:cubicBezTo>
                  <a:cubicBezTo>
                    <a:pt x="632779" y="361242"/>
                    <a:pt x="668504" y="359596"/>
                    <a:pt x="663563" y="372770"/>
                  </a:cubicBezTo>
                  <a:cubicBezTo>
                    <a:pt x="658622" y="385946"/>
                    <a:pt x="672051" y="422303"/>
                    <a:pt x="684339" y="409762"/>
                  </a:cubicBezTo>
                  <a:cubicBezTo>
                    <a:pt x="696500" y="397220"/>
                    <a:pt x="718670" y="362636"/>
                    <a:pt x="731212" y="365930"/>
                  </a:cubicBezTo>
                  <a:cubicBezTo>
                    <a:pt x="743753" y="369223"/>
                    <a:pt x="764022" y="378598"/>
                    <a:pt x="768456" y="401021"/>
                  </a:cubicBezTo>
                  <a:cubicBezTo>
                    <a:pt x="758068" y="414702"/>
                    <a:pt x="769976" y="417109"/>
                    <a:pt x="778211" y="430791"/>
                  </a:cubicBezTo>
                  <a:cubicBezTo>
                    <a:pt x="787205" y="445613"/>
                    <a:pt x="807474" y="456508"/>
                    <a:pt x="824323" y="460941"/>
                  </a:cubicBezTo>
                  <a:cubicBezTo>
                    <a:pt x="841425" y="465375"/>
                    <a:pt x="825083" y="503000"/>
                    <a:pt x="821663" y="5247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6" name="Полилиния: фигура 395">
              <a:extLst>
                <a:ext uri="{FF2B5EF4-FFF2-40B4-BE49-F238E27FC236}">
                  <a16:creationId xmlns:a16="http://schemas.microsoft.com/office/drawing/2014/main" id="{29661610-703A-4F24-94AF-A089B8FC55A7}"/>
                </a:ext>
              </a:extLst>
            </p:cNvPr>
            <p:cNvSpPr/>
            <p:nvPr/>
          </p:nvSpPr>
          <p:spPr>
            <a:xfrm>
              <a:off x="5196443" y="5271434"/>
              <a:ext cx="946110" cy="807075"/>
            </a:xfrm>
            <a:custGeom>
              <a:avLst/>
              <a:gdLst>
                <a:gd name="connsiteX0" fmla="*/ 942041 w 946110"/>
                <a:gd name="connsiteY0" fmla="*/ 477213 h 807075"/>
                <a:gd name="connsiteX1" fmla="*/ 910877 w 946110"/>
                <a:gd name="connsiteY1" fmla="*/ 459857 h 807075"/>
                <a:gd name="connsiteX2" fmla="*/ 920758 w 946110"/>
                <a:gd name="connsiteY2" fmla="*/ 426667 h 807075"/>
                <a:gd name="connsiteX3" fmla="*/ 900235 w 946110"/>
                <a:gd name="connsiteY3" fmla="*/ 413365 h 807075"/>
                <a:gd name="connsiteX4" fmla="*/ 865904 w 946110"/>
                <a:gd name="connsiteY4" fmla="*/ 427173 h 807075"/>
                <a:gd name="connsiteX5" fmla="*/ 848042 w 946110"/>
                <a:gd name="connsiteY5" fmla="*/ 433127 h 807075"/>
                <a:gd name="connsiteX6" fmla="*/ 830940 w 946110"/>
                <a:gd name="connsiteY6" fmla="*/ 451623 h 807075"/>
                <a:gd name="connsiteX7" fmla="*/ 801296 w 946110"/>
                <a:gd name="connsiteY7" fmla="*/ 446936 h 807075"/>
                <a:gd name="connsiteX8" fmla="*/ 809151 w 946110"/>
                <a:gd name="connsiteY8" fmla="*/ 416532 h 807075"/>
                <a:gd name="connsiteX9" fmla="*/ 807124 w 946110"/>
                <a:gd name="connsiteY9" fmla="*/ 374347 h 807075"/>
                <a:gd name="connsiteX10" fmla="*/ 826886 w 946110"/>
                <a:gd name="connsiteY10" fmla="*/ 311005 h 807075"/>
                <a:gd name="connsiteX11" fmla="*/ 779381 w 946110"/>
                <a:gd name="connsiteY11" fmla="*/ 307078 h 807075"/>
                <a:gd name="connsiteX12" fmla="*/ 739729 w 946110"/>
                <a:gd name="connsiteY12" fmla="*/ 310372 h 807075"/>
                <a:gd name="connsiteX13" fmla="*/ 690196 w 946110"/>
                <a:gd name="connsiteY13" fmla="*/ 320253 h 807075"/>
                <a:gd name="connsiteX14" fmla="*/ 654598 w 946110"/>
                <a:gd name="connsiteY14" fmla="*/ 265526 h 807075"/>
                <a:gd name="connsiteX15" fmla="*/ 572128 w 946110"/>
                <a:gd name="connsiteY15" fmla="*/ 235883 h 807075"/>
                <a:gd name="connsiteX16" fmla="*/ 518668 w 946110"/>
                <a:gd name="connsiteY16" fmla="*/ 186350 h 807075"/>
                <a:gd name="connsiteX17" fmla="*/ 414408 w 946110"/>
                <a:gd name="connsiteY17" fmla="*/ 80063 h 807075"/>
                <a:gd name="connsiteX18" fmla="*/ 216403 w 946110"/>
                <a:gd name="connsiteY18" fmla="*/ 0 h 807075"/>
                <a:gd name="connsiteX19" fmla="*/ 217163 w 946110"/>
                <a:gd name="connsiteY19" fmla="*/ 5321 h 807075"/>
                <a:gd name="connsiteX20" fmla="*/ 217290 w 946110"/>
                <a:gd name="connsiteY20" fmla="*/ 45226 h 807075"/>
                <a:gd name="connsiteX21" fmla="*/ 197021 w 946110"/>
                <a:gd name="connsiteY21" fmla="*/ 72082 h 807075"/>
                <a:gd name="connsiteX22" fmla="*/ 172571 w 946110"/>
                <a:gd name="connsiteY22" fmla="*/ 97546 h 807075"/>
                <a:gd name="connsiteX23" fmla="*/ 178019 w 946110"/>
                <a:gd name="connsiteY23" fmla="*/ 139351 h 807075"/>
                <a:gd name="connsiteX24" fmla="*/ 154455 w 946110"/>
                <a:gd name="connsiteY24" fmla="*/ 168361 h 807075"/>
                <a:gd name="connsiteX25" fmla="*/ 123418 w 946110"/>
                <a:gd name="connsiteY25" fmla="*/ 158986 h 807075"/>
                <a:gd name="connsiteX26" fmla="*/ 75786 w 946110"/>
                <a:gd name="connsiteY26" fmla="*/ 157720 h 807075"/>
                <a:gd name="connsiteX27" fmla="*/ 51716 w 946110"/>
                <a:gd name="connsiteY27" fmla="*/ 192811 h 807075"/>
                <a:gd name="connsiteX28" fmla="*/ 20932 w 946110"/>
                <a:gd name="connsiteY28" fmla="*/ 209406 h 807075"/>
                <a:gd name="connsiteX29" fmla="*/ 26506 w 946110"/>
                <a:gd name="connsiteY29" fmla="*/ 225748 h 807075"/>
                <a:gd name="connsiteX30" fmla="*/ 23339 w 946110"/>
                <a:gd name="connsiteY30" fmla="*/ 240570 h 807075"/>
                <a:gd name="connsiteX31" fmla="*/ 6744 w 946110"/>
                <a:gd name="connsiteY31" fmla="*/ 280095 h 807075"/>
                <a:gd name="connsiteX32" fmla="*/ 16878 w 946110"/>
                <a:gd name="connsiteY32" fmla="*/ 317466 h 807075"/>
                <a:gd name="connsiteX33" fmla="*/ 32587 w 946110"/>
                <a:gd name="connsiteY33" fmla="*/ 356231 h 807075"/>
                <a:gd name="connsiteX34" fmla="*/ 34361 w 946110"/>
                <a:gd name="connsiteY34" fmla="*/ 375487 h 807075"/>
                <a:gd name="connsiteX35" fmla="*/ 7504 w 946110"/>
                <a:gd name="connsiteY35" fmla="*/ 398417 h 807075"/>
                <a:gd name="connsiteX36" fmla="*/ 1296 w 946110"/>
                <a:gd name="connsiteY36" fmla="*/ 406904 h 807075"/>
                <a:gd name="connsiteX37" fmla="*/ 1043 w 946110"/>
                <a:gd name="connsiteY37" fmla="*/ 433508 h 807075"/>
                <a:gd name="connsiteX38" fmla="*/ 283 w 946110"/>
                <a:gd name="connsiteY38" fmla="*/ 459477 h 807075"/>
                <a:gd name="connsiteX39" fmla="*/ 4337 w 946110"/>
                <a:gd name="connsiteY39" fmla="*/ 491402 h 807075"/>
                <a:gd name="connsiteX40" fmla="*/ 13711 w 946110"/>
                <a:gd name="connsiteY40" fmla="*/ 491908 h 807075"/>
                <a:gd name="connsiteX41" fmla="*/ 54250 w 946110"/>
                <a:gd name="connsiteY41" fmla="*/ 483420 h 807075"/>
                <a:gd name="connsiteX42" fmla="*/ 96435 w 946110"/>
                <a:gd name="connsiteY42" fmla="*/ 484054 h 807075"/>
                <a:gd name="connsiteX43" fmla="*/ 127092 w 946110"/>
                <a:gd name="connsiteY43" fmla="*/ 480127 h 807075"/>
                <a:gd name="connsiteX44" fmla="*/ 149008 w 946110"/>
                <a:gd name="connsiteY44" fmla="*/ 477593 h 807075"/>
                <a:gd name="connsiteX45" fmla="*/ 125192 w 946110"/>
                <a:gd name="connsiteY45" fmla="*/ 518638 h 807075"/>
                <a:gd name="connsiteX46" fmla="*/ 100362 w 946110"/>
                <a:gd name="connsiteY46" fmla="*/ 523199 h 807075"/>
                <a:gd name="connsiteX47" fmla="*/ 78446 w 946110"/>
                <a:gd name="connsiteY47" fmla="*/ 525859 h 807075"/>
                <a:gd name="connsiteX48" fmla="*/ 77179 w 946110"/>
                <a:gd name="connsiteY48" fmla="*/ 565130 h 807075"/>
                <a:gd name="connsiteX49" fmla="*/ 96308 w 946110"/>
                <a:gd name="connsiteY49" fmla="*/ 593634 h 807075"/>
                <a:gd name="connsiteX50" fmla="*/ 113537 w 946110"/>
                <a:gd name="connsiteY50" fmla="*/ 631386 h 807075"/>
                <a:gd name="connsiteX51" fmla="*/ 140267 w 946110"/>
                <a:gd name="connsiteY51" fmla="*/ 669010 h 807075"/>
                <a:gd name="connsiteX52" fmla="*/ 147995 w 946110"/>
                <a:gd name="connsiteY52" fmla="*/ 689026 h 807075"/>
                <a:gd name="connsiteX53" fmla="*/ 149135 w 946110"/>
                <a:gd name="connsiteY53" fmla="*/ 687759 h 807075"/>
                <a:gd name="connsiteX54" fmla="*/ 159903 w 946110"/>
                <a:gd name="connsiteY54" fmla="*/ 648108 h 807075"/>
                <a:gd name="connsiteX55" fmla="*/ 175992 w 946110"/>
                <a:gd name="connsiteY55" fmla="*/ 658622 h 807075"/>
                <a:gd name="connsiteX56" fmla="*/ 193474 w 946110"/>
                <a:gd name="connsiteY56" fmla="*/ 672177 h 807075"/>
                <a:gd name="connsiteX57" fmla="*/ 246173 w 946110"/>
                <a:gd name="connsiteY57" fmla="*/ 668630 h 807075"/>
                <a:gd name="connsiteX58" fmla="*/ 264163 w 946110"/>
                <a:gd name="connsiteY58" fmla="*/ 655075 h 807075"/>
                <a:gd name="connsiteX59" fmla="*/ 290512 w 946110"/>
                <a:gd name="connsiteY59" fmla="*/ 655709 h 807075"/>
                <a:gd name="connsiteX60" fmla="*/ 321297 w 946110"/>
                <a:gd name="connsiteY60" fmla="*/ 663309 h 807075"/>
                <a:gd name="connsiteX61" fmla="*/ 347900 w 946110"/>
                <a:gd name="connsiteY61" fmla="*/ 662549 h 807075"/>
                <a:gd name="connsiteX62" fmla="*/ 372730 w 946110"/>
                <a:gd name="connsiteY62" fmla="*/ 653555 h 807075"/>
                <a:gd name="connsiteX63" fmla="*/ 392619 w 946110"/>
                <a:gd name="connsiteY63" fmla="*/ 642407 h 807075"/>
                <a:gd name="connsiteX64" fmla="*/ 447219 w 946110"/>
                <a:gd name="connsiteY64" fmla="*/ 641900 h 807075"/>
                <a:gd name="connsiteX65" fmla="*/ 471415 w 946110"/>
                <a:gd name="connsiteY65" fmla="*/ 646081 h 807075"/>
                <a:gd name="connsiteX66" fmla="*/ 493838 w 946110"/>
                <a:gd name="connsiteY66" fmla="*/ 633919 h 807075"/>
                <a:gd name="connsiteX67" fmla="*/ 504226 w 946110"/>
                <a:gd name="connsiteY67" fmla="*/ 625305 h 807075"/>
                <a:gd name="connsiteX68" fmla="*/ 522468 w 946110"/>
                <a:gd name="connsiteY68" fmla="*/ 625051 h 807075"/>
                <a:gd name="connsiteX69" fmla="*/ 529436 w 946110"/>
                <a:gd name="connsiteY69" fmla="*/ 666857 h 807075"/>
                <a:gd name="connsiteX70" fmla="*/ 566934 w 946110"/>
                <a:gd name="connsiteY70" fmla="*/ 693460 h 807075"/>
                <a:gd name="connsiteX71" fmla="*/ 588090 w 946110"/>
                <a:gd name="connsiteY71" fmla="*/ 711322 h 807075"/>
                <a:gd name="connsiteX72" fmla="*/ 590497 w 946110"/>
                <a:gd name="connsiteY72" fmla="*/ 738179 h 807075"/>
                <a:gd name="connsiteX73" fmla="*/ 578589 w 946110"/>
                <a:gd name="connsiteY73" fmla="*/ 754394 h 807075"/>
                <a:gd name="connsiteX74" fmla="*/ 579982 w 946110"/>
                <a:gd name="connsiteY74" fmla="*/ 777577 h 807075"/>
                <a:gd name="connsiteX75" fmla="*/ 604432 w 946110"/>
                <a:gd name="connsiteY75" fmla="*/ 805701 h 807075"/>
                <a:gd name="connsiteX76" fmla="*/ 621154 w 946110"/>
                <a:gd name="connsiteY76" fmla="*/ 794806 h 807075"/>
                <a:gd name="connsiteX77" fmla="*/ 636483 w 946110"/>
                <a:gd name="connsiteY77" fmla="*/ 782138 h 807075"/>
                <a:gd name="connsiteX78" fmla="*/ 642310 w 946110"/>
                <a:gd name="connsiteY78" fmla="*/ 760855 h 807075"/>
                <a:gd name="connsiteX79" fmla="*/ 657132 w 946110"/>
                <a:gd name="connsiteY79" fmla="*/ 756295 h 807075"/>
                <a:gd name="connsiteX80" fmla="*/ 676894 w 946110"/>
                <a:gd name="connsiteY80" fmla="*/ 756041 h 807075"/>
                <a:gd name="connsiteX81" fmla="*/ 684495 w 946110"/>
                <a:gd name="connsiteY81" fmla="*/ 728424 h 807075"/>
                <a:gd name="connsiteX82" fmla="*/ 692223 w 946110"/>
                <a:gd name="connsiteY82" fmla="*/ 720317 h 807075"/>
                <a:gd name="connsiteX83" fmla="*/ 710845 w 946110"/>
                <a:gd name="connsiteY83" fmla="*/ 729818 h 807075"/>
                <a:gd name="connsiteX84" fmla="*/ 737829 w 946110"/>
                <a:gd name="connsiteY84" fmla="*/ 718796 h 807075"/>
                <a:gd name="connsiteX85" fmla="*/ 753284 w 946110"/>
                <a:gd name="connsiteY85" fmla="*/ 703721 h 807075"/>
                <a:gd name="connsiteX86" fmla="*/ 785461 w 946110"/>
                <a:gd name="connsiteY86" fmla="*/ 731338 h 807075"/>
                <a:gd name="connsiteX87" fmla="*/ 818905 w 946110"/>
                <a:gd name="connsiteY87" fmla="*/ 725637 h 807075"/>
                <a:gd name="connsiteX88" fmla="*/ 839808 w 946110"/>
                <a:gd name="connsiteY88" fmla="*/ 729564 h 807075"/>
                <a:gd name="connsiteX89" fmla="*/ 860584 w 946110"/>
                <a:gd name="connsiteY89" fmla="*/ 722850 h 807075"/>
                <a:gd name="connsiteX90" fmla="*/ 881233 w 946110"/>
                <a:gd name="connsiteY90" fmla="*/ 709549 h 807075"/>
                <a:gd name="connsiteX91" fmla="*/ 899222 w 946110"/>
                <a:gd name="connsiteY91" fmla="*/ 699921 h 807075"/>
                <a:gd name="connsiteX92" fmla="*/ 913410 w 946110"/>
                <a:gd name="connsiteY92" fmla="*/ 659889 h 807075"/>
                <a:gd name="connsiteX93" fmla="*/ 913410 w 946110"/>
                <a:gd name="connsiteY93" fmla="*/ 627205 h 807075"/>
                <a:gd name="connsiteX94" fmla="*/ 909103 w 946110"/>
                <a:gd name="connsiteY94" fmla="*/ 592494 h 807075"/>
                <a:gd name="connsiteX95" fmla="*/ 918984 w 946110"/>
                <a:gd name="connsiteY95" fmla="*/ 575138 h 807075"/>
                <a:gd name="connsiteX96" fmla="*/ 921138 w 946110"/>
                <a:gd name="connsiteY96" fmla="*/ 527126 h 807075"/>
                <a:gd name="connsiteX97" fmla="*/ 942041 w 946110"/>
                <a:gd name="connsiteY97" fmla="*/ 477213 h 80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46110" h="807075">
                  <a:moveTo>
                    <a:pt x="942041" y="477213"/>
                  </a:moveTo>
                  <a:cubicBezTo>
                    <a:pt x="929119" y="468345"/>
                    <a:pt x="900995" y="478733"/>
                    <a:pt x="910877" y="459857"/>
                  </a:cubicBezTo>
                  <a:cubicBezTo>
                    <a:pt x="920758" y="441109"/>
                    <a:pt x="923545" y="432114"/>
                    <a:pt x="920758" y="426667"/>
                  </a:cubicBezTo>
                  <a:cubicBezTo>
                    <a:pt x="915944" y="427300"/>
                    <a:pt x="909483" y="419446"/>
                    <a:pt x="900235" y="413365"/>
                  </a:cubicBezTo>
                  <a:cubicBezTo>
                    <a:pt x="888327" y="405384"/>
                    <a:pt x="876419" y="410071"/>
                    <a:pt x="865904" y="427173"/>
                  </a:cubicBezTo>
                  <a:cubicBezTo>
                    <a:pt x="855390" y="444276"/>
                    <a:pt x="856657" y="437055"/>
                    <a:pt x="848042" y="433127"/>
                  </a:cubicBezTo>
                  <a:cubicBezTo>
                    <a:pt x="839428" y="429200"/>
                    <a:pt x="838161" y="443009"/>
                    <a:pt x="830940" y="451623"/>
                  </a:cubicBezTo>
                  <a:cubicBezTo>
                    <a:pt x="823719" y="460111"/>
                    <a:pt x="811811" y="451623"/>
                    <a:pt x="801296" y="446936"/>
                  </a:cubicBezTo>
                  <a:cubicBezTo>
                    <a:pt x="790782" y="442375"/>
                    <a:pt x="799903" y="425780"/>
                    <a:pt x="809151" y="416532"/>
                  </a:cubicBezTo>
                  <a:cubicBezTo>
                    <a:pt x="818399" y="407284"/>
                    <a:pt x="813711" y="393476"/>
                    <a:pt x="807124" y="374347"/>
                  </a:cubicBezTo>
                  <a:cubicBezTo>
                    <a:pt x="800536" y="355218"/>
                    <a:pt x="821566" y="335329"/>
                    <a:pt x="826886" y="311005"/>
                  </a:cubicBezTo>
                  <a:cubicBezTo>
                    <a:pt x="832080" y="286556"/>
                    <a:pt x="795849" y="298464"/>
                    <a:pt x="779381" y="307078"/>
                  </a:cubicBezTo>
                  <a:cubicBezTo>
                    <a:pt x="762912" y="315693"/>
                    <a:pt x="755691" y="315693"/>
                    <a:pt x="739729" y="310372"/>
                  </a:cubicBezTo>
                  <a:cubicBezTo>
                    <a:pt x="723894" y="305051"/>
                    <a:pt x="721867" y="311639"/>
                    <a:pt x="690196" y="320253"/>
                  </a:cubicBezTo>
                  <a:cubicBezTo>
                    <a:pt x="658525" y="328868"/>
                    <a:pt x="665113" y="309105"/>
                    <a:pt x="654598" y="265526"/>
                  </a:cubicBezTo>
                  <a:cubicBezTo>
                    <a:pt x="644083" y="221948"/>
                    <a:pt x="597211" y="227902"/>
                    <a:pt x="572128" y="235883"/>
                  </a:cubicBezTo>
                  <a:cubicBezTo>
                    <a:pt x="547044" y="243864"/>
                    <a:pt x="531970" y="223341"/>
                    <a:pt x="518668" y="186350"/>
                  </a:cubicBezTo>
                  <a:cubicBezTo>
                    <a:pt x="505493" y="149359"/>
                    <a:pt x="517401" y="154046"/>
                    <a:pt x="414408" y="80063"/>
                  </a:cubicBezTo>
                  <a:cubicBezTo>
                    <a:pt x="311415" y="6207"/>
                    <a:pt x="216403" y="0"/>
                    <a:pt x="216403" y="0"/>
                  </a:cubicBezTo>
                  <a:cubicBezTo>
                    <a:pt x="216657" y="1774"/>
                    <a:pt x="217037" y="3547"/>
                    <a:pt x="217163" y="5321"/>
                  </a:cubicBezTo>
                  <a:cubicBezTo>
                    <a:pt x="218430" y="18242"/>
                    <a:pt x="219190" y="32431"/>
                    <a:pt x="217290" y="45226"/>
                  </a:cubicBezTo>
                  <a:cubicBezTo>
                    <a:pt x="215390" y="58020"/>
                    <a:pt x="207535" y="65368"/>
                    <a:pt x="197021" y="72082"/>
                  </a:cubicBezTo>
                  <a:cubicBezTo>
                    <a:pt x="187266" y="78416"/>
                    <a:pt x="173965" y="84497"/>
                    <a:pt x="172571" y="97546"/>
                  </a:cubicBezTo>
                  <a:cubicBezTo>
                    <a:pt x="171051" y="111480"/>
                    <a:pt x="179159" y="125036"/>
                    <a:pt x="178019" y="139351"/>
                  </a:cubicBezTo>
                  <a:cubicBezTo>
                    <a:pt x="177005" y="153032"/>
                    <a:pt x="168391" y="165574"/>
                    <a:pt x="154455" y="168361"/>
                  </a:cubicBezTo>
                  <a:cubicBezTo>
                    <a:pt x="142674" y="170768"/>
                    <a:pt x="133046" y="164560"/>
                    <a:pt x="123418" y="158986"/>
                  </a:cubicBezTo>
                  <a:cubicBezTo>
                    <a:pt x="108596" y="150372"/>
                    <a:pt x="90607" y="148092"/>
                    <a:pt x="75786" y="157720"/>
                  </a:cubicBezTo>
                  <a:cubicBezTo>
                    <a:pt x="62231" y="166334"/>
                    <a:pt x="65778" y="183816"/>
                    <a:pt x="51716" y="192811"/>
                  </a:cubicBezTo>
                  <a:cubicBezTo>
                    <a:pt x="43355" y="198132"/>
                    <a:pt x="23466" y="197878"/>
                    <a:pt x="20932" y="209406"/>
                  </a:cubicBezTo>
                  <a:cubicBezTo>
                    <a:pt x="19665" y="215487"/>
                    <a:pt x="24479" y="220427"/>
                    <a:pt x="26506" y="225748"/>
                  </a:cubicBezTo>
                  <a:cubicBezTo>
                    <a:pt x="28913" y="231829"/>
                    <a:pt x="26886" y="235376"/>
                    <a:pt x="23339" y="240570"/>
                  </a:cubicBezTo>
                  <a:cubicBezTo>
                    <a:pt x="15358" y="252352"/>
                    <a:pt x="9911" y="266286"/>
                    <a:pt x="6744" y="280095"/>
                  </a:cubicBezTo>
                  <a:cubicBezTo>
                    <a:pt x="3830" y="292890"/>
                    <a:pt x="10544" y="306445"/>
                    <a:pt x="16878" y="317466"/>
                  </a:cubicBezTo>
                  <a:cubicBezTo>
                    <a:pt x="24479" y="330768"/>
                    <a:pt x="29547" y="341029"/>
                    <a:pt x="32587" y="356231"/>
                  </a:cubicBezTo>
                  <a:cubicBezTo>
                    <a:pt x="33854" y="362312"/>
                    <a:pt x="36134" y="369279"/>
                    <a:pt x="34361" y="375487"/>
                  </a:cubicBezTo>
                  <a:cubicBezTo>
                    <a:pt x="30940" y="387522"/>
                    <a:pt x="17132" y="392843"/>
                    <a:pt x="7504" y="398417"/>
                  </a:cubicBezTo>
                  <a:cubicBezTo>
                    <a:pt x="4083" y="400443"/>
                    <a:pt x="2183" y="403104"/>
                    <a:pt x="1296" y="406904"/>
                  </a:cubicBezTo>
                  <a:cubicBezTo>
                    <a:pt x="-984" y="415772"/>
                    <a:pt x="283" y="424640"/>
                    <a:pt x="1043" y="433508"/>
                  </a:cubicBezTo>
                  <a:cubicBezTo>
                    <a:pt x="1803" y="442122"/>
                    <a:pt x="-604" y="450736"/>
                    <a:pt x="283" y="459477"/>
                  </a:cubicBezTo>
                  <a:cubicBezTo>
                    <a:pt x="1296" y="470119"/>
                    <a:pt x="2816" y="480760"/>
                    <a:pt x="4337" y="491402"/>
                  </a:cubicBezTo>
                  <a:cubicBezTo>
                    <a:pt x="7250" y="491021"/>
                    <a:pt x="10418" y="491275"/>
                    <a:pt x="13711" y="491908"/>
                  </a:cubicBezTo>
                  <a:cubicBezTo>
                    <a:pt x="29927" y="495202"/>
                    <a:pt x="40188" y="489881"/>
                    <a:pt x="54250" y="483420"/>
                  </a:cubicBezTo>
                  <a:cubicBezTo>
                    <a:pt x="69705" y="476326"/>
                    <a:pt x="80853" y="483294"/>
                    <a:pt x="96435" y="484054"/>
                  </a:cubicBezTo>
                  <a:cubicBezTo>
                    <a:pt x="107456" y="484687"/>
                    <a:pt x="116451" y="480887"/>
                    <a:pt x="127092" y="480127"/>
                  </a:cubicBezTo>
                  <a:cubicBezTo>
                    <a:pt x="133680" y="479747"/>
                    <a:pt x="142674" y="476706"/>
                    <a:pt x="149008" y="477593"/>
                  </a:cubicBezTo>
                  <a:cubicBezTo>
                    <a:pt x="144827" y="493302"/>
                    <a:pt x="134440" y="505717"/>
                    <a:pt x="125192" y="518638"/>
                  </a:cubicBezTo>
                  <a:cubicBezTo>
                    <a:pt x="117338" y="529660"/>
                    <a:pt x="111510" y="531053"/>
                    <a:pt x="100362" y="523199"/>
                  </a:cubicBezTo>
                  <a:cubicBezTo>
                    <a:pt x="91241" y="516864"/>
                    <a:pt x="85287" y="515091"/>
                    <a:pt x="78446" y="525859"/>
                  </a:cubicBezTo>
                  <a:cubicBezTo>
                    <a:pt x="70972" y="537514"/>
                    <a:pt x="71099" y="552969"/>
                    <a:pt x="77179" y="565130"/>
                  </a:cubicBezTo>
                  <a:cubicBezTo>
                    <a:pt x="82373" y="575519"/>
                    <a:pt x="91241" y="582993"/>
                    <a:pt x="96308" y="593634"/>
                  </a:cubicBezTo>
                  <a:cubicBezTo>
                    <a:pt x="102389" y="606302"/>
                    <a:pt x="103909" y="620491"/>
                    <a:pt x="113537" y="631386"/>
                  </a:cubicBezTo>
                  <a:cubicBezTo>
                    <a:pt x="124685" y="643927"/>
                    <a:pt x="133553" y="653048"/>
                    <a:pt x="140267" y="669010"/>
                  </a:cubicBezTo>
                  <a:cubicBezTo>
                    <a:pt x="143054" y="675598"/>
                    <a:pt x="145588" y="682312"/>
                    <a:pt x="147995" y="689026"/>
                  </a:cubicBezTo>
                  <a:cubicBezTo>
                    <a:pt x="148375" y="688646"/>
                    <a:pt x="148755" y="688139"/>
                    <a:pt x="149135" y="687759"/>
                  </a:cubicBezTo>
                  <a:cubicBezTo>
                    <a:pt x="156229" y="678511"/>
                    <a:pt x="144954" y="652415"/>
                    <a:pt x="159903" y="648108"/>
                  </a:cubicBezTo>
                  <a:cubicBezTo>
                    <a:pt x="166237" y="646334"/>
                    <a:pt x="172065" y="654822"/>
                    <a:pt x="175992" y="658622"/>
                  </a:cubicBezTo>
                  <a:cubicBezTo>
                    <a:pt x="181312" y="663563"/>
                    <a:pt x="187140" y="668630"/>
                    <a:pt x="193474" y="672177"/>
                  </a:cubicBezTo>
                  <a:cubicBezTo>
                    <a:pt x="206775" y="679525"/>
                    <a:pt x="233379" y="676231"/>
                    <a:pt x="246173" y="668630"/>
                  </a:cubicBezTo>
                  <a:cubicBezTo>
                    <a:pt x="252634" y="664830"/>
                    <a:pt x="256815" y="657482"/>
                    <a:pt x="264163" y="655075"/>
                  </a:cubicBezTo>
                  <a:cubicBezTo>
                    <a:pt x="272144" y="652415"/>
                    <a:pt x="282405" y="654315"/>
                    <a:pt x="290512" y="655709"/>
                  </a:cubicBezTo>
                  <a:cubicBezTo>
                    <a:pt x="301027" y="657482"/>
                    <a:pt x="310782" y="661536"/>
                    <a:pt x="321297" y="663309"/>
                  </a:cubicBezTo>
                  <a:cubicBezTo>
                    <a:pt x="330038" y="664830"/>
                    <a:pt x="339159" y="663816"/>
                    <a:pt x="347900" y="662549"/>
                  </a:cubicBezTo>
                  <a:cubicBezTo>
                    <a:pt x="357021" y="661156"/>
                    <a:pt x="365129" y="658876"/>
                    <a:pt x="372730" y="653555"/>
                  </a:cubicBezTo>
                  <a:cubicBezTo>
                    <a:pt x="379190" y="648995"/>
                    <a:pt x="384764" y="644687"/>
                    <a:pt x="392619" y="642407"/>
                  </a:cubicBezTo>
                  <a:cubicBezTo>
                    <a:pt x="409214" y="637466"/>
                    <a:pt x="430750" y="636073"/>
                    <a:pt x="447219" y="641900"/>
                  </a:cubicBezTo>
                  <a:cubicBezTo>
                    <a:pt x="454820" y="644561"/>
                    <a:pt x="463434" y="648108"/>
                    <a:pt x="471415" y="646081"/>
                  </a:cubicBezTo>
                  <a:cubicBezTo>
                    <a:pt x="479903" y="643927"/>
                    <a:pt x="487504" y="639873"/>
                    <a:pt x="493838" y="633919"/>
                  </a:cubicBezTo>
                  <a:cubicBezTo>
                    <a:pt x="497258" y="630752"/>
                    <a:pt x="499919" y="627205"/>
                    <a:pt x="504226" y="625305"/>
                  </a:cubicBezTo>
                  <a:cubicBezTo>
                    <a:pt x="509547" y="622898"/>
                    <a:pt x="516768" y="623404"/>
                    <a:pt x="522468" y="625051"/>
                  </a:cubicBezTo>
                  <a:cubicBezTo>
                    <a:pt x="519175" y="641014"/>
                    <a:pt x="513980" y="656215"/>
                    <a:pt x="529436" y="666857"/>
                  </a:cubicBezTo>
                  <a:cubicBezTo>
                    <a:pt x="542357" y="675724"/>
                    <a:pt x="555152" y="682945"/>
                    <a:pt x="566934" y="693460"/>
                  </a:cubicBezTo>
                  <a:cubicBezTo>
                    <a:pt x="573775" y="699668"/>
                    <a:pt x="581376" y="704862"/>
                    <a:pt x="588090" y="711322"/>
                  </a:cubicBezTo>
                  <a:cubicBezTo>
                    <a:pt x="597211" y="720317"/>
                    <a:pt x="599871" y="728044"/>
                    <a:pt x="590497" y="738179"/>
                  </a:cubicBezTo>
                  <a:cubicBezTo>
                    <a:pt x="585810" y="743246"/>
                    <a:pt x="580489" y="747554"/>
                    <a:pt x="578589" y="754394"/>
                  </a:cubicBezTo>
                  <a:cubicBezTo>
                    <a:pt x="576562" y="761869"/>
                    <a:pt x="578462" y="770229"/>
                    <a:pt x="579982" y="777577"/>
                  </a:cubicBezTo>
                  <a:cubicBezTo>
                    <a:pt x="582389" y="789105"/>
                    <a:pt x="587963" y="813048"/>
                    <a:pt x="604432" y="805701"/>
                  </a:cubicBezTo>
                  <a:cubicBezTo>
                    <a:pt x="610513" y="803041"/>
                    <a:pt x="615580" y="798227"/>
                    <a:pt x="621154" y="794806"/>
                  </a:cubicBezTo>
                  <a:cubicBezTo>
                    <a:pt x="626855" y="791259"/>
                    <a:pt x="632936" y="788092"/>
                    <a:pt x="636483" y="782138"/>
                  </a:cubicBezTo>
                  <a:cubicBezTo>
                    <a:pt x="640283" y="775423"/>
                    <a:pt x="639650" y="767696"/>
                    <a:pt x="642310" y="760855"/>
                  </a:cubicBezTo>
                  <a:cubicBezTo>
                    <a:pt x="645097" y="753634"/>
                    <a:pt x="650797" y="754394"/>
                    <a:pt x="657132" y="756295"/>
                  </a:cubicBezTo>
                  <a:cubicBezTo>
                    <a:pt x="663466" y="758195"/>
                    <a:pt x="671574" y="762122"/>
                    <a:pt x="676894" y="756041"/>
                  </a:cubicBezTo>
                  <a:cubicBezTo>
                    <a:pt x="682848" y="749200"/>
                    <a:pt x="682722" y="736912"/>
                    <a:pt x="684495" y="728424"/>
                  </a:cubicBezTo>
                  <a:cubicBezTo>
                    <a:pt x="685509" y="723357"/>
                    <a:pt x="686269" y="716643"/>
                    <a:pt x="692223" y="720317"/>
                  </a:cubicBezTo>
                  <a:cubicBezTo>
                    <a:pt x="698810" y="724370"/>
                    <a:pt x="702484" y="728931"/>
                    <a:pt x="710845" y="729818"/>
                  </a:cubicBezTo>
                  <a:cubicBezTo>
                    <a:pt x="720980" y="730831"/>
                    <a:pt x="730861" y="726271"/>
                    <a:pt x="737829" y="718796"/>
                  </a:cubicBezTo>
                  <a:cubicBezTo>
                    <a:pt x="742516" y="713982"/>
                    <a:pt x="746696" y="706002"/>
                    <a:pt x="753284" y="703721"/>
                  </a:cubicBezTo>
                  <a:cubicBezTo>
                    <a:pt x="767599" y="698781"/>
                    <a:pt x="776087" y="725004"/>
                    <a:pt x="785461" y="731338"/>
                  </a:cubicBezTo>
                  <a:cubicBezTo>
                    <a:pt x="796102" y="738306"/>
                    <a:pt x="807250" y="724370"/>
                    <a:pt x="818905" y="725637"/>
                  </a:cubicBezTo>
                  <a:cubicBezTo>
                    <a:pt x="826000" y="726397"/>
                    <a:pt x="832714" y="729438"/>
                    <a:pt x="839808" y="729564"/>
                  </a:cubicBezTo>
                  <a:cubicBezTo>
                    <a:pt x="847409" y="729691"/>
                    <a:pt x="854123" y="726524"/>
                    <a:pt x="860584" y="722850"/>
                  </a:cubicBezTo>
                  <a:cubicBezTo>
                    <a:pt x="867678" y="718796"/>
                    <a:pt x="874392" y="714109"/>
                    <a:pt x="881233" y="709549"/>
                  </a:cubicBezTo>
                  <a:cubicBezTo>
                    <a:pt x="886047" y="706255"/>
                    <a:pt x="893015" y="699921"/>
                    <a:pt x="899222" y="699921"/>
                  </a:cubicBezTo>
                  <a:cubicBezTo>
                    <a:pt x="899222" y="699921"/>
                    <a:pt x="903909" y="667363"/>
                    <a:pt x="913410" y="659889"/>
                  </a:cubicBezTo>
                  <a:cubicBezTo>
                    <a:pt x="922785" y="652415"/>
                    <a:pt x="918858" y="641520"/>
                    <a:pt x="913410" y="627205"/>
                  </a:cubicBezTo>
                  <a:cubicBezTo>
                    <a:pt x="907963" y="612890"/>
                    <a:pt x="902896" y="596548"/>
                    <a:pt x="909103" y="592494"/>
                  </a:cubicBezTo>
                  <a:cubicBezTo>
                    <a:pt x="915311" y="588567"/>
                    <a:pt x="925699" y="583626"/>
                    <a:pt x="918984" y="575138"/>
                  </a:cubicBezTo>
                  <a:cubicBezTo>
                    <a:pt x="912270" y="566651"/>
                    <a:pt x="907710" y="541948"/>
                    <a:pt x="921138" y="527126"/>
                  </a:cubicBezTo>
                  <a:cubicBezTo>
                    <a:pt x="934567" y="512304"/>
                    <a:pt x="954835" y="486081"/>
                    <a:pt x="942041" y="47721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7" name="Полилиния: фигура 396">
              <a:extLst>
                <a:ext uri="{FF2B5EF4-FFF2-40B4-BE49-F238E27FC236}">
                  <a16:creationId xmlns:a16="http://schemas.microsoft.com/office/drawing/2014/main" id="{2A236A12-3DA2-4AE1-9B90-689B41114227}"/>
                </a:ext>
              </a:extLst>
            </p:cNvPr>
            <p:cNvSpPr/>
            <p:nvPr/>
          </p:nvSpPr>
          <p:spPr>
            <a:xfrm>
              <a:off x="11408330" y="5968100"/>
              <a:ext cx="617992" cy="1371425"/>
            </a:xfrm>
            <a:custGeom>
              <a:avLst/>
              <a:gdLst>
                <a:gd name="connsiteX0" fmla="*/ 617722 w 617992"/>
                <a:gd name="connsiteY0" fmla="*/ 322748 h 1371425"/>
                <a:gd name="connsiteX1" fmla="*/ 613795 w 617992"/>
                <a:gd name="connsiteY1" fmla="*/ 406485 h 1371425"/>
                <a:gd name="connsiteX2" fmla="*/ 610248 w 617992"/>
                <a:gd name="connsiteY2" fmla="*/ 479961 h 1371425"/>
                <a:gd name="connsiteX3" fmla="*/ 601887 w 617992"/>
                <a:gd name="connsiteY3" fmla="*/ 582194 h 1371425"/>
                <a:gd name="connsiteX4" fmla="*/ 571230 w 617992"/>
                <a:gd name="connsiteY4" fmla="*/ 662257 h 1371425"/>
                <a:gd name="connsiteX5" fmla="*/ 579084 w 617992"/>
                <a:gd name="connsiteY5" fmla="*/ 721925 h 1371425"/>
                <a:gd name="connsiteX6" fmla="*/ 559448 w 617992"/>
                <a:gd name="connsiteY6" fmla="*/ 765630 h 1371425"/>
                <a:gd name="connsiteX7" fmla="*/ 556535 w 617992"/>
                <a:gd name="connsiteY7" fmla="*/ 817190 h 1371425"/>
                <a:gd name="connsiteX8" fmla="*/ 552481 w 617992"/>
                <a:gd name="connsiteY8" fmla="*/ 901814 h 1371425"/>
                <a:gd name="connsiteX9" fmla="*/ 524738 w 617992"/>
                <a:gd name="connsiteY9" fmla="*/ 995052 h 1371425"/>
                <a:gd name="connsiteX10" fmla="*/ 492307 w 617992"/>
                <a:gd name="connsiteY10" fmla="*/ 1081449 h 1371425"/>
                <a:gd name="connsiteX11" fmla="*/ 434667 w 617992"/>
                <a:gd name="connsiteY11" fmla="*/ 1126422 h 1371425"/>
                <a:gd name="connsiteX12" fmla="*/ 404769 w 617992"/>
                <a:gd name="connsiteY12" fmla="*/ 1154672 h 1371425"/>
                <a:gd name="connsiteX13" fmla="*/ 389694 w 617992"/>
                <a:gd name="connsiteY13" fmla="*/ 1186216 h 1371425"/>
                <a:gd name="connsiteX14" fmla="*/ 326606 w 617992"/>
                <a:gd name="connsiteY14" fmla="*/ 1197111 h 1371425"/>
                <a:gd name="connsiteX15" fmla="*/ 294429 w 617992"/>
                <a:gd name="connsiteY15" fmla="*/ 1212186 h 1371425"/>
                <a:gd name="connsiteX16" fmla="*/ 261618 w 617992"/>
                <a:gd name="connsiteY16" fmla="*/ 1186849 h 1371425"/>
                <a:gd name="connsiteX17" fmla="*/ 237041 w 617992"/>
                <a:gd name="connsiteY17" fmla="*/ 1171268 h 1371425"/>
                <a:gd name="connsiteX18" fmla="*/ 217279 w 617992"/>
                <a:gd name="connsiteY18" fmla="*/ 1185836 h 1371425"/>
                <a:gd name="connsiteX19" fmla="*/ 192576 w 617992"/>
                <a:gd name="connsiteY19" fmla="*/ 1184823 h 1371425"/>
                <a:gd name="connsiteX20" fmla="*/ 184975 w 617992"/>
                <a:gd name="connsiteY20" fmla="*/ 1231569 h 1371425"/>
                <a:gd name="connsiteX21" fmla="*/ 176614 w 617992"/>
                <a:gd name="connsiteY21" fmla="*/ 1284268 h 1371425"/>
                <a:gd name="connsiteX22" fmla="*/ 173700 w 617992"/>
                <a:gd name="connsiteY22" fmla="*/ 1327720 h 1371425"/>
                <a:gd name="connsiteX23" fmla="*/ 142663 w 617992"/>
                <a:gd name="connsiteY23" fmla="*/ 1343936 h 1371425"/>
                <a:gd name="connsiteX24" fmla="*/ 117073 w 617992"/>
                <a:gd name="connsiteY24" fmla="*/ 1371426 h 1371425"/>
                <a:gd name="connsiteX25" fmla="*/ 77041 w 617992"/>
                <a:gd name="connsiteY25" fmla="*/ 1353057 h 1371425"/>
                <a:gd name="connsiteX26" fmla="*/ 52845 w 617992"/>
                <a:gd name="connsiteY26" fmla="*/ 1347609 h 1371425"/>
                <a:gd name="connsiteX27" fmla="*/ 58546 w 617992"/>
                <a:gd name="connsiteY27" fmla="*/ 1304411 h 1371425"/>
                <a:gd name="connsiteX28" fmla="*/ 109852 w 617992"/>
                <a:gd name="connsiteY28" fmla="*/ 1293136 h 1371425"/>
                <a:gd name="connsiteX29" fmla="*/ 124168 w 617992"/>
                <a:gd name="connsiteY29" fmla="*/ 1233849 h 1371425"/>
                <a:gd name="connsiteX30" fmla="*/ 86796 w 617992"/>
                <a:gd name="connsiteY30" fmla="*/ 1139724 h 1371425"/>
                <a:gd name="connsiteX31" fmla="*/ 65640 w 617992"/>
                <a:gd name="connsiteY31" fmla="*/ 1087784 h 1371425"/>
                <a:gd name="connsiteX32" fmla="*/ 29789 w 617992"/>
                <a:gd name="connsiteY32" fmla="*/ 1037997 h 1371425"/>
                <a:gd name="connsiteX33" fmla="*/ 7493 w 617992"/>
                <a:gd name="connsiteY33" fmla="*/ 1001133 h 1371425"/>
                <a:gd name="connsiteX34" fmla="*/ 272 w 617992"/>
                <a:gd name="connsiteY34" fmla="*/ 970096 h 1371425"/>
                <a:gd name="connsiteX35" fmla="*/ 11166 w 617992"/>
                <a:gd name="connsiteY35" fmla="*/ 943492 h 1371425"/>
                <a:gd name="connsiteX36" fmla="*/ 30043 w 617992"/>
                <a:gd name="connsiteY36" fmla="*/ 919169 h 1371425"/>
                <a:gd name="connsiteX37" fmla="*/ 43217 w 617992"/>
                <a:gd name="connsiteY37" fmla="*/ 861909 h 1371425"/>
                <a:gd name="connsiteX38" fmla="*/ 77422 w 617992"/>
                <a:gd name="connsiteY38" fmla="*/ 854561 h 1371425"/>
                <a:gd name="connsiteX39" fmla="*/ 105165 w 617992"/>
                <a:gd name="connsiteY39" fmla="*/ 834925 h 1371425"/>
                <a:gd name="connsiteX40" fmla="*/ 136203 w 617992"/>
                <a:gd name="connsiteY40" fmla="*/ 815923 h 1371425"/>
                <a:gd name="connsiteX41" fmla="*/ 166479 w 617992"/>
                <a:gd name="connsiteY41" fmla="*/ 847720 h 1371425"/>
                <a:gd name="connsiteX42" fmla="*/ 178008 w 617992"/>
                <a:gd name="connsiteY42" fmla="*/ 837966 h 1371425"/>
                <a:gd name="connsiteX43" fmla="*/ 179021 w 617992"/>
                <a:gd name="connsiteY43" fmla="*/ 798187 h 1371425"/>
                <a:gd name="connsiteX44" fmla="*/ 188522 w 617992"/>
                <a:gd name="connsiteY44" fmla="*/ 777918 h 1371425"/>
                <a:gd name="connsiteX45" fmla="*/ 178134 w 617992"/>
                <a:gd name="connsiteY45" fmla="*/ 713057 h 1371425"/>
                <a:gd name="connsiteX46" fmla="*/ 177627 w 617992"/>
                <a:gd name="connsiteY46" fmla="*/ 655543 h 1371425"/>
                <a:gd name="connsiteX47" fmla="*/ 183201 w 617992"/>
                <a:gd name="connsiteY47" fmla="*/ 598029 h 1371425"/>
                <a:gd name="connsiteX48" fmla="*/ 154444 w 617992"/>
                <a:gd name="connsiteY48" fmla="*/ 537728 h 1371425"/>
                <a:gd name="connsiteX49" fmla="*/ 173827 w 617992"/>
                <a:gd name="connsiteY49" fmla="*/ 523920 h 1371425"/>
                <a:gd name="connsiteX50" fmla="*/ 190549 w 617992"/>
                <a:gd name="connsiteY50" fmla="*/ 489335 h 1371425"/>
                <a:gd name="connsiteX51" fmla="*/ 182441 w 617992"/>
                <a:gd name="connsiteY51" fmla="*/ 467420 h 1371425"/>
                <a:gd name="connsiteX52" fmla="*/ 171420 w 617992"/>
                <a:gd name="connsiteY52" fmla="*/ 451964 h 1371425"/>
                <a:gd name="connsiteX53" fmla="*/ 188269 w 617992"/>
                <a:gd name="connsiteY53" fmla="*/ 411933 h 1371425"/>
                <a:gd name="connsiteX54" fmla="*/ 199544 w 617992"/>
                <a:gd name="connsiteY54" fmla="*/ 398378 h 1371425"/>
                <a:gd name="connsiteX55" fmla="*/ 205371 w 617992"/>
                <a:gd name="connsiteY55" fmla="*/ 380642 h 1371425"/>
                <a:gd name="connsiteX56" fmla="*/ 242996 w 617992"/>
                <a:gd name="connsiteY56" fmla="*/ 381402 h 1371425"/>
                <a:gd name="connsiteX57" fmla="*/ 265038 w 617992"/>
                <a:gd name="connsiteY57" fmla="*/ 408892 h 1371425"/>
                <a:gd name="connsiteX58" fmla="*/ 278086 w 617992"/>
                <a:gd name="connsiteY58" fmla="*/ 392043 h 1371425"/>
                <a:gd name="connsiteX59" fmla="*/ 298229 w 617992"/>
                <a:gd name="connsiteY59" fmla="*/ 388116 h 1371425"/>
                <a:gd name="connsiteX60" fmla="*/ 322172 w 617992"/>
                <a:gd name="connsiteY60" fmla="*/ 392803 h 1371425"/>
                <a:gd name="connsiteX61" fmla="*/ 330279 w 617992"/>
                <a:gd name="connsiteY61" fmla="*/ 381529 h 1371425"/>
                <a:gd name="connsiteX62" fmla="*/ 337627 w 617992"/>
                <a:gd name="connsiteY62" fmla="*/ 362653 h 1371425"/>
                <a:gd name="connsiteX63" fmla="*/ 354096 w 617992"/>
                <a:gd name="connsiteY63" fmla="*/ 364807 h 1371425"/>
                <a:gd name="connsiteX64" fmla="*/ 365371 w 617992"/>
                <a:gd name="connsiteY64" fmla="*/ 363287 h 1371425"/>
                <a:gd name="connsiteX65" fmla="*/ 373098 w 617992"/>
                <a:gd name="connsiteY65" fmla="*/ 359233 h 1371425"/>
                <a:gd name="connsiteX66" fmla="*/ 383994 w 617992"/>
                <a:gd name="connsiteY66" fmla="*/ 355686 h 1371425"/>
                <a:gd name="connsiteX67" fmla="*/ 399322 w 617992"/>
                <a:gd name="connsiteY67" fmla="*/ 340104 h 1371425"/>
                <a:gd name="connsiteX68" fmla="*/ 422124 w 617992"/>
                <a:gd name="connsiteY68" fmla="*/ 304886 h 1371425"/>
                <a:gd name="connsiteX69" fmla="*/ 413890 w 617992"/>
                <a:gd name="connsiteY69" fmla="*/ 289937 h 1371425"/>
                <a:gd name="connsiteX70" fmla="*/ 399575 w 617992"/>
                <a:gd name="connsiteY70" fmla="*/ 278916 h 1371425"/>
                <a:gd name="connsiteX71" fmla="*/ 384246 w 617992"/>
                <a:gd name="connsiteY71" fmla="*/ 256873 h 1371425"/>
                <a:gd name="connsiteX72" fmla="*/ 406163 w 617992"/>
                <a:gd name="connsiteY72" fmla="*/ 240658 h 1371425"/>
                <a:gd name="connsiteX73" fmla="*/ 442014 w 617992"/>
                <a:gd name="connsiteY73" fmla="*/ 214181 h 1371425"/>
                <a:gd name="connsiteX74" fmla="*/ 456709 w 617992"/>
                <a:gd name="connsiteY74" fmla="*/ 174529 h 1371425"/>
                <a:gd name="connsiteX75" fmla="*/ 442394 w 617992"/>
                <a:gd name="connsiteY75" fmla="*/ 133484 h 1371425"/>
                <a:gd name="connsiteX76" fmla="*/ 413764 w 617992"/>
                <a:gd name="connsiteY76" fmla="*/ 149193 h 1371425"/>
                <a:gd name="connsiteX77" fmla="*/ 391467 w 617992"/>
                <a:gd name="connsiteY77" fmla="*/ 135131 h 1371425"/>
                <a:gd name="connsiteX78" fmla="*/ 373098 w 617992"/>
                <a:gd name="connsiteY78" fmla="*/ 102447 h 1371425"/>
                <a:gd name="connsiteX79" fmla="*/ 372592 w 617992"/>
                <a:gd name="connsiteY79" fmla="*/ 75337 h 1371425"/>
                <a:gd name="connsiteX80" fmla="*/ 399955 w 617992"/>
                <a:gd name="connsiteY80" fmla="*/ 53421 h 1371425"/>
                <a:gd name="connsiteX81" fmla="*/ 409836 w 617992"/>
                <a:gd name="connsiteY81" fmla="*/ 23904 h 1371425"/>
                <a:gd name="connsiteX82" fmla="*/ 430613 w 617992"/>
                <a:gd name="connsiteY82" fmla="*/ 595 h 1371425"/>
                <a:gd name="connsiteX83" fmla="*/ 467223 w 617992"/>
                <a:gd name="connsiteY83" fmla="*/ 7182 h 1371425"/>
                <a:gd name="connsiteX84" fmla="*/ 490787 w 617992"/>
                <a:gd name="connsiteY84" fmla="*/ 33152 h 1371425"/>
                <a:gd name="connsiteX85" fmla="*/ 512576 w 617992"/>
                <a:gd name="connsiteY85" fmla="*/ 58995 h 1371425"/>
                <a:gd name="connsiteX86" fmla="*/ 527905 w 617992"/>
                <a:gd name="connsiteY86" fmla="*/ 98013 h 1371425"/>
                <a:gd name="connsiteX87" fmla="*/ 551088 w 617992"/>
                <a:gd name="connsiteY87" fmla="*/ 127657 h 1371425"/>
                <a:gd name="connsiteX88" fmla="*/ 577437 w 617992"/>
                <a:gd name="connsiteY88" fmla="*/ 111062 h 1371425"/>
                <a:gd name="connsiteX89" fmla="*/ 614049 w 617992"/>
                <a:gd name="connsiteY89" fmla="*/ 91679 h 1371425"/>
                <a:gd name="connsiteX90" fmla="*/ 615696 w 617992"/>
                <a:gd name="connsiteY90" fmla="*/ 89526 h 1371425"/>
                <a:gd name="connsiteX91" fmla="*/ 604294 w 617992"/>
                <a:gd name="connsiteY91" fmla="*/ 179977 h 1371425"/>
                <a:gd name="connsiteX92" fmla="*/ 609108 w 617992"/>
                <a:gd name="connsiteY92" fmla="*/ 246359 h 1371425"/>
                <a:gd name="connsiteX93" fmla="*/ 617722 w 617992"/>
                <a:gd name="connsiteY93" fmla="*/ 322748 h 137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17992" h="1371425">
                  <a:moveTo>
                    <a:pt x="617722" y="322748"/>
                  </a:moveTo>
                  <a:cubicBezTo>
                    <a:pt x="617216" y="350745"/>
                    <a:pt x="615569" y="378615"/>
                    <a:pt x="613795" y="406485"/>
                  </a:cubicBezTo>
                  <a:cubicBezTo>
                    <a:pt x="612402" y="431061"/>
                    <a:pt x="610882" y="455511"/>
                    <a:pt x="610248" y="479961"/>
                  </a:cubicBezTo>
                  <a:cubicBezTo>
                    <a:pt x="609235" y="513025"/>
                    <a:pt x="610121" y="549636"/>
                    <a:pt x="601887" y="582194"/>
                  </a:cubicBezTo>
                  <a:cubicBezTo>
                    <a:pt x="594919" y="609684"/>
                    <a:pt x="579465" y="635020"/>
                    <a:pt x="571230" y="662257"/>
                  </a:cubicBezTo>
                  <a:cubicBezTo>
                    <a:pt x="564136" y="685820"/>
                    <a:pt x="571610" y="700515"/>
                    <a:pt x="579084" y="721925"/>
                  </a:cubicBezTo>
                  <a:cubicBezTo>
                    <a:pt x="587825" y="747008"/>
                    <a:pt x="576424" y="750302"/>
                    <a:pt x="559448" y="765630"/>
                  </a:cubicBezTo>
                  <a:cubicBezTo>
                    <a:pt x="543107" y="780325"/>
                    <a:pt x="554255" y="799074"/>
                    <a:pt x="556535" y="817190"/>
                  </a:cubicBezTo>
                  <a:cubicBezTo>
                    <a:pt x="559955" y="845187"/>
                    <a:pt x="554128" y="874070"/>
                    <a:pt x="552481" y="901814"/>
                  </a:cubicBezTo>
                  <a:cubicBezTo>
                    <a:pt x="550581" y="934371"/>
                    <a:pt x="537279" y="965409"/>
                    <a:pt x="524738" y="995052"/>
                  </a:cubicBezTo>
                  <a:cubicBezTo>
                    <a:pt x="512829" y="1023049"/>
                    <a:pt x="509029" y="1055606"/>
                    <a:pt x="492307" y="1081449"/>
                  </a:cubicBezTo>
                  <a:cubicBezTo>
                    <a:pt x="478119" y="1103492"/>
                    <a:pt x="458102" y="1116034"/>
                    <a:pt x="434667" y="1126422"/>
                  </a:cubicBezTo>
                  <a:cubicBezTo>
                    <a:pt x="420098" y="1132882"/>
                    <a:pt x="410723" y="1139343"/>
                    <a:pt x="404769" y="1154672"/>
                  </a:cubicBezTo>
                  <a:cubicBezTo>
                    <a:pt x="400335" y="1166073"/>
                    <a:pt x="398435" y="1176842"/>
                    <a:pt x="389694" y="1186216"/>
                  </a:cubicBezTo>
                  <a:cubicBezTo>
                    <a:pt x="374112" y="1202811"/>
                    <a:pt x="346875" y="1182922"/>
                    <a:pt x="326606" y="1197111"/>
                  </a:cubicBezTo>
                  <a:cubicBezTo>
                    <a:pt x="316598" y="1204078"/>
                    <a:pt x="307224" y="1213579"/>
                    <a:pt x="294429" y="1212186"/>
                  </a:cubicBezTo>
                  <a:cubicBezTo>
                    <a:pt x="276947" y="1210286"/>
                    <a:pt x="269092" y="1202558"/>
                    <a:pt x="261618" y="1186849"/>
                  </a:cubicBezTo>
                  <a:cubicBezTo>
                    <a:pt x="255537" y="1174181"/>
                    <a:pt x="254270" y="1153785"/>
                    <a:pt x="237041" y="1171268"/>
                  </a:cubicBezTo>
                  <a:cubicBezTo>
                    <a:pt x="230074" y="1178235"/>
                    <a:pt x="228427" y="1184950"/>
                    <a:pt x="217279" y="1185836"/>
                  </a:cubicBezTo>
                  <a:cubicBezTo>
                    <a:pt x="209298" y="1186470"/>
                    <a:pt x="200684" y="1184316"/>
                    <a:pt x="192576" y="1184823"/>
                  </a:cubicBezTo>
                  <a:cubicBezTo>
                    <a:pt x="190295" y="1203572"/>
                    <a:pt x="198783" y="1216240"/>
                    <a:pt x="184975" y="1231569"/>
                  </a:cubicBezTo>
                  <a:cubicBezTo>
                    <a:pt x="173194" y="1244617"/>
                    <a:pt x="179655" y="1266786"/>
                    <a:pt x="176614" y="1284268"/>
                  </a:cubicBezTo>
                  <a:cubicBezTo>
                    <a:pt x="174081" y="1299090"/>
                    <a:pt x="174967" y="1313025"/>
                    <a:pt x="173700" y="1327720"/>
                  </a:cubicBezTo>
                  <a:cubicBezTo>
                    <a:pt x="172307" y="1345329"/>
                    <a:pt x="156725" y="1343303"/>
                    <a:pt x="142663" y="1343936"/>
                  </a:cubicBezTo>
                  <a:cubicBezTo>
                    <a:pt x="120240" y="1344949"/>
                    <a:pt x="122267" y="1353437"/>
                    <a:pt x="117073" y="1371426"/>
                  </a:cubicBezTo>
                  <a:cubicBezTo>
                    <a:pt x="103898" y="1365218"/>
                    <a:pt x="91737" y="1356477"/>
                    <a:pt x="77041" y="1353057"/>
                  </a:cubicBezTo>
                  <a:cubicBezTo>
                    <a:pt x="69060" y="1351157"/>
                    <a:pt x="60319" y="1352043"/>
                    <a:pt x="52845" y="1347609"/>
                  </a:cubicBezTo>
                  <a:cubicBezTo>
                    <a:pt x="35617" y="1337602"/>
                    <a:pt x="45371" y="1313659"/>
                    <a:pt x="58546" y="1304411"/>
                  </a:cubicBezTo>
                  <a:cubicBezTo>
                    <a:pt x="73368" y="1294023"/>
                    <a:pt x="93763" y="1300484"/>
                    <a:pt x="109852" y="1293136"/>
                  </a:cubicBezTo>
                  <a:cubicBezTo>
                    <a:pt x="133415" y="1282242"/>
                    <a:pt x="134556" y="1254625"/>
                    <a:pt x="124168" y="1233849"/>
                  </a:cubicBezTo>
                  <a:cubicBezTo>
                    <a:pt x="109092" y="1203318"/>
                    <a:pt x="101238" y="1170634"/>
                    <a:pt x="86796" y="1139724"/>
                  </a:cubicBezTo>
                  <a:cubicBezTo>
                    <a:pt x="78815" y="1122748"/>
                    <a:pt x="74888" y="1104252"/>
                    <a:pt x="65640" y="1087784"/>
                  </a:cubicBezTo>
                  <a:cubicBezTo>
                    <a:pt x="55505" y="1069795"/>
                    <a:pt x="40050" y="1055860"/>
                    <a:pt x="29789" y="1037997"/>
                  </a:cubicBezTo>
                  <a:cubicBezTo>
                    <a:pt x="22314" y="1025075"/>
                    <a:pt x="16614" y="1012914"/>
                    <a:pt x="7493" y="1001133"/>
                  </a:cubicBezTo>
                  <a:cubicBezTo>
                    <a:pt x="-108" y="991251"/>
                    <a:pt x="-488" y="982637"/>
                    <a:pt x="272" y="970096"/>
                  </a:cubicBezTo>
                  <a:cubicBezTo>
                    <a:pt x="1032" y="958441"/>
                    <a:pt x="2425" y="951220"/>
                    <a:pt x="11166" y="943492"/>
                  </a:cubicBezTo>
                  <a:cubicBezTo>
                    <a:pt x="19654" y="936018"/>
                    <a:pt x="28015" y="931204"/>
                    <a:pt x="30043" y="919169"/>
                  </a:cubicBezTo>
                  <a:cubicBezTo>
                    <a:pt x="33336" y="900800"/>
                    <a:pt x="30422" y="877744"/>
                    <a:pt x="43217" y="861909"/>
                  </a:cubicBezTo>
                  <a:cubicBezTo>
                    <a:pt x="52845" y="849874"/>
                    <a:pt x="64373" y="854688"/>
                    <a:pt x="77422" y="854561"/>
                  </a:cubicBezTo>
                  <a:cubicBezTo>
                    <a:pt x="91737" y="854308"/>
                    <a:pt x="96677" y="844680"/>
                    <a:pt x="105165" y="834925"/>
                  </a:cubicBezTo>
                  <a:cubicBezTo>
                    <a:pt x="112512" y="826564"/>
                    <a:pt x="124294" y="816177"/>
                    <a:pt x="136203" y="815923"/>
                  </a:cubicBezTo>
                  <a:cubicBezTo>
                    <a:pt x="155331" y="815670"/>
                    <a:pt x="155838" y="837459"/>
                    <a:pt x="166479" y="847720"/>
                  </a:cubicBezTo>
                  <a:cubicBezTo>
                    <a:pt x="175601" y="856588"/>
                    <a:pt x="178134" y="847720"/>
                    <a:pt x="178008" y="837966"/>
                  </a:cubicBezTo>
                  <a:cubicBezTo>
                    <a:pt x="178008" y="825044"/>
                    <a:pt x="176740" y="810856"/>
                    <a:pt x="179021" y="798187"/>
                  </a:cubicBezTo>
                  <a:cubicBezTo>
                    <a:pt x="180541" y="789826"/>
                    <a:pt x="185102" y="785266"/>
                    <a:pt x="188522" y="777918"/>
                  </a:cubicBezTo>
                  <a:cubicBezTo>
                    <a:pt x="198783" y="756382"/>
                    <a:pt x="186622" y="732946"/>
                    <a:pt x="178134" y="713057"/>
                  </a:cubicBezTo>
                  <a:cubicBezTo>
                    <a:pt x="169519" y="692788"/>
                    <a:pt x="169900" y="676065"/>
                    <a:pt x="177627" y="655543"/>
                  </a:cubicBezTo>
                  <a:cubicBezTo>
                    <a:pt x="185102" y="635780"/>
                    <a:pt x="191436" y="618805"/>
                    <a:pt x="183201" y="598029"/>
                  </a:cubicBezTo>
                  <a:cubicBezTo>
                    <a:pt x="174967" y="577126"/>
                    <a:pt x="160399" y="559645"/>
                    <a:pt x="154444" y="537728"/>
                  </a:cubicBezTo>
                  <a:cubicBezTo>
                    <a:pt x="161032" y="533294"/>
                    <a:pt x="167873" y="529114"/>
                    <a:pt x="173827" y="523920"/>
                  </a:cubicBezTo>
                  <a:cubicBezTo>
                    <a:pt x="185608" y="513785"/>
                    <a:pt x="193210" y="505551"/>
                    <a:pt x="190549" y="489335"/>
                  </a:cubicBezTo>
                  <a:cubicBezTo>
                    <a:pt x="189282" y="481608"/>
                    <a:pt x="187128" y="473880"/>
                    <a:pt x="182441" y="467420"/>
                  </a:cubicBezTo>
                  <a:cubicBezTo>
                    <a:pt x="178768" y="462226"/>
                    <a:pt x="173320" y="458172"/>
                    <a:pt x="171420" y="451964"/>
                  </a:cubicBezTo>
                  <a:cubicBezTo>
                    <a:pt x="166606" y="437142"/>
                    <a:pt x="177754" y="421054"/>
                    <a:pt x="188269" y="411933"/>
                  </a:cubicBezTo>
                  <a:cubicBezTo>
                    <a:pt x="192956" y="407879"/>
                    <a:pt x="197516" y="404458"/>
                    <a:pt x="199544" y="398378"/>
                  </a:cubicBezTo>
                  <a:cubicBezTo>
                    <a:pt x="201444" y="392423"/>
                    <a:pt x="201697" y="385836"/>
                    <a:pt x="205371" y="380642"/>
                  </a:cubicBezTo>
                  <a:cubicBezTo>
                    <a:pt x="212972" y="369747"/>
                    <a:pt x="234888" y="372408"/>
                    <a:pt x="242996" y="381402"/>
                  </a:cubicBezTo>
                  <a:cubicBezTo>
                    <a:pt x="249583" y="388496"/>
                    <a:pt x="250090" y="412186"/>
                    <a:pt x="265038" y="408892"/>
                  </a:cubicBezTo>
                  <a:cubicBezTo>
                    <a:pt x="272133" y="407372"/>
                    <a:pt x="274413" y="397111"/>
                    <a:pt x="278086" y="392043"/>
                  </a:cubicBezTo>
                  <a:cubicBezTo>
                    <a:pt x="283534" y="384569"/>
                    <a:pt x="290248" y="385456"/>
                    <a:pt x="298229" y="388116"/>
                  </a:cubicBezTo>
                  <a:cubicBezTo>
                    <a:pt x="305703" y="390650"/>
                    <a:pt x="314065" y="394324"/>
                    <a:pt x="322172" y="392803"/>
                  </a:cubicBezTo>
                  <a:cubicBezTo>
                    <a:pt x="328507" y="391663"/>
                    <a:pt x="329267" y="387229"/>
                    <a:pt x="330279" y="381529"/>
                  </a:cubicBezTo>
                  <a:cubicBezTo>
                    <a:pt x="331166" y="376081"/>
                    <a:pt x="331800" y="365567"/>
                    <a:pt x="337627" y="362653"/>
                  </a:cubicBezTo>
                  <a:cubicBezTo>
                    <a:pt x="342314" y="360246"/>
                    <a:pt x="349029" y="364807"/>
                    <a:pt x="354096" y="364807"/>
                  </a:cubicBezTo>
                  <a:cubicBezTo>
                    <a:pt x="357517" y="364807"/>
                    <a:pt x="362077" y="364047"/>
                    <a:pt x="365371" y="363287"/>
                  </a:cubicBezTo>
                  <a:cubicBezTo>
                    <a:pt x="368411" y="362526"/>
                    <a:pt x="370185" y="360500"/>
                    <a:pt x="373098" y="359233"/>
                  </a:cubicBezTo>
                  <a:cubicBezTo>
                    <a:pt x="376773" y="357586"/>
                    <a:pt x="380446" y="357713"/>
                    <a:pt x="383994" y="355686"/>
                  </a:cubicBezTo>
                  <a:cubicBezTo>
                    <a:pt x="390328" y="351758"/>
                    <a:pt x="394001" y="345044"/>
                    <a:pt x="399322" y="340104"/>
                  </a:cubicBezTo>
                  <a:cubicBezTo>
                    <a:pt x="407809" y="331869"/>
                    <a:pt x="423265" y="318187"/>
                    <a:pt x="422124" y="304886"/>
                  </a:cubicBezTo>
                  <a:cubicBezTo>
                    <a:pt x="421618" y="299439"/>
                    <a:pt x="416677" y="294371"/>
                    <a:pt x="413890" y="289937"/>
                  </a:cubicBezTo>
                  <a:cubicBezTo>
                    <a:pt x="410343" y="283983"/>
                    <a:pt x="406543" y="280436"/>
                    <a:pt x="399575" y="278916"/>
                  </a:cubicBezTo>
                  <a:cubicBezTo>
                    <a:pt x="388554" y="276509"/>
                    <a:pt x="383359" y="268401"/>
                    <a:pt x="384246" y="256873"/>
                  </a:cubicBezTo>
                  <a:cubicBezTo>
                    <a:pt x="385387" y="243318"/>
                    <a:pt x="395141" y="242558"/>
                    <a:pt x="406163" y="240658"/>
                  </a:cubicBezTo>
                  <a:cubicBezTo>
                    <a:pt x="421998" y="237997"/>
                    <a:pt x="433146" y="227103"/>
                    <a:pt x="442014" y="214181"/>
                  </a:cubicBezTo>
                  <a:cubicBezTo>
                    <a:pt x="449995" y="202273"/>
                    <a:pt x="456202" y="189098"/>
                    <a:pt x="456709" y="174529"/>
                  </a:cubicBezTo>
                  <a:cubicBezTo>
                    <a:pt x="457089" y="162621"/>
                    <a:pt x="455189" y="139438"/>
                    <a:pt x="442394" y="133484"/>
                  </a:cubicBezTo>
                  <a:cubicBezTo>
                    <a:pt x="430992" y="128164"/>
                    <a:pt x="421998" y="144252"/>
                    <a:pt x="413764" y="149193"/>
                  </a:cubicBezTo>
                  <a:cubicBezTo>
                    <a:pt x="403122" y="155654"/>
                    <a:pt x="396155" y="142986"/>
                    <a:pt x="391467" y="135131"/>
                  </a:cubicBezTo>
                  <a:cubicBezTo>
                    <a:pt x="385133" y="124363"/>
                    <a:pt x="378926" y="113469"/>
                    <a:pt x="373098" y="102447"/>
                  </a:cubicBezTo>
                  <a:cubicBezTo>
                    <a:pt x="368158" y="93326"/>
                    <a:pt x="364611" y="83698"/>
                    <a:pt x="372592" y="75337"/>
                  </a:cubicBezTo>
                  <a:cubicBezTo>
                    <a:pt x="380700" y="66849"/>
                    <a:pt x="392987" y="63176"/>
                    <a:pt x="399955" y="53421"/>
                  </a:cubicBezTo>
                  <a:cubicBezTo>
                    <a:pt x="406036" y="45060"/>
                    <a:pt x="406036" y="33405"/>
                    <a:pt x="409836" y="23904"/>
                  </a:cubicBezTo>
                  <a:cubicBezTo>
                    <a:pt x="413510" y="14783"/>
                    <a:pt x="419971" y="2875"/>
                    <a:pt x="430613" y="595"/>
                  </a:cubicBezTo>
                  <a:cubicBezTo>
                    <a:pt x="441761" y="-1812"/>
                    <a:pt x="456836" y="3635"/>
                    <a:pt x="467223" y="7182"/>
                  </a:cubicBezTo>
                  <a:cubicBezTo>
                    <a:pt x="481159" y="11869"/>
                    <a:pt x="487112" y="19343"/>
                    <a:pt x="490787" y="33152"/>
                  </a:cubicBezTo>
                  <a:cubicBezTo>
                    <a:pt x="494460" y="46707"/>
                    <a:pt x="500921" y="51774"/>
                    <a:pt x="512576" y="58995"/>
                  </a:cubicBezTo>
                  <a:cubicBezTo>
                    <a:pt x="526637" y="67736"/>
                    <a:pt x="526004" y="83191"/>
                    <a:pt x="527905" y="98013"/>
                  </a:cubicBezTo>
                  <a:cubicBezTo>
                    <a:pt x="529425" y="110175"/>
                    <a:pt x="533985" y="131964"/>
                    <a:pt x="551088" y="127657"/>
                  </a:cubicBezTo>
                  <a:cubicBezTo>
                    <a:pt x="561475" y="125123"/>
                    <a:pt x="567683" y="114989"/>
                    <a:pt x="577437" y="111062"/>
                  </a:cubicBezTo>
                  <a:cubicBezTo>
                    <a:pt x="590992" y="105614"/>
                    <a:pt x="603914" y="103334"/>
                    <a:pt x="614049" y="91679"/>
                  </a:cubicBezTo>
                  <a:cubicBezTo>
                    <a:pt x="614682" y="91046"/>
                    <a:pt x="615189" y="90286"/>
                    <a:pt x="615696" y="89526"/>
                  </a:cubicBezTo>
                  <a:cubicBezTo>
                    <a:pt x="621396" y="118789"/>
                    <a:pt x="616075" y="154641"/>
                    <a:pt x="604294" y="179977"/>
                  </a:cubicBezTo>
                  <a:cubicBezTo>
                    <a:pt x="592766" y="204934"/>
                    <a:pt x="604801" y="221782"/>
                    <a:pt x="609108" y="246359"/>
                  </a:cubicBezTo>
                  <a:cubicBezTo>
                    <a:pt x="613162" y="271188"/>
                    <a:pt x="618229" y="296778"/>
                    <a:pt x="617722" y="322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8" name="Полилиния: фигура 397">
              <a:extLst>
                <a:ext uri="{FF2B5EF4-FFF2-40B4-BE49-F238E27FC236}">
                  <a16:creationId xmlns:a16="http://schemas.microsoft.com/office/drawing/2014/main" id="{2BB7FA1E-CD7B-4F6D-B89B-EF6D77C5E271}"/>
                </a:ext>
              </a:extLst>
            </p:cNvPr>
            <p:cNvSpPr/>
            <p:nvPr/>
          </p:nvSpPr>
          <p:spPr>
            <a:xfrm>
              <a:off x="11041096" y="6112298"/>
              <a:ext cx="487339" cy="394796"/>
            </a:xfrm>
            <a:custGeom>
              <a:avLst/>
              <a:gdLst>
                <a:gd name="connsiteX0" fmla="*/ 487221 w 487339"/>
                <a:gd name="connsiteY0" fmla="*/ 10442 h 394796"/>
                <a:gd name="connsiteX1" fmla="*/ 475440 w 487339"/>
                <a:gd name="connsiteY1" fmla="*/ 45026 h 394796"/>
                <a:gd name="connsiteX2" fmla="*/ 463151 w 487339"/>
                <a:gd name="connsiteY2" fmla="*/ 69982 h 394796"/>
                <a:gd name="connsiteX3" fmla="*/ 450610 w 487339"/>
                <a:gd name="connsiteY3" fmla="*/ 57694 h 394796"/>
                <a:gd name="connsiteX4" fmla="*/ 391703 w 487339"/>
                <a:gd name="connsiteY4" fmla="*/ 108114 h 394796"/>
                <a:gd name="connsiteX5" fmla="*/ 363325 w 487339"/>
                <a:gd name="connsiteY5" fmla="*/ 165754 h 394796"/>
                <a:gd name="connsiteX6" fmla="*/ 311513 w 487339"/>
                <a:gd name="connsiteY6" fmla="*/ 212374 h 394796"/>
                <a:gd name="connsiteX7" fmla="*/ 272621 w 487339"/>
                <a:gd name="connsiteY7" fmla="*/ 273308 h 394796"/>
                <a:gd name="connsiteX8" fmla="*/ 242597 w 487339"/>
                <a:gd name="connsiteY8" fmla="*/ 323981 h 394796"/>
                <a:gd name="connsiteX9" fmla="*/ 181409 w 487339"/>
                <a:gd name="connsiteY9" fmla="*/ 352865 h 394796"/>
                <a:gd name="connsiteX10" fmla="*/ 149359 w 487339"/>
                <a:gd name="connsiteY10" fmla="*/ 394796 h 394796"/>
                <a:gd name="connsiteX11" fmla="*/ 103880 w 487339"/>
                <a:gd name="connsiteY11" fmla="*/ 361606 h 394796"/>
                <a:gd name="connsiteX12" fmla="*/ 70562 w 487339"/>
                <a:gd name="connsiteY12" fmla="*/ 353371 h 394796"/>
                <a:gd name="connsiteX13" fmla="*/ 61694 w 487339"/>
                <a:gd name="connsiteY13" fmla="*/ 312959 h 394796"/>
                <a:gd name="connsiteX14" fmla="*/ 38512 w 487339"/>
                <a:gd name="connsiteY14" fmla="*/ 290283 h 394796"/>
                <a:gd name="connsiteX15" fmla="*/ 13555 w 487339"/>
                <a:gd name="connsiteY15" fmla="*/ 260260 h 394796"/>
                <a:gd name="connsiteX16" fmla="*/ 0 w 487339"/>
                <a:gd name="connsiteY16" fmla="*/ 239484 h 394796"/>
                <a:gd name="connsiteX17" fmla="*/ 17863 w 487339"/>
                <a:gd name="connsiteY17" fmla="*/ 180069 h 394796"/>
                <a:gd name="connsiteX18" fmla="*/ 33825 w 487339"/>
                <a:gd name="connsiteY18" fmla="*/ 105200 h 394796"/>
                <a:gd name="connsiteX19" fmla="*/ 39399 w 487339"/>
                <a:gd name="connsiteY19" fmla="*/ 101527 h 394796"/>
                <a:gd name="connsiteX20" fmla="*/ 54854 w 487339"/>
                <a:gd name="connsiteY20" fmla="*/ 105200 h 394796"/>
                <a:gd name="connsiteX21" fmla="*/ 84877 w 487339"/>
                <a:gd name="connsiteY21" fmla="*/ 108241 h 394796"/>
                <a:gd name="connsiteX22" fmla="*/ 119462 w 487339"/>
                <a:gd name="connsiteY22" fmla="*/ 61875 h 394796"/>
                <a:gd name="connsiteX23" fmla="*/ 145178 w 487339"/>
                <a:gd name="connsiteY23" fmla="*/ 64408 h 394796"/>
                <a:gd name="connsiteX24" fmla="*/ 177482 w 487339"/>
                <a:gd name="connsiteY24" fmla="*/ 70869 h 394796"/>
                <a:gd name="connsiteX25" fmla="*/ 210167 w 487339"/>
                <a:gd name="connsiteY25" fmla="*/ 49080 h 394796"/>
                <a:gd name="connsiteX26" fmla="*/ 241204 w 487339"/>
                <a:gd name="connsiteY26" fmla="*/ 55034 h 394796"/>
                <a:gd name="connsiteX27" fmla="*/ 313539 w 487339"/>
                <a:gd name="connsiteY27" fmla="*/ 88731 h 394796"/>
                <a:gd name="connsiteX28" fmla="*/ 365732 w 487339"/>
                <a:gd name="connsiteY28" fmla="*/ 78343 h 394796"/>
                <a:gd name="connsiteX29" fmla="*/ 389549 w 487339"/>
                <a:gd name="connsiteY29" fmla="*/ 40085 h 394796"/>
                <a:gd name="connsiteX30" fmla="*/ 429834 w 487339"/>
                <a:gd name="connsiteY30" fmla="*/ 18169 h 394796"/>
                <a:gd name="connsiteX31" fmla="*/ 469739 w 487339"/>
                <a:gd name="connsiteY31" fmla="*/ 3094 h 394796"/>
                <a:gd name="connsiteX32" fmla="*/ 487221 w 487339"/>
                <a:gd name="connsiteY32" fmla="*/ 10442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7339" h="394796">
                  <a:moveTo>
                    <a:pt x="487221" y="10442"/>
                  </a:moveTo>
                  <a:cubicBezTo>
                    <a:pt x="486081" y="22350"/>
                    <a:pt x="480381" y="34258"/>
                    <a:pt x="475440" y="45026"/>
                  </a:cubicBezTo>
                  <a:cubicBezTo>
                    <a:pt x="471639" y="53514"/>
                    <a:pt x="467459" y="61748"/>
                    <a:pt x="463151" y="69982"/>
                  </a:cubicBezTo>
                  <a:cubicBezTo>
                    <a:pt x="462265" y="62508"/>
                    <a:pt x="459098" y="56934"/>
                    <a:pt x="450610" y="57694"/>
                  </a:cubicBezTo>
                  <a:cubicBezTo>
                    <a:pt x="428061" y="59594"/>
                    <a:pt x="403231" y="91265"/>
                    <a:pt x="391703" y="108114"/>
                  </a:cubicBezTo>
                  <a:cubicBezTo>
                    <a:pt x="379414" y="126103"/>
                    <a:pt x="375107" y="147766"/>
                    <a:pt x="363325" y="165754"/>
                  </a:cubicBezTo>
                  <a:cubicBezTo>
                    <a:pt x="350531" y="185263"/>
                    <a:pt x="328614" y="197172"/>
                    <a:pt x="311513" y="212374"/>
                  </a:cubicBezTo>
                  <a:cubicBezTo>
                    <a:pt x="292257" y="229476"/>
                    <a:pt x="279969" y="248858"/>
                    <a:pt x="272621" y="273308"/>
                  </a:cubicBezTo>
                  <a:cubicBezTo>
                    <a:pt x="266414" y="293450"/>
                    <a:pt x="260840" y="311439"/>
                    <a:pt x="242597" y="323981"/>
                  </a:cubicBezTo>
                  <a:cubicBezTo>
                    <a:pt x="223849" y="336902"/>
                    <a:pt x="200919" y="341463"/>
                    <a:pt x="181409" y="352865"/>
                  </a:cubicBezTo>
                  <a:cubicBezTo>
                    <a:pt x="164687" y="362746"/>
                    <a:pt x="156073" y="377061"/>
                    <a:pt x="149359" y="394796"/>
                  </a:cubicBezTo>
                  <a:cubicBezTo>
                    <a:pt x="132004" y="384535"/>
                    <a:pt x="126049" y="364139"/>
                    <a:pt x="103880" y="361606"/>
                  </a:cubicBezTo>
                  <a:cubicBezTo>
                    <a:pt x="91972" y="360339"/>
                    <a:pt x="78797" y="364393"/>
                    <a:pt x="70562" y="353371"/>
                  </a:cubicBezTo>
                  <a:cubicBezTo>
                    <a:pt x="61948" y="341716"/>
                    <a:pt x="68662" y="325754"/>
                    <a:pt x="61694" y="312959"/>
                  </a:cubicBezTo>
                  <a:cubicBezTo>
                    <a:pt x="56501" y="303205"/>
                    <a:pt x="45733" y="298518"/>
                    <a:pt x="38512" y="290283"/>
                  </a:cubicBezTo>
                  <a:cubicBezTo>
                    <a:pt x="30150" y="280655"/>
                    <a:pt x="19889" y="271407"/>
                    <a:pt x="13555" y="260260"/>
                  </a:cubicBezTo>
                  <a:cubicBezTo>
                    <a:pt x="8995" y="252279"/>
                    <a:pt x="6081" y="244678"/>
                    <a:pt x="0" y="239484"/>
                  </a:cubicBezTo>
                  <a:cubicBezTo>
                    <a:pt x="14948" y="223015"/>
                    <a:pt x="19510" y="202873"/>
                    <a:pt x="17863" y="180069"/>
                  </a:cubicBezTo>
                  <a:cubicBezTo>
                    <a:pt x="16089" y="156127"/>
                    <a:pt x="16216" y="124329"/>
                    <a:pt x="33825" y="105200"/>
                  </a:cubicBezTo>
                  <a:cubicBezTo>
                    <a:pt x="35725" y="103173"/>
                    <a:pt x="37498" y="102033"/>
                    <a:pt x="39399" y="101527"/>
                  </a:cubicBezTo>
                  <a:cubicBezTo>
                    <a:pt x="44213" y="100006"/>
                    <a:pt x="49153" y="102793"/>
                    <a:pt x="54854" y="105200"/>
                  </a:cubicBezTo>
                  <a:cubicBezTo>
                    <a:pt x="64355" y="109381"/>
                    <a:pt x="74743" y="111408"/>
                    <a:pt x="84877" y="108241"/>
                  </a:cubicBezTo>
                  <a:cubicBezTo>
                    <a:pt x="106540" y="101527"/>
                    <a:pt x="103880" y="74923"/>
                    <a:pt x="119462" y="61875"/>
                  </a:cubicBezTo>
                  <a:cubicBezTo>
                    <a:pt x="128329" y="54401"/>
                    <a:pt x="136691" y="58834"/>
                    <a:pt x="145178" y="64408"/>
                  </a:cubicBezTo>
                  <a:cubicBezTo>
                    <a:pt x="155566" y="71249"/>
                    <a:pt x="165194" y="75936"/>
                    <a:pt x="177482" y="70869"/>
                  </a:cubicBezTo>
                  <a:cubicBezTo>
                    <a:pt x="189898" y="65928"/>
                    <a:pt x="198258" y="54654"/>
                    <a:pt x="210167" y="49080"/>
                  </a:cubicBezTo>
                  <a:cubicBezTo>
                    <a:pt x="221061" y="44013"/>
                    <a:pt x="231449" y="50220"/>
                    <a:pt x="241204" y="55034"/>
                  </a:cubicBezTo>
                  <a:cubicBezTo>
                    <a:pt x="264894" y="66942"/>
                    <a:pt x="289470" y="77583"/>
                    <a:pt x="313539" y="88731"/>
                  </a:cubicBezTo>
                  <a:cubicBezTo>
                    <a:pt x="332289" y="97346"/>
                    <a:pt x="354585" y="98739"/>
                    <a:pt x="365732" y="78343"/>
                  </a:cubicBezTo>
                  <a:cubicBezTo>
                    <a:pt x="372953" y="65168"/>
                    <a:pt x="377514" y="49840"/>
                    <a:pt x="389549" y="40085"/>
                  </a:cubicBezTo>
                  <a:cubicBezTo>
                    <a:pt x="402471" y="29444"/>
                    <a:pt x="412859" y="21590"/>
                    <a:pt x="429834" y="18169"/>
                  </a:cubicBezTo>
                  <a:cubicBezTo>
                    <a:pt x="444276" y="15382"/>
                    <a:pt x="456564" y="9428"/>
                    <a:pt x="469739" y="3094"/>
                  </a:cubicBezTo>
                  <a:cubicBezTo>
                    <a:pt x="479367" y="-1086"/>
                    <a:pt x="488488" y="-2987"/>
                    <a:pt x="487221" y="1044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399" name="Полилиния: фигура 398">
              <a:extLst>
                <a:ext uri="{FF2B5EF4-FFF2-40B4-BE49-F238E27FC236}">
                  <a16:creationId xmlns:a16="http://schemas.microsoft.com/office/drawing/2014/main" id="{972D3DD7-FC29-4DC3-9940-ACC630B48FB4}"/>
                </a:ext>
              </a:extLst>
            </p:cNvPr>
            <p:cNvSpPr/>
            <p:nvPr/>
          </p:nvSpPr>
          <p:spPr>
            <a:xfrm>
              <a:off x="9478141" y="5200833"/>
              <a:ext cx="1649818" cy="1151076"/>
            </a:xfrm>
            <a:custGeom>
              <a:avLst/>
              <a:gdLst>
                <a:gd name="connsiteX0" fmla="*/ 1648593 w 1649818"/>
                <a:gd name="connsiteY0" fmla="*/ 362731 h 1151076"/>
                <a:gd name="connsiteX1" fmla="*/ 1603114 w 1649818"/>
                <a:gd name="connsiteY1" fmla="*/ 389968 h 1151076"/>
                <a:gd name="connsiteX2" fmla="*/ 1561056 w 1649818"/>
                <a:gd name="connsiteY2" fmla="*/ 405296 h 1151076"/>
                <a:gd name="connsiteX3" fmla="*/ 1506582 w 1649818"/>
                <a:gd name="connsiteY3" fmla="*/ 419105 h 1151076"/>
                <a:gd name="connsiteX4" fmla="*/ 1522418 w 1649818"/>
                <a:gd name="connsiteY4" fmla="*/ 452296 h 1151076"/>
                <a:gd name="connsiteX5" fmla="*/ 1558015 w 1649818"/>
                <a:gd name="connsiteY5" fmla="*/ 488907 h 1151076"/>
                <a:gd name="connsiteX6" fmla="*/ 1489733 w 1649818"/>
                <a:gd name="connsiteY6" fmla="*/ 575431 h 1151076"/>
                <a:gd name="connsiteX7" fmla="*/ 1472378 w 1649818"/>
                <a:gd name="connsiteY7" fmla="*/ 630411 h 1151076"/>
                <a:gd name="connsiteX8" fmla="*/ 1410049 w 1649818"/>
                <a:gd name="connsiteY8" fmla="*/ 664109 h 1151076"/>
                <a:gd name="connsiteX9" fmla="*/ 1441720 w 1649818"/>
                <a:gd name="connsiteY9" fmla="*/ 725550 h 1151076"/>
                <a:gd name="connsiteX10" fmla="*/ 1404096 w 1649818"/>
                <a:gd name="connsiteY10" fmla="*/ 840324 h 1151076"/>
                <a:gd name="connsiteX11" fmla="*/ 1453122 w 1649818"/>
                <a:gd name="connsiteY11" fmla="*/ 866041 h 1151076"/>
                <a:gd name="connsiteX12" fmla="*/ 1496701 w 1649818"/>
                <a:gd name="connsiteY12" fmla="*/ 882889 h 1151076"/>
                <a:gd name="connsiteX13" fmla="*/ 1568910 w 1649818"/>
                <a:gd name="connsiteY13" fmla="*/ 923428 h 1151076"/>
                <a:gd name="connsiteX14" fmla="*/ 1602480 w 1649818"/>
                <a:gd name="connsiteY14" fmla="*/ 1013119 h 1151076"/>
                <a:gd name="connsiteX15" fmla="*/ 1596906 w 1649818"/>
                <a:gd name="connsiteY15" fmla="*/ 1016793 h 1151076"/>
                <a:gd name="connsiteX16" fmla="*/ 1580945 w 1649818"/>
                <a:gd name="connsiteY16" fmla="*/ 1091662 h 1151076"/>
                <a:gd name="connsiteX17" fmla="*/ 1563082 w 1649818"/>
                <a:gd name="connsiteY17" fmla="*/ 1151076 h 1151076"/>
                <a:gd name="connsiteX18" fmla="*/ 1553961 w 1649818"/>
                <a:gd name="connsiteY18" fmla="*/ 1145882 h 1151076"/>
                <a:gd name="connsiteX19" fmla="*/ 1457555 w 1649818"/>
                <a:gd name="connsiteY19" fmla="*/ 1138788 h 1151076"/>
                <a:gd name="connsiteX20" fmla="*/ 1409923 w 1649818"/>
                <a:gd name="connsiteY20" fmla="*/ 1114718 h 1151076"/>
                <a:gd name="connsiteX21" fmla="*/ 1376225 w 1649818"/>
                <a:gd name="connsiteY21" fmla="*/ 1122826 h 1151076"/>
                <a:gd name="connsiteX22" fmla="*/ 1329987 w 1649818"/>
                <a:gd name="connsiteY22" fmla="*/ 1122319 h 1151076"/>
                <a:gd name="connsiteX23" fmla="*/ 1296289 w 1649818"/>
                <a:gd name="connsiteY23" fmla="*/ 1126880 h 1151076"/>
                <a:gd name="connsiteX24" fmla="*/ 1258411 w 1649818"/>
                <a:gd name="connsiteY24" fmla="*/ 1148162 h 1151076"/>
                <a:gd name="connsiteX25" fmla="*/ 1224333 w 1649818"/>
                <a:gd name="connsiteY25" fmla="*/ 1134101 h 1151076"/>
                <a:gd name="connsiteX26" fmla="*/ 1137682 w 1649818"/>
                <a:gd name="connsiteY26" fmla="*/ 1093816 h 1151076"/>
                <a:gd name="connsiteX27" fmla="*/ 1100564 w 1649818"/>
                <a:gd name="connsiteY27" fmla="*/ 1029968 h 1151076"/>
                <a:gd name="connsiteX28" fmla="*/ 1083842 w 1649818"/>
                <a:gd name="connsiteY28" fmla="*/ 1001464 h 1151076"/>
                <a:gd name="connsiteX29" fmla="*/ 1065600 w 1649818"/>
                <a:gd name="connsiteY29" fmla="*/ 991076 h 1151076"/>
                <a:gd name="connsiteX30" fmla="*/ 1043177 w 1649818"/>
                <a:gd name="connsiteY30" fmla="*/ 954085 h 1151076"/>
                <a:gd name="connsiteX31" fmla="*/ 1020375 w 1649818"/>
                <a:gd name="connsiteY31" fmla="*/ 933435 h 1151076"/>
                <a:gd name="connsiteX32" fmla="*/ 984903 w 1649818"/>
                <a:gd name="connsiteY32" fmla="*/ 897331 h 1151076"/>
                <a:gd name="connsiteX33" fmla="*/ 969702 w 1649818"/>
                <a:gd name="connsiteY33" fmla="*/ 877949 h 1151076"/>
                <a:gd name="connsiteX34" fmla="*/ 959693 w 1649818"/>
                <a:gd name="connsiteY34" fmla="*/ 869334 h 1151076"/>
                <a:gd name="connsiteX35" fmla="*/ 944872 w 1649818"/>
                <a:gd name="connsiteY35" fmla="*/ 864267 h 1151076"/>
                <a:gd name="connsiteX36" fmla="*/ 922956 w 1649818"/>
                <a:gd name="connsiteY36" fmla="*/ 808653 h 1151076"/>
                <a:gd name="connsiteX37" fmla="*/ 899139 w 1649818"/>
                <a:gd name="connsiteY37" fmla="*/ 804726 h 1151076"/>
                <a:gd name="connsiteX38" fmla="*/ 873930 w 1649818"/>
                <a:gd name="connsiteY38" fmla="*/ 766975 h 1151076"/>
                <a:gd name="connsiteX39" fmla="*/ 845933 w 1649818"/>
                <a:gd name="connsiteY39" fmla="*/ 754560 h 1151076"/>
                <a:gd name="connsiteX40" fmla="*/ 796780 w 1649818"/>
                <a:gd name="connsiteY40" fmla="*/ 712121 h 1151076"/>
                <a:gd name="connsiteX41" fmla="*/ 726725 w 1649818"/>
                <a:gd name="connsiteY41" fmla="*/ 702747 h 1151076"/>
                <a:gd name="connsiteX42" fmla="*/ 695687 w 1649818"/>
                <a:gd name="connsiteY42" fmla="*/ 695779 h 1151076"/>
                <a:gd name="connsiteX43" fmla="*/ 676052 w 1649818"/>
                <a:gd name="connsiteY43" fmla="*/ 713388 h 1151076"/>
                <a:gd name="connsiteX44" fmla="*/ 601942 w 1649818"/>
                <a:gd name="connsiteY44" fmla="*/ 705281 h 1151076"/>
                <a:gd name="connsiteX45" fmla="*/ 530240 w 1649818"/>
                <a:gd name="connsiteY45" fmla="*/ 695906 h 1151076"/>
                <a:gd name="connsiteX46" fmla="*/ 478047 w 1649818"/>
                <a:gd name="connsiteY46" fmla="*/ 743412 h 1151076"/>
                <a:gd name="connsiteX47" fmla="*/ 411158 w 1649818"/>
                <a:gd name="connsiteY47" fmla="*/ 752153 h 1151076"/>
                <a:gd name="connsiteX48" fmla="*/ 405457 w 1649818"/>
                <a:gd name="connsiteY48" fmla="*/ 755573 h 1151076"/>
                <a:gd name="connsiteX49" fmla="*/ 380248 w 1649818"/>
                <a:gd name="connsiteY49" fmla="*/ 719469 h 1151076"/>
                <a:gd name="connsiteX50" fmla="*/ 365299 w 1649818"/>
                <a:gd name="connsiteY50" fmla="*/ 693626 h 1151076"/>
                <a:gd name="connsiteX51" fmla="*/ 330842 w 1649818"/>
                <a:gd name="connsiteY51" fmla="*/ 687798 h 1151076"/>
                <a:gd name="connsiteX52" fmla="*/ 308038 w 1649818"/>
                <a:gd name="connsiteY52" fmla="*/ 621923 h 1151076"/>
                <a:gd name="connsiteX53" fmla="*/ 335909 w 1649818"/>
                <a:gd name="connsiteY53" fmla="*/ 587719 h 1151076"/>
                <a:gd name="connsiteX54" fmla="*/ 326281 w 1649818"/>
                <a:gd name="connsiteY54" fmla="*/ 555795 h 1151076"/>
                <a:gd name="connsiteX55" fmla="*/ 261673 w 1649818"/>
                <a:gd name="connsiteY55" fmla="*/ 547941 h 1151076"/>
                <a:gd name="connsiteX56" fmla="*/ 276241 w 1649818"/>
                <a:gd name="connsiteY56" fmla="*/ 509049 h 1151076"/>
                <a:gd name="connsiteX57" fmla="*/ 284856 w 1649818"/>
                <a:gd name="connsiteY57" fmla="*/ 464457 h 1151076"/>
                <a:gd name="connsiteX58" fmla="*/ 281309 w 1649818"/>
                <a:gd name="connsiteY58" fmla="*/ 428606 h 1151076"/>
                <a:gd name="connsiteX59" fmla="*/ 255592 w 1649818"/>
                <a:gd name="connsiteY59" fmla="*/ 393261 h 1151076"/>
                <a:gd name="connsiteX60" fmla="*/ 204412 w 1649818"/>
                <a:gd name="connsiteY60" fmla="*/ 419611 h 1151076"/>
                <a:gd name="connsiteX61" fmla="*/ 177429 w 1649818"/>
                <a:gd name="connsiteY61" fmla="*/ 340435 h 1151076"/>
                <a:gd name="connsiteX62" fmla="*/ 129543 w 1649818"/>
                <a:gd name="connsiteY62" fmla="*/ 347022 h 1151076"/>
                <a:gd name="connsiteX63" fmla="*/ 111681 w 1649818"/>
                <a:gd name="connsiteY63" fmla="*/ 366278 h 1151076"/>
                <a:gd name="connsiteX64" fmla="*/ 93692 w 1649818"/>
                <a:gd name="connsiteY64" fmla="*/ 376919 h 1151076"/>
                <a:gd name="connsiteX65" fmla="*/ 64935 w 1649818"/>
                <a:gd name="connsiteY65" fmla="*/ 357030 h 1151076"/>
                <a:gd name="connsiteX66" fmla="*/ 82797 w 1649818"/>
                <a:gd name="connsiteY66" fmla="*/ 324853 h 1151076"/>
                <a:gd name="connsiteX67" fmla="*/ 56574 w 1649818"/>
                <a:gd name="connsiteY67" fmla="*/ 299390 h 1151076"/>
                <a:gd name="connsiteX68" fmla="*/ 20089 w 1649818"/>
                <a:gd name="connsiteY68" fmla="*/ 287355 h 1151076"/>
                <a:gd name="connsiteX69" fmla="*/ 707 w 1649818"/>
                <a:gd name="connsiteY69" fmla="*/ 258851 h 1151076"/>
                <a:gd name="connsiteX70" fmla="*/ 12108 w 1649818"/>
                <a:gd name="connsiteY70" fmla="*/ 223887 h 1151076"/>
                <a:gd name="connsiteX71" fmla="*/ 1720 w 1649818"/>
                <a:gd name="connsiteY71" fmla="*/ 219706 h 1151076"/>
                <a:gd name="connsiteX72" fmla="*/ 84571 w 1649818"/>
                <a:gd name="connsiteY72" fmla="*/ 207165 h 1151076"/>
                <a:gd name="connsiteX73" fmla="*/ 149306 w 1649818"/>
                <a:gd name="connsiteY73" fmla="*/ 188669 h 1151076"/>
                <a:gd name="connsiteX74" fmla="*/ 179963 w 1649818"/>
                <a:gd name="connsiteY74" fmla="*/ 202604 h 1151076"/>
                <a:gd name="connsiteX75" fmla="*/ 224175 w 1649818"/>
                <a:gd name="connsiteY75" fmla="*/ 204885 h 1151076"/>
                <a:gd name="connsiteX76" fmla="*/ 280802 w 1649818"/>
                <a:gd name="connsiteY76" fmla="*/ 228194 h 1151076"/>
                <a:gd name="connsiteX77" fmla="*/ 431808 w 1649818"/>
                <a:gd name="connsiteY77" fmla="*/ 229461 h 1151076"/>
                <a:gd name="connsiteX78" fmla="*/ 495655 w 1649818"/>
                <a:gd name="connsiteY78" fmla="*/ 267846 h 1151076"/>
                <a:gd name="connsiteX79" fmla="*/ 608530 w 1649818"/>
                <a:gd name="connsiteY79" fmla="*/ 249984 h 1151076"/>
                <a:gd name="connsiteX80" fmla="*/ 678332 w 1649818"/>
                <a:gd name="connsiteY80" fmla="*/ 253404 h 1151076"/>
                <a:gd name="connsiteX81" fmla="*/ 739266 w 1649818"/>
                <a:gd name="connsiteY81" fmla="*/ 206405 h 1151076"/>
                <a:gd name="connsiteX82" fmla="*/ 788292 w 1649818"/>
                <a:gd name="connsiteY82" fmla="*/ 209319 h 1151076"/>
                <a:gd name="connsiteX83" fmla="*/ 844666 w 1649818"/>
                <a:gd name="connsiteY83" fmla="*/ 178154 h 1151076"/>
                <a:gd name="connsiteX84" fmla="*/ 929796 w 1649818"/>
                <a:gd name="connsiteY84" fmla="*/ 168780 h 1151076"/>
                <a:gd name="connsiteX85" fmla="*/ 930050 w 1649818"/>
                <a:gd name="connsiteY85" fmla="*/ 118234 h 1151076"/>
                <a:gd name="connsiteX86" fmla="*/ 976796 w 1649818"/>
                <a:gd name="connsiteY86" fmla="*/ 90997 h 1151076"/>
                <a:gd name="connsiteX87" fmla="*/ 1039123 w 1649818"/>
                <a:gd name="connsiteY87" fmla="*/ 62367 h 1151076"/>
                <a:gd name="connsiteX88" fmla="*/ 1069780 w 1649818"/>
                <a:gd name="connsiteY88" fmla="*/ 51219 h 1151076"/>
                <a:gd name="connsiteX89" fmla="*/ 1122354 w 1649818"/>
                <a:gd name="connsiteY89" fmla="*/ 35637 h 1151076"/>
                <a:gd name="connsiteX90" fmla="*/ 1214452 w 1649818"/>
                <a:gd name="connsiteY90" fmla="*/ 546 h 1151076"/>
                <a:gd name="connsiteX91" fmla="*/ 1254990 w 1649818"/>
                <a:gd name="connsiteY91" fmla="*/ 25629 h 1151076"/>
                <a:gd name="connsiteX92" fmla="*/ 1247136 w 1649818"/>
                <a:gd name="connsiteY92" fmla="*/ 48052 h 1151076"/>
                <a:gd name="connsiteX93" fmla="*/ 1246123 w 1649818"/>
                <a:gd name="connsiteY93" fmla="*/ 72755 h 1151076"/>
                <a:gd name="connsiteX94" fmla="*/ 1216859 w 1649818"/>
                <a:gd name="connsiteY94" fmla="*/ 102399 h 1151076"/>
                <a:gd name="connsiteX95" fmla="*/ 1198617 w 1649818"/>
                <a:gd name="connsiteY95" fmla="*/ 150411 h 1151076"/>
                <a:gd name="connsiteX96" fmla="*/ 1168467 w 1649818"/>
                <a:gd name="connsiteY96" fmla="*/ 193483 h 1151076"/>
                <a:gd name="connsiteX97" fmla="*/ 1167453 w 1649818"/>
                <a:gd name="connsiteY97" fmla="*/ 272280 h 1151076"/>
                <a:gd name="connsiteX98" fmla="*/ 1139203 w 1649818"/>
                <a:gd name="connsiteY98" fmla="*/ 328653 h 1151076"/>
                <a:gd name="connsiteX99" fmla="*/ 1178854 w 1649818"/>
                <a:gd name="connsiteY99" fmla="*/ 347402 h 1151076"/>
                <a:gd name="connsiteX100" fmla="*/ 1285774 w 1649818"/>
                <a:gd name="connsiteY100" fmla="*/ 366658 h 1151076"/>
                <a:gd name="connsiteX101" fmla="*/ 1305030 w 1649818"/>
                <a:gd name="connsiteY101" fmla="*/ 432533 h 1151076"/>
                <a:gd name="connsiteX102" fmla="*/ 1344555 w 1649818"/>
                <a:gd name="connsiteY102" fmla="*/ 410744 h 1151076"/>
                <a:gd name="connsiteX103" fmla="*/ 1366345 w 1649818"/>
                <a:gd name="connsiteY103" fmla="*/ 363238 h 1151076"/>
                <a:gd name="connsiteX104" fmla="*/ 1414863 w 1649818"/>
                <a:gd name="connsiteY104" fmla="*/ 342462 h 1151076"/>
                <a:gd name="connsiteX105" fmla="*/ 1457429 w 1649818"/>
                <a:gd name="connsiteY105" fmla="*/ 261765 h 1151076"/>
                <a:gd name="connsiteX106" fmla="*/ 1506962 w 1649818"/>
                <a:gd name="connsiteY106" fmla="*/ 261765 h 1151076"/>
                <a:gd name="connsiteX107" fmla="*/ 1557889 w 1649818"/>
                <a:gd name="connsiteY107" fmla="*/ 209319 h 1151076"/>
                <a:gd name="connsiteX108" fmla="*/ 1601974 w 1649818"/>
                <a:gd name="connsiteY108" fmla="*/ 260372 h 1151076"/>
                <a:gd name="connsiteX109" fmla="*/ 1615783 w 1649818"/>
                <a:gd name="connsiteY109" fmla="*/ 316745 h 1151076"/>
                <a:gd name="connsiteX110" fmla="*/ 1648593 w 1649818"/>
                <a:gd name="connsiteY110" fmla="*/ 362731 h 11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649818" h="1151076">
                  <a:moveTo>
                    <a:pt x="1648593" y="362731"/>
                  </a:moveTo>
                  <a:cubicBezTo>
                    <a:pt x="1641752" y="385407"/>
                    <a:pt x="1624397" y="389461"/>
                    <a:pt x="1603114" y="389968"/>
                  </a:cubicBezTo>
                  <a:cubicBezTo>
                    <a:pt x="1581832" y="390474"/>
                    <a:pt x="1575371" y="404283"/>
                    <a:pt x="1561056" y="405296"/>
                  </a:cubicBezTo>
                  <a:cubicBezTo>
                    <a:pt x="1546740" y="406310"/>
                    <a:pt x="1511522" y="404283"/>
                    <a:pt x="1506582" y="419105"/>
                  </a:cubicBezTo>
                  <a:cubicBezTo>
                    <a:pt x="1501641" y="433926"/>
                    <a:pt x="1512030" y="447862"/>
                    <a:pt x="1522418" y="452296"/>
                  </a:cubicBezTo>
                  <a:cubicBezTo>
                    <a:pt x="1532805" y="456730"/>
                    <a:pt x="1571444" y="478519"/>
                    <a:pt x="1558015" y="488907"/>
                  </a:cubicBezTo>
                  <a:cubicBezTo>
                    <a:pt x="1544713" y="499295"/>
                    <a:pt x="1491253" y="558709"/>
                    <a:pt x="1489733" y="575431"/>
                  </a:cubicBezTo>
                  <a:cubicBezTo>
                    <a:pt x="1488213" y="592280"/>
                    <a:pt x="1486820" y="625470"/>
                    <a:pt x="1472378" y="630411"/>
                  </a:cubicBezTo>
                  <a:cubicBezTo>
                    <a:pt x="1458063" y="635352"/>
                    <a:pt x="1412077" y="653214"/>
                    <a:pt x="1410049" y="664109"/>
                  </a:cubicBezTo>
                  <a:cubicBezTo>
                    <a:pt x="1408023" y="675003"/>
                    <a:pt x="1452615" y="715162"/>
                    <a:pt x="1441720" y="725550"/>
                  </a:cubicBezTo>
                  <a:cubicBezTo>
                    <a:pt x="1430826" y="735937"/>
                    <a:pt x="1375339" y="810680"/>
                    <a:pt x="1404096" y="840324"/>
                  </a:cubicBezTo>
                  <a:cubicBezTo>
                    <a:pt x="1432726" y="869968"/>
                    <a:pt x="1443241" y="857680"/>
                    <a:pt x="1453122" y="866041"/>
                  </a:cubicBezTo>
                  <a:cubicBezTo>
                    <a:pt x="1463003" y="874402"/>
                    <a:pt x="1479345" y="876935"/>
                    <a:pt x="1496701" y="882889"/>
                  </a:cubicBezTo>
                  <a:cubicBezTo>
                    <a:pt x="1513929" y="888843"/>
                    <a:pt x="1565996" y="881876"/>
                    <a:pt x="1568910" y="923428"/>
                  </a:cubicBezTo>
                  <a:cubicBezTo>
                    <a:pt x="1571823" y="964980"/>
                    <a:pt x="1564223" y="976508"/>
                    <a:pt x="1602480" y="1013119"/>
                  </a:cubicBezTo>
                  <a:cubicBezTo>
                    <a:pt x="1600707" y="1013626"/>
                    <a:pt x="1598807" y="1014766"/>
                    <a:pt x="1596906" y="1016793"/>
                  </a:cubicBezTo>
                  <a:cubicBezTo>
                    <a:pt x="1579298" y="1035922"/>
                    <a:pt x="1579298" y="1067593"/>
                    <a:pt x="1580945" y="1091662"/>
                  </a:cubicBezTo>
                  <a:cubicBezTo>
                    <a:pt x="1582592" y="1114465"/>
                    <a:pt x="1578031" y="1134734"/>
                    <a:pt x="1563082" y="1151076"/>
                  </a:cubicBezTo>
                  <a:cubicBezTo>
                    <a:pt x="1560675" y="1148923"/>
                    <a:pt x="1557762" y="1147149"/>
                    <a:pt x="1553961" y="1145882"/>
                  </a:cubicBezTo>
                  <a:cubicBezTo>
                    <a:pt x="1524191" y="1135747"/>
                    <a:pt x="1488466" y="1140815"/>
                    <a:pt x="1457555" y="1138788"/>
                  </a:cubicBezTo>
                  <a:cubicBezTo>
                    <a:pt x="1435513" y="1137394"/>
                    <a:pt x="1428545" y="1122699"/>
                    <a:pt x="1409923" y="1114718"/>
                  </a:cubicBezTo>
                  <a:cubicBezTo>
                    <a:pt x="1394848" y="1108258"/>
                    <a:pt x="1387627" y="1114085"/>
                    <a:pt x="1376225" y="1122826"/>
                  </a:cubicBezTo>
                  <a:cubicBezTo>
                    <a:pt x="1358616" y="1136127"/>
                    <a:pt x="1346455" y="1130807"/>
                    <a:pt x="1329987" y="1122319"/>
                  </a:cubicBezTo>
                  <a:cubicBezTo>
                    <a:pt x="1317192" y="1115732"/>
                    <a:pt x="1307691" y="1119152"/>
                    <a:pt x="1296289" y="1126880"/>
                  </a:cubicBezTo>
                  <a:cubicBezTo>
                    <a:pt x="1284761" y="1134734"/>
                    <a:pt x="1273233" y="1150316"/>
                    <a:pt x="1258411" y="1148162"/>
                  </a:cubicBezTo>
                  <a:cubicBezTo>
                    <a:pt x="1245996" y="1146262"/>
                    <a:pt x="1236495" y="1136761"/>
                    <a:pt x="1224333" y="1134101"/>
                  </a:cubicBezTo>
                  <a:cubicBezTo>
                    <a:pt x="1193043" y="1127387"/>
                    <a:pt x="1160992" y="1117886"/>
                    <a:pt x="1137682" y="1093816"/>
                  </a:cubicBezTo>
                  <a:cubicBezTo>
                    <a:pt x="1119314" y="1074687"/>
                    <a:pt x="1102844" y="1056571"/>
                    <a:pt x="1100564" y="1029968"/>
                  </a:cubicBezTo>
                  <a:cubicBezTo>
                    <a:pt x="1099551" y="1016666"/>
                    <a:pt x="1093343" y="1010079"/>
                    <a:pt x="1083842" y="1001464"/>
                  </a:cubicBezTo>
                  <a:cubicBezTo>
                    <a:pt x="1076875" y="995130"/>
                    <a:pt x="1073581" y="993736"/>
                    <a:pt x="1065600" y="991076"/>
                  </a:cubicBezTo>
                  <a:cubicBezTo>
                    <a:pt x="1052298" y="986642"/>
                    <a:pt x="1046091" y="966373"/>
                    <a:pt x="1043177" y="954085"/>
                  </a:cubicBezTo>
                  <a:cubicBezTo>
                    <a:pt x="1039123" y="937743"/>
                    <a:pt x="1038237" y="934069"/>
                    <a:pt x="1020375" y="933435"/>
                  </a:cubicBezTo>
                  <a:cubicBezTo>
                    <a:pt x="992758" y="932422"/>
                    <a:pt x="994785" y="918867"/>
                    <a:pt x="984903" y="897331"/>
                  </a:cubicBezTo>
                  <a:cubicBezTo>
                    <a:pt x="981483" y="889857"/>
                    <a:pt x="975529" y="883649"/>
                    <a:pt x="969702" y="877949"/>
                  </a:cubicBezTo>
                  <a:cubicBezTo>
                    <a:pt x="966281" y="874655"/>
                    <a:pt x="964128" y="871615"/>
                    <a:pt x="959693" y="869334"/>
                  </a:cubicBezTo>
                  <a:cubicBezTo>
                    <a:pt x="955513" y="867054"/>
                    <a:pt x="948419" y="867181"/>
                    <a:pt x="944872" y="864267"/>
                  </a:cubicBezTo>
                  <a:cubicBezTo>
                    <a:pt x="928276" y="850839"/>
                    <a:pt x="946772" y="821195"/>
                    <a:pt x="922956" y="808653"/>
                  </a:cubicBezTo>
                  <a:cubicBezTo>
                    <a:pt x="915735" y="804853"/>
                    <a:pt x="906740" y="808527"/>
                    <a:pt x="899139" y="804726"/>
                  </a:cubicBezTo>
                  <a:cubicBezTo>
                    <a:pt x="885078" y="797759"/>
                    <a:pt x="884571" y="777109"/>
                    <a:pt x="873930" y="766975"/>
                  </a:cubicBezTo>
                  <a:cubicBezTo>
                    <a:pt x="865949" y="759374"/>
                    <a:pt x="856067" y="757474"/>
                    <a:pt x="845933" y="754560"/>
                  </a:cubicBezTo>
                  <a:cubicBezTo>
                    <a:pt x="821989" y="747466"/>
                    <a:pt x="816669" y="724536"/>
                    <a:pt x="796780" y="712121"/>
                  </a:cubicBezTo>
                  <a:cubicBezTo>
                    <a:pt x="776511" y="699453"/>
                    <a:pt x="749274" y="709841"/>
                    <a:pt x="726725" y="702747"/>
                  </a:cubicBezTo>
                  <a:cubicBezTo>
                    <a:pt x="717350" y="699833"/>
                    <a:pt x="705822" y="692992"/>
                    <a:pt x="695687" y="695779"/>
                  </a:cubicBezTo>
                  <a:cubicBezTo>
                    <a:pt x="686566" y="698313"/>
                    <a:pt x="682639" y="707561"/>
                    <a:pt x="676052" y="713388"/>
                  </a:cubicBezTo>
                  <a:cubicBezTo>
                    <a:pt x="655276" y="731377"/>
                    <a:pt x="623605" y="712755"/>
                    <a:pt x="601942" y="705281"/>
                  </a:cubicBezTo>
                  <a:cubicBezTo>
                    <a:pt x="580659" y="697933"/>
                    <a:pt x="552662" y="688432"/>
                    <a:pt x="530240" y="695906"/>
                  </a:cubicBezTo>
                  <a:cubicBezTo>
                    <a:pt x="505790" y="704140"/>
                    <a:pt x="501737" y="735177"/>
                    <a:pt x="478047" y="743412"/>
                  </a:cubicBezTo>
                  <a:cubicBezTo>
                    <a:pt x="456004" y="751266"/>
                    <a:pt x="432948" y="739991"/>
                    <a:pt x="411158" y="752153"/>
                  </a:cubicBezTo>
                  <a:cubicBezTo>
                    <a:pt x="409258" y="753293"/>
                    <a:pt x="407231" y="754433"/>
                    <a:pt x="405457" y="755573"/>
                  </a:cubicBezTo>
                  <a:cubicBezTo>
                    <a:pt x="396337" y="744679"/>
                    <a:pt x="387849" y="732897"/>
                    <a:pt x="380248" y="719469"/>
                  </a:cubicBezTo>
                  <a:cubicBezTo>
                    <a:pt x="375434" y="710981"/>
                    <a:pt x="372520" y="700213"/>
                    <a:pt x="365299" y="693626"/>
                  </a:cubicBezTo>
                  <a:cubicBezTo>
                    <a:pt x="354405" y="683618"/>
                    <a:pt x="343383" y="691852"/>
                    <a:pt x="330842" y="687798"/>
                  </a:cubicBezTo>
                  <a:cubicBezTo>
                    <a:pt x="306899" y="680070"/>
                    <a:pt x="302591" y="642699"/>
                    <a:pt x="308038" y="621923"/>
                  </a:cubicBezTo>
                  <a:cubicBezTo>
                    <a:pt x="311713" y="607608"/>
                    <a:pt x="329321" y="601148"/>
                    <a:pt x="335909" y="587719"/>
                  </a:cubicBezTo>
                  <a:cubicBezTo>
                    <a:pt x="341229" y="576951"/>
                    <a:pt x="335655" y="562889"/>
                    <a:pt x="326281" y="555795"/>
                  </a:cubicBezTo>
                  <a:cubicBezTo>
                    <a:pt x="307659" y="541987"/>
                    <a:pt x="282575" y="551488"/>
                    <a:pt x="261673" y="547941"/>
                  </a:cubicBezTo>
                  <a:cubicBezTo>
                    <a:pt x="264334" y="534132"/>
                    <a:pt x="270794" y="521971"/>
                    <a:pt x="276241" y="509049"/>
                  </a:cubicBezTo>
                  <a:cubicBezTo>
                    <a:pt x="282322" y="494481"/>
                    <a:pt x="284729" y="480165"/>
                    <a:pt x="284856" y="464457"/>
                  </a:cubicBezTo>
                  <a:cubicBezTo>
                    <a:pt x="284982" y="452422"/>
                    <a:pt x="285109" y="440261"/>
                    <a:pt x="281309" y="428606"/>
                  </a:cubicBezTo>
                  <a:cubicBezTo>
                    <a:pt x="277255" y="416318"/>
                    <a:pt x="268261" y="398709"/>
                    <a:pt x="255592" y="393261"/>
                  </a:cubicBezTo>
                  <a:cubicBezTo>
                    <a:pt x="232283" y="383507"/>
                    <a:pt x="229496" y="441274"/>
                    <a:pt x="204412" y="419611"/>
                  </a:cubicBezTo>
                  <a:cubicBezTo>
                    <a:pt x="180849" y="398962"/>
                    <a:pt x="203146" y="357917"/>
                    <a:pt x="177429" y="340435"/>
                  </a:cubicBezTo>
                  <a:cubicBezTo>
                    <a:pt x="161847" y="329793"/>
                    <a:pt x="143224" y="336381"/>
                    <a:pt x="129543" y="347022"/>
                  </a:cubicBezTo>
                  <a:cubicBezTo>
                    <a:pt x="122829" y="352216"/>
                    <a:pt x="116242" y="359057"/>
                    <a:pt x="111681" y="366278"/>
                  </a:cubicBezTo>
                  <a:cubicBezTo>
                    <a:pt x="107247" y="373499"/>
                    <a:pt x="103193" y="377553"/>
                    <a:pt x="93692" y="376919"/>
                  </a:cubicBezTo>
                  <a:cubicBezTo>
                    <a:pt x="82037" y="376159"/>
                    <a:pt x="66708" y="370712"/>
                    <a:pt x="64935" y="357030"/>
                  </a:cubicBezTo>
                  <a:cubicBezTo>
                    <a:pt x="62908" y="342462"/>
                    <a:pt x="80770" y="337394"/>
                    <a:pt x="82797" y="324853"/>
                  </a:cubicBezTo>
                  <a:cubicBezTo>
                    <a:pt x="84697" y="313198"/>
                    <a:pt x="63922" y="304204"/>
                    <a:pt x="56574" y="299390"/>
                  </a:cubicBezTo>
                  <a:cubicBezTo>
                    <a:pt x="44666" y="291409"/>
                    <a:pt x="33011" y="291915"/>
                    <a:pt x="20089" y="287355"/>
                  </a:cubicBezTo>
                  <a:cubicBezTo>
                    <a:pt x="8308" y="283301"/>
                    <a:pt x="-2967" y="272153"/>
                    <a:pt x="707" y="258851"/>
                  </a:cubicBezTo>
                  <a:cubicBezTo>
                    <a:pt x="3621" y="248210"/>
                    <a:pt x="25157" y="233008"/>
                    <a:pt x="12108" y="223887"/>
                  </a:cubicBezTo>
                  <a:cubicBezTo>
                    <a:pt x="8941" y="221733"/>
                    <a:pt x="5395" y="220466"/>
                    <a:pt x="1720" y="219706"/>
                  </a:cubicBezTo>
                  <a:cubicBezTo>
                    <a:pt x="5014" y="219453"/>
                    <a:pt x="66835" y="215273"/>
                    <a:pt x="84571" y="207165"/>
                  </a:cubicBezTo>
                  <a:cubicBezTo>
                    <a:pt x="102687" y="198931"/>
                    <a:pt x="138664" y="177774"/>
                    <a:pt x="149306" y="188669"/>
                  </a:cubicBezTo>
                  <a:cubicBezTo>
                    <a:pt x="159821" y="199564"/>
                    <a:pt x="170082" y="203365"/>
                    <a:pt x="179963" y="202604"/>
                  </a:cubicBezTo>
                  <a:cubicBezTo>
                    <a:pt x="189844" y="201844"/>
                    <a:pt x="214547" y="193610"/>
                    <a:pt x="224175" y="204885"/>
                  </a:cubicBezTo>
                  <a:cubicBezTo>
                    <a:pt x="233803" y="216033"/>
                    <a:pt x="254072" y="234528"/>
                    <a:pt x="280802" y="228194"/>
                  </a:cubicBezTo>
                  <a:cubicBezTo>
                    <a:pt x="307532" y="221733"/>
                    <a:pt x="411031" y="208559"/>
                    <a:pt x="431808" y="229461"/>
                  </a:cubicBezTo>
                  <a:cubicBezTo>
                    <a:pt x="452584" y="250364"/>
                    <a:pt x="459045" y="276207"/>
                    <a:pt x="495655" y="267846"/>
                  </a:cubicBezTo>
                  <a:cubicBezTo>
                    <a:pt x="532267" y="259358"/>
                    <a:pt x="582306" y="235162"/>
                    <a:pt x="608530" y="249984"/>
                  </a:cubicBezTo>
                  <a:cubicBezTo>
                    <a:pt x="634753" y="264805"/>
                    <a:pt x="661483" y="271266"/>
                    <a:pt x="678332" y="253404"/>
                  </a:cubicBezTo>
                  <a:cubicBezTo>
                    <a:pt x="695180" y="235542"/>
                    <a:pt x="719377" y="197917"/>
                    <a:pt x="739266" y="206405"/>
                  </a:cubicBezTo>
                  <a:cubicBezTo>
                    <a:pt x="759029" y="214766"/>
                    <a:pt x="771443" y="221227"/>
                    <a:pt x="788292" y="209319"/>
                  </a:cubicBezTo>
                  <a:cubicBezTo>
                    <a:pt x="805140" y="197410"/>
                    <a:pt x="826424" y="178661"/>
                    <a:pt x="844666" y="178154"/>
                  </a:cubicBezTo>
                  <a:cubicBezTo>
                    <a:pt x="862908" y="177648"/>
                    <a:pt x="934737" y="187022"/>
                    <a:pt x="929796" y="168780"/>
                  </a:cubicBezTo>
                  <a:cubicBezTo>
                    <a:pt x="924856" y="150411"/>
                    <a:pt x="921309" y="123681"/>
                    <a:pt x="930050" y="118234"/>
                  </a:cubicBezTo>
                  <a:cubicBezTo>
                    <a:pt x="938664" y="112786"/>
                    <a:pt x="962987" y="103412"/>
                    <a:pt x="976796" y="90997"/>
                  </a:cubicBezTo>
                  <a:cubicBezTo>
                    <a:pt x="990604" y="78582"/>
                    <a:pt x="1025822" y="67307"/>
                    <a:pt x="1039123" y="62367"/>
                  </a:cubicBezTo>
                  <a:cubicBezTo>
                    <a:pt x="1049258" y="58566"/>
                    <a:pt x="1063320" y="60847"/>
                    <a:pt x="1069780" y="51219"/>
                  </a:cubicBezTo>
                  <a:cubicBezTo>
                    <a:pt x="1069780" y="51219"/>
                    <a:pt x="1112980" y="43998"/>
                    <a:pt x="1122354" y="35637"/>
                  </a:cubicBezTo>
                  <a:cubicBezTo>
                    <a:pt x="1131728" y="27149"/>
                    <a:pt x="1187722" y="-4522"/>
                    <a:pt x="1214452" y="546"/>
                  </a:cubicBezTo>
                  <a:cubicBezTo>
                    <a:pt x="1241182" y="5486"/>
                    <a:pt x="1262465" y="20055"/>
                    <a:pt x="1254990" y="25629"/>
                  </a:cubicBezTo>
                  <a:cubicBezTo>
                    <a:pt x="1247643" y="31203"/>
                    <a:pt x="1244096" y="37157"/>
                    <a:pt x="1247136" y="48052"/>
                  </a:cubicBezTo>
                  <a:cubicBezTo>
                    <a:pt x="1250176" y="58946"/>
                    <a:pt x="1260058" y="67814"/>
                    <a:pt x="1246123" y="72755"/>
                  </a:cubicBezTo>
                  <a:cubicBezTo>
                    <a:pt x="1232314" y="77695"/>
                    <a:pt x="1222307" y="83649"/>
                    <a:pt x="1216859" y="102399"/>
                  </a:cubicBezTo>
                  <a:cubicBezTo>
                    <a:pt x="1211411" y="121274"/>
                    <a:pt x="1209891" y="143570"/>
                    <a:pt x="1198617" y="150411"/>
                  </a:cubicBezTo>
                  <a:cubicBezTo>
                    <a:pt x="1187215" y="157379"/>
                    <a:pt x="1166439" y="177141"/>
                    <a:pt x="1168467" y="193483"/>
                  </a:cubicBezTo>
                  <a:cubicBezTo>
                    <a:pt x="1170493" y="209825"/>
                    <a:pt x="1178347" y="265312"/>
                    <a:pt x="1167453" y="272280"/>
                  </a:cubicBezTo>
                  <a:cubicBezTo>
                    <a:pt x="1156558" y="279120"/>
                    <a:pt x="1125901" y="311425"/>
                    <a:pt x="1139203" y="328653"/>
                  </a:cubicBezTo>
                  <a:cubicBezTo>
                    <a:pt x="1152505" y="346009"/>
                    <a:pt x="1157952" y="353357"/>
                    <a:pt x="1178854" y="347402"/>
                  </a:cubicBezTo>
                  <a:cubicBezTo>
                    <a:pt x="1199630" y="341448"/>
                    <a:pt x="1285774" y="321179"/>
                    <a:pt x="1285774" y="366658"/>
                  </a:cubicBezTo>
                  <a:cubicBezTo>
                    <a:pt x="1285774" y="412264"/>
                    <a:pt x="1283241" y="439374"/>
                    <a:pt x="1305030" y="432533"/>
                  </a:cubicBezTo>
                  <a:cubicBezTo>
                    <a:pt x="1326820" y="425565"/>
                    <a:pt x="1344555" y="431013"/>
                    <a:pt x="1344555" y="410744"/>
                  </a:cubicBezTo>
                  <a:cubicBezTo>
                    <a:pt x="1344555" y="390474"/>
                    <a:pt x="1347469" y="363238"/>
                    <a:pt x="1366345" y="363238"/>
                  </a:cubicBezTo>
                  <a:cubicBezTo>
                    <a:pt x="1385093" y="363238"/>
                    <a:pt x="1402955" y="367672"/>
                    <a:pt x="1414863" y="342462"/>
                  </a:cubicBezTo>
                  <a:cubicBezTo>
                    <a:pt x="1426772" y="317252"/>
                    <a:pt x="1434246" y="259232"/>
                    <a:pt x="1457429" y="261765"/>
                  </a:cubicBezTo>
                  <a:cubicBezTo>
                    <a:pt x="1480739" y="264172"/>
                    <a:pt x="1498981" y="276080"/>
                    <a:pt x="1506962" y="261765"/>
                  </a:cubicBezTo>
                  <a:cubicBezTo>
                    <a:pt x="1514943" y="247323"/>
                    <a:pt x="1540153" y="207292"/>
                    <a:pt x="1557889" y="209319"/>
                  </a:cubicBezTo>
                  <a:cubicBezTo>
                    <a:pt x="1575750" y="211345"/>
                    <a:pt x="1597033" y="227181"/>
                    <a:pt x="1601974" y="260372"/>
                  </a:cubicBezTo>
                  <a:cubicBezTo>
                    <a:pt x="1606915" y="293562"/>
                    <a:pt x="1599947" y="309398"/>
                    <a:pt x="1615783" y="316745"/>
                  </a:cubicBezTo>
                  <a:cubicBezTo>
                    <a:pt x="1631237" y="324093"/>
                    <a:pt x="1655560" y="339928"/>
                    <a:pt x="1648593" y="36273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0" name="Полилиния: фигура 399">
              <a:extLst>
                <a:ext uri="{FF2B5EF4-FFF2-40B4-BE49-F238E27FC236}">
                  <a16:creationId xmlns:a16="http://schemas.microsoft.com/office/drawing/2014/main" id="{FDE1024C-1B7B-4D55-A555-C3B955320644}"/>
                </a:ext>
              </a:extLst>
            </p:cNvPr>
            <p:cNvSpPr/>
            <p:nvPr/>
          </p:nvSpPr>
          <p:spPr>
            <a:xfrm>
              <a:off x="3528940" y="2776042"/>
              <a:ext cx="1952187" cy="1095438"/>
            </a:xfrm>
            <a:custGeom>
              <a:avLst/>
              <a:gdLst>
                <a:gd name="connsiteX0" fmla="*/ 1942053 w 1952187"/>
                <a:gd name="connsiteY0" fmla="*/ 463151 h 1095438"/>
                <a:gd name="connsiteX1" fmla="*/ 1926851 w 1952187"/>
                <a:gd name="connsiteY1" fmla="*/ 505717 h 1095438"/>
                <a:gd name="connsiteX2" fmla="*/ 1908736 w 1952187"/>
                <a:gd name="connsiteY2" fmla="*/ 527506 h 1095438"/>
                <a:gd name="connsiteX3" fmla="*/ 1835133 w 1952187"/>
                <a:gd name="connsiteY3" fmla="*/ 536754 h 1095438"/>
                <a:gd name="connsiteX4" fmla="*/ 1787881 w 1952187"/>
                <a:gd name="connsiteY4" fmla="*/ 569438 h 1095438"/>
                <a:gd name="connsiteX5" fmla="*/ 1722259 w 1952187"/>
                <a:gd name="connsiteY5" fmla="*/ 567791 h 1095438"/>
                <a:gd name="connsiteX6" fmla="*/ 1648530 w 1952187"/>
                <a:gd name="connsiteY6" fmla="*/ 565384 h 1095438"/>
                <a:gd name="connsiteX7" fmla="*/ 1573027 w 1952187"/>
                <a:gd name="connsiteY7" fmla="*/ 633413 h 1095438"/>
                <a:gd name="connsiteX8" fmla="*/ 1512346 w 1952187"/>
                <a:gd name="connsiteY8" fmla="*/ 636326 h 1095438"/>
                <a:gd name="connsiteX9" fmla="*/ 1480802 w 1952187"/>
                <a:gd name="connsiteY9" fmla="*/ 634679 h 1095438"/>
                <a:gd name="connsiteX10" fmla="*/ 1397445 w 1952187"/>
                <a:gd name="connsiteY10" fmla="*/ 692320 h 1095438"/>
                <a:gd name="connsiteX11" fmla="*/ 1347279 w 1952187"/>
                <a:gd name="connsiteY11" fmla="*/ 714489 h 1095438"/>
                <a:gd name="connsiteX12" fmla="*/ 1330430 w 1952187"/>
                <a:gd name="connsiteY12" fmla="*/ 660016 h 1095438"/>
                <a:gd name="connsiteX13" fmla="*/ 1282671 w 1952187"/>
                <a:gd name="connsiteY13" fmla="*/ 663943 h 1095438"/>
                <a:gd name="connsiteX14" fmla="*/ 1269116 w 1952187"/>
                <a:gd name="connsiteY14" fmla="*/ 695613 h 1095438"/>
                <a:gd name="connsiteX15" fmla="*/ 1225790 w 1952187"/>
                <a:gd name="connsiteY15" fmla="*/ 715629 h 1095438"/>
                <a:gd name="connsiteX16" fmla="*/ 1212869 w 1952187"/>
                <a:gd name="connsiteY16" fmla="*/ 772510 h 1095438"/>
                <a:gd name="connsiteX17" fmla="*/ 1144841 w 1952187"/>
                <a:gd name="connsiteY17" fmla="*/ 863341 h 1095438"/>
                <a:gd name="connsiteX18" fmla="*/ 1100502 w 1952187"/>
                <a:gd name="connsiteY18" fmla="*/ 897419 h 1095438"/>
                <a:gd name="connsiteX19" fmla="*/ 1070604 w 1952187"/>
                <a:gd name="connsiteY19" fmla="*/ 944164 h 1095438"/>
                <a:gd name="connsiteX20" fmla="*/ 1049068 w 1952187"/>
                <a:gd name="connsiteY20" fmla="*/ 973048 h 1095438"/>
                <a:gd name="connsiteX21" fmla="*/ 1044128 w 1952187"/>
                <a:gd name="connsiteY21" fmla="*/ 1009406 h 1095438"/>
                <a:gd name="connsiteX22" fmla="*/ 1015117 w 1952187"/>
                <a:gd name="connsiteY22" fmla="*/ 1058432 h 1095438"/>
                <a:gd name="connsiteX23" fmla="*/ 979773 w 1952187"/>
                <a:gd name="connsiteY23" fmla="*/ 1078195 h 1095438"/>
                <a:gd name="connsiteX24" fmla="*/ 974326 w 1952187"/>
                <a:gd name="connsiteY24" fmla="*/ 1076675 h 1095438"/>
                <a:gd name="connsiteX25" fmla="*/ 939235 w 1952187"/>
                <a:gd name="connsiteY25" fmla="*/ 1094917 h 1095438"/>
                <a:gd name="connsiteX26" fmla="*/ 777841 w 1952187"/>
                <a:gd name="connsiteY26" fmla="*/ 1021694 h 1095438"/>
                <a:gd name="connsiteX27" fmla="*/ 711079 w 1952187"/>
                <a:gd name="connsiteY27" fmla="*/ 1029675 h 1095438"/>
                <a:gd name="connsiteX28" fmla="*/ 678902 w 1952187"/>
                <a:gd name="connsiteY28" fmla="*/ 1020808 h 1095438"/>
                <a:gd name="connsiteX29" fmla="*/ 654199 w 1952187"/>
                <a:gd name="connsiteY29" fmla="*/ 1020301 h 1095438"/>
                <a:gd name="connsiteX30" fmla="*/ 614547 w 1952187"/>
                <a:gd name="connsiteY30" fmla="*/ 993571 h 1095438"/>
                <a:gd name="connsiteX31" fmla="*/ 578443 w 1952187"/>
                <a:gd name="connsiteY31" fmla="*/ 1004465 h 1095438"/>
                <a:gd name="connsiteX32" fmla="*/ 550699 w 1952187"/>
                <a:gd name="connsiteY32" fmla="*/ 973809 h 1095438"/>
                <a:gd name="connsiteX33" fmla="*/ 523969 w 1952187"/>
                <a:gd name="connsiteY33" fmla="*/ 942138 h 1095438"/>
                <a:gd name="connsiteX34" fmla="*/ 487358 w 1952187"/>
                <a:gd name="connsiteY34" fmla="*/ 937197 h 1095438"/>
                <a:gd name="connsiteX35" fmla="*/ 484445 w 1952187"/>
                <a:gd name="connsiteY35" fmla="*/ 912494 h 1095438"/>
                <a:gd name="connsiteX36" fmla="*/ 447833 w 1952187"/>
                <a:gd name="connsiteY36" fmla="*/ 861441 h 1095438"/>
                <a:gd name="connsiteX37" fmla="*/ 434532 w 1952187"/>
                <a:gd name="connsiteY37" fmla="*/ 865875 h 1095438"/>
                <a:gd name="connsiteX38" fmla="*/ 407801 w 1952187"/>
                <a:gd name="connsiteY38" fmla="*/ 846619 h 1095438"/>
                <a:gd name="connsiteX39" fmla="*/ 393993 w 1952187"/>
                <a:gd name="connsiteY39" fmla="*/ 853967 h 1095438"/>
                <a:gd name="connsiteX40" fmla="*/ 377651 w 1952187"/>
                <a:gd name="connsiteY40" fmla="*/ 838131 h 1095438"/>
                <a:gd name="connsiteX41" fmla="*/ 344967 w 1952187"/>
                <a:gd name="connsiteY41" fmla="*/ 865875 h 1095438"/>
                <a:gd name="connsiteX42" fmla="*/ 351934 w 1952187"/>
                <a:gd name="connsiteY42" fmla="*/ 899572 h 1095438"/>
                <a:gd name="connsiteX43" fmla="*/ 340027 w 1952187"/>
                <a:gd name="connsiteY43" fmla="*/ 934283 h 1095438"/>
                <a:gd name="connsiteX44" fmla="*/ 336733 w 1952187"/>
                <a:gd name="connsiteY44" fmla="*/ 938210 h 1095438"/>
                <a:gd name="connsiteX45" fmla="*/ 299488 w 1952187"/>
                <a:gd name="connsiteY45" fmla="*/ 903119 h 1095438"/>
                <a:gd name="connsiteX46" fmla="*/ 252615 w 1952187"/>
                <a:gd name="connsiteY46" fmla="*/ 946951 h 1095438"/>
                <a:gd name="connsiteX47" fmla="*/ 231840 w 1952187"/>
                <a:gd name="connsiteY47" fmla="*/ 909960 h 1095438"/>
                <a:gd name="connsiteX48" fmla="*/ 190541 w 1952187"/>
                <a:gd name="connsiteY48" fmla="*/ 896785 h 1095438"/>
                <a:gd name="connsiteX49" fmla="*/ 142655 w 1952187"/>
                <a:gd name="connsiteY49" fmla="*/ 882597 h 1095438"/>
                <a:gd name="connsiteX50" fmla="*/ 91855 w 1952187"/>
                <a:gd name="connsiteY50" fmla="*/ 873349 h 1095438"/>
                <a:gd name="connsiteX51" fmla="*/ 77414 w 1952187"/>
                <a:gd name="connsiteY51" fmla="*/ 906287 h 1095438"/>
                <a:gd name="connsiteX52" fmla="*/ 26614 w 1952187"/>
                <a:gd name="connsiteY52" fmla="*/ 911607 h 1095438"/>
                <a:gd name="connsiteX53" fmla="*/ 31935 w 1952187"/>
                <a:gd name="connsiteY53" fmla="*/ 856374 h 1095438"/>
                <a:gd name="connsiteX54" fmla="*/ 2291 w 1952187"/>
                <a:gd name="connsiteY54" fmla="*/ 804434 h 1095438"/>
                <a:gd name="connsiteX55" fmla="*/ 46883 w 1952187"/>
                <a:gd name="connsiteY55" fmla="*/ 744006 h 1095438"/>
                <a:gd name="connsiteX56" fmla="*/ 83874 w 1952187"/>
                <a:gd name="connsiteY56" fmla="*/ 725511 h 1095438"/>
                <a:gd name="connsiteX57" fmla="*/ 103384 w 1952187"/>
                <a:gd name="connsiteY57" fmla="*/ 697767 h 1095438"/>
                <a:gd name="connsiteX58" fmla="*/ 138601 w 1952187"/>
                <a:gd name="connsiteY58" fmla="*/ 630119 h 1095438"/>
                <a:gd name="connsiteX59" fmla="*/ 141642 w 1952187"/>
                <a:gd name="connsiteY59" fmla="*/ 620111 h 1095438"/>
                <a:gd name="connsiteX60" fmla="*/ 183827 w 1952187"/>
                <a:gd name="connsiteY60" fmla="*/ 612003 h 1095438"/>
                <a:gd name="connsiteX61" fmla="*/ 258569 w 1952187"/>
                <a:gd name="connsiteY61" fmla="*/ 638733 h 1095438"/>
                <a:gd name="connsiteX62" fmla="*/ 299615 w 1952187"/>
                <a:gd name="connsiteY62" fmla="*/ 590720 h 1095438"/>
                <a:gd name="connsiteX63" fmla="*/ 304048 w 1952187"/>
                <a:gd name="connsiteY63" fmla="*/ 551195 h 1095438"/>
                <a:gd name="connsiteX64" fmla="*/ 352948 w 1952187"/>
                <a:gd name="connsiteY64" fmla="*/ 529406 h 1095438"/>
                <a:gd name="connsiteX65" fmla="*/ 410335 w 1952187"/>
                <a:gd name="connsiteY65" fmla="*/ 500269 h 1095438"/>
                <a:gd name="connsiteX66" fmla="*/ 438079 w 1952187"/>
                <a:gd name="connsiteY66" fmla="*/ 470625 h 1095438"/>
                <a:gd name="connsiteX67" fmla="*/ 409322 w 1952187"/>
                <a:gd name="connsiteY67" fmla="*/ 403357 h 1095438"/>
                <a:gd name="connsiteX68" fmla="*/ 382085 w 1952187"/>
                <a:gd name="connsiteY68" fmla="*/ 420712 h 1095438"/>
                <a:gd name="connsiteX69" fmla="*/ 364729 w 1952187"/>
                <a:gd name="connsiteY69" fmla="*/ 411845 h 1095438"/>
                <a:gd name="connsiteX70" fmla="*/ 310256 w 1952187"/>
                <a:gd name="connsiteY70" fmla="*/ 437055 h 1095438"/>
                <a:gd name="connsiteX71" fmla="*/ 282513 w 1952187"/>
                <a:gd name="connsiteY71" fmla="*/ 416785 h 1095438"/>
                <a:gd name="connsiteX72" fmla="*/ 255276 w 1952187"/>
                <a:gd name="connsiteY72" fmla="*/ 419192 h 1095438"/>
                <a:gd name="connsiteX73" fmla="*/ 268197 w 1952187"/>
                <a:gd name="connsiteY73" fmla="*/ 391449 h 1095438"/>
                <a:gd name="connsiteX74" fmla="*/ 272125 w 1952187"/>
                <a:gd name="connsiteY74" fmla="*/ 365732 h 1095438"/>
                <a:gd name="connsiteX75" fmla="*/ 296321 w 1952187"/>
                <a:gd name="connsiteY75" fmla="*/ 352431 h 1095438"/>
                <a:gd name="connsiteX76" fmla="*/ 320517 w 1952187"/>
                <a:gd name="connsiteY76" fmla="*/ 320253 h 1095438"/>
                <a:gd name="connsiteX77" fmla="*/ 370557 w 1952187"/>
                <a:gd name="connsiteY77" fmla="*/ 295550 h 1095438"/>
                <a:gd name="connsiteX78" fmla="*/ 364603 w 1952187"/>
                <a:gd name="connsiteY78" fmla="*/ 229169 h 1095438"/>
                <a:gd name="connsiteX79" fmla="*/ 419963 w 1952187"/>
                <a:gd name="connsiteY79" fmla="*/ 155439 h 1095438"/>
                <a:gd name="connsiteX80" fmla="*/ 372964 w 1952187"/>
                <a:gd name="connsiteY80" fmla="*/ 66382 h 1095438"/>
                <a:gd name="connsiteX81" fmla="*/ 397160 w 1952187"/>
                <a:gd name="connsiteY81" fmla="*/ 47633 h 1095438"/>
                <a:gd name="connsiteX82" fmla="*/ 441753 w 1952187"/>
                <a:gd name="connsiteY82" fmla="*/ 81710 h 1095438"/>
                <a:gd name="connsiteX83" fmla="*/ 470889 w 1952187"/>
                <a:gd name="connsiteY83" fmla="*/ 124782 h 1095438"/>
                <a:gd name="connsiteX84" fmla="*/ 546139 w 1952187"/>
                <a:gd name="connsiteY84" fmla="*/ 175709 h 1095438"/>
                <a:gd name="connsiteX85" fmla="*/ 558047 w 1952187"/>
                <a:gd name="connsiteY85" fmla="*/ 216754 h 1095438"/>
                <a:gd name="connsiteX86" fmla="*/ 613534 w 1952187"/>
                <a:gd name="connsiteY86" fmla="*/ 223721 h 1095438"/>
                <a:gd name="connsiteX87" fmla="*/ 651665 w 1952187"/>
                <a:gd name="connsiteY87" fmla="*/ 244497 h 1095438"/>
                <a:gd name="connsiteX88" fmla="*/ 672948 w 1952187"/>
                <a:gd name="connsiteY88" fmla="*/ 253492 h 1095438"/>
                <a:gd name="connsiteX89" fmla="*/ 705125 w 1952187"/>
                <a:gd name="connsiteY89" fmla="*/ 278195 h 1095438"/>
                <a:gd name="connsiteX90" fmla="*/ 729448 w 1952187"/>
                <a:gd name="connsiteY90" fmla="*/ 244497 h 1095438"/>
                <a:gd name="connsiteX91" fmla="*/ 718047 w 1952187"/>
                <a:gd name="connsiteY91" fmla="*/ 205479 h 1095438"/>
                <a:gd name="connsiteX92" fmla="*/ 736796 w 1952187"/>
                <a:gd name="connsiteY92" fmla="*/ 149485 h 1095438"/>
                <a:gd name="connsiteX93" fmla="*/ 726408 w 1952187"/>
                <a:gd name="connsiteY93" fmla="*/ 103880 h 1095438"/>
                <a:gd name="connsiteX94" fmla="*/ 831808 w 1952187"/>
                <a:gd name="connsiteY94" fmla="*/ 0 h 1095438"/>
                <a:gd name="connsiteX95" fmla="*/ 839156 w 1952187"/>
                <a:gd name="connsiteY95" fmla="*/ 760 h 1095438"/>
                <a:gd name="connsiteX96" fmla="*/ 895023 w 1952187"/>
                <a:gd name="connsiteY96" fmla="*/ 12921 h 1095438"/>
                <a:gd name="connsiteX97" fmla="*/ 923399 w 1952187"/>
                <a:gd name="connsiteY97" fmla="*/ 16469 h 1095438"/>
                <a:gd name="connsiteX98" fmla="*/ 948863 w 1952187"/>
                <a:gd name="connsiteY98" fmla="*/ 13682 h 1095438"/>
                <a:gd name="connsiteX99" fmla="*/ 977113 w 1952187"/>
                <a:gd name="connsiteY99" fmla="*/ 21663 h 1095438"/>
                <a:gd name="connsiteX100" fmla="*/ 1006250 w 1952187"/>
                <a:gd name="connsiteY100" fmla="*/ 28884 h 1095438"/>
                <a:gd name="connsiteX101" fmla="*/ 1054516 w 1952187"/>
                <a:gd name="connsiteY101" fmla="*/ 38131 h 1095438"/>
                <a:gd name="connsiteX102" fmla="*/ 1113550 w 1952187"/>
                <a:gd name="connsiteY102" fmla="*/ 50926 h 1095438"/>
                <a:gd name="connsiteX103" fmla="*/ 1133439 w 1952187"/>
                <a:gd name="connsiteY103" fmla="*/ 76896 h 1095438"/>
                <a:gd name="connsiteX104" fmla="*/ 1158269 w 1952187"/>
                <a:gd name="connsiteY104" fmla="*/ 110087 h 1095438"/>
                <a:gd name="connsiteX105" fmla="*/ 1182085 w 1952187"/>
                <a:gd name="connsiteY105" fmla="*/ 128076 h 1095438"/>
                <a:gd name="connsiteX106" fmla="*/ 1199821 w 1952187"/>
                <a:gd name="connsiteY106" fmla="*/ 145938 h 1095438"/>
                <a:gd name="connsiteX107" fmla="*/ 1218569 w 1952187"/>
                <a:gd name="connsiteY107" fmla="*/ 166081 h 1095438"/>
                <a:gd name="connsiteX108" fmla="*/ 1239979 w 1952187"/>
                <a:gd name="connsiteY108" fmla="*/ 186857 h 1095438"/>
                <a:gd name="connsiteX109" fmla="*/ 1281277 w 1952187"/>
                <a:gd name="connsiteY109" fmla="*/ 217514 h 1095438"/>
                <a:gd name="connsiteX110" fmla="*/ 1323716 w 1952187"/>
                <a:gd name="connsiteY110" fmla="*/ 243610 h 1095438"/>
                <a:gd name="connsiteX111" fmla="*/ 1341832 w 1952187"/>
                <a:gd name="connsiteY111" fmla="*/ 253618 h 1095438"/>
                <a:gd name="connsiteX112" fmla="*/ 1377049 w 1952187"/>
                <a:gd name="connsiteY112" fmla="*/ 272874 h 1095438"/>
                <a:gd name="connsiteX113" fmla="*/ 1406820 w 1952187"/>
                <a:gd name="connsiteY113" fmla="*/ 295804 h 1095438"/>
                <a:gd name="connsiteX114" fmla="*/ 1435197 w 1952187"/>
                <a:gd name="connsiteY114" fmla="*/ 319493 h 1095438"/>
                <a:gd name="connsiteX115" fmla="*/ 1495624 w 1952187"/>
                <a:gd name="connsiteY115" fmla="*/ 357371 h 1095438"/>
                <a:gd name="connsiteX116" fmla="*/ 1558585 w 1952187"/>
                <a:gd name="connsiteY116" fmla="*/ 400063 h 1095438"/>
                <a:gd name="connsiteX117" fmla="*/ 1590890 w 1952187"/>
                <a:gd name="connsiteY117" fmla="*/ 420839 h 1095438"/>
                <a:gd name="connsiteX118" fmla="*/ 1606978 w 1952187"/>
                <a:gd name="connsiteY118" fmla="*/ 423373 h 1095438"/>
                <a:gd name="connsiteX119" fmla="*/ 1623700 w 1952187"/>
                <a:gd name="connsiteY119" fmla="*/ 429327 h 1095438"/>
                <a:gd name="connsiteX120" fmla="*/ 1635735 w 1952187"/>
                <a:gd name="connsiteY120" fmla="*/ 429200 h 1095438"/>
                <a:gd name="connsiteX121" fmla="*/ 1686661 w 1952187"/>
                <a:gd name="connsiteY121" fmla="*/ 412732 h 1095438"/>
                <a:gd name="connsiteX122" fmla="*/ 1717825 w 1952187"/>
                <a:gd name="connsiteY122" fmla="*/ 382835 h 1095438"/>
                <a:gd name="connsiteX123" fmla="*/ 1749876 w 1952187"/>
                <a:gd name="connsiteY123" fmla="*/ 359272 h 1095438"/>
                <a:gd name="connsiteX124" fmla="*/ 1764698 w 1952187"/>
                <a:gd name="connsiteY124" fmla="*/ 355598 h 1095438"/>
                <a:gd name="connsiteX125" fmla="*/ 1781800 w 1952187"/>
                <a:gd name="connsiteY125" fmla="*/ 362819 h 1095438"/>
                <a:gd name="connsiteX126" fmla="*/ 1812457 w 1952187"/>
                <a:gd name="connsiteY126" fmla="*/ 365606 h 1095438"/>
                <a:gd name="connsiteX127" fmla="*/ 1855529 w 1952187"/>
                <a:gd name="connsiteY127" fmla="*/ 344323 h 1095438"/>
                <a:gd name="connsiteX128" fmla="*/ 1885553 w 1952187"/>
                <a:gd name="connsiteY128" fmla="*/ 339762 h 1095438"/>
                <a:gd name="connsiteX129" fmla="*/ 1923684 w 1952187"/>
                <a:gd name="connsiteY129" fmla="*/ 335962 h 1095438"/>
                <a:gd name="connsiteX130" fmla="*/ 1936859 w 1952187"/>
                <a:gd name="connsiteY130" fmla="*/ 339762 h 1095438"/>
                <a:gd name="connsiteX131" fmla="*/ 1948894 w 1952187"/>
                <a:gd name="connsiteY131" fmla="*/ 347743 h 1095438"/>
                <a:gd name="connsiteX132" fmla="*/ 1952188 w 1952187"/>
                <a:gd name="connsiteY132" fmla="*/ 347490 h 1095438"/>
                <a:gd name="connsiteX133" fmla="*/ 1942053 w 1952187"/>
                <a:gd name="connsiteY133" fmla="*/ 463151 h 109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52187" h="1095438">
                  <a:moveTo>
                    <a:pt x="1942053" y="463151"/>
                  </a:moveTo>
                  <a:cubicBezTo>
                    <a:pt x="1958522" y="480000"/>
                    <a:pt x="1943700" y="505717"/>
                    <a:pt x="1926851" y="505717"/>
                  </a:cubicBezTo>
                  <a:cubicBezTo>
                    <a:pt x="1910003" y="505717"/>
                    <a:pt x="1918870" y="515344"/>
                    <a:pt x="1908736" y="527506"/>
                  </a:cubicBezTo>
                  <a:cubicBezTo>
                    <a:pt x="1898475" y="539794"/>
                    <a:pt x="1848308" y="537387"/>
                    <a:pt x="1835133" y="536754"/>
                  </a:cubicBezTo>
                  <a:cubicBezTo>
                    <a:pt x="1821958" y="536120"/>
                    <a:pt x="1805110" y="556136"/>
                    <a:pt x="1787881" y="569438"/>
                  </a:cubicBezTo>
                  <a:cubicBezTo>
                    <a:pt x="1770778" y="582613"/>
                    <a:pt x="1743035" y="575012"/>
                    <a:pt x="1722259" y="567791"/>
                  </a:cubicBezTo>
                  <a:cubicBezTo>
                    <a:pt x="1701483" y="560570"/>
                    <a:pt x="1669432" y="563104"/>
                    <a:pt x="1648530" y="565384"/>
                  </a:cubicBezTo>
                  <a:cubicBezTo>
                    <a:pt x="1627754" y="567664"/>
                    <a:pt x="1584935" y="621884"/>
                    <a:pt x="1573027" y="633413"/>
                  </a:cubicBezTo>
                  <a:cubicBezTo>
                    <a:pt x="1565426" y="640887"/>
                    <a:pt x="1536543" y="638480"/>
                    <a:pt x="1512346" y="636326"/>
                  </a:cubicBezTo>
                  <a:cubicBezTo>
                    <a:pt x="1498791" y="635059"/>
                    <a:pt x="1486756" y="633919"/>
                    <a:pt x="1480802" y="634679"/>
                  </a:cubicBezTo>
                  <a:cubicBezTo>
                    <a:pt x="1463953" y="636706"/>
                    <a:pt x="1411507" y="681679"/>
                    <a:pt x="1397445" y="692320"/>
                  </a:cubicBezTo>
                  <a:cubicBezTo>
                    <a:pt x="1383384" y="702961"/>
                    <a:pt x="1363748" y="708155"/>
                    <a:pt x="1347279" y="714489"/>
                  </a:cubicBezTo>
                  <a:cubicBezTo>
                    <a:pt x="1330684" y="720950"/>
                    <a:pt x="1327517" y="684339"/>
                    <a:pt x="1330430" y="660016"/>
                  </a:cubicBezTo>
                  <a:cubicBezTo>
                    <a:pt x="1333344" y="635820"/>
                    <a:pt x="1294453" y="654568"/>
                    <a:pt x="1282671" y="663943"/>
                  </a:cubicBezTo>
                  <a:cubicBezTo>
                    <a:pt x="1270763" y="673317"/>
                    <a:pt x="1269876" y="681298"/>
                    <a:pt x="1269116" y="695613"/>
                  </a:cubicBezTo>
                  <a:cubicBezTo>
                    <a:pt x="1268356" y="709929"/>
                    <a:pt x="1241373" y="710942"/>
                    <a:pt x="1225790" y="715629"/>
                  </a:cubicBezTo>
                  <a:cubicBezTo>
                    <a:pt x="1210208" y="720317"/>
                    <a:pt x="1218823" y="742359"/>
                    <a:pt x="1212869" y="772510"/>
                  </a:cubicBezTo>
                  <a:cubicBezTo>
                    <a:pt x="1206915" y="802660"/>
                    <a:pt x="1155228" y="851940"/>
                    <a:pt x="1144841" y="863341"/>
                  </a:cubicBezTo>
                  <a:cubicBezTo>
                    <a:pt x="1134452" y="874743"/>
                    <a:pt x="1108229" y="886524"/>
                    <a:pt x="1100502" y="897419"/>
                  </a:cubicBezTo>
                  <a:cubicBezTo>
                    <a:pt x="1092901" y="908313"/>
                    <a:pt x="1076812" y="931623"/>
                    <a:pt x="1070604" y="944164"/>
                  </a:cubicBezTo>
                  <a:cubicBezTo>
                    <a:pt x="1064397" y="956706"/>
                    <a:pt x="1056796" y="965447"/>
                    <a:pt x="1049068" y="973048"/>
                  </a:cubicBezTo>
                  <a:cubicBezTo>
                    <a:pt x="1041468" y="980649"/>
                    <a:pt x="1045141" y="989644"/>
                    <a:pt x="1044128" y="1009406"/>
                  </a:cubicBezTo>
                  <a:cubicBezTo>
                    <a:pt x="1043114" y="1029169"/>
                    <a:pt x="1035893" y="1039303"/>
                    <a:pt x="1015117" y="1058432"/>
                  </a:cubicBezTo>
                  <a:cubicBezTo>
                    <a:pt x="999536" y="1072748"/>
                    <a:pt x="985727" y="1076928"/>
                    <a:pt x="979773" y="1078195"/>
                  </a:cubicBezTo>
                  <a:cubicBezTo>
                    <a:pt x="977873" y="1076421"/>
                    <a:pt x="975973" y="1075788"/>
                    <a:pt x="974326" y="1076675"/>
                  </a:cubicBezTo>
                  <a:cubicBezTo>
                    <a:pt x="962924" y="1082629"/>
                    <a:pt x="941642" y="1083135"/>
                    <a:pt x="939235" y="1094917"/>
                  </a:cubicBezTo>
                  <a:cubicBezTo>
                    <a:pt x="874373" y="1102391"/>
                    <a:pt x="798617" y="1027142"/>
                    <a:pt x="777841" y="1021694"/>
                  </a:cubicBezTo>
                  <a:cubicBezTo>
                    <a:pt x="757065" y="1016247"/>
                    <a:pt x="735276" y="1023215"/>
                    <a:pt x="711079" y="1029675"/>
                  </a:cubicBezTo>
                  <a:cubicBezTo>
                    <a:pt x="686757" y="1036136"/>
                    <a:pt x="685363" y="1027649"/>
                    <a:pt x="678902" y="1020808"/>
                  </a:cubicBezTo>
                  <a:cubicBezTo>
                    <a:pt x="672441" y="1013967"/>
                    <a:pt x="668514" y="1019794"/>
                    <a:pt x="654199" y="1020301"/>
                  </a:cubicBezTo>
                  <a:cubicBezTo>
                    <a:pt x="639884" y="1020808"/>
                    <a:pt x="627469" y="1003959"/>
                    <a:pt x="614547" y="993571"/>
                  </a:cubicBezTo>
                  <a:cubicBezTo>
                    <a:pt x="601626" y="983183"/>
                    <a:pt x="594278" y="995978"/>
                    <a:pt x="578443" y="1004465"/>
                  </a:cubicBezTo>
                  <a:cubicBezTo>
                    <a:pt x="562607" y="1012827"/>
                    <a:pt x="555260" y="986223"/>
                    <a:pt x="550699" y="973809"/>
                  </a:cubicBezTo>
                  <a:cubicBezTo>
                    <a:pt x="546266" y="961393"/>
                    <a:pt x="535878" y="955946"/>
                    <a:pt x="523969" y="942138"/>
                  </a:cubicBezTo>
                  <a:cubicBezTo>
                    <a:pt x="512061" y="928329"/>
                    <a:pt x="505094" y="944671"/>
                    <a:pt x="487358" y="937197"/>
                  </a:cubicBezTo>
                  <a:cubicBezTo>
                    <a:pt x="469496" y="929850"/>
                    <a:pt x="478490" y="921362"/>
                    <a:pt x="484445" y="912494"/>
                  </a:cubicBezTo>
                  <a:cubicBezTo>
                    <a:pt x="490399" y="903499"/>
                    <a:pt x="458221" y="871449"/>
                    <a:pt x="447833" y="861441"/>
                  </a:cubicBezTo>
                  <a:cubicBezTo>
                    <a:pt x="437445" y="851560"/>
                    <a:pt x="440486" y="857514"/>
                    <a:pt x="434532" y="865875"/>
                  </a:cubicBezTo>
                  <a:cubicBezTo>
                    <a:pt x="428578" y="874362"/>
                    <a:pt x="413249" y="853967"/>
                    <a:pt x="407801" y="846619"/>
                  </a:cubicBezTo>
                  <a:cubicBezTo>
                    <a:pt x="402354" y="839272"/>
                    <a:pt x="401341" y="849153"/>
                    <a:pt x="393993" y="853967"/>
                  </a:cubicBezTo>
                  <a:cubicBezTo>
                    <a:pt x="386646" y="858907"/>
                    <a:pt x="383605" y="848519"/>
                    <a:pt x="377651" y="838131"/>
                  </a:cubicBezTo>
                  <a:cubicBezTo>
                    <a:pt x="371697" y="827743"/>
                    <a:pt x="358395" y="852573"/>
                    <a:pt x="344967" y="865875"/>
                  </a:cubicBezTo>
                  <a:cubicBezTo>
                    <a:pt x="331665" y="879303"/>
                    <a:pt x="343447" y="890198"/>
                    <a:pt x="351934" y="899572"/>
                  </a:cubicBezTo>
                  <a:cubicBezTo>
                    <a:pt x="360295" y="908947"/>
                    <a:pt x="355862" y="916928"/>
                    <a:pt x="340027" y="934283"/>
                  </a:cubicBezTo>
                  <a:cubicBezTo>
                    <a:pt x="338760" y="935677"/>
                    <a:pt x="337620" y="937070"/>
                    <a:pt x="336733" y="938210"/>
                  </a:cubicBezTo>
                  <a:cubicBezTo>
                    <a:pt x="332299" y="915661"/>
                    <a:pt x="312029" y="906413"/>
                    <a:pt x="299488" y="903119"/>
                  </a:cubicBezTo>
                  <a:cubicBezTo>
                    <a:pt x="286947" y="899826"/>
                    <a:pt x="264777" y="934537"/>
                    <a:pt x="252615" y="946951"/>
                  </a:cubicBezTo>
                  <a:cubicBezTo>
                    <a:pt x="240454" y="959493"/>
                    <a:pt x="226899" y="923136"/>
                    <a:pt x="231840" y="909960"/>
                  </a:cubicBezTo>
                  <a:cubicBezTo>
                    <a:pt x="236780" y="896785"/>
                    <a:pt x="201182" y="898432"/>
                    <a:pt x="190541" y="896785"/>
                  </a:cubicBezTo>
                  <a:cubicBezTo>
                    <a:pt x="180027" y="895138"/>
                    <a:pt x="159884" y="891845"/>
                    <a:pt x="142655" y="882597"/>
                  </a:cubicBezTo>
                  <a:cubicBezTo>
                    <a:pt x="125426" y="873349"/>
                    <a:pt x="105664" y="875376"/>
                    <a:pt x="91855" y="873349"/>
                  </a:cubicBezTo>
                  <a:cubicBezTo>
                    <a:pt x="78047" y="871322"/>
                    <a:pt x="81341" y="888551"/>
                    <a:pt x="77414" y="906287"/>
                  </a:cubicBezTo>
                  <a:cubicBezTo>
                    <a:pt x="73486" y="924022"/>
                    <a:pt x="39789" y="920475"/>
                    <a:pt x="26614" y="911607"/>
                  </a:cubicBezTo>
                  <a:cubicBezTo>
                    <a:pt x="13439" y="902739"/>
                    <a:pt x="15466" y="872716"/>
                    <a:pt x="31935" y="856374"/>
                  </a:cubicBezTo>
                  <a:cubicBezTo>
                    <a:pt x="48403" y="840032"/>
                    <a:pt x="15466" y="820903"/>
                    <a:pt x="2291" y="804434"/>
                  </a:cubicBezTo>
                  <a:cubicBezTo>
                    <a:pt x="-10884" y="787965"/>
                    <a:pt x="36622" y="756294"/>
                    <a:pt x="46883" y="744006"/>
                  </a:cubicBezTo>
                  <a:cubicBezTo>
                    <a:pt x="57144" y="731845"/>
                    <a:pt x="70699" y="725131"/>
                    <a:pt x="83874" y="725511"/>
                  </a:cubicBezTo>
                  <a:cubicBezTo>
                    <a:pt x="97049" y="725891"/>
                    <a:pt x="101737" y="716643"/>
                    <a:pt x="103384" y="697767"/>
                  </a:cubicBezTo>
                  <a:cubicBezTo>
                    <a:pt x="105030" y="679018"/>
                    <a:pt x="126186" y="643674"/>
                    <a:pt x="138601" y="630119"/>
                  </a:cubicBezTo>
                  <a:cubicBezTo>
                    <a:pt x="143542" y="624925"/>
                    <a:pt x="143668" y="622011"/>
                    <a:pt x="141642" y="620111"/>
                  </a:cubicBezTo>
                  <a:cubicBezTo>
                    <a:pt x="150383" y="614283"/>
                    <a:pt x="167105" y="605796"/>
                    <a:pt x="183827" y="612003"/>
                  </a:cubicBezTo>
                  <a:cubicBezTo>
                    <a:pt x="208023" y="620871"/>
                    <a:pt x="239314" y="649121"/>
                    <a:pt x="258569" y="638733"/>
                  </a:cubicBezTo>
                  <a:cubicBezTo>
                    <a:pt x="277825" y="628345"/>
                    <a:pt x="306075" y="602122"/>
                    <a:pt x="299615" y="590720"/>
                  </a:cubicBezTo>
                  <a:cubicBezTo>
                    <a:pt x="293154" y="579319"/>
                    <a:pt x="290240" y="568044"/>
                    <a:pt x="304048" y="551195"/>
                  </a:cubicBezTo>
                  <a:cubicBezTo>
                    <a:pt x="317857" y="534347"/>
                    <a:pt x="315957" y="544228"/>
                    <a:pt x="352948" y="529406"/>
                  </a:cubicBezTo>
                  <a:cubicBezTo>
                    <a:pt x="390066" y="514584"/>
                    <a:pt x="386139" y="510150"/>
                    <a:pt x="410335" y="500269"/>
                  </a:cubicBezTo>
                  <a:cubicBezTo>
                    <a:pt x="434658" y="490388"/>
                    <a:pt x="444033" y="487348"/>
                    <a:pt x="438079" y="470625"/>
                  </a:cubicBezTo>
                  <a:cubicBezTo>
                    <a:pt x="432125" y="453777"/>
                    <a:pt x="428197" y="386508"/>
                    <a:pt x="409322" y="403357"/>
                  </a:cubicBezTo>
                  <a:cubicBezTo>
                    <a:pt x="390573" y="420206"/>
                    <a:pt x="389559" y="429580"/>
                    <a:pt x="382085" y="420712"/>
                  </a:cubicBezTo>
                  <a:cubicBezTo>
                    <a:pt x="374737" y="411845"/>
                    <a:pt x="376638" y="402470"/>
                    <a:pt x="364729" y="411845"/>
                  </a:cubicBezTo>
                  <a:cubicBezTo>
                    <a:pt x="352821" y="421219"/>
                    <a:pt x="327105" y="446049"/>
                    <a:pt x="310256" y="437055"/>
                  </a:cubicBezTo>
                  <a:cubicBezTo>
                    <a:pt x="293407" y="428187"/>
                    <a:pt x="292394" y="413238"/>
                    <a:pt x="282513" y="416785"/>
                  </a:cubicBezTo>
                  <a:cubicBezTo>
                    <a:pt x="272631" y="420206"/>
                    <a:pt x="251855" y="433634"/>
                    <a:pt x="255276" y="419192"/>
                  </a:cubicBezTo>
                  <a:cubicBezTo>
                    <a:pt x="258823" y="404877"/>
                    <a:pt x="273645" y="401837"/>
                    <a:pt x="268197" y="391449"/>
                  </a:cubicBezTo>
                  <a:cubicBezTo>
                    <a:pt x="262750" y="381061"/>
                    <a:pt x="254769" y="370166"/>
                    <a:pt x="272125" y="365732"/>
                  </a:cubicBezTo>
                  <a:cubicBezTo>
                    <a:pt x="289480" y="361298"/>
                    <a:pt x="291887" y="367252"/>
                    <a:pt x="296321" y="352431"/>
                  </a:cubicBezTo>
                  <a:cubicBezTo>
                    <a:pt x="300755" y="337482"/>
                    <a:pt x="297841" y="319240"/>
                    <a:pt x="320517" y="320253"/>
                  </a:cubicBezTo>
                  <a:cubicBezTo>
                    <a:pt x="343320" y="321267"/>
                    <a:pt x="375498" y="319240"/>
                    <a:pt x="370557" y="295550"/>
                  </a:cubicBezTo>
                  <a:cubicBezTo>
                    <a:pt x="365616" y="271734"/>
                    <a:pt x="348767" y="242090"/>
                    <a:pt x="364603" y="229169"/>
                  </a:cubicBezTo>
                  <a:cubicBezTo>
                    <a:pt x="380438" y="216247"/>
                    <a:pt x="448720" y="201932"/>
                    <a:pt x="419963" y="155439"/>
                  </a:cubicBezTo>
                  <a:cubicBezTo>
                    <a:pt x="391206" y="108947"/>
                    <a:pt x="373471" y="80697"/>
                    <a:pt x="372964" y="66382"/>
                  </a:cubicBezTo>
                  <a:cubicBezTo>
                    <a:pt x="372457" y="52067"/>
                    <a:pt x="370937" y="27363"/>
                    <a:pt x="397160" y="47633"/>
                  </a:cubicBezTo>
                  <a:cubicBezTo>
                    <a:pt x="423383" y="67902"/>
                    <a:pt x="432378" y="62961"/>
                    <a:pt x="441753" y="81710"/>
                  </a:cubicBezTo>
                  <a:cubicBezTo>
                    <a:pt x="451127" y="100459"/>
                    <a:pt x="450240" y="115408"/>
                    <a:pt x="470889" y="124782"/>
                  </a:cubicBezTo>
                  <a:cubicBezTo>
                    <a:pt x="491665" y="134157"/>
                    <a:pt x="547152" y="154426"/>
                    <a:pt x="546139" y="175709"/>
                  </a:cubicBezTo>
                  <a:cubicBezTo>
                    <a:pt x="545125" y="196991"/>
                    <a:pt x="536765" y="218274"/>
                    <a:pt x="558047" y="216754"/>
                  </a:cubicBezTo>
                  <a:cubicBezTo>
                    <a:pt x="579330" y="215233"/>
                    <a:pt x="592251" y="206366"/>
                    <a:pt x="613534" y="223721"/>
                  </a:cubicBezTo>
                  <a:cubicBezTo>
                    <a:pt x="634817" y="241077"/>
                    <a:pt x="639757" y="242470"/>
                    <a:pt x="651665" y="244497"/>
                  </a:cubicBezTo>
                  <a:cubicBezTo>
                    <a:pt x="663573" y="246524"/>
                    <a:pt x="668007" y="241077"/>
                    <a:pt x="672948" y="253492"/>
                  </a:cubicBezTo>
                  <a:cubicBezTo>
                    <a:pt x="677889" y="265906"/>
                    <a:pt x="689290" y="285669"/>
                    <a:pt x="705125" y="278195"/>
                  </a:cubicBezTo>
                  <a:cubicBezTo>
                    <a:pt x="720961" y="270720"/>
                    <a:pt x="740217" y="262359"/>
                    <a:pt x="729448" y="244497"/>
                  </a:cubicBezTo>
                  <a:cubicBezTo>
                    <a:pt x="718554" y="226762"/>
                    <a:pt x="710573" y="219287"/>
                    <a:pt x="718047" y="205479"/>
                  </a:cubicBezTo>
                  <a:cubicBezTo>
                    <a:pt x="725521" y="191670"/>
                    <a:pt x="748704" y="161393"/>
                    <a:pt x="736796" y="149485"/>
                  </a:cubicBezTo>
                  <a:cubicBezTo>
                    <a:pt x="724888" y="137577"/>
                    <a:pt x="702212" y="123769"/>
                    <a:pt x="726408" y="103880"/>
                  </a:cubicBezTo>
                  <a:cubicBezTo>
                    <a:pt x="750731" y="84117"/>
                    <a:pt x="802544" y="37118"/>
                    <a:pt x="831808" y="0"/>
                  </a:cubicBezTo>
                  <a:cubicBezTo>
                    <a:pt x="834088" y="380"/>
                    <a:pt x="836622" y="633"/>
                    <a:pt x="839156" y="760"/>
                  </a:cubicBezTo>
                  <a:cubicBezTo>
                    <a:pt x="858538" y="1394"/>
                    <a:pt x="875893" y="10515"/>
                    <a:pt x="895023" y="12921"/>
                  </a:cubicBezTo>
                  <a:cubicBezTo>
                    <a:pt x="904524" y="14062"/>
                    <a:pt x="913898" y="16089"/>
                    <a:pt x="923399" y="16469"/>
                  </a:cubicBezTo>
                  <a:cubicBezTo>
                    <a:pt x="932014" y="16849"/>
                    <a:pt x="940755" y="13048"/>
                    <a:pt x="948863" y="13682"/>
                  </a:cubicBezTo>
                  <a:cubicBezTo>
                    <a:pt x="957857" y="14442"/>
                    <a:pt x="968371" y="19256"/>
                    <a:pt x="977113" y="21663"/>
                  </a:cubicBezTo>
                  <a:cubicBezTo>
                    <a:pt x="986741" y="24196"/>
                    <a:pt x="996495" y="26730"/>
                    <a:pt x="1006250" y="28884"/>
                  </a:cubicBezTo>
                  <a:cubicBezTo>
                    <a:pt x="1022592" y="32557"/>
                    <a:pt x="1038047" y="35471"/>
                    <a:pt x="1054516" y="38131"/>
                  </a:cubicBezTo>
                  <a:cubicBezTo>
                    <a:pt x="1075798" y="41552"/>
                    <a:pt x="1095941" y="34964"/>
                    <a:pt x="1113550" y="50926"/>
                  </a:cubicBezTo>
                  <a:cubicBezTo>
                    <a:pt x="1121404" y="58021"/>
                    <a:pt x="1129765" y="67015"/>
                    <a:pt x="1133439" y="76896"/>
                  </a:cubicBezTo>
                  <a:cubicBezTo>
                    <a:pt x="1138380" y="89818"/>
                    <a:pt x="1147121" y="101979"/>
                    <a:pt x="1158269" y="110087"/>
                  </a:cubicBezTo>
                  <a:cubicBezTo>
                    <a:pt x="1166250" y="115914"/>
                    <a:pt x="1175244" y="120728"/>
                    <a:pt x="1182085" y="128076"/>
                  </a:cubicBezTo>
                  <a:cubicBezTo>
                    <a:pt x="1187913" y="134410"/>
                    <a:pt x="1193360" y="140237"/>
                    <a:pt x="1199821" y="145938"/>
                  </a:cubicBezTo>
                  <a:cubicBezTo>
                    <a:pt x="1206661" y="152146"/>
                    <a:pt x="1211982" y="159620"/>
                    <a:pt x="1218569" y="166081"/>
                  </a:cubicBezTo>
                  <a:cubicBezTo>
                    <a:pt x="1225790" y="173048"/>
                    <a:pt x="1233138" y="179509"/>
                    <a:pt x="1239979" y="186857"/>
                  </a:cubicBezTo>
                  <a:cubicBezTo>
                    <a:pt x="1251760" y="199525"/>
                    <a:pt x="1266582" y="208773"/>
                    <a:pt x="1281277" y="217514"/>
                  </a:cubicBezTo>
                  <a:cubicBezTo>
                    <a:pt x="1295466" y="226128"/>
                    <a:pt x="1309401" y="235249"/>
                    <a:pt x="1323716" y="243610"/>
                  </a:cubicBezTo>
                  <a:cubicBezTo>
                    <a:pt x="1329670" y="247157"/>
                    <a:pt x="1335751" y="250325"/>
                    <a:pt x="1341832" y="253618"/>
                  </a:cubicBezTo>
                  <a:cubicBezTo>
                    <a:pt x="1353360" y="259952"/>
                    <a:pt x="1366408" y="265146"/>
                    <a:pt x="1377049" y="272874"/>
                  </a:cubicBezTo>
                  <a:cubicBezTo>
                    <a:pt x="1387437" y="280348"/>
                    <a:pt x="1397319" y="287316"/>
                    <a:pt x="1406820" y="295804"/>
                  </a:cubicBezTo>
                  <a:cubicBezTo>
                    <a:pt x="1416067" y="304038"/>
                    <a:pt x="1424809" y="312652"/>
                    <a:pt x="1435197" y="319493"/>
                  </a:cubicBezTo>
                  <a:cubicBezTo>
                    <a:pt x="1455213" y="332795"/>
                    <a:pt x="1477762" y="340902"/>
                    <a:pt x="1495624" y="357371"/>
                  </a:cubicBezTo>
                  <a:cubicBezTo>
                    <a:pt x="1513993" y="374347"/>
                    <a:pt x="1537176" y="387522"/>
                    <a:pt x="1558585" y="400063"/>
                  </a:cubicBezTo>
                  <a:cubicBezTo>
                    <a:pt x="1569607" y="406524"/>
                    <a:pt x="1578981" y="415772"/>
                    <a:pt x="1590890" y="420839"/>
                  </a:cubicBezTo>
                  <a:cubicBezTo>
                    <a:pt x="1596717" y="423373"/>
                    <a:pt x="1601151" y="422866"/>
                    <a:pt x="1606978" y="423373"/>
                  </a:cubicBezTo>
                  <a:cubicBezTo>
                    <a:pt x="1613059" y="423880"/>
                    <a:pt x="1617746" y="428314"/>
                    <a:pt x="1623700" y="429327"/>
                  </a:cubicBezTo>
                  <a:cubicBezTo>
                    <a:pt x="1627374" y="429960"/>
                    <a:pt x="1631935" y="429200"/>
                    <a:pt x="1635735" y="429200"/>
                  </a:cubicBezTo>
                  <a:cubicBezTo>
                    <a:pt x="1653344" y="429200"/>
                    <a:pt x="1673486" y="425526"/>
                    <a:pt x="1686661" y="412732"/>
                  </a:cubicBezTo>
                  <a:cubicBezTo>
                    <a:pt x="1697050" y="402597"/>
                    <a:pt x="1707057" y="392462"/>
                    <a:pt x="1717825" y="382835"/>
                  </a:cubicBezTo>
                  <a:cubicBezTo>
                    <a:pt x="1727960" y="373713"/>
                    <a:pt x="1736828" y="364212"/>
                    <a:pt x="1749876" y="359272"/>
                  </a:cubicBezTo>
                  <a:cubicBezTo>
                    <a:pt x="1754943" y="357371"/>
                    <a:pt x="1759124" y="354584"/>
                    <a:pt x="1764698" y="355598"/>
                  </a:cubicBezTo>
                  <a:cubicBezTo>
                    <a:pt x="1770778" y="356738"/>
                    <a:pt x="1775972" y="360918"/>
                    <a:pt x="1781800" y="362819"/>
                  </a:cubicBezTo>
                  <a:cubicBezTo>
                    <a:pt x="1790161" y="365479"/>
                    <a:pt x="1803716" y="367506"/>
                    <a:pt x="1812457" y="365606"/>
                  </a:cubicBezTo>
                  <a:cubicBezTo>
                    <a:pt x="1827659" y="362312"/>
                    <a:pt x="1841214" y="350404"/>
                    <a:pt x="1855529" y="344323"/>
                  </a:cubicBezTo>
                  <a:cubicBezTo>
                    <a:pt x="1865284" y="340142"/>
                    <a:pt x="1875165" y="341283"/>
                    <a:pt x="1885553" y="339762"/>
                  </a:cubicBezTo>
                  <a:cubicBezTo>
                    <a:pt x="1898348" y="337735"/>
                    <a:pt x="1910636" y="335835"/>
                    <a:pt x="1923684" y="335962"/>
                  </a:cubicBezTo>
                  <a:cubicBezTo>
                    <a:pt x="1928878" y="335962"/>
                    <a:pt x="1932552" y="336722"/>
                    <a:pt x="1936859" y="339762"/>
                  </a:cubicBezTo>
                  <a:cubicBezTo>
                    <a:pt x="1940533" y="342423"/>
                    <a:pt x="1944080" y="347110"/>
                    <a:pt x="1948894" y="347743"/>
                  </a:cubicBezTo>
                  <a:cubicBezTo>
                    <a:pt x="1949908" y="347870"/>
                    <a:pt x="1951048" y="347743"/>
                    <a:pt x="1952188" y="347490"/>
                  </a:cubicBezTo>
                  <a:cubicBezTo>
                    <a:pt x="1889607" y="401964"/>
                    <a:pt x="1925711" y="446556"/>
                    <a:pt x="1942053" y="4631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1" name="Полилиния: фигура 400">
              <a:extLst>
                <a:ext uri="{FF2B5EF4-FFF2-40B4-BE49-F238E27FC236}">
                  <a16:creationId xmlns:a16="http://schemas.microsoft.com/office/drawing/2014/main" id="{7BDEEC0B-48BA-490B-98C1-E389343B7475}"/>
                </a:ext>
              </a:extLst>
            </p:cNvPr>
            <p:cNvSpPr/>
            <p:nvPr/>
          </p:nvSpPr>
          <p:spPr>
            <a:xfrm>
              <a:off x="5386561" y="4689934"/>
              <a:ext cx="1237244" cy="1036741"/>
            </a:xfrm>
            <a:custGeom>
              <a:avLst/>
              <a:gdLst>
                <a:gd name="connsiteX0" fmla="*/ 1219381 w 1237244"/>
                <a:gd name="connsiteY0" fmla="*/ 819283 h 1036741"/>
                <a:gd name="connsiteX1" fmla="*/ 1205573 w 1237244"/>
                <a:gd name="connsiteY1" fmla="*/ 845633 h 1036741"/>
                <a:gd name="connsiteX2" fmla="*/ 1150846 w 1237244"/>
                <a:gd name="connsiteY2" fmla="*/ 877303 h 1036741"/>
                <a:gd name="connsiteX3" fmla="*/ 1151479 w 1237244"/>
                <a:gd name="connsiteY3" fmla="*/ 920882 h 1036741"/>
                <a:gd name="connsiteX4" fmla="*/ 1133237 w 1237244"/>
                <a:gd name="connsiteY4" fmla="*/ 943432 h 1036741"/>
                <a:gd name="connsiteX5" fmla="*/ 1121836 w 1237244"/>
                <a:gd name="connsiteY5" fmla="*/ 947359 h 1036741"/>
                <a:gd name="connsiteX6" fmla="*/ 1066982 w 1237244"/>
                <a:gd name="connsiteY6" fmla="*/ 970415 h 1036741"/>
                <a:gd name="connsiteX7" fmla="*/ 1033285 w 1237244"/>
                <a:gd name="connsiteY7" fmla="*/ 947992 h 1036741"/>
                <a:gd name="connsiteX8" fmla="*/ 993126 w 1237244"/>
                <a:gd name="connsiteY8" fmla="*/ 951919 h 1036741"/>
                <a:gd name="connsiteX9" fmla="*/ 925858 w 1237244"/>
                <a:gd name="connsiteY9" fmla="*/ 931397 h 1036741"/>
                <a:gd name="connsiteX10" fmla="*/ 901408 w 1237244"/>
                <a:gd name="connsiteY10" fmla="*/ 953186 h 1036741"/>
                <a:gd name="connsiteX11" fmla="*/ 859223 w 1237244"/>
                <a:gd name="connsiteY11" fmla="*/ 961801 h 1036741"/>
                <a:gd name="connsiteX12" fmla="*/ 828186 w 1237244"/>
                <a:gd name="connsiteY12" fmla="*/ 983590 h 1036741"/>
                <a:gd name="connsiteX13" fmla="*/ 753696 w 1237244"/>
                <a:gd name="connsiteY13" fmla="*/ 989544 h 1036741"/>
                <a:gd name="connsiteX14" fmla="*/ 734568 w 1237244"/>
                <a:gd name="connsiteY14" fmla="*/ 1005379 h 1036741"/>
                <a:gd name="connsiteX15" fmla="*/ 730767 w 1237244"/>
                <a:gd name="connsiteY15" fmla="*/ 1008166 h 1036741"/>
                <a:gd name="connsiteX16" fmla="*/ 710244 w 1237244"/>
                <a:gd name="connsiteY16" fmla="*/ 994865 h 1036741"/>
                <a:gd name="connsiteX17" fmla="*/ 675913 w 1237244"/>
                <a:gd name="connsiteY17" fmla="*/ 1008673 h 1036741"/>
                <a:gd name="connsiteX18" fmla="*/ 658051 w 1237244"/>
                <a:gd name="connsiteY18" fmla="*/ 1014627 h 1036741"/>
                <a:gd name="connsiteX19" fmla="*/ 640949 w 1237244"/>
                <a:gd name="connsiteY19" fmla="*/ 1033123 h 1036741"/>
                <a:gd name="connsiteX20" fmla="*/ 611305 w 1237244"/>
                <a:gd name="connsiteY20" fmla="*/ 1028436 h 1036741"/>
                <a:gd name="connsiteX21" fmla="*/ 619160 w 1237244"/>
                <a:gd name="connsiteY21" fmla="*/ 998032 h 1036741"/>
                <a:gd name="connsiteX22" fmla="*/ 617133 w 1237244"/>
                <a:gd name="connsiteY22" fmla="*/ 955846 h 1036741"/>
                <a:gd name="connsiteX23" fmla="*/ 636895 w 1237244"/>
                <a:gd name="connsiteY23" fmla="*/ 892505 h 1036741"/>
                <a:gd name="connsiteX24" fmla="*/ 589389 w 1237244"/>
                <a:gd name="connsiteY24" fmla="*/ 888578 h 1036741"/>
                <a:gd name="connsiteX25" fmla="*/ 549737 w 1237244"/>
                <a:gd name="connsiteY25" fmla="*/ 891872 h 1036741"/>
                <a:gd name="connsiteX26" fmla="*/ 500205 w 1237244"/>
                <a:gd name="connsiteY26" fmla="*/ 901753 h 1036741"/>
                <a:gd name="connsiteX27" fmla="*/ 464607 w 1237244"/>
                <a:gd name="connsiteY27" fmla="*/ 847026 h 1036741"/>
                <a:gd name="connsiteX28" fmla="*/ 382137 w 1237244"/>
                <a:gd name="connsiteY28" fmla="*/ 817383 h 1036741"/>
                <a:gd name="connsiteX29" fmla="*/ 328677 w 1237244"/>
                <a:gd name="connsiteY29" fmla="*/ 767850 h 1036741"/>
                <a:gd name="connsiteX30" fmla="*/ 224417 w 1237244"/>
                <a:gd name="connsiteY30" fmla="*/ 661563 h 1036741"/>
                <a:gd name="connsiteX31" fmla="*/ 26412 w 1237244"/>
                <a:gd name="connsiteY31" fmla="*/ 581500 h 1036741"/>
                <a:gd name="connsiteX32" fmla="*/ 26412 w 1237244"/>
                <a:gd name="connsiteY32" fmla="*/ 581247 h 1036741"/>
                <a:gd name="connsiteX33" fmla="*/ 25525 w 1237244"/>
                <a:gd name="connsiteY33" fmla="*/ 577193 h 1036741"/>
                <a:gd name="connsiteX34" fmla="*/ 25525 w 1237244"/>
                <a:gd name="connsiteY34" fmla="*/ 577066 h 1036741"/>
                <a:gd name="connsiteX35" fmla="*/ 24512 w 1237244"/>
                <a:gd name="connsiteY35" fmla="*/ 573646 h 1036741"/>
                <a:gd name="connsiteX36" fmla="*/ 24385 w 1237244"/>
                <a:gd name="connsiteY36" fmla="*/ 573392 h 1036741"/>
                <a:gd name="connsiteX37" fmla="*/ 22485 w 1237244"/>
                <a:gd name="connsiteY37" fmla="*/ 567945 h 1036741"/>
                <a:gd name="connsiteX38" fmla="*/ 21092 w 1237244"/>
                <a:gd name="connsiteY38" fmla="*/ 564651 h 1036741"/>
                <a:gd name="connsiteX39" fmla="*/ 18685 w 1237244"/>
                <a:gd name="connsiteY39" fmla="*/ 559204 h 1036741"/>
                <a:gd name="connsiteX40" fmla="*/ 16911 w 1237244"/>
                <a:gd name="connsiteY40" fmla="*/ 555403 h 1036741"/>
                <a:gd name="connsiteX41" fmla="*/ 8170 w 1237244"/>
                <a:gd name="connsiteY41" fmla="*/ 537668 h 1036741"/>
                <a:gd name="connsiteX42" fmla="*/ 7410 w 1237244"/>
                <a:gd name="connsiteY42" fmla="*/ 536021 h 1036741"/>
                <a:gd name="connsiteX43" fmla="*/ 6270 w 1237244"/>
                <a:gd name="connsiteY43" fmla="*/ 533234 h 1036741"/>
                <a:gd name="connsiteX44" fmla="*/ 5636 w 1237244"/>
                <a:gd name="connsiteY44" fmla="*/ 531714 h 1036741"/>
                <a:gd name="connsiteX45" fmla="*/ 4243 w 1237244"/>
                <a:gd name="connsiteY45" fmla="*/ 527913 h 1036741"/>
                <a:gd name="connsiteX46" fmla="*/ 3102 w 1237244"/>
                <a:gd name="connsiteY46" fmla="*/ 524239 h 1036741"/>
                <a:gd name="connsiteX47" fmla="*/ 2469 w 1237244"/>
                <a:gd name="connsiteY47" fmla="*/ 522086 h 1036741"/>
                <a:gd name="connsiteX48" fmla="*/ 949 w 1237244"/>
                <a:gd name="connsiteY48" fmla="*/ 514738 h 1036741"/>
                <a:gd name="connsiteX49" fmla="*/ 5003 w 1237244"/>
                <a:gd name="connsiteY49" fmla="*/ 472300 h 1036741"/>
                <a:gd name="connsiteX50" fmla="*/ 23752 w 1237244"/>
                <a:gd name="connsiteY50" fmla="*/ 438475 h 1036741"/>
                <a:gd name="connsiteX51" fmla="*/ 17164 w 1237244"/>
                <a:gd name="connsiteY51" fmla="*/ 405158 h 1036741"/>
                <a:gd name="connsiteX52" fmla="*/ 15517 w 1237244"/>
                <a:gd name="connsiteY52" fmla="*/ 372600 h 1036741"/>
                <a:gd name="connsiteX53" fmla="*/ 43768 w 1237244"/>
                <a:gd name="connsiteY53" fmla="*/ 321674 h 1036741"/>
                <a:gd name="connsiteX54" fmla="*/ 42121 w 1237244"/>
                <a:gd name="connsiteY54" fmla="*/ 303432 h 1036741"/>
                <a:gd name="connsiteX55" fmla="*/ 42121 w 1237244"/>
                <a:gd name="connsiteY55" fmla="*/ 303305 h 1036741"/>
                <a:gd name="connsiteX56" fmla="*/ 71638 w 1237244"/>
                <a:gd name="connsiteY56" fmla="*/ 285823 h 1036741"/>
                <a:gd name="connsiteX57" fmla="*/ 115217 w 1237244"/>
                <a:gd name="connsiteY57" fmla="*/ 244904 h 1036741"/>
                <a:gd name="connsiteX58" fmla="*/ 144100 w 1237244"/>
                <a:gd name="connsiteY58" fmla="*/ 190811 h 1036741"/>
                <a:gd name="connsiteX59" fmla="*/ 216563 w 1237244"/>
                <a:gd name="connsiteY59" fmla="*/ 179916 h 1036741"/>
                <a:gd name="connsiteX60" fmla="*/ 247980 w 1237244"/>
                <a:gd name="connsiteY60" fmla="*/ 122403 h 1036741"/>
                <a:gd name="connsiteX61" fmla="*/ 279651 w 1237244"/>
                <a:gd name="connsiteY61" fmla="*/ 93012 h 1036741"/>
                <a:gd name="connsiteX62" fmla="*/ 293205 w 1237244"/>
                <a:gd name="connsiteY62" fmla="*/ 49180 h 1036741"/>
                <a:gd name="connsiteX63" fmla="*/ 332857 w 1237244"/>
                <a:gd name="connsiteY63" fmla="*/ 25744 h 1036741"/>
                <a:gd name="connsiteX64" fmla="*/ 379350 w 1237244"/>
                <a:gd name="connsiteY64" fmla="*/ 4588 h 1036741"/>
                <a:gd name="connsiteX65" fmla="*/ 437370 w 1237244"/>
                <a:gd name="connsiteY65" fmla="*/ 54120 h 1036741"/>
                <a:gd name="connsiteX66" fmla="*/ 496151 w 1237244"/>
                <a:gd name="connsiteY66" fmla="*/ 66029 h 1036741"/>
                <a:gd name="connsiteX67" fmla="*/ 561772 w 1237244"/>
                <a:gd name="connsiteY67" fmla="*/ 104287 h 1036741"/>
                <a:gd name="connsiteX68" fmla="*/ 633348 w 1237244"/>
                <a:gd name="connsiteY68" fmla="*/ 111254 h 1036741"/>
                <a:gd name="connsiteX69" fmla="*/ 658051 w 1237244"/>
                <a:gd name="connsiteY69" fmla="*/ 148245 h 1036741"/>
                <a:gd name="connsiteX70" fmla="*/ 712778 w 1237244"/>
                <a:gd name="connsiteY70" fmla="*/ 153186 h 1036741"/>
                <a:gd name="connsiteX71" fmla="*/ 740522 w 1237244"/>
                <a:gd name="connsiteY71" fmla="*/ 172315 h 1036741"/>
                <a:gd name="connsiteX72" fmla="*/ 835914 w 1237244"/>
                <a:gd name="connsiteY72" fmla="*/ 134691 h 1036741"/>
                <a:gd name="connsiteX73" fmla="*/ 902802 w 1237244"/>
                <a:gd name="connsiteY73" fmla="*/ 165981 h 1036741"/>
                <a:gd name="connsiteX74" fmla="*/ 934599 w 1237244"/>
                <a:gd name="connsiteY74" fmla="*/ 256432 h 1036741"/>
                <a:gd name="connsiteX75" fmla="*/ 910783 w 1237244"/>
                <a:gd name="connsiteY75" fmla="*/ 327755 h 1036741"/>
                <a:gd name="connsiteX76" fmla="*/ 1072430 w 1237244"/>
                <a:gd name="connsiteY76" fmla="*/ 391729 h 1036741"/>
                <a:gd name="connsiteX77" fmla="*/ 1134377 w 1237244"/>
                <a:gd name="connsiteY77" fmla="*/ 492062 h 1036741"/>
                <a:gd name="connsiteX78" fmla="*/ 1210260 w 1237244"/>
                <a:gd name="connsiteY78" fmla="*/ 511824 h 1036741"/>
                <a:gd name="connsiteX79" fmla="*/ 1222802 w 1237244"/>
                <a:gd name="connsiteY79" fmla="*/ 573139 h 1036741"/>
                <a:gd name="connsiteX80" fmla="*/ 1186444 w 1237244"/>
                <a:gd name="connsiteY80" fmla="*/ 573266 h 1036741"/>
                <a:gd name="connsiteX81" fmla="*/ 1126396 w 1237244"/>
                <a:gd name="connsiteY81" fmla="*/ 666250 h 1036741"/>
                <a:gd name="connsiteX82" fmla="*/ 1223435 w 1237244"/>
                <a:gd name="connsiteY82" fmla="*/ 776464 h 1036741"/>
                <a:gd name="connsiteX83" fmla="*/ 1219381 w 1237244"/>
                <a:gd name="connsiteY83" fmla="*/ 819283 h 10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37244" h="1036741">
                  <a:moveTo>
                    <a:pt x="1219381" y="819283"/>
                  </a:moveTo>
                  <a:cubicBezTo>
                    <a:pt x="1206206" y="831064"/>
                    <a:pt x="1208866" y="825870"/>
                    <a:pt x="1205573" y="845633"/>
                  </a:cubicBezTo>
                  <a:cubicBezTo>
                    <a:pt x="1202279" y="865395"/>
                    <a:pt x="1175296" y="868056"/>
                    <a:pt x="1150846" y="877303"/>
                  </a:cubicBezTo>
                  <a:cubicBezTo>
                    <a:pt x="1126396" y="886551"/>
                    <a:pt x="1133744" y="907707"/>
                    <a:pt x="1151479" y="920882"/>
                  </a:cubicBezTo>
                  <a:cubicBezTo>
                    <a:pt x="1164781" y="930764"/>
                    <a:pt x="1147046" y="938491"/>
                    <a:pt x="1133237" y="943432"/>
                  </a:cubicBezTo>
                  <a:cubicBezTo>
                    <a:pt x="1128550" y="944952"/>
                    <a:pt x="1124369" y="946345"/>
                    <a:pt x="1121836" y="947359"/>
                  </a:cubicBezTo>
                  <a:cubicBezTo>
                    <a:pt x="1111954" y="951286"/>
                    <a:pt x="1084211" y="965094"/>
                    <a:pt x="1066982" y="970415"/>
                  </a:cubicBezTo>
                  <a:cubicBezTo>
                    <a:pt x="1049880" y="975736"/>
                    <a:pt x="1039999" y="959267"/>
                    <a:pt x="1033285" y="947992"/>
                  </a:cubicBezTo>
                  <a:cubicBezTo>
                    <a:pt x="1026697" y="936718"/>
                    <a:pt x="1014155" y="950019"/>
                    <a:pt x="993126" y="951919"/>
                  </a:cubicBezTo>
                  <a:cubicBezTo>
                    <a:pt x="971970" y="953946"/>
                    <a:pt x="941693" y="937351"/>
                    <a:pt x="925858" y="931397"/>
                  </a:cubicBezTo>
                  <a:cubicBezTo>
                    <a:pt x="910022" y="925443"/>
                    <a:pt x="906729" y="934057"/>
                    <a:pt x="901408" y="953186"/>
                  </a:cubicBezTo>
                  <a:cubicBezTo>
                    <a:pt x="896088" y="972315"/>
                    <a:pt x="879619" y="959774"/>
                    <a:pt x="859223" y="961801"/>
                  </a:cubicBezTo>
                  <a:cubicBezTo>
                    <a:pt x="838827" y="963827"/>
                    <a:pt x="847315" y="972949"/>
                    <a:pt x="828186" y="983590"/>
                  </a:cubicBezTo>
                  <a:cubicBezTo>
                    <a:pt x="809056" y="994105"/>
                    <a:pt x="770165" y="992078"/>
                    <a:pt x="753696" y="989544"/>
                  </a:cubicBezTo>
                  <a:cubicBezTo>
                    <a:pt x="737228" y="986884"/>
                    <a:pt x="739888" y="997398"/>
                    <a:pt x="734568" y="1005379"/>
                  </a:cubicBezTo>
                  <a:cubicBezTo>
                    <a:pt x="733427" y="1007153"/>
                    <a:pt x="732161" y="1008040"/>
                    <a:pt x="730767" y="1008166"/>
                  </a:cubicBezTo>
                  <a:cubicBezTo>
                    <a:pt x="725953" y="1008800"/>
                    <a:pt x="719492" y="1000945"/>
                    <a:pt x="710244" y="994865"/>
                  </a:cubicBezTo>
                  <a:cubicBezTo>
                    <a:pt x="698336" y="986884"/>
                    <a:pt x="686428" y="991571"/>
                    <a:pt x="675913" y="1008673"/>
                  </a:cubicBezTo>
                  <a:cubicBezTo>
                    <a:pt x="665399" y="1025775"/>
                    <a:pt x="666665" y="1018554"/>
                    <a:pt x="658051" y="1014627"/>
                  </a:cubicBezTo>
                  <a:cubicBezTo>
                    <a:pt x="649437" y="1010700"/>
                    <a:pt x="648170" y="1024508"/>
                    <a:pt x="640949" y="1033123"/>
                  </a:cubicBezTo>
                  <a:cubicBezTo>
                    <a:pt x="633728" y="1041611"/>
                    <a:pt x="621820" y="1033123"/>
                    <a:pt x="611305" y="1028436"/>
                  </a:cubicBezTo>
                  <a:cubicBezTo>
                    <a:pt x="600790" y="1023875"/>
                    <a:pt x="609912" y="1007279"/>
                    <a:pt x="619160" y="998032"/>
                  </a:cubicBezTo>
                  <a:cubicBezTo>
                    <a:pt x="628408" y="988784"/>
                    <a:pt x="623720" y="974976"/>
                    <a:pt x="617133" y="955846"/>
                  </a:cubicBezTo>
                  <a:cubicBezTo>
                    <a:pt x="610545" y="936718"/>
                    <a:pt x="631575" y="916828"/>
                    <a:pt x="636895" y="892505"/>
                  </a:cubicBezTo>
                  <a:cubicBezTo>
                    <a:pt x="642089" y="868056"/>
                    <a:pt x="605858" y="879964"/>
                    <a:pt x="589389" y="888578"/>
                  </a:cubicBezTo>
                  <a:cubicBezTo>
                    <a:pt x="572921" y="897193"/>
                    <a:pt x="565700" y="897193"/>
                    <a:pt x="549737" y="891872"/>
                  </a:cubicBezTo>
                  <a:cubicBezTo>
                    <a:pt x="533902" y="886551"/>
                    <a:pt x="531876" y="893139"/>
                    <a:pt x="500205" y="901753"/>
                  </a:cubicBezTo>
                  <a:cubicBezTo>
                    <a:pt x="468534" y="910367"/>
                    <a:pt x="475122" y="890605"/>
                    <a:pt x="464607" y="847026"/>
                  </a:cubicBezTo>
                  <a:cubicBezTo>
                    <a:pt x="454092" y="803447"/>
                    <a:pt x="407220" y="809401"/>
                    <a:pt x="382137" y="817383"/>
                  </a:cubicBezTo>
                  <a:cubicBezTo>
                    <a:pt x="357053" y="825364"/>
                    <a:pt x="341978" y="804841"/>
                    <a:pt x="328677" y="767850"/>
                  </a:cubicBezTo>
                  <a:cubicBezTo>
                    <a:pt x="315502" y="730859"/>
                    <a:pt x="327410" y="735546"/>
                    <a:pt x="224417" y="661563"/>
                  </a:cubicBezTo>
                  <a:cubicBezTo>
                    <a:pt x="121424" y="587707"/>
                    <a:pt x="26412" y="581500"/>
                    <a:pt x="26412" y="581500"/>
                  </a:cubicBezTo>
                  <a:cubicBezTo>
                    <a:pt x="26412" y="581373"/>
                    <a:pt x="26412" y="581373"/>
                    <a:pt x="26412" y="581247"/>
                  </a:cubicBezTo>
                  <a:cubicBezTo>
                    <a:pt x="26159" y="579853"/>
                    <a:pt x="25906" y="578586"/>
                    <a:pt x="25525" y="577193"/>
                  </a:cubicBezTo>
                  <a:cubicBezTo>
                    <a:pt x="25525" y="577193"/>
                    <a:pt x="25525" y="577193"/>
                    <a:pt x="25525" y="577066"/>
                  </a:cubicBezTo>
                  <a:cubicBezTo>
                    <a:pt x="25272" y="575926"/>
                    <a:pt x="24892" y="574786"/>
                    <a:pt x="24512" y="573646"/>
                  </a:cubicBezTo>
                  <a:cubicBezTo>
                    <a:pt x="24512" y="573519"/>
                    <a:pt x="24512" y="573519"/>
                    <a:pt x="24385" y="573392"/>
                  </a:cubicBezTo>
                  <a:cubicBezTo>
                    <a:pt x="23879" y="571492"/>
                    <a:pt x="23118" y="569718"/>
                    <a:pt x="22485" y="567945"/>
                  </a:cubicBezTo>
                  <a:cubicBezTo>
                    <a:pt x="22105" y="566805"/>
                    <a:pt x="21598" y="565791"/>
                    <a:pt x="21092" y="564651"/>
                  </a:cubicBezTo>
                  <a:cubicBezTo>
                    <a:pt x="20331" y="562751"/>
                    <a:pt x="19445" y="560977"/>
                    <a:pt x="18685" y="559204"/>
                  </a:cubicBezTo>
                  <a:cubicBezTo>
                    <a:pt x="18051" y="557937"/>
                    <a:pt x="17544" y="556670"/>
                    <a:pt x="16911" y="555403"/>
                  </a:cubicBezTo>
                  <a:cubicBezTo>
                    <a:pt x="13997" y="549449"/>
                    <a:pt x="10830" y="543748"/>
                    <a:pt x="8170" y="537668"/>
                  </a:cubicBezTo>
                  <a:cubicBezTo>
                    <a:pt x="7916" y="537161"/>
                    <a:pt x="7663" y="536528"/>
                    <a:pt x="7410" y="536021"/>
                  </a:cubicBezTo>
                  <a:cubicBezTo>
                    <a:pt x="7030" y="535134"/>
                    <a:pt x="6650" y="534247"/>
                    <a:pt x="6270" y="533234"/>
                  </a:cubicBezTo>
                  <a:cubicBezTo>
                    <a:pt x="6016" y="532727"/>
                    <a:pt x="5889" y="532220"/>
                    <a:pt x="5636" y="531714"/>
                  </a:cubicBezTo>
                  <a:cubicBezTo>
                    <a:pt x="5129" y="530447"/>
                    <a:pt x="4623" y="529180"/>
                    <a:pt x="4243" y="527913"/>
                  </a:cubicBezTo>
                  <a:cubicBezTo>
                    <a:pt x="3863" y="526646"/>
                    <a:pt x="3482" y="525506"/>
                    <a:pt x="3102" y="524239"/>
                  </a:cubicBezTo>
                  <a:cubicBezTo>
                    <a:pt x="2849" y="523479"/>
                    <a:pt x="2722" y="522719"/>
                    <a:pt x="2469" y="522086"/>
                  </a:cubicBezTo>
                  <a:cubicBezTo>
                    <a:pt x="1836" y="519679"/>
                    <a:pt x="1329" y="517272"/>
                    <a:pt x="949" y="514738"/>
                  </a:cubicBezTo>
                  <a:cubicBezTo>
                    <a:pt x="-951" y="500676"/>
                    <a:pt x="-191" y="485601"/>
                    <a:pt x="5003" y="472300"/>
                  </a:cubicBezTo>
                  <a:cubicBezTo>
                    <a:pt x="9690" y="460138"/>
                    <a:pt x="19191" y="450510"/>
                    <a:pt x="23752" y="438475"/>
                  </a:cubicBezTo>
                  <a:cubicBezTo>
                    <a:pt x="28439" y="426060"/>
                    <a:pt x="24005" y="415672"/>
                    <a:pt x="17164" y="405158"/>
                  </a:cubicBezTo>
                  <a:cubicBezTo>
                    <a:pt x="9563" y="393376"/>
                    <a:pt x="8423" y="385269"/>
                    <a:pt x="15517" y="372600"/>
                  </a:cubicBezTo>
                  <a:cubicBezTo>
                    <a:pt x="25019" y="355751"/>
                    <a:pt x="38320" y="340676"/>
                    <a:pt x="43768" y="321674"/>
                  </a:cubicBezTo>
                  <a:cubicBezTo>
                    <a:pt x="45541" y="315593"/>
                    <a:pt x="46174" y="306725"/>
                    <a:pt x="42121" y="303432"/>
                  </a:cubicBezTo>
                  <a:cubicBezTo>
                    <a:pt x="42121" y="303432"/>
                    <a:pt x="42121" y="303432"/>
                    <a:pt x="42121" y="303305"/>
                  </a:cubicBezTo>
                  <a:cubicBezTo>
                    <a:pt x="43261" y="302418"/>
                    <a:pt x="61503" y="288737"/>
                    <a:pt x="71638" y="285823"/>
                  </a:cubicBezTo>
                  <a:cubicBezTo>
                    <a:pt x="82026" y="282909"/>
                    <a:pt x="112556" y="269101"/>
                    <a:pt x="115217" y="244904"/>
                  </a:cubicBezTo>
                  <a:cubicBezTo>
                    <a:pt x="117877" y="220581"/>
                    <a:pt x="120284" y="192078"/>
                    <a:pt x="144100" y="190811"/>
                  </a:cubicBezTo>
                  <a:cubicBezTo>
                    <a:pt x="167790" y="189544"/>
                    <a:pt x="204654" y="201199"/>
                    <a:pt x="216563" y="179916"/>
                  </a:cubicBezTo>
                  <a:cubicBezTo>
                    <a:pt x="228471" y="158634"/>
                    <a:pt x="238352" y="129877"/>
                    <a:pt x="247980" y="122403"/>
                  </a:cubicBezTo>
                  <a:cubicBezTo>
                    <a:pt x="257481" y="114801"/>
                    <a:pt x="279271" y="106187"/>
                    <a:pt x="279651" y="93012"/>
                  </a:cubicBezTo>
                  <a:cubicBezTo>
                    <a:pt x="280031" y="79837"/>
                    <a:pt x="276737" y="57414"/>
                    <a:pt x="293205" y="49180"/>
                  </a:cubicBezTo>
                  <a:cubicBezTo>
                    <a:pt x="309674" y="40945"/>
                    <a:pt x="317275" y="44239"/>
                    <a:pt x="332857" y="25744"/>
                  </a:cubicBezTo>
                  <a:cubicBezTo>
                    <a:pt x="348439" y="7248"/>
                    <a:pt x="367188" y="-7954"/>
                    <a:pt x="379350" y="4588"/>
                  </a:cubicBezTo>
                  <a:cubicBezTo>
                    <a:pt x="391638" y="17129"/>
                    <a:pt x="420648" y="49813"/>
                    <a:pt x="437370" y="54120"/>
                  </a:cubicBezTo>
                  <a:cubicBezTo>
                    <a:pt x="454219" y="58428"/>
                    <a:pt x="489563" y="51840"/>
                    <a:pt x="496151" y="66029"/>
                  </a:cubicBezTo>
                  <a:cubicBezTo>
                    <a:pt x="502738" y="80217"/>
                    <a:pt x="529469" y="105300"/>
                    <a:pt x="561772" y="104287"/>
                  </a:cubicBezTo>
                  <a:cubicBezTo>
                    <a:pt x="594076" y="103400"/>
                    <a:pt x="633095" y="100993"/>
                    <a:pt x="633348" y="111254"/>
                  </a:cubicBezTo>
                  <a:cubicBezTo>
                    <a:pt x="633728" y="121516"/>
                    <a:pt x="640569" y="149892"/>
                    <a:pt x="658051" y="148245"/>
                  </a:cubicBezTo>
                  <a:cubicBezTo>
                    <a:pt x="675533" y="146599"/>
                    <a:pt x="710244" y="142925"/>
                    <a:pt x="712778" y="153186"/>
                  </a:cubicBezTo>
                  <a:cubicBezTo>
                    <a:pt x="715438" y="163448"/>
                    <a:pt x="722659" y="188151"/>
                    <a:pt x="740522" y="172315"/>
                  </a:cubicBezTo>
                  <a:cubicBezTo>
                    <a:pt x="758383" y="156480"/>
                    <a:pt x="813490" y="125443"/>
                    <a:pt x="835914" y="134691"/>
                  </a:cubicBezTo>
                  <a:cubicBezTo>
                    <a:pt x="858336" y="143938"/>
                    <a:pt x="878225" y="173329"/>
                    <a:pt x="902802" y="165981"/>
                  </a:cubicBezTo>
                  <a:cubicBezTo>
                    <a:pt x="903182" y="183843"/>
                    <a:pt x="929785" y="233123"/>
                    <a:pt x="934599" y="256432"/>
                  </a:cubicBezTo>
                  <a:cubicBezTo>
                    <a:pt x="940553" y="284809"/>
                    <a:pt x="932572" y="282909"/>
                    <a:pt x="910783" y="327755"/>
                  </a:cubicBezTo>
                  <a:cubicBezTo>
                    <a:pt x="888993" y="372600"/>
                    <a:pt x="991986" y="381848"/>
                    <a:pt x="1072430" y="391729"/>
                  </a:cubicBezTo>
                  <a:cubicBezTo>
                    <a:pt x="1152873" y="401610"/>
                    <a:pt x="1129817" y="451777"/>
                    <a:pt x="1134377" y="492062"/>
                  </a:cubicBezTo>
                  <a:cubicBezTo>
                    <a:pt x="1139065" y="532347"/>
                    <a:pt x="1197085" y="517778"/>
                    <a:pt x="1210260" y="511824"/>
                  </a:cubicBezTo>
                  <a:cubicBezTo>
                    <a:pt x="1223435" y="505870"/>
                    <a:pt x="1224069" y="556670"/>
                    <a:pt x="1222802" y="573139"/>
                  </a:cubicBezTo>
                  <a:cubicBezTo>
                    <a:pt x="1221408" y="589481"/>
                    <a:pt x="1206966" y="575926"/>
                    <a:pt x="1186444" y="573266"/>
                  </a:cubicBezTo>
                  <a:cubicBezTo>
                    <a:pt x="1165921" y="570605"/>
                    <a:pt x="1143499" y="608863"/>
                    <a:pt x="1126396" y="666250"/>
                  </a:cubicBezTo>
                  <a:cubicBezTo>
                    <a:pt x="1109294" y="723638"/>
                    <a:pt x="1197085" y="765189"/>
                    <a:pt x="1223435" y="776464"/>
                  </a:cubicBezTo>
                  <a:cubicBezTo>
                    <a:pt x="1249785" y="787612"/>
                    <a:pt x="1232683" y="807375"/>
                    <a:pt x="1219381" y="819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2" name="Полилиния: фигура 401">
              <a:extLst>
                <a:ext uri="{FF2B5EF4-FFF2-40B4-BE49-F238E27FC236}">
                  <a16:creationId xmlns:a16="http://schemas.microsoft.com/office/drawing/2014/main" id="{D8F84FA2-AE6F-4BA2-A439-56EAF17E1229}"/>
                </a:ext>
              </a:extLst>
            </p:cNvPr>
            <p:cNvSpPr/>
            <p:nvPr/>
          </p:nvSpPr>
          <p:spPr>
            <a:xfrm>
              <a:off x="5855694" y="6327079"/>
              <a:ext cx="624768" cy="611832"/>
            </a:xfrm>
            <a:custGeom>
              <a:avLst/>
              <a:gdLst>
                <a:gd name="connsiteX0" fmla="*/ 623692 w 624768"/>
                <a:gd name="connsiteY0" fmla="*/ 441235 h 611832"/>
                <a:gd name="connsiteX1" fmla="*/ 605957 w 624768"/>
                <a:gd name="connsiteY1" fmla="*/ 447696 h 611832"/>
                <a:gd name="connsiteX2" fmla="*/ 584547 w 624768"/>
                <a:gd name="connsiteY2" fmla="*/ 429074 h 611832"/>
                <a:gd name="connsiteX3" fmla="*/ 569219 w 624768"/>
                <a:gd name="connsiteY3" fmla="*/ 445669 h 611832"/>
                <a:gd name="connsiteX4" fmla="*/ 574793 w 624768"/>
                <a:gd name="connsiteY4" fmla="*/ 464545 h 611832"/>
                <a:gd name="connsiteX5" fmla="*/ 589361 w 624768"/>
                <a:gd name="connsiteY5" fmla="*/ 486461 h 611832"/>
                <a:gd name="connsiteX6" fmla="*/ 604690 w 624768"/>
                <a:gd name="connsiteY6" fmla="*/ 504957 h 611832"/>
                <a:gd name="connsiteX7" fmla="*/ 588475 w 624768"/>
                <a:gd name="connsiteY7" fmla="*/ 543975 h 611832"/>
                <a:gd name="connsiteX8" fmla="*/ 561618 w 624768"/>
                <a:gd name="connsiteY8" fmla="*/ 573618 h 611832"/>
                <a:gd name="connsiteX9" fmla="*/ 532228 w 624768"/>
                <a:gd name="connsiteY9" fmla="*/ 575392 h 611832"/>
                <a:gd name="connsiteX10" fmla="*/ 506004 w 624768"/>
                <a:gd name="connsiteY10" fmla="*/ 576785 h 611832"/>
                <a:gd name="connsiteX11" fmla="*/ 449124 w 624768"/>
                <a:gd name="connsiteY11" fmla="*/ 585020 h 611832"/>
                <a:gd name="connsiteX12" fmla="*/ 421760 w 624768"/>
                <a:gd name="connsiteY12" fmla="*/ 590974 h 611832"/>
                <a:gd name="connsiteX13" fmla="*/ 401744 w 624768"/>
                <a:gd name="connsiteY13" fmla="*/ 600729 h 611832"/>
                <a:gd name="connsiteX14" fmla="*/ 353858 w 624768"/>
                <a:gd name="connsiteY14" fmla="*/ 611623 h 611832"/>
                <a:gd name="connsiteX15" fmla="*/ 329789 w 624768"/>
                <a:gd name="connsiteY15" fmla="*/ 597055 h 611832"/>
                <a:gd name="connsiteX16" fmla="*/ 315980 w 624768"/>
                <a:gd name="connsiteY16" fmla="*/ 581346 h 611832"/>
                <a:gd name="connsiteX17" fmla="*/ 288237 w 624768"/>
                <a:gd name="connsiteY17" fmla="*/ 547649 h 611832"/>
                <a:gd name="connsiteX18" fmla="*/ 253019 w 624768"/>
                <a:gd name="connsiteY18" fmla="*/ 506857 h 611832"/>
                <a:gd name="connsiteX19" fmla="*/ 194998 w 624768"/>
                <a:gd name="connsiteY19" fmla="*/ 509137 h 611832"/>
                <a:gd name="connsiteX20" fmla="*/ 158261 w 624768"/>
                <a:gd name="connsiteY20" fmla="*/ 511671 h 611832"/>
                <a:gd name="connsiteX21" fmla="*/ 131911 w 624768"/>
                <a:gd name="connsiteY21" fmla="*/ 503817 h 611832"/>
                <a:gd name="connsiteX22" fmla="*/ 99353 w 624768"/>
                <a:gd name="connsiteY22" fmla="*/ 485954 h 611832"/>
                <a:gd name="connsiteX23" fmla="*/ 87699 w 624768"/>
                <a:gd name="connsiteY23" fmla="*/ 441362 h 611832"/>
                <a:gd name="connsiteX24" fmla="*/ 82631 w 624768"/>
                <a:gd name="connsiteY24" fmla="*/ 397530 h 611832"/>
                <a:gd name="connsiteX25" fmla="*/ 59322 w 624768"/>
                <a:gd name="connsiteY25" fmla="*/ 370420 h 611832"/>
                <a:gd name="connsiteX26" fmla="*/ 19163 w 624768"/>
                <a:gd name="connsiteY26" fmla="*/ 346604 h 611832"/>
                <a:gd name="connsiteX27" fmla="*/ 1301 w 624768"/>
                <a:gd name="connsiteY27" fmla="*/ 318227 h 611832"/>
                <a:gd name="connsiteX28" fmla="*/ 12576 w 624768"/>
                <a:gd name="connsiteY28" fmla="*/ 284529 h 611832"/>
                <a:gd name="connsiteX29" fmla="*/ 10802 w 624768"/>
                <a:gd name="connsiteY29" fmla="*/ 258433 h 611832"/>
                <a:gd name="connsiteX30" fmla="*/ 6622 w 624768"/>
                <a:gd name="connsiteY30" fmla="*/ 248551 h 611832"/>
                <a:gd name="connsiteX31" fmla="*/ 45133 w 624768"/>
                <a:gd name="connsiteY31" fmla="*/ 238417 h 611832"/>
                <a:gd name="connsiteX32" fmla="*/ 50454 w 624768"/>
                <a:gd name="connsiteY32" fmla="*/ 217514 h 611832"/>
                <a:gd name="connsiteX33" fmla="*/ 32212 w 624768"/>
                <a:gd name="connsiteY33" fmla="*/ 205986 h 611832"/>
                <a:gd name="connsiteX34" fmla="*/ 17770 w 624768"/>
                <a:gd name="connsiteY34" fmla="*/ 191037 h 611832"/>
                <a:gd name="connsiteX35" fmla="*/ 24864 w 624768"/>
                <a:gd name="connsiteY35" fmla="*/ 178242 h 611832"/>
                <a:gd name="connsiteX36" fmla="*/ 34112 w 624768"/>
                <a:gd name="connsiteY36" fmla="*/ 160380 h 611832"/>
                <a:gd name="connsiteX37" fmla="*/ 49187 w 624768"/>
                <a:gd name="connsiteY37" fmla="*/ 153033 h 611832"/>
                <a:gd name="connsiteX38" fmla="*/ 77691 w 624768"/>
                <a:gd name="connsiteY38" fmla="*/ 149106 h 611832"/>
                <a:gd name="connsiteX39" fmla="*/ 107841 w 624768"/>
                <a:gd name="connsiteY39" fmla="*/ 144925 h 611832"/>
                <a:gd name="connsiteX40" fmla="*/ 139892 w 624768"/>
                <a:gd name="connsiteY40" fmla="*/ 138591 h 611832"/>
                <a:gd name="connsiteX41" fmla="*/ 164975 w 624768"/>
                <a:gd name="connsiteY41" fmla="*/ 138717 h 611832"/>
                <a:gd name="connsiteX42" fmla="*/ 174350 w 624768"/>
                <a:gd name="connsiteY42" fmla="*/ 137831 h 611832"/>
                <a:gd name="connsiteX43" fmla="*/ 185371 w 624768"/>
                <a:gd name="connsiteY43" fmla="*/ 139478 h 611832"/>
                <a:gd name="connsiteX44" fmla="*/ 210707 w 624768"/>
                <a:gd name="connsiteY44" fmla="*/ 123262 h 611832"/>
                <a:gd name="connsiteX45" fmla="*/ 233130 w 624768"/>
                <a:gd name="connsiteY45" fmla="*/ 94379 h 611832"/>
                <a:gd name="connsiteX46" fmla="*/ 265941 w 624768"/>
                <a:gd name="connsiteY46" fmla="*/ 68029 h 611832"/>
                <a:gd name="connsiteX47" fmla="*/ 296091 w 624768"/>
                <a:gd name="connsiteY47" fmla="*/ 71576 h 611832"/>
                <a:gd name="connsiteX48" fmla="*/ 352465 w 624768"/>
                <a:gd name="connsiteY48" fmla="*/ 38512 h 611832"/>
                <a:gd name="connsiteX49" fmla="*/ 363360 w 624768"/>
                <a:gd name="connsiteY49" fmla="*/ 12288 h 611832"/>
                <a:gd name="connsiteX50" fmla="*/ 389203 w 624768"/>
                <a:gd name="connsiteY50" fmla="*/ 5701 h 611832"/>
                <a:gd name="connsiteX51" fmla="*/ 392623 w 624768"/>
                <a:gd name="connsiteY51" fmla="*/ 4814 h 611832"/>
                <a:gd name="connsiteX52" fmla="*/ 393510 w 624768"/>
                <a:gd name="connsiteY52" fmla="*/ 4434 h 611832"/>
                <a:gd name="connsiteX53" fmla="*/ 395917 w 624768"/>
                <a:gd name="connsiteY53" fmla="*/ 3041 h 611832"/>
                <a:gd name="connsiteX54" fmla="*/ 396550 w 624768"/>
                <a:gd name="connsiteY54" fmla="*/ 2534 h 611832"/>
                <a:gd name="connsiteX55" fmla="*/ 397310 w 624768"/>
                <a:gd name="connsiteY55" fmla="*/ 1774 h 611832"/>
                <a:gd name="connsiteX56" fmla="*/ 397817 w 624768"/>
                <a:gd name="connsiteY56" fmla="*/ 887 h 611832"/>
                <a:gd name="connsiteX57" fmla="*/ 397944 w 624768"/>
                <a:gd name="connsiteY57" fmla="*/ 760 h 611832"/>
                <a:gd name="connsiteX58" fmla="*/ 398197 w 624768"/>
                <a:gd name="connsiteY58" fmla="*/ 0 h 611832"/>
                <a:gd name="connsiteX59" fmla="*/ 398197 w 624768"/>
                <a:gd name="connsiteY59" fmla="*/ 0 h 611832"/>
                <a:gd name="connsiteX60" fmla="*/ 404911 w 624768"/>
                <a:gd name="connsiteY60" fmla="*/ 11022 h 611832"/>
                <a:gd name="connsiteX61" fmla="*/ 415933 w 624768"/>
                <a:gd name="connsiteY61" fmla="*/ 42692 h 611832"/>
                <a:gd name="connsiteX62" fmla="*/ 444183 w 624768"/>
                <a:gd name="connsiteY62" fmla="*/ 51307 h 611832"/>
                <a:gd name="connsiteX63" fmla="*/ 469900 w 624768"/>
                <a:gd name="connsiteY63" fmla="*/ 30150 h 611832"/>
                <a:gd name="connsiteX64" fmla="*/ 492702 w 624768"/>
                <a:gd name="connsiteY64" fmla="*/ 47253 h 611832"/>
                <a:gd name="connsiteX65" fmla="*/ 517406 w 624768"/>
                <a:gd name="connsiteY65" fmla="*/ 70942 h 611832"/>
                <a:gd name="connsiteX66" fmla="*/ 500177 w 624768"/>
                <a:gd name="connsiteY66" fmla="*/ 103500 h 611832"/>
                <a:gd name="connsiteX67" fmla="*/ 500177 w 624768"/>
                <a:gd name="connsiteY67" fmla="*/ 103500 h 611832"/>
                <a:gd name="connsiteX68" fmla="*/ 492702 w 624768"/>
                <a:gd name="connsiteY68" fmla="*/ 108187 h 611832"/>
                <a:gd name="connsiteX69" fmla="*/ 458498 w 624768"/>
                <a:gd name="connsiteY69" fmla="*/ 139604 h 611832"/>
                <a:gd name="connsiteX70" fmla="*/ 470533 w 624768"/>
                <a:gd name="connsiteY70" fmla="*/ 192431 h 611832"/>
                <a:gd name="connsiteX71" fmla="*/ 498276 w 624768"/>
                <a:gd name="connsiteY71" fmla="*/ 241204 h 611832"/>
                <a:gd name="connsiteX72" fmla="*/ 541982 w 624768"/>
                <a:gd name="connsiteY72" fmla="*/ 203452 h 611832"/>
                <a:gd name="connsiteX73" fmla="*/ 541982 w 624768"/>
                <a:gd name="connsiteY73" fmla="*/ 203452 h 611832"/>
                <a:gd name="connsiteX74" fmla="*/ 541349 w 624768"/>
                <a:gd name="connsiteY74" fmla="*/ 204973 h 611832"/>
                <a:gd name="connsiteX75" fmla="*/ 540462 w 624768"/>
                <a:gd name="connsiteY75" fmla="*/ 208266 h 611832"/>
                <a:gd name="connsiteX76" fmla="*/ 539702 w 624768"/>
                <a:gd name="connsiteY76" fmla="*/ 218147 h 611832"/>
                <a:gd name="connsiteX77" fmla="*/ 539828 w 624768"/>
                <a:gd name="connsiteY77" fmla="*/ 221568 h 611832"/>
                <a:gd name="connsiteX78" fmla="*/ 539828 w 624768"/>
                <a:gd name="connsiteY78" fmla="*/ 221821 h 611832"/>
                <a:gd name="connsiteX79" fmla="*/ 540208 w 624768"/>
                <a:gd name="connsiteY79" fmla="*/ 226382 h 611832"/>
                <a:gd name="connsiteX80" fmla="*/ 540208 w 624768"/>
                <a:gd name="connsiteY80" fmla="*/ 226762 h 611832"/>
                <a:gd name="connsiteX81" fmla="*/ 540589 w 624768"/>
                <a:gd name="connsiteY81" fmla="*/ 231322 h 611832"/>
                <a:gd name="connsiteX82" fmla="*/ 540842 w 624768"/>
                <a:gd name="connsiteY82" fmla="*/ 236263 h 611832"/>
                <a:gd name="connsiteX83" fmla="*/ 542489 w 624768"/>
                <a:gd name="connsiteY83" fmla="*/ 300618 h 611832"/>
                <a:gd name="connsiteX84" fmla="*/ 576693 w 624768"/>
                <a:gd name="connsiteY84" fmla="*/ 356105 h 611832"/>
                <a:gd name="connsiteX85" fmla="*/ 591895 w 624768"/>
                <a:gd name="connsiteY85" fmla="*/ 382455 h 611832"/>
                <a:gd name="connsiteX86" fmla="*/ 614571 w 624768"/>
                <a:gd name="connsiteY86" fmla="*/ 403484 h 611832"/>
                <a:gd name="connsiteX87" fmla="*/ 623692 w 624768"/>
                <a:gd name="connsiteY87" fmla="*/ 441235 h 6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4768" h="611832">
                  <a:moveTo>
                    <a:pt x="623692" y="441235"/>
                  </a:moveTo>
                  <a:cubicBezTo>
                    <a:pt x="621159" y="451623"/>
                    <a:pt x="614064" y="455171"/>
                    <a:pt x="605957" y="447696"/>
                  </a:cubicBezTo>
                  <a:cubicBezTo>
                    <a:pt x="599749" y="442122"/>
                    <a:pt x="593795" y="429580"/>
                    <a:pt x="584547" y="429074"/>
                  </a:cubicBezTo>
                  <a:cubicBezTo>
                    <a:pt x="576313" y="428567"/>
                    <a:pt x="570739" y="438828"/>
                    <a:pt x="569219" y="445669"/>
                  </a:cubicBezTo>
                  <a:cubicBezTo>
                    <a:pt x="567572" y="453270"/>
                    <a:pt x="570359" y="458718"/>
                    <a:pt x="574793" y="464545"/>
                  </a:cubicBezTo>
                  <a:cubicBezTo>
                    <a:pt x="580240" y="471639"/>
                    <a:pt x="584674" y="478987"/>
                    <a:pt x="589361" y="486461"/>
                  </a:cubicBezTo>
                  <a:cubicBezTo>
                    <a:pt x="593668" y="493302"/>
                    <a:pt x="598989" y="499256"/>
                    <a:pt x="604690" y="504957"/>
                  </a:cubicBezTo>
                  <a:cubicBezTo>
                    <a:pt x="593922" y="512304"/>
                    <a:pt x="592022" y="532953"/>
                    <a:pt x="588475" y="543975"/>
                  </a:cubicBezTo>
                  <a:cubicBezTo>
                    <a:pt x="583407" y="559684"/>
                    <a:pt x="576566" y="567538"/>
                    <a:pt x="561618" y="573618"/>
                  </a:cubicBezTo>
                  <a:cubicBezTo>
                    <a:pt x="552877" y="577166"/>
                    <a:pt x="541349" y="575645"/>
                    <a:pt x="532228" y="575392"/>
                  </a:cubicBezTo>
                  <a:cubicBezTo>
                    <a:pt x="523233" y="575012"/>
                    <a:pt x="514999" y="575519"/>
                    <a:pt x="506004" y="576785"/>
                  </a:cubicBezTo>
                  <a:cubicBezTo>
                    <a:pt x="487129" y="579446"/>
                    <a:pt x="467619" y="580079"/>
                    <a:pt x="449124" y="585020"/>
                  </a:cubicBezTo>
                  <a:cubicBezTo>
                    <a:pt x="440003" y="587554"/>
                    <a:pt x="430628" y="587300"/>
                    <a:pt x="421760" y="590974"/>
                  </a:cubicBezTo>
                  <a:cubicBezTo>
                    <a:pt x="414919" y="593761"/>
                    <a:pt x="408712" y="598702"/>
                    <a:pt x="401744" y="600729"/>
                  </a:cubicBezTo>
                  <a:cubicBezTo>
                    <a:pt x="388189" y="604783"/>
                    <a:pt x="368047" y="613270"/>
                    <a:pt x="353858" y="611623"/>
                  </a:cubicBezTo>
                  <a:cubicBezTo>
                    <a:pt x="344611" y="610610"/>
                    <a:pt x="332449" y="606682"/>
                    <a:pt x="329789" y="597055"/>
                  </a:cubicBezTo>
                  <a:cubicBezTo>
                    <a:pt x="327002" y="586287"/>
                    <a:pt x="327509" y="581473"/>
                    <a:pt x="315980" y="581346"/>
                  </a:cubicBezTo>
                  <a:cubicBezTo>
                    <a:pt x="301032" y="581093"/>
                    <a:pt x="293811" y="559937"/>
                    <a:pt x="288237" y="547649"/>
                  </a:cubicBezTo>
                  <a:cubicBezTo>
                    <a:pt x="279749" y="529153"/>
                    <a:pt x="270882" y="516992"/>
                    <a:pt x="253019" y="506857"/>
                  </a:cubicBezTo>
                  <a:cubicBezTo>
                    <a:pt x="235284" y="496722"/>
                    <a:pt x="213621" y="506730"/>
                    <a:pt x="194998" y="509137"/>
                  </a:cubicBezTo>
                  <a:cubicBezTo>
                    <a:pt x="182964" y="510658"/>
                    <a:pt x="170422" y="512304"/>
                    <a:pt x="158261" y="511671"/>
                  </a:cubicBezTo>
                  <a:cubicBezTo>
                    <a:pt x="148506" y="511164"/>
                    <a:pt x="141032" y="506604"/>
                    <a:pt x="131911" y="503817"/>
                  </a:cubicBezTo>
                  <a:cubicBezTo>
                    <a:pt x="119116" y="499889"/>
                    <a:pt x="107334" y="497736"/>
                    <a:pt x="99353" y="485954"/>
                  </a:cubicBezTo>
                  <a:cubicBezTo>
                    <a:pt x="90612" y="473033"/>
                    <a:pt x="87825" y="456691"/>
                    <a:pt x="87699" y="441362"/>
                  </a:cubicBezTo>
                  <a:cubicBezTo>
                    <a:pt x="87572" y="425907"/>
                    <a:pt x="87699" y="412479"/>
                    <a:pt x="82631" y="397530"/>
                  </a:cubicBezTo>
                  <a:cubicBezTo>
                    <a:pt x="77691" y="383215"/>
                    <a:pt x="71863" y="378147"/>
                    <a:pt x="59322" y="370420"/>
                  </a:cubicBezTo>
                  <a:cubicBezTo>
                    <a:pt x="45766" y="362059"/>
                    <a:pt x="33985" y="352684"/>
                    <a:pt x="19163" y="346604"/>
                  </a:cubicBezTo>
                  <a:cubicBezTo>
                    <a:pt x="5608" y="341156"/>
                    <a:pt x="-3513" y="333555"/>
                    <a:pt x="1301" y="318227"/>
                  </a:cubicBezTo>
                  <a:cubicBezTo>
                    <a:pt x="4848" y="307079"/>
                    <a:pt x="6875" y="294790"/>
                    <a:pt x="12576" y="284529"/>
                  </a:cubicBezTo>
                  <a:cubicBezTo>
                    <a:pt x="18910" y="273254"/>
                    <a:pt x="15363" y="269707"/>
                    <a:pt x="10802" y="258433"/>
                  </a:cubicBezTo>
                  <a:cubicBezTo>
                    <a:pt x="9409" y="254886"/>
                    <a:pt x="8015" y="251592"/>
                    <a:pt x="6622" y="248551"/>
                  </a:cubicBezTo>
                  <a:cubicBezTo>
                    <a:pt x="19037" y="243864"/>
                    <a:pt x="32212" y="243357"/>
                    <a:pt x="45133" y="238417"/>
                  </a:cubicBezTo>
                  <a:cubicBezTo>
                    <a:pt x="56535" y="234109"/>
                    <a:pt x="59955" y="226002"/>
                    <a:pt x="50454" y="217514"/>
                  </a:cubicBezTo>
                  <a:cubicBezTo>
                    <a:pt x="45006" y="212573"/>
                    <a:pt x="38039" y="210167"/>
                    <a:pt x="32212" y="205986"/>
                  </a:cubicBezTo>
                  <a:cubicBezTo>
                    <a:pt x="26384" y="201806"/>
                    <a:pt x="19290" y="198765"/>
                    <a:pt x="17770" y="191037"/>
                  </a:cubicBezTo>
                  <a:cubicBezTo>
                    <a:pt x="16376" y="183816"/>
                    <a:pt x="19670" y="181663"/>
                    <a:pt x="24864" y="178242"/>
                  </a:cubicBezTo>
                  <a:cubicBezTo>
                    <a:pt x="31958" y="173555"/>
                    <a:pt x="31198" y="167348"/>
                    <a:pt x="34112" y="160380"/>
                  </a:cubicBezTo>
                  <a:cubicBezTo>
                    <a:pt x="36645" y="154553"/>
                    <a:pt x="43613" y="154173"/>
                    <a:pt x="49187" y="153033"/>
                  </a:cubicBezTo>
                  <a:cubicBezTo>
                    <a:pt x="58562" y="151133"/>
                    <a:pt x="68190" y="149612"/>
                    <a:pt x="77691" y="149106"/>
                  </a:cubicBezTo>
                  <a:cubicBezTo>
                    <a:pt x="88079" y="148472"/>
                    <a:pt x="98340" y="149486"/>
                    <a:pt x="107841" y="144925"/>
                  </a:cubicBezTo>
                  <a:cubicBezTo>
                    <a:pt x="117722" y="140238"/>
                    <a:pt x="128997" y="138971"/>
                    <a:pt x="139892" y="138591"/>
                  </a:cubicBezTo>
                  <a:cubicBezTo>
                    <a:pt x="148253" y="138337"/>
                    <a:pt x="156614" y="139858"/>
                    <a:pt x="164975" y="138717"/>
                  </a:cubicBezTo>
                  <a:cubicBezTo>
                    <a:pt x="168395" y="138337"/>
                    <a:pt x="171056" y="137324"/>
                    <a:pt x="174350" y="137831"/>
                  </a:cubicBezTo>
                  <a:cubicBezTo>
                    <a:pt x="178023" y="138337"/>
                    <a:pt x="181444" y="139478"/>
                    <a:pt x="185371" y="139478"/>
                  </a:cubicBezTo>
                  <a:cubicBezTo>
                    <a:pt x="196899" y="139478"/>
                    <a:pt x="204373" y="132130"/>
                    <a:pt x="210707" y="123262"/>
                  </a:cubicBezTo>
                  <a:cubicBezTo>
                    <a:pt x="217802" y="113254"/>
                    <a:pt x="224769" y="103373"/>
                    <a:pt x="233130" y="94379"/>
                  </a:cubicBezTo>
                  <a:cubicBezTo>
                    <a:pt x="242124" y="84624"/>
                    <a:pt x="252892" y="71956"/>
                    <a:pt x="265941" y="68029"/>
                  </a:cubicBezTo>
                  <a:cubicBezTo>
                    <a:pt x="276329" y="64735"/>
                    <a:pt x="285830" y="70689"/>
                    <a:pt x="296091" y="71576"/>
                  </a:cubicBezTo>
                  <a:cubicBezTo>
                    <a:pt x="316360" y="73222"/>
                    <a:pt x="343217" y="56501"/>
                    <a:pt x="352465" y="38512"/>
                  </a:cubicBezTo>
                  <a:cubicBezTo>
                    <a:pt x="356519" y="30404"/>
                    <a:pt x="357152" y="19256"/>
                    <a:pt x="363360" y="12288"/>
                  </a:cubicBezTo>
                  <a:cubicBezTo>
                    <a:pt x="369694" y="5068"/>
                    <a:pt x="380715" y="7348"/>
                    <a:pt x="389203" y="5701"/>
                  </a:cubicBezTo>
                  <a:cubicBezTo>
                    <a:pt x="390470" y="5448"/>
                    <a:pt x="391610" y="5194"/>
                    <a:pt x="392623" y="4814"/>
                  </a:cubicBezTo>
                  <a:cubicBezTo>
                    <a:pt x="392877" y="4688"/>
                    <a:pt x="393257" y="4561"/>
                    <a:pt x="393510" y="4434"/>
                  </a:cubicBezTo>
                  <a:cubicBezTo>
                    <a:pt x="394523" y="4054"/>
                    <a:pt x="395284" y="3547"/>
                    <a:pt x="395917" y="3041"/>
                  </a:cubicBezTo>
                  <a:cubicBezTo>
                    <a:pt x="396170" y="2914"/>
                    <a:pt x="396424" y="2661"/>
                    <a:pt x="396550" y="2534"/>
                  </a:cubicBezTo>
                  <a:cubicBezTo>
                    <a:pt x="396804" y="2281"/>
                    <a:pt x="397057" y="2027"/>
                    <a:pt x="397310" y="1774"/>
                  </a:cubicBezTo>
                  <a:cubicBezTo>
                    <a:pt x="397564" y="1394"/>
                    <a:pt x="397690" y="1140"/>
                    <a:pt x="397817" y="887"/>
                  </a:cubicBezTo>
                  <a:cubicBezTo>
                    <a:pt x="397817" y="887"/>
                    <a:pt x="397944" y="760"/>
                    <a:pt x="397944" y="760"/>
                  </a:cubicBezTo>
                  <a:cubicBezTo>
                    <a:pt x="398071" y="507"/>
                    <a:pt x="398071" y="254"/>
                    <a:pt x="398197" y="0"/>
                  </a:cubicBezTo>
                  <a:cubicBezTo>
                    <a:pt x="398197" y="0"/>
                    <a:pt x="398197" y="0"/>
                    <a:pt x="398197" y="0"/>
                  </a:cubicBezTo>
                  <a:cubicBezTo>
                    <a:pt x="398957" y="127"/>
                    <a:pt x="407825" y="1140"/>
                    <a:pt x="404911" y="11022"/>
                  </a:cubicBezTo>
                  <a:cubicBezTo>
                    <a:pt x="401998" y="21283"/>
                    <a:pt x="404405" y="42059"/>
                    <a:pt x="415933" y="42692"/>
                  </a:cubicBezTo>
                  <a:cubicBezTo>
                    <a:pt x="427334" y="43326"/>
                    <a:pt x="438989" y="58148"/>
                    <a:pt x="444183" y="51307"/>
                  </a:cubicBezTo>
                  <a:cubicBezTo>
                    <a:pt x="449504" y="44339"/>
                    <a:pt x="459385" y="19256"/>
                    <a:pt x="469900" y="30150"/>
                  </a:cubicBezTo>
                  <a:cubicBezTo>
                    <a:pt x="480414" y="41045"/>
                    <a:pt x="485355" y="45733"/>
                    <a:pt x="492702" y="47253"/>
                  </a:cubicBezTo>
                  <a:cubicBezTo>
                    <a:pt x="500050" y="48900"/>
                    <a:pt x="525007" y="50167"/>
                    <a:pt x="517406" y="70942"/>
                  </a:cubicBezTo>
                  <a:cubicBezTo>
                    <a:pt x="511325" y="87664"/>
                    <a:pt x="508791" y="96659"/>
                    <a:pt x="500177" y="103500"/>
                  </a:cubicBezTo>
                  <a:lnTo>
                    <a:pt x="500177" y="103500"/>
                  </a:lnTo>
                  <a:cubicBezTo>
                    <a:pt x="498023" y="105147"/>
                    <a:pt x="495616" y="106667"/>
                    <a:pt x="492702" y="108187"/>
                  </a:cubicBezTo>
                  <a:cubicBezTo>
                    <a:pt x="477501" y="115788"/>
                    <a:pt x="454318" y="121995"/>
                    <a:pt x="458498" y="139604"/>
                  </a:cubicBezTo>
                  <a:cubicBezTo>
                    <a:pt x="462679" y="157087"/>
                    <a:pt x="462045" y="173808"/>
                    <a:pt x="470533" y="192431"/>
                  </a:cubicBezTo>
                  <a:cubicBezTo>
                    <a:pt x="479148" y="210927"/>
                    <a:pt x="483075" y="248805"/>
                    <a:pt x="498276" y="241204"/>
                  </a:cubicBezTo>
                  <a:cubicBezTo>
                    <a:pt x="513478" y="233603"/>
                    <a:pt x="523740" y="170768"/>
                    <a:pt x="541982" y="203452"/>
                  </a:cubicBezTo>
                  <a:lnTo>
                    <a:pt x="541982" y="203452"/>
                  </a:lnTo>
                  <a:cubicBezTo>
                    <a:pt x="541729" y="203959"/>
                    <a:pt x="541602" y="204466"/>
                    <a:pt x="541349" y="204973"/>
                  </a:cubicBezTo>
                  <a:cubicBezTo>
                    <a:pt x="540969" y="205986"/>
                    <a:pt x="540715" y="207126"/>
                    <a:pt x="540462" y="208266"/>
                  </a:cubicBezTo>
                  <a:cubicBezTo>
                    <a:pt x="539828" y="211433"/>
                    <a:pt x="539575" y="214727"/>
                    <a:pt x="539702" y="218147"/>
                  </a:cubicBezTo>
                  <a:cubicBezTo>
                    <a:pt x="539702" y="219288"/>
                    <a:pt x="539702" y="220428"/>
                    <a:pt x="539828" y="221568"/>
                  </a:cubicBezTo>
                  <a:lnTo>
                    <a:pt x="539828" y="221821"/>
                  </a:lnTo>
                  <a:cubicBezTo>
                    <a:pt x="539955" y="223341"/>
                    <a:pt x="540082" y="224861"/>
                    <a:pt x="540208" y="226382"/>
                  </a:cubicBezTo>
                  <a:lnTo>
                    <a:pt x="540208" y="226762"/>
                  </a:lnTo>
                  <a:cubicBezTo>
                    <a:pt x="540335" y="228282"/>
                    <a:pt x="540462" y="229802"/>
                    <a:pt x="540589" y="231322"/>
                  </a:cubicBezTo>
                  <a:cubicBezTo>
                    <a:pt x="540715" y="232969"/>
                    <a:pt x="540715" y="234616"/>
                    <a:pt x="540842" y="236263"/>
                  </a:cubicBezTo>
                  <a:cubicBezTo>
                    <a:pt x="541095" y="257419"/>
                    <a:pt x="535901" y="280095"/>
                    <a:pt x="542489" y="300618"/>
                  </a:cubicBezTo>
                  <a:cubicBezTo>
                    <a:pt x="549203" y="321520"/>
                    <a:pt x="566305" y="337229"/>
                    <a:pt x="576693" y="356105"/>
                  </a:cubicBezTo>
                  <a:cubicBezTo>
                    <a:pt x="581507" y="364973"/>
                    <a:pt x="585181" y="374854"/>
                    <a:pt x="591895" y="382455"/>
                  </a:cubicBezTo>
                  <a:cubicBezTo>
                    <a:pt x="598736" y="390309"/>
                    <a:pt x="608237" y="395123"/>
                    <a:pt x="614571" y="403484"/>
                  </a:cubicBezTo>
                  <a:cubicBezTo>
                    <a:pt x="622806" y="413619"/>
                    <a:pt x="626859" y="428314"/>
                    <a:pt x="623692" y="44123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3" name="Полилиния: фигура 402">
              <a:extLst>
                <a:ext uri="{FF2B5EF4-FFF2-40B4-BE49-F238E27FC236}">
                  <a16:creationId xmlns:a16="http://schemas.microsoft.com/office/drawing/2014/main" id="{FAE0E034-5145-417A-87D8-CA367A05F399}"/>
                </a:ext>
              </a:extLst>
            </p:cNvPr>
            <p:cNvSpPr/>
            <p:nvPr/>
          </p:nvSpPr>
          <p:spPr>
            <a:xfrm>
              <a:off x="7505915" y="5462091"/>
              <a:ext cx="1791366" cy="1441778"/>
            </a:xfrm>
            <a:custGeom>
              <a:avLst/>
              <a:gdLst>
                <a:gd name="connsiteX0" fmla="*/ 1791016 w 1791366"/>
                <a:gd name="connsiteY0" fmla="*/ 461885 h 1441778"/>
                <a:gd name="connsiteX1" fmla="*/ 1779995 w 1791366"/>
                <a:gd name="connsiteY1" fmla="*/ 484687 h 1441778"/>
                <a:gd name="connsiteX2" fmla="*/ 1749971 w 1791366"/>
                <a:gd name="connsiteY2" fmla="*/ 495835 h 1441778"/>
                <a:gd name="connsiteX3" fmla="*/ 1724761 w 1791366"/>
                <a:gd name="connsiteY3" fmla="*/ 498876 h 1441778"/>
                <a:gd name="connsiteX4" fmla="*/ 1699171 w 1791366"/>
                <a:gd name="connsiteY4" fmla="*/ 512684 h 1441778"/>
                <a:gd name="connsiteX5" fmla="*/ 1673075 w 1791366"/>
                <a:gd name="connsiteY5" fmla="*/ 547649 h 1441778"/>
                <a:gd name="connsiteX6" fmla="*/ 1647611 w 1791366"/>
                <a:gd name="connsiteY6" fmla="*/ 580079 h 1441778"/>
                <a:gd name="connsiteX7" fmla="*/ 1619615 w 1791366"/>
                <a:gd name="connsiteY7" fmla="*/ 625178 h 1441778"/>
                <a:gd name="connsiteX8" fmla="*/ 1583637 w 1791366"/>
                <a:gd name="connsiteY8" fmla="*/ 650135 h 1441778"/>
                <a:gd name="connsiteX9" fmla="*/ 1551460 w 1791366"/>
                <a:gd name="connsiteY9" fmla="*/ 672431 h 1441778"/>
                <a:gd name="connsiteX10" fmla="*/ 1557414 w 1791366"/>
                <a:gd name="connsiteY10" fmla="*/ 706255 h 1441778"/>
                <a:gd name="connsiteX11" fmla="*/ 1572362 w 1791366"/>
                <a:gd name="connsiteY11" fmla="*/ 718163 h 1441778"/>
                <a:gd name="connsiteX12" fmla="*/ 1585157 w 1791366"/>
                <a:gd name="connsiteY12" fmla="*/ 732858 h 1441778"/>
                <a:gd name="connsiteX13" fmla="*/ 1619235 w 1791366"/>
                <a:gd name="connsiteY13" fmla="*/ 758702 h 1441778"/>
                <a:gd name="connsiteX14" fmla="*/ 1615941 w 1791366"/>
                <a:gd name="connsiteY14" fmla="*/ 800634 h 1441778"/>
                <a:gd name="connsiteX15" fmla="*/ 1603526 w 1791366"/>
                <a:gd name="connsiteY15" fmla="*/ 819256 h 1441778"/>
                <a:gd name="connsiteX16" fmla="*/ 1599219 w 1791366"/>
                <a:gd name="connsiteY16" fmla="*/ 841299 h 1441778"/>
                <a:gd name="connsiteX17" fmla="*/ 1546519 w 1791366"/>
                <a:gd name="connsiteY17" fmla="*/ 889691 h 1441778"/>
                <a:gd name="connsiteX18" fmla="*/ 1514722 w 1791366"/>
                <a:gd name="connsiteY18" fmla="*/ 903500 h 1441778"/>
                <a:gd name="connsiteX19" fmla="*/ 1485331 w 1791366"/>
                <a:gd name="connsiteY19" fmla="*/ 914775 h 1441778"/>
                <a:gd name="connsiteX20" fmla="*/ 1458601 w 1791366"/>
                <a:gd name="connsiteY20" fmla="*/ 920349 h 1441778"/>
                <a:gd name="connsiteX21" fmla="*/ 1442260 w 1791366"/>
                <a:gd name="connsiteY21" fmla="*/ 948725 h 1441778"/>
                <a:gd name="connsiteX22" fmla="*/ 1412996 w 1791366"/>
                <a:gd name="connsiteY22" fmla="*/ 959620 h 1441778"/>
                <a:gd name="connsiteX23" fmla="*/ 1380565 w 1791366"/>
                <a:gd name="connsiteY23" fmla="*/ 961267 h 1441778"/>
                <a:gd name="connsiteX24" fmla="*/ 1359283 w 1791366"/>
                <a:gd name="connsiteY24" fmla="*/ 987997 h 1441778"/>
                <a:gd name="connsiteX25" fmla="*/ 1335466 w 1791366"/>
                <a:gd name="connsiteY25" fmla="*/ 1026508 h 1441778"/>
                <a:gd name="connsiteX26" fmla="*/ 1294801 w 1791366"/>
                <a:gd name="connsiteY26" fmla="*/ 1047031 h 1441778"/>
                <a:gd name="connsiteX27" fmla="*/ 1283273 w 1791366"/>
                <a:gd name="connsiteY27" fmla="*/ 1067554 h 1441778"/>
                <a:gd name="connsiteX28" fmla="*/ 1266297 w 1791366"/>
                <a:gd name="connsiteY28" fmla="*/ 1078955 h 1441778"/>
                <a:gd name="connsiteX29" fmla="*/ 1236401 w 1791366"/>
                <a:gd name="connsiteY29" fmla="*/ 1066287 h 1441778"/>
                <a:gd name="connsiteX30" fmla="*/ 1204476 w 1791366"/>
                <a:gd name="connsiteY30" fmla="*/ 1076928 h 1441778"/>
                <a:gd name="connsiteX31" fmla="*/ 1168498 w 1791366"/>
                <a:gd name="connsiteY31" fmla="*/ 1101885 h 1441778"/>
                <a:gd name="connsiteX32" fmla="*/ 1141389 w 1791366"/>
                <a:gd name="connsiteY32" fmla="*/ 1129755 h 1441778"/>
                <a:gd name="connsiteX33" fmla="*/ 1093249 w 1791366"/>
                <a:gd name="connsiteY33" fmla="*/ 1136595 h 1441778"/>
                <a:gd name="connsiteX34" fmla="*/ 1059172 w 1791366"/>
                <a:gd name="connsiteY34" fmla="*/ 1136849 h 1441778"/>
                <a:gd name="connsiteX35" fmla="*/ 1046377 w 1791366"/>
                <a:gd name="connsiteY35" fmla="*/ 1169533 h 1441778"/>
                <a:gd name="connsiteX36" fmla="*/ 1063732 w 1791366"/>
                <a:gd name="connsiteY36" fmla="*/ 1194236 h 1441778"/>
                <a:gd name="connsiteX37" fmla="*/ 1048277 w 1791366"/>
                <a:gd name="connsiteY37" fmla="*/ 1220840 h 1441778"/>
                <a:gd name="connsiteX38" fmla="*/ 1040043 w 1791366"/>
                <a:gd name="connsiteY38" fmla="*/ 1238068 h 1441778"/>
                <a:gd name="connsiteX39" fmla="*/ 1041056 w 1791366"/>
                <a:gd name="connsiteY39" fmla="*/ 1253650 h 1441778"/>
                <a:gd name="connsiteX40" fmla="*/ 1019520 w 1791366"/>
                <a:gd name="connsiteY40" fmla="*/ 1283420 h 1441778"/>
                <a:gd name="connsiteX41" fmla="*/ 1035355 w 1791366"/>
                <a:gd name="connsiteY41" fmla="*/ 1302170 h 1441778"/>
                <a:gd name="connsiteX42" fmla="*/ 1066266 w 1791366"/>
                <a:gd name="connsiteY42" fmla="*/ 1297102 h 1441778"/>
                <a:gd name="connsiteX43" fmla="*/ 1087041 w 1791366"/>
                <a:gd name="connsiteY43" fmla="*/ 1303056 h 1441778"/>
                <a:gd name="connsiteX44" fmla="*/ 1032695 w 1791366"/>
                <a:gd name="connsiteY44" fmla="*/ 1350056 h 1441778"/>
                <a:gd name="connsiteX45" fmla="*/ 1000264 w 1791366"/>
                <a:gd name="connsiteY45" fmla="*/ 1357023 h 1441778"/>
                <a:gd name="connsiteX46" fmla="*/ 996717 w 1791366"/>
                <a:gd name="connsiteY46" fmla="*/ 1389074 h 1441778"/>
                <a:gd name="connsiteX47" fmla="*/ 994436 w 1791366"/>
                <a:gd name="connsiteY47" fmla="*/ 1421125 h 1441778"/>
                <a:gd name="connsiteX48" fmla="*/ 994057 w 1791366"/>
                <a:gd name="connsiteY48" fmla="*/ 1432779 h 1441778"/>
                <a:gd name="connsiteX49" fmla="*/ 982149 w 1791366"/>
                <a:gd name="connsiteY49" fmla="*/ 1432272 h 1441778"/>
                <a:gd name="connsiteX50" fmla="*/ 955925 w 1791366"/>
                <a:gd name="connsiteY50" fmla="*/ 1441013 h 1441778"/>
                <a:gd name="connsiteX51" fmla="*/ 921594 w 1791366"/>
                <a:gd name="connsiteY51" fmla="*/ 1435186 h 1441778"/>
                <a:gd name="connsiteX52" fmla="*/ 882196 w 1791366"/>
                <a:gd name="connsiteY52" fmla="*/ 1396041 h 1441778"/>
                <a:gd name="connsiteX53" fmla="*/ 841784 w 1791366"/>
                <a:gd name="connsiteY53" fmla="*/ 1364751 h 1441778"/>
                <a:gd name="connsiteX54" fmla="*/ 785284 w 1791366"/>
                <a:gd name="connsiteY54" fmla="*/ 1363611 h 1441778"/>
                <a:gd name="connsiteX55" fmla="*/ 738285 w 1791366"/>
                <a:gd name="connsiteY55" fmla="*/ 1365638 h 1441778"/>
                <a:gd name="connsiteX56" fmla="*/ 650114 w 1791366"/>
                <a:gd name="connsiteY56" fmla="*/ 1390340 h 1441778"/>
                <a:gd name="connsiteX57" fmla="*/ 623384 w 1791366"/>
                <a:gd name="connsiteY57" fmla="*/ 1408583 h 1441778"/>
                <a:gd name="connsiteX58" fmla="*/ 584619 w 1791366"/>
                <a:gd name="connsiteY58" fmla="*/ 1416564 h 1441778"/>
                <a:gd name="connsiteX59" fmla="*/ 570810 w 1791366"/>
                <a:gd name="connsiteY59" fmla="*/ 1426192 h 1441778"/>
                <a:gd name="connsiteX60" fmla="*/ 554849 w 1791366"/>
                <a:gd name="connsiteY60" fmla="*/ 1425432 h 1441778"/>
                <a:gd name="connsiteX61" fmla="*/ 521911 w 1791366"/>
                <a:gd name="connsiteY61" fmla="*/ 1425685 h 1441778"/>
                <a:gd name="connsiteX62" fmla="*/ 493407 w 1791366"/>
                <a:gd name="connsiteY62" fmla="*/ 1407443 h 1441778"/>
                <a:gd name="connsiteX63" fmla="*/ 446915 w 1791366"/>
                <a:gd name="connsiteY63" fmla="*/ 1395408 h 1441778"/>
                <a:gd name="connsiteX64" fmla="*/ 416891 w 1791366"/>
                <a:gd name="connsiteY64" fmla="*/ 1366398 h 1441778"/>
                <a:gd name="connsiteX65" fmla="*/ 381673 w 1791366"/>
                <a:gd name="connsiteY65" fmla="*/ 1298116 h 1441778"/>
                <a:gd name="connsiteX66" fmla="*/ 361024 w 1791366"/>
                <a:gd name="connsiteY66" fmla="*/ 1218179 h 1441778"/>
                <a:gd name="connsiteX67" fmla="*/ 281214 w 1791366"/>
                <a:gd name="connsiteY67" fmla="*/ 1191576 h 1441778"/>
                <a:gd name="connsiteX68" fmla="*/ 200391 w 1791366"/>
                <a:gd name="connsiteY68" fmla="*/ 1160792 h 1441778"/>
                <a:gd name="connsiteX69" fmla="*/ 166060 w 1791366"/>
                <a:gd name="connsiteY69" fmla="*/ 1162186 h 1441778"/>
                <a:gd name="connsiteX70" fmla="*/ 134009 w 1791366"/>
                <a:gd name="connsiteY70" fmla="*/ 1145717 h 1441778"/>
                <a:gd name="connsiteX71" fmla="*/ 96004 w 1791366"/>
                <a:gd name="connsiteY71" fmla="*/ 1123547 h 1441778"/>
                <a:gd name="connsiteX72" fmla="*/ 57240 w 1791366"/>
                <a:gd name="connsiteY72" fmla="*/ 1118987 h 1441778"/>
                <a:gd name="connsiteX73" fmla="*/ 8974 w 1791366"/>
                <a:gd name="connsiteY73" fmla="*/ 1083009 h 1441778"/>
                <a:gd name="connsiteX74" fmla="*/ 8213 w 1791366"/>
                <a:gd name="connsiteY74" fmla="*/ 1081109 h 1441778"/>
                <a:gd name="connsiteX75" fmla="*/ 866 w 1791366"/>
                <a:gd name="connsiteY75" fmla="*/ 1065020 h 1441778"/>
                <a:gd name="connsiteX76" fmla="*/ 9987 w 1791366"/>
                <a:gd name="connsiteY76" fmla="*/ 1029169 h 1441778"/>
                <a:gd name="connsiteX77" fmla="*/ 13534 w 1791366"/>
                <a:gd name="connsiteY77" fmla="*/ 1003199 h 1441778"/>
                <a:gd name="connsiteX78" fmla="*/ 13027 w 1791366"/>
                <a:gd name="connsiteY78" fmla="*/ 985083 h 1441778"/>
                <a:gd name="connsiteX79" fmla="*/ 12394 w 1791366"/>
                <a:gd name="connsiteY79" fmla="*/ 954046 h 1441778"/>
                <a:gd name="connsiteX80" fmla="*/ 28356 w 1791366"/>
                <a:gd name="connsiteY80" fmla="*/ 954553 h 1441778"/>
                <a:gd name="connsiteX81" fmla="*/ 44065 w 1791366"/>
                <a:gd name="connsiteY81" fmla="*/ 947712 h 1441778"/>
                <a:gd name="connsiteX82" fmla="*/ 44952 w 1791366"/>
                <a:gd name="connsiteY82" fmla="*/ 946825 h 1441778"/>
                <a:gd name="connsiteX83" fmla="*/ 46218 w 1791366"/>
                <a:gd name="connsiteY83" fmla="*/ 945052 h 1441778"/>
                <a:gd name="connsiteX84" fmla="*/ 47485 w 1791366"/>
                <a:gd name="connsiteY84" fmla="*/ 941378 h 1441778"/>
                <a:gd name="connsiteX85" fmla="*/ 100185 w 1791366"/>
                <a:gd name="connsiteY85" fmla="*/ 904007 h 1441778"/>
                <a:gd name="connsiteX86" fmla="*/ 148071 w 1791366"/>
                <a:gd name="connsiteY86" fmla="*/ 860174 h 1441778"/>
                <a:gd name="connsiteX87" fmla="*/ 176828 w 1791366"/>
                <a:gd name="connsiteY87" fmla="*/ 888171 h 1441778"/>
                <a:gd name="connsiteX88" fmla="*/ 230922 w 1791366"/>
                <a:gd name="connsiteY88" fmla="*/ 953159 h 1441778"/>
                <a:gd name="connsiteX89" fmla="*/ 283748 w 1791366"/>
                <a:gd name="connsiteY89" fmla="*/ 1003706 h 1441778"/>
                <a:gd name="connsiteX90" fmla="*/ 334548 w 1791366"/>
                <a:gd name="connsiteY90" fmla="*/ 1052478 h 1441778"/>
                <a:gd name="connsiteX91" fmla="*/ 402830 w 1791366"/>
                <a:gd name="connsiteY91" fmla="*/ 1073634 h 1441778"/>
                <a:gd name="connsiteX92" fmla="*/ 423986 w 1791366"/>
                <a:gd name="connsiteY92" fmla="*/ 1112906 h 1441778"/>
                <a:gd name="connsiteX93" fmla="*/ 468831 w 1791366"/>
                <a:gd name="connsiteY93" fmla="*/ 1149517 h 1441778"/>
                <a:gd name="connsiteX94" fmla="*/ 480993 w 1791366"/>
                <a:gd name="connsiteY94" fmla="*/ 1185495 h 1441778"/>
                <a:gd name="connsiteX95" fmla="*/ 528245 w 1791366"/>
                <a:gd name="connsiteY95" fmla="*/ 1193729 h 1441778"/>
                <a:gd name="connsiteX96" fmla="*/ 553962 w 1791366"/>
                <a:gd name="connsiteY96" fmla="*/ 1235914 h 1441778"/>
                <a:gd name="connsiteX97" fmla="*/ 591586 w 1791366"/>
                <a:gd name="connsiteY97" fmla="*/ 1209818 h 1441778"/>
                <a:gd name="connsiteX98" fmla="*/ 622243 w 1791366"/>
                <a:gd name="connsiteY98" fmla="*/ 1181314 h 1441778"/>
                <a:gd name="connsiteX99" fmla="*/ 656448 w 1791366"/>
                <a:gd name="connsiteY99" fmla="*/ 1178147 h 1441778"/>
                <a:gd name="connsiteX100" fmla="*/ 733471 w 1791366"/>
                <a:gd name="connsiteY100" fmla="*/ 1152684 h 1441778"/>
                <a:gd name="connsiteX101" fmla="*/ 764128 w 1791366"/>
                <a:gd name="connsiteY101" fmla="*/ 1141283 h 1441778"/>
                <a:gd name="connsiteX102" fmla="*/ 779583 w 1791366"/>
                <a:gd name="connsiteY102" fmla="*/ 1101124 h 1441778"/>
                <a:gd name="connsiteX103" fmla="*/ 788704 w 1791366"/>
                <a:gd name="connsiteY103" fmla="*/ 1043104 h 1441778"/>
                <a:gd name="connsiteX104" fmla="*/ 828102 w 1791366"/>
                <a:gd name="connsiteY104" fmla="*/ 1016754 h 1441778"/>
                <a:gd name="connsiteX105" fmla="*/ 871808 w 1791366"/>
                <a:gd name="connsiteY105" fmla="*/ 991797 h 1441778"/>
                <a:gd name="connsiteX106" fmla="*/ 907406 w 1791366"/>
                <a:gd name="connsiteY106" fmla="*/ 952906 h 1441778"/>
                <a:gd name="connsiteX107" fmla="*/ 954912 w 1791366"/>
                <a:gd name="connsiteY107" fmla="*/ 934030 h 1441778"/>
                <a:gd name="connsiteX108" fmla="*/ 982528 w 1791366"/>
                <a:gd name="connsiteY108" fmla="*/ 887791 h 1441778"/>
                <a:gd name="connsiteX109" fmla="*/ 1003178 w 1791366"/>
                <a:gd name="connsiteY109" fmla="*/ 850040 h 1441778"/>
                <a:gd name="connsiteX110" fmla="*/ 1036876 w 1791366"/>
                <a:gd name="connsiteY110" fmla="*/ 813302 h 1441778"/>
                <a:gd name="connsiteX111" fmla="*/ 1022560 w 1791366"/>
                <a:gd name="connsiteY111" fmla="*/ 768456 h 1441778"/>
                <a:gd name="connsiteX112" fmla="*/ 1057525 w 1791366"/>
                <a:gd name="connsiteY112" fmla="*/ 740839 h 1441778"/>
                <a:gd name="connsiteX113" fmla="*/ 1095909 w 1791366"/>
                <a:gd name="connsiteY113" fmla="*/ 693587 h 1441778"/>
                <a:gd name="connsiteX114" fmla="*/ 1097177 w 1791366"/>
                <a:gd name="connsiteY114" fmla="*/ 628979 h 1441778"/>
                <a:gd name="connsiteX115" fmla="*/ 1094136 w 1791366"/>
                <a:gd name="connsiteY115" fmla="*/ 566651 h 1441778"/>
                <a:gd name="connsiteX116" fmla="*/ 1103890 w 1791366"/>
                <a:gd name="connsiteY116" fmla="*/ 504703 h 1441778"/>
                <a:gd name="connsiteX117" fmla="*/ 1098570 w 1791366"/>
                <a:gd name="connsiteY117" fmla="*/ 436041 h 1441778"/>
                <a:gd name="connsiteX118" fmla="*/ 1074880 w 1791366"/>
                <a:gd name="connsiteY118" fmla="*/ 394109 h 1441778"/>
                <a:gd name="connsiteX119" fmla="*/ 1041436 w 1791366"/>
                <a:gd name="connsiteY119" fmla="*/ 468092 h 1441778"/>
                <a:gd name="connsiteX120" fmla="*/ 1018126 w 1791366"/>
                <a:gd name="connsiteY120" fmla="*/ 566144 h 1441778"/>
                <a:gd name="connsiteX121" fmla="*/ 1016479 w 1791366"/>
                <a:gd name="connsiteY121" fmla="*/ 574759 h 1441778"/>
                <a:gd name="connsiteX122" fmla="*/ 990256 w 1791366"/>
                <a:gd name="connsiteY122" fmla="*/ 380428 h 1441778"/>
                <a:gd name="connsiteX123" fmla="*/ 1010019 w 1791366"/>
                <a:gd name="connsiteY123" fmla="*/ 339889 h 1441778"/>
                <a:gd name="connsiteX124" fmla="*/ 953645 w 1791366"/>
                <a:gd name="connsiteY124" fmla="*/ 277561 h 1441778"/>
                <a:gd name="connsiteX125" fmla="*/ 1004064 w 1791366"/>
                <a:gd name="connsiteY125" fmla="*/ 231322 h 1441778"/>
                <a:gd name="connsiteX126" fmla="*/ 1045363 w 1791366"/>
                <a:gd name="connsiteY126" fmla="*/ 222454 h 1441778"/>
                <a:gd name="connsiteX127" fmla="*/ 1098189 w 1791366"/>
                <a:gd name="connsiteY127" fmla="*/ 187490 h 1441778"/>
                <a:gd name="connsiteX128" fmla="*/ 1162164 w 1791366"/>
                <a:gd name="connsiteY128" fmla="*/ 196738 h 1441778"/>
                <a:gd name="connsiteX129" fmla="*/ 1194848 w 1791366"/>
                <a:gd name="connsiteY129" fmla="*/ 164054 h 1441778"/>
                <a:gd name="connsiteX130" fmla="*/ 1232726 w 1791366"/>
                <a:gd name="connsiteY130" fmla="*/ 134664 h 1441778"/>
                <a:gd name="connsiteX131" fmla="*/ 1278206 w 1791366"/>
                <a:gd name="connsiteY131" fmla="*/ 160000 h 1441778"/>
                <a:gd name="connsiteX132" fmla="*/ 1302909 w 1791366"/>
                <a:gd name="connsiteY132" fmla="*/ 139224 h 1441778"/>
                <a:gd name="connsiteX133" fmla="*/ 1340280 w 1791366"/>
                <a:gd name="connsiteY133" fmla="*/ 184450 h 1441778"/>
                <a:gd name="connsiteX134" fmla="*/ 1369924 w 1791366"/>
                <a:gd name="connsiteY134" fmla="*/ 170641 h 1441778"/>
                <a:gd name="connsiteX135" fmla="*/ 1407802 w 1791366"/>
                <a:gd name="connsiteY135" fmla="*/ 182169 h 1441778"/>
                <a:gd name="connsiteX136" fmla="*/ 1445046 w 1791366"/>
                <a:gd name="connsiteY136" fmla="*/ 185083 h 1441778"/>
                <a:gd name="connsiteX137" fmla="*/ 1484318 w 1791366"/>
                <a:gd name="connsiteY137" fmla="*/ 149106 h 1441778"/>
                <a:gd name="connsiteX138" fmla="*/ 1506741 w 1791366"/>
                <a:gd name="connsiteY138" fmla="*/ 139604 h 1441778"/>
                <a:gd name="connsiteX139" fmla="*/ 1522576 w 1791366"/>
                <a:gd name="connsiteY139" fmla="*/ 101980 h 1441778"/>
                <a:gd name="connsiteX140" fmla="*/ 1516369 w 1791366"/>
                <a:gd name="connsiteY140" fmla="*/ 60428 h 1441778"/>
                <a:gd name="connsiteX141" fmla="*/ 1570082 w 1791366"/>
                <a:gd name="connsiteY141" fmla="*/ 48520 h 1441778"/>
                <a:gd name="connsiteX142" fmla="*/ 1593138 w 1791366"/>
                <a:gd name="connsiteY142" fmla="*/ 0 h 1441778"/>
                <a:gd name="connsiteX143" fmla="*/ 1646599 w 1791366"/>
                <a:gd name="connsiteY143" fmla="*/ 33318 h 1441778"/>
                <a:gd name="connsiteX144" fmla="*/ 1595418 w 1791366"/>
                <a:gd name="connsiteY144" fmla="*/ 103247 h 1441778"/>
                <a:gd name="connsiteX145" fmla="*/ 1595418 w 1791366"/>
                <a:gd name="connsiteY145" fmla="*/ 103373 h 1441778"/>
                <a:gd name="connsiteX146" fmla="*/ 1595039 w 1791366"/>
                <a:gd name="connsiteY146" fmla="*/ 107427 h 1441778"/>
                <a:gd name="connsiteX147" fmla="*/ 1608720 w 1791366"/>
                <a:gd name="connsiteY147" fmla="*/ 148852 h 1441778"/>
                <a:gd name="connsiteX148" fmla="*/ 1653820 w 1791366"/>
                <a:gd name="connsiteY148" fmla="*/ 272747 h 1441778"/>
                <a:gd name="connsiteX149" fmla="*/ 1675609 w 1791366"/>
                <a:gd name="connsiteY149" fmla="*/ 325067 h 1441778"/>
                <a:gd name="connsiteX150" fmla="*/ 1707912 w 1791366"/>
                <a:gd name="connsiteY150" fmla="*/ 345337 h 1441778"/>
                <a:gd name="connsiteX151" fmla="*/ 1768087 w 1791366"/>
                <a:gd name="connsiteY151" fmla="*/ 368266 h 1441778"/>
                <a:gd name="connsiteX152" fmla="*/ 1786836 w 1791366"/>
                <a:gd name="connsiteY152" fmla="*/ 385115 h 1441778"/>
                <a:gd name="connsiteX153" fmla="*/ 1788990 w 1791366"/>
                <a:gd name="connsiteY153" fmla="*/ 415772 h 1441778"/>
                <a:gd name="connsiteX154" fmla="*/ 1791016 w 1791366"/>
                <a:gd name="connsiteY154" fmla="*/ 461885 h 14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91366" h="1441778">
                  <a:moveTo>
                    <a:pt x="1791016" y="461885"/>
                  </a:moveTo>
                  <a:cubicBezTo>
                    <a:pt x="1790383" y="471512"/>
                    <a:pt x="1788736" y="479493"/>
                    <a:pt x="1779995" y="484687"/>
                  </a:cubicBezTo>
                  <a:cubicBezTo>
                    <a:pt x="1771001" y="489881"/>
                    <a:pt x="1759979" y="493555"/>
                    <a:pt x="1749971" y="495835"/>
                  </a:cubicBezTo>
                  <a:cubicBezTo>
                    <a:pt x="1741610" y="497736"/>
                    <a:pt x="1732996" y="496849"/>
                    <a:pt x="1724761" y="498876"/>
                  </a:cubicBezTo>
                  <a:cubicBezTo>
                    <a:pt x="1715514" y="501156"/>
                    <a:pt x="1706392" y="506477"/>
                    <a:pt x="1699171" y="512684"/>
                  </a:cubicBezTo>
                  <a:cubicBezTo>
                    <a:pt x="1688023" y="522439"/>
                    <a:pt x="1682196" y="536374"/>
                    <a:pt x="1673075" y="547649"/>
                  </a:cubicBezTo>
                  <a:cubicBezTo>
                    <a:pt x="1664460" y="558290"/>
                    <a:pt x="1655593" y="568931"/>
                    <a:pt x="1647611" y="580079"/>
                  </a:cubicBezTo>
                  <a:cubicBezTo>
                    <a:pt x="1637223" y="594521"/>
                    <a:pt x="1631143" y="611497"/>
                    <a:pt x="1619615" y="625178"/>
                  </a:cubicBezTo>
                  <a:cubicBezTo>
                    <a:pt x="1609860" y="636833"/>
                    <a:pt x="1597446" y="644054"/>
                    <a:pt x="1583637" y="650135"/>
                  </a:cubicBezTo>
                  <a:cubicBezTo>
                    <a:pt x="1571982" y="655202"/>
                    <a:pt x="1557161" y="660016"/>
                    <a:pt x="1551460" y="672431"/>
                  </a:cubicBezTo>
                  <a:cubicBezTo>
                    <a:pt x="1546139" y="684086"/>
                    <a:pt x="1547533" y="697767"/>
                    <a:pt x="1557414" y="706255"/>
                  </a:cubicBezTo>
                  <a:cubicBezTo>
                    <a:pt x="1562228" y="710436"/>
                    <a:pt x="1567802" y="713476"/>
                    <a:pt x="1572362" y="718163"/>
                  </a:cubicBezTo>
                  <a:cubicBezTo>
                    <a:pt x="1576923" y="722850"/>
                    <a:pt x="1580343" y="728551"/>
                    <a:pt x="1585157" y="732858"/>
                  </a:cubicBezTo>
                  <a:cubicBezTo>
                    <a:pt x="1595799" y="742486"/>
                    <a:pt x="1612774" y="744640"/>
                    <a:pt x="1619235" y="758702"/>
                  </a:cubicBezTo>
                  <a:cubicBezTo>
                    <a:pt x="1625442" y="772130"/>
                    <a:pt x="1624049" y="788472"/>
                    <a:pt x="1615941" y="800634"/>
                  </a:cubicBezTo>
                  <a:cubicBezTo>
                    <a:pt x="1611887" y="806841"/>
                    <a:pt x="1606440" y="812289"/>
                    <a:pt x="1603526" y="819256"/>
                  </a:cubicBezTo>
                  <a:cubicBezTo>
                    <a:pt x="1600613" y="826223"/>
                    <a:pt x="1600613" y="833951"/>
                    <a:pt x="1599219" y="841299"/>
                  </a:cubicBezTo>
                  <a:cubicBezTo>
                    <a:pt x="1594405" y="865749"/>
                    <a:pt x="1570335" y="885384"/>
                    <a:pt x="1546519" y="889691"/>
                  </a:cubicBezTo>
                  <a:cubicBezTo>
                    <a:pt x="1534104" y="891972"/>
                    <a:pt x="1524983" y="895139"/>
                    <a:pt x="1514722" y="903500"/>
                  </a:cubicBezTo>
                  <a:cubicBezTo>
                    <a:pt x="1504841" y="911608"/>
                    <a:pt x="1498507" y="917308"/>
                    <a:pt x="1485331" y="914775"/>
                  </a:cubicBezTo>
                  <a:cubicBezTo>
                    <a:pt x="1473803" y="912621"/>
                    <a:pt x="1466963" y="909581"/>
                    <a:pt x="1458601" y="920349"/>
                  </a:cubicBezTo>
                  <a:cubicBezTo>
                    <a:pt x="1451888" y="928963"/>
                    <a:pt x="1447834" y="939351"/>
                    <a:pt x="1442260" y="948725"/>
                  </a:cubicBezTo>
                  <a:cubicBezTo>
                    <a:pt x="1435545" y="959620"/>
                    <a:pt x="1424777" y="960127"/>
                    <a:pt x="1412996" y="959620"/>
                  </a:cubicBezTo>
                  <a:cubicBezTo>
                    <a:pt x="1402735" y="959113"/>
                    <a:pt x="1390066" y="955693"/>
                    <a:pt x="1380565" y="961267"/>
                  </a:cubicBezTo>
                  <a:cubicBezTo>
                    <a:pt x="1371697" y="966461"/>
                    <a:pt x="1363843" y="979002"/>
                    <a:pt x="1359283" y="987997"/>
                  </a:cubicBezTo>
                  <a:cubicBezTo>
                    <a:pt x="1352568" y="1001425"/>
                    <a:pt x="1346994" y="1016374"/>
                    <a:pt x="1335466" y="1026508"/>
                  </a:cubicBezTo>
                  <a:cubicBezTo>
                    <a:pt x="1322924" y="1037530"/>
                    <a:pt x="1305062" y="1031829"/>
                    <a:pt x="1294801" y="1047031"/>
                  </a:cubicBezTo>
                  <a:cubicBezTo>
                    <a:pt x="1290620" y="1053239"/>
                    <a:pt x="1288213" y="1062106"/>
                    <a:pt x="1283273" y="1067554"/>
                  </a:cubicBezTo>
                  <a:cubicBezTo>
                    <a:pt x="1279092" y="1072114"/>
                    <a:pt x="1271745" y="1076421"/>
                    <a:pt x="1266297" y="1078955"/>
                  </a:cubicBezTo>
                  <a:cubicBezTo>
                    <a:pt x="1252109" y="1085669"/>
                    <a:pt x="1247928" y="1070847"/>
                    <a:pt x="1236401" y="1066287"/>
                  </a:cubicBezTo>
                  <a:cubicBezTo>
                    <a:pt x="1224239" y="1061600"/>
                    <a:pt x="1213851" y="1070214"/>
                    <a:pt x="1204476" y="1076928"/>
                  </a:cubicBezTo>
                  <a:cubicBezTo>
                    <a:pt x="1192695" y="1085542"/>
                    <a:pt x="1179140" y="1091877"/>
                    <a:pt x="1168498" y="1101885"/>
                  </a:cubicBezTo>
                  <a:cubicBezTo>
                    <a:pt x="1158871" y="1111006"/>
                    <a:pt x="1153424" y="1123167"/>
                    <a:pt x="1141389" y="1129755"/>
                  </a:cubicBezTo>
                  <a:cubicBezTo>
                    <a:pt x="1126947" y="1137736"/>
                    <a:pt x="1109338" y="1139256"/>
                    <a:pt x="1093249" y="1136595"/>
                  </a:cubicBezTo>
                  <a:cubicBezTo>
                    <a:pt x="1082101" y="1134822"/>
                    <a:pt x="1069179" y="1129121"/>
                    <a:pt x="1059172" y="1136849"/>
                  </a:cubicBezTo>
                  <a:cubicBezTo>
                    <a:pt x="1050684" y="1143563"/>
                    <a:pt x="1044476" y="1158765"/>
                    <a:pt x="1046377" y="1169533"/>
                  </a:cubicBezTo>
                  <a:cubicBezTo>
                    <a:pt x="1048277" y="1180174"/>
                    <a:pt x="1059678" y="1184735"/>
                    <a:pt x="1063732" y="1194236"/>
                  </a:cubicBezTo>
                  <a:cubicBezTo>
                    <a:pt x="1069053" y="1206651"/>
                    <a:pt x="1055371" y="1213112"/>
                    <a:pt x="1048277" y="1220840"/>
                  </a:cubicBezTo>
                  <a:cubicBezTo>
                    <a:pt x="1043716" y="1225780"/>
                    <a:pt x="1040676" y="1231354"/>
                    <a:pt x="1040043" y="1238068"/>
                  </a:cubicBezTo>
                  <a:cubicBezTo>
                    <a:pt x="1039535" y="1243389"/>
                    <a:pt x="1041563" y="1248583"/>
                    <a:pt x="1041056" y="1253650"/>
                  </a:cubicBezTo>
                  <a:cubicBezTo>
                    <a:pt x="1039916" y="1265432"/>
                    <a:pt x="1024460" y="1272906"/>
                    <a:pt x="1019520" y="1283420"/>
                  </a:cubicBezTo>
                  <a:cubicBezTo>
                    <a:pt x="1013059" y="1297229"/>
                    <a:pt x="1022053" y="1304070"/>
                    <a:pt x="1035355" y="1302170"/>
                  </a:cubicBezTo>
                  <a:cubicBezTo>
                    <a:pt x="1045617" y="1300649"/>
                    <a:pt x="1056131" y="1298876"/>
                    <a:pt x="1066266" y="1297102"/>
                  </a:cubicBezTo>
                  <a:cubicBezTo>
                    <a:pt x="1073993" y="1295709"/>
                    <a:pt x="1089702" y="1290008"/>
                    <a:pt x="1087041" y="1303056"/>
                  </a:cubicBezTo>
                  <a:cubicBezTo>
                    <a:pt x="1081848" y="1328393"/>
                    <a:pt x="1057018" y="1346002"/>
                    <a:pt x="1032695" y="1350056"/>
                  </a:cubicBezTo>
                  <a:cubicBezTo>
                    <a:pt x="1021674" y="1351956"/>
                    <a:pt x="1009385" y="1348789"/>
                    <a:pt x="1000264" y="1357023"/>
                  </a:cubicBezTo>
                  <a:cubicBezTo>
                    <a:pt x="990383" y="1366144"/>
                    <a:pt x="994817" y="1377799"/>
                    <a:pt x="996717" y="1389074"/>
                  </a:cubicBezTo>
                  <a:cubicBezTo>
                    <a:pt x="998617" y="1400222"/>
                    <a:pt x="995070" y="1410230"/>
                    <a:pt x="994436" y="1421125"/>
                  </a:cubicBezTo>
                  <a:cubicBezTo>
                    <a:pt x="994184" y="1424925"/>
                    <a:pt x="994184" y="1428725"/>
                    <a:pt x="994057" y="1432779"/>
                  </a:cubicBezTo>
                  <a:cubicBezTo>
                    <a:pt x="990509" y="1432146"/>
                    <a:pt x="986582" y="1431892"/>
                    <a:pt x="982149" y="1432272"/>
                  </a:cubicBezTo>
                  <a:cubicBezTo>
                    <a:pt x="972140" y="1433033"/>
                    <a:pt x="965553" y="1439240"/>
                    <a:pt x="955925" y="1441013"/>
                  </a:cubicBezTo>
                  <a:cubicBezTo>
                    <a:pt x="944017" y="1443167"/>
                    <a:pt x="931982" y="1440633"/>
                    <a:pt x="921594" y="1435186"/>
                  </a:cubicBezTo>
                  <a:cubicBezTo>
                    <a:pt x="903605" y="1425685"/>
                    <a:pt x="891570" y="1414030"/>
                    <a:pt x="882196" y="1396041"/>
                  </a:cubicBezTo>
                  <a:cubicBezTo>
                    <a:pt x="872822" y="1378179"/>
                    <a:pt x="862180" y="1368551"/>
                    <a:pt x="841784" y="1364751"/>
                  </a:cubicBezTo>
                  <a:cubicBezTo>
                    <a:pt x="823288" y="1361204"/>
                    <a:pt x="804160" y="1366144"/>
                    <a:pt x="785284" y="1363611"/>
                  </a:cubicBezTo>
                  <a:cubicBezTo>
                    <a:pt x="768942" y="1361457"/>
                    <a:pt x="754500" y="1365764"/>
                    <a:pt x="738285" y="1365638"/>
                  </a:cubicBezTo>
                  <a:cubicBezTo>
                    <a:pt x="707121" y="1365384"/>
                    <a:pt x="677857" y="1377419"/>
                    <a:pt x="650114" y="1390340"/>
                  </a:cubicBezTo>
                  <a:cubicBezTo>
                    <a:pt x="639725" y="1395154"/>
                    <a:pt x="633012" y="1403516"/>
                    <a:pt x="623384" y="1408583"/>
                  </a:cubicBezTo>
                  <a:cubicBezTo>
                    <a:pt x="611476" y="1414917"/>
                    <a:pt x="596781" y="1410230"/>
                    <a:pt x="584619" y="1416564"/>
                  </a:cubicBezTo>
                  <a:cubicBezTo>
                    <a:pt x="579805" y="1419098"/>
                    <a:pt x="576005" y="1424292"/>
                    <a:pt x="570810" y="1426192"/>
                  </a:cubicBezTo>
                  <a:cubicBezTo>
                    <a:pt x="564350" y="1428725"/>
                    <a:pt x="561309" y="1426445"/>
                    <a:pt x="554849" y="1425432"/>
                  </a:cubicBezTo>
                  <a:cubicBezTo>
                    <a:pt x="543827" y="1423785"/>
                    <a:pt x="532679" y="1427712"/>
                    <a:pt x="521911" y="1425685"/>
                  </a:cubicBezTo>
                  <a:cubicBezTo>
                    <a:pt x="511016" y="1423658"/>
                    <a:pt x="501895" y="1413650"/>
                    <a:pt x="493407" y="1407443"/>
                  </a:cubicBezTo>
                  <a:cubicBezTo>
                    <a:pt x="478332" y="1396548"/>
                    <a:pt x="463890" y="1398575"/>
                    <a:pt x="446915" y="1395408"/>
                  </a:cubicBezTo>
                  <a:cubicBezTo>
                    <a:pt x="432600" y="1392747"/>
                    <a:pt x="424238" y="1378306"/>
                    <a:pt x="416891" y="1366398"/>
                  </a:cubicBezTo>
                  <a:cubicBezTo>
                    <a:pt x="404096" y="1345495"/>
                    <a:pt x="387628" y="1322186"/>
                    <a:pt x="381673" y="1298116"/>
                  </a:cubicBezTo>
                  <a:cubicBezTo>
                    <a:pt x="375212" y="1272399"/>
                    <a:pt x="382180" y="1237941"/>
                    <a:pt x="361024" y="1218179"/>
                  </a:cubicBezTo>
                  <a:cubicBezTo>
                    <a:pt x="339995" y="1198670"/>
                    <a:pt x="307184" y="1199177"/>
                    <a:pt x="281214" y="1191576"/>
                  </a:cubicBezTo>
                  <a:cubicBezTo>
                    <a:pt x="253851" y="1183595"/>
                    <a:pt x="229021" y="1164086"/>
                    <a:pt x="200391" y="1160792"/>
                  </a:cubicBezTo>
                  <a:cubicBezTo>
                    <a:pt x="188863" y="1159525"/>
                    <a:pt x="177588" y="1163072"/>
                    <a:pt x="166060" y="1162186"/>
                  </a:cubicBezTo>
                  <a:cubicBezTo>
                    <a:pt x="152885" y="1161299"/>
                    <a:pt x="143764" y="1153951"/>
                    <a:pt x="134009" y="1145717"/>
                  </a:cubicBezTo>
                  <a:cubicBezTo>
                    <a:pt x="122355" y="1135835"/>
                    <a:pt x="111206" y="1126841"/>
                    <a:pt x="96004" y="1123547"/>
                  </a:cubicBezTo>
                  <a:cubicBezTo>
                    <a:pt x="83336" y="1120760"/>
                    <a:pt x="69527" y="1123421"/>
                    <a:pt x="57240" y="1118987"/>
                  </a:cubicBezTo>
                  <a:cubicBezTo>
                    <a:pt x="45205" y="1114680"/>
                    <a:pt x="23668" y="1081362"/>
                    <a:pt x="8974" y="1083009"/>
                  </a:cubicBezTo>
                  <a:cubicBezTo>
                    <a:pt x="8720" y="1082375"/>
                    <a:pt x="8467" y="1081742"/>
                    <a:pt x="8213" y="1081109"/>
                  </a:cubicBezTo>
                  <a:cubicBezTo>
                    <a:pt x="5806" y="1075661"/>
                    <a:pt x="2386" y="1070721"/>
                    <a:pt x="866" y="1065020"/>
                  </a:cubicBezTo>
                  <a:cubicBezTo>
                    <a:pt x="-2935" y="1050705"/>
                    <a:pt x="6820" y="1042217"/>
                    <a:pt x="9987" y="1029169"/>
                  </a:cubicBezTo>
                  <a:cubicBezTo>
                    <a:pt x="12014" y="1020681"/>
                    <a:pt x="12647" y="1011813"/>
                    <a:pt x="13534" y="1003199"/>
                  </a:cubicBezTo>
                  <a:cubicBezTo>
                    <a:pt x="14167" y="997118"/>
                    <a:pt x="15054" y="991037"/>
                    <a:pt x="13027" y="985083"/>
                  </a:cubicBezTo>
                  <a:cubicBezTo>
                    <a:pt x="10367" y="977102"/>
                    <a:pt x="-1415" y="958353"/>
                    <a:pt x="12394" y="954046"/>
                  </a:cubicBezTo>
                  <a:cubicBezTo>
                    <a:pt x="17461" y="952526"/>
                    <a:pt x="23162" y="954680"/>
                    <a:pt x="28356" y="954553"/>
                  </a:cubicBezTo>
                  <a:cubicBezTo>
                    <a:pt x="34183" y="954426"/>
                    <a:pt x="40011" y="951892"/>
                    <a:pt x="44065" y="947712"/>
                  </a:cubicBezTo>
                  <a:cubicBezTo>
                    <a:pt x="44318" y="947332"/>
                    <a:pt x="44698" y="947078"/>
                    <a:pt x="44952" y="946825"/>
                  </a:cubicBezTo>
                  <a:cubicBezTo>
                    <a:pt x="45458" y="946192"/>
                    <a:pt x="45965" y="945558"/>
                    <a:pt x="46218" y="945052"/>
                  </a:cubicBezTo>
                  <a:cubicBezTo>
                    <a:pt x="47105" y="943658"/>
                    <a:pt x="47485" y="942518"/>
                    <a:pt x="47485" y="941378"/>
                  </a:cubicBezTo>
                  <a:cubicBezTo>
                    <a:pt x="47485" y="941378"/>
                    <a:pt x="87263" y="919842"/>
                    <a:pt x="100185" y="904007"/>
                  </a:cubicBezTo>
                  <a:cubicBezTo>
                    <a:pt x="113106" y="888171"/>
                    <a:pt x="131856" y="856121"/>
                    <a:pt x="148071" y="860174"/>
                  </a:cubicBezTo>
                  <a:cubicBezTo>
                    <a:pt x="164286" y="864102"/>
                    <a:pt x="171127" y="867775"/>
                    <a:pt x="176828" y="888171"/>
                  </a:cubicBezTo>
                  <a:cubicBezTo>
                    <a:pt x="182402" y="908567"/>
                    <a:pt x="204571" y="935424"/>
                    <a:pt x="230922" y="953159"/>
                  </a:cubicBezTo>
                  <a:cubicBezTo>
                    <a:pt x="257271" y="971022"/>
                    <a:pt x="274500" y="982803"/>
                    <a:pt x="283748" y="1003706"/>
                  </a:cubicBezTo>
                  <a:cubicBezTo>
                    <a:pt x="292995" y="1024482"/>
                    <a:pt x="315798" y="1054125"/>
                    <a:pt x="334548" y="1052478"/>
                  </a:cubicBezTo>
                  <a:cubicBezTo>
                    <a:pt x="353296" y="1050832"/>
                    <a:pt x="396875" y="1049565"/>
                    <a:pt x="402830" y="1073634"/>
                  </a:cubicBezTo>
                  <a:cubicBezTo>
                    <a:pt x="408783" y="1097704"/>
                    <a:pt x="410177" y="1109232"/>
                    <a:pt x="423986" y="1112906"/>
                  </a:cubicBezTo>
                  <a:cubicBezTo>
                    <a:pt x="437794" y="1116580"/>
                    <a:pt x="470098" y="1119494"/>
                    <a:pt x="468831" y="1149517"/>
                  </a:cubicBezTo>
                  <a:cubicBezTo>
                    <a:pt x="467564" y="1179541"/>
                    <a:pt x="464524" y="1187142"/>
                    <a:pt x="480993" y="1185495"/>
                  </a:cubicBezTo>
                  <a:cubicBezTo>
                    <a:pt x="497461" y="1183848"/>
                    <a:pt x="524571" y="1175614"/>
                    <a:pt x="528245" y="1193729"/>
                  </a:cubicBezTo>
                  <a:cubicBezTo>
                    <a:pt x="531919" y="1211845"/>
                    <a:pt x="537113" y="1248456"/>
                    <a:pt x="553962" y="1235914"/>
                  </a:cubicBezTo>
                  <a:cubicBezTo>
                    <a:pt x="570810" y="1223373"/>
                    <a:pt x="582718" y="1208171"/>
                    <a:pt x="591586" y="1209818"/>
                  </a:cubicBezTo>
                  <a:cubicBezTo>
                    <a:pt x="600454" y="1211465"/>
                    <a:pt x="623637" y="1204624"/>
                    <a:pt x="622243" y="1181314"/>
                  </a:cubicBezTo>
                  <a:cubicBezTo>
                    <a:pt x="633899" y="1181441"/>
                    <a:pt x="645553" y="1180428"/>
                    <a:pt x="656448" y="1178147"/>
                  </a:cubicBezTo>
                  <a:cubicBezTo>
                    <a:pt x="683051" y="1172700"/>
                    <a:pt x="706994" y="1158765"/>
                    <a:pt x="733471" y="1152684"/>
                  </a:cubicBezTo>
                  <a:cubicBezTo>
                    <a:pt x="744112" y="1150277"/>
                    <a:pt x="755767" y="1148757"/>
                    <a:pt x="764128" y="1141283"/>
                  </a:cubicBezTo>
                  <a:cubicBezTo>
                    <a:pt x="775022" y="1131528"/>
                    <a:pt x="777683" y="1114933"/>
                    <a:pt x="779583" y="1101124"/>
                  </a:cubicBezTo>
                  <a:cubicBezTo>
                    <a:pt x="782116" y="1082629"/>
                    <a:pt x="780723" y="1060333"/>
                    <a:pt x="788704" y="1043104"/>
                  </a:cubicBezTo>
                  <a:cubicBezTo>
                    <a:pt x="795546" y="1028409"/>
                    <a:pt x="811887" y="1017387"/>
                    <a:pt x="828102" y="1016754"/>
                  </a:cubicBezTo>
                  <a:cubicBezTo>
                    <a:pt x="849005" y="1015867"/>
                    <a:pt x="860913" y="1009406"/>
                    <a:pt x="871808" y="991797"/>
                  </a:cubicBezTo>
                  <a:cubicBezTo>
                    <a:pt x="880929" y="977102"/>
                    <a:pt x="891191" y="960380"/>
                    <a:pt x="907406" y="952906"/>
                  </a:cubicBezTo>
                  <a:cubicBezTo>
                    <a:pt x="923241" y="945558"/>
                    <a:pt x="940090" y="943531"/>
                    <a:pt x="954912" y="934030"/>
                  </a:cubicBezTo>
                  <a:cubicBezTo>
                    <a:pt x="973281" y="922249"/>
                    <a:pt x="977081" y="908314"/>
                    <a:pt x="982528" y="887791"/>
                  </a:cubicBezTo>
                  <a:cubicBezTo>
                    <a:pt x="986203" y="873729"/>
                    <a:pt x="989876" y="858021"/>
                    <a:pt x="1003178" y="850040"/>
                  </a:cubicBezTo>
                  <a:cubicBezTo>
                    <a:pt x="1016226" y="842312"/>
                    <a:pt x="1052838" y="835471"/>
                    <a:pt x="1036876" y="813302"/>
                  </a:cubicBezTo>
                  <a:cubicBezTo>
                    <a:pt x="1026107" y="798353"/>
                    <a:pt x="1009512" y="788979"/>
                    <a:pt x="1022560" y="768456"/>
                  </a:cubicBezTo>
                  <a:cubicBezTo>
                    <a:pt x="1030668" y="755661"/>
                    <a:pt x="1045743" y="749454"/>
                    <a:pt x="1057525" y="740839"/>
                  </a:cubicBezTo>
                  <a:cubicBezTo>
                    <a:pt x="1074373" y="728551"/>
                    <a:pt x="1089322" y="713856"/>
                    <a:pt x="1095909" y="693587"/>
                  </a:cubicBezTo>
                  <a:cubicBezTo>
                    <a:pt x="1102624" y="672684"/>
                    <a:pt x="1099963" y="650261"/>
                    <a:pt x="1097177" y="628979"/>
                  </a:cubicBezTo>
                  <a:cubicBezTo>
                    <a:pt x="1094516" y="608203"/>
                    <a:pt x="1091982" y="587554"/>
                    <a:pt x="1094136" y="566651"/>
                  </a:cubicBezTo>
                  <a:cubicBezTo>
                    <a:pt x="1096290" y="545875"/>
                    <a:pt x="1101737" y="525479"/>
                    <a:pt x="1103890" y="504703"/>
                  </a:cubicBezTo>
                  <a:cubicBezTo>
                    <a:pt x="1106171" y="481647"/>
                    <a:pt x="1104904" y="458338"/>
                    <a:pt x="1098570" y="436041"/>
                  </a:cubicBezTo>
                  <a:cubicBezTo>
                    <a:pt x="1095149" y="423880"/>
                    <a:pt x="1088309" y="399557"/>
                    <a:pt x="1074880" y="394109"/>
                  </a:cubicBezTo>
                  <a:cubicBezTo>
                    <a:pt x="1052457" y="384861"/>
                    <a:pt x="1044476" y="455804"/>
                    <a:pt x="1041436" y="468092"/>
                  </a:cubicBezTo>
                  <a:cubicBezTo>
                    <a:pt x="1033582" y="500903"/>
                    <a:pt x="1024081" y="532953"/>
                    <a:pt x="1018126" y="566144"/>
                  </a:cubicBezTo>
                  <a:cubicBezTo>
                    <a:pt x="1017620" y="568931"/>
                    <a:pt x="1017113" y="571845"/>
                    <a:pt x="1016479" y="574759"/>
                  </a:cubicBezTo>
                  <a:cubicBezTo>
                    <a:pt x="1015846" y="572732"/>
                    <a:pt x="965553" y="407031"/>
                    <a:pt x="990256" y="380428"/>
                  </a:cubicBezTo>
                  <a:cubicBezTo>
                    <a:pt x="1014959" y="353698"/>
                    <a:pt x="1032822" y="354965"/>
                    <a:pt x="1010019" y="339889"/>
                  </a:cubicBezTo>
                  <a:cubicBezTo>
                    <a:pt x="987215" y="324687"/>
                    <a:pt x="945664" y="306192"/>
                    <a:pt x="953645" y="277561"/>
                  </a:cubicBezTo>
                  <a:cubicBezTo>
                    <a:pt x="961626" y="248805"/>
                    <a:pt x="986582" y="231702"/>
                    <a:pt x="1004064" y="231322"/>
                  </a:cubicBezTo>
                  <a:cubicBezTo>
                    <a:pt x="1021547" y="231069"/>
                    <a:pt x="1029147" y="236643"/>
                    <a:pt x="1045363" y="222454"/>
                  </a:cubicBezTo>
                  <a:cubicBezTo>
                    <a:pt x="1061452" y="208266"/>
                    <a:pt x="1080581" y="188504"/>
                    <a:pt x="1098189" y="187490"/>
                  </a:cubicBezTo>
                  <a:cubicBezTo>
                    <a:pt x="1115672" y="186477"/>
                    <a:pt x="1148989" y="202946"/>
                    <a:pt x="1162164" y="196738"/>
                  </a:cubicBezTo>
                  <a:cubicBezTo>
                    <a:pt x="1175339" y="190531"/>
                    <a:pt x="1190161" y="180269"/>
                    <a:pt x="1194848" y="164054"/>
                  </a:cubicBezTo>
                  <a:cubicBezTo>
                    <a:pt x="1199409" y="147839"/>
                    <a:pt x="1216258" y="125796"/>
                    <a:pt x="1232726" y="134664"/>
                  </a:cubicBezTo>
                  <a:cubicBezTo>
                    <a:pt x="1249196" y="143531"/>
                    <a:pt x="1269971" y="174949"/>
                    <a:pt x="1278206" y="160000"/>
                  </a:cubicBezTo>
                  <a:cubicBezTo>
                    <a:pt x="1286440" y="145178"/>
                    <a:pt x="1293408" y="124782"/>
                    <a:pt x="1302909" y="139224"/>
                  </a:cubicBezTo>
                  <a:cubicBezTo>
                    <a:pt x="1312537" y="153793"/>
                    <a:pt x="1328372" y="183436"/>
                    <a:pt x="1340280" y="184450"/>
                  </a:cubicBezTo>
                  <a:cubicBezTo>
                    <a:pt x="1352188" y="185463"/>
                    <a:pt x="1358015" y="168995"/>
                    <a:pt x="1369924" y="170641"/>
                  </a:cubicBezTo>
                  <a:cubicBezTo>
                    <a:pt x="1381832" y="172288"/>
                    <a:pt x="1395641" y="177609"/>
                    <a:pt x="1407802" y="182169"/>
                  </a:cubicBezTo>
                  <a:cubicBezTo>
                    <a:pt x="1419963" y="186730"/>
                    <a:pt x="1429844" y="197372"/>
                    <a:pt x="1445046" y="185083"/>
                  </a:cubicBezTo>
                  <a:cubicBezTo>
                    <a:pt x="1460248" y="172795"/>
                    <a:pt x="1473423" y="148092"/>
                    <a:pt x="1484318" y="149106"/>
                  </a:cubicBezTo>
                  <a:cubicBezTo>
                    <a:pt x="1495213" y="150119"/>
                    <a:pt x="1500533" y="149486"/>
                    <a:pt x="1506741" y="139604"/>
                  </a:cubicBezTo>
                  <a:cubicBezTo>
                    <a:pt x="1513075" y="129723"/>
                    <a:pt x="1528530" y="112241"/>
                    <a:pt x="1522576" y="101980"/>
                  </a:cubicBezTo>
                  <a:cubicBezTo>
                    <a:pt x="1516622" y="91718"/>
                    <a:pt x="1501801" y="61061"/>
                    <a:pt x="1516369" y="60428"/>
                  </a:cubicBezTo>
                  <a:cubicBezTo>
                    <a:pt x="1530811" y="59794"/>
                    <a:pt x="1569195" y="62075"/>
                    <a:pt x="1570082" y="48520"/>
                  </a:cubicBezTo>
                  <a:cubicBezTo>
                    <a:pt x="1571095" y="34964"/>
                    <a:pt x="1574389" y="0"/>
                    <a:pt x="1593138" y="0"/>
                  </a:cubicBezTo>
                  <a:cubicBezTo>
                    <a:pt x="1611887" y="0"/>
                    <a:pt x="1664334" y="19382"/>
                    <a:pt x="1646599" y="33318"/>
                  </a:cubicBezTo>
                  <a:cubicBezTo>
                    <a:pt x="1628736" y="47126"/>
                    <a:pt x="1596559" y="73349"/>
                    <a:pt x="1595418" y="103247"/>
                  </a:cubicBezTo>
                  <a:cubicBezTo>
                    <a:pt x="1595418" y="103247"/>
                    <a:pt x="1595418" y="103247"/>
                    <a:pt x="1595418" y="103373"/>
                  </a:cubicBezTo>
                  <a:cubicBezTo>
                    <a:pt x="1595165" y="104640"/>
                    <a:pt x="1595039" y="106034"/>
                    <a:pt x="1595039" y="107427"/>
                  </a:cubicBezTo>
                  <a:cubicBezTo>
                    <a:pt x="1595165" y="121615"/>
                    <a:pt x="1603273" y="136057"/>
                    <a:pt x="1608720" y="148852"/>
                  </a:cubicBezTo>
                  <a:cubicBezTo>
                    <a:pt x="1626076" y="189264"/>
                    <a:pt x="1640644" y="230816"/>
                    <a:pt x="1653820" y="272747"/>
                  </a:cubicBezTo>
                  <a:cubicBezTo>
                    <a:pt x="1659393" y="290483"/>
                    <a:pt x="1664460" y="309866"/>
                    <a:pt x="1675609" y="325067"/>
                  </a:cubicBezTo>
                  <a:cubicBezTo>
                    <a:pt x="1683843" y="336342"/>
                    <a:pt x="1694738" y="341790"/>
                    <a:pt x="1707912" y="345337"/>
                  </a:cubicBezTo>
                  <a:cubicBezTo>
                    <a:pt x="1728689" y="351037"/>
                    <a:pt x="1748197" y="360412"/>
                    <a:pt x="1768087" y="368266"/>
                  </a:cubicBezTo>
                  <a:cubicBezTo>
                    <a:pt x="1779362" y="372827"/>
                    <a:pt x="1784809" y="372193"/>
                    <a:pt x="1786836" y="385115"/>
                  </a:cubicBezTo>
                  <a:cubicBezTo>
                    <a:pt x="1788482" y="395376"/>
                    <a:pt x="1788356" y="405511"/>
                    <a:pt x="1788990" y="415772"/>
                  </a:cubicBezTo>
                  <a:cubicBezTo>
                    <a:pt x="1790256" y="430847"/>
                    <a:pt x="1792157" y="446429"/>
                    <a:pt x="1791016" y="4618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4" name="Полилиния: фигура 403">
              <a:extLst>
                <a:ext uri="{FF2B5EF4-FFF2-40B4-BE49-F238E27FC236}">
                  <a16:creationId xmlns:a16="http://schemas.microsoft.com/office/drawing/2014/main" id="{862BDE50-8163-4A05-AE23-39B76CFAC5B4}"/>
                </a:ext>
              </a:extLst>
            </p:cNvPr>
            <p:cNvSpPr/>
            <p:nvPr/>
          </p:nvSpPr>
          <p:spPr>
            <a:xfrm>
              <a:off x="8499718" y="5233673"/>
              <a:ext cx="1383626" cy="1748746"/>
            </a:xfrm>
            <a:custGeom>
              <a:avLst/>
              <a:gdLst>
                <a:gd name="connsiteX0" fmla="*/ 1222867 w 1383626"/>
                <a:gd name="connsiteY0" fmla="*/ 885520 h 1748746"/>
                <a:gd name="connsiteX1" fmla="*/ 1280000 w 1383626"/>
                <a:gd name="connsiteY1" fmla="*/ 932899 h 1748746"/>
                <a:gd name="connsiteX2" fmla="*/ 1307870 w 1383626"/>
                <a:gd name="connsiteY2" fmla="*/ 1031965 h 1748746"/>
                <a:gd name="connsiteX3" fmla="*/ 1269865 w 1383626"/>
                <a:gd name="connsiteY3" fmla="*/ 1137365 h 1748746"/>
                <a:gd name="connsiteX4" fmla="*/ 1248710 w 1383626"/>
                <a:gd name="connsiteY4" fmla="*/ 1251506 h 1748746"/>
                <a:gd name="connsiteX5" fmla="*/ 1253903 w 1383626"/>
                <a:gd name="connsiteY5" fmla="*/ 1307246 h 1748746"/>
                <a:gd name="connsiteX6" fmla="*/ 1273666 w 1383626"/>
                <a:gd name="connsiteY6" fmla="*/ 1344998 h 1748746"/>
                <a:gd name="connsiteX7" fmla="*/ 1251496 w 1383626"/>
                <a:gd name="connsiteY7" fmla="*/ 1434562 h 1748746"/>
                <a:gd name="connsiteX8" fmla="*/ 1177768 w 1383626"/>
                <a:gd name="connsiteY8" fmla="*/ 1482575 h 1748746"/>
                <a:gd name="connsiteX9" fmla="*/ 1163832 w 1383626"/>
                <a:gd name="connsiteY9" fmla="*/ 1520326 h 1748746"/>
                <a:gd name="connsiteX10" fmla="*/ 1125575 w 1383626"/>
                <a:gd name="connsiteY10" fmla="*/ 1532868 h 1748746"/>
                <a:gd name="connsiteX11" fmla="*/ 1090863 w 1383626"/>
                <a:gd name="connsiteY11" fmla="*/ 1519946 h 1748746"/>
                <a:gd name="connsiteX12" fmla="*/ 1017894 w 1383626"/>
                <a:gd name="connsiteY12" fmla="*/ 1493976 h 1748746"/>
                <a:gd name="connsiteX13" fmla="*/ 947332 w 1383626"/>
                <a:gd name="connsiteY13" fmla="*/ 1483588 h 1748746"/>
                <a:gd name="connsiteX14" fmla="*/ 917308 w 1383626"/>
                <a:gd name="connsiteY14" fmla="*/ 1505504 h 1748746"/>
                <a:gd name="connsiteX15" fmla="*/ 871196 w 1383626"/>
                <a:gd name="connsiteY15" fmla="*/ 1521593 h 1748746"/>
                <a:gd name="connsiteX16" fmla="*/ 795313 w 1383626"/>
                <a:gd name="connsiteY16" fmla="*/ 1483208 h 1748746"/>
                <a:gd name="connsiteX17" fmla="*/ 716263 w 1383626"/>
                <a:gd name="connsiteY17" fmla="*/ 1484982 h 1748746"/>
                <a:gd name="connsiteX18" fmla="*/ 681425 w 1383626"/>
                <a:gd name="connsiteY18" fmla="*/ 1507151 h 1748746"/>
                <a:gd name="connsiteX19" fmla="*/ 642914 w 1383626"/>
                <a:gd name="connsiteY19" fmla="*/ 1535401 h 1748746"/>
                <a:gd name="connsiteX20" fmla="*/ 608836 w 1383626"/>
                <a:gd name="connsiteY20" fmla="*/ 1598869 h 1748746"/>
                <a:gd name="connsiteX21" fmla="*/ 570452 w 1383626"/>
                <a:gd name="connsiteY21" fmla="*/ 1657270 h 1748746"/>
                <a:gd name="connsiteX22" fmla="*/ 491401 w 1383626"/>
                <a:gd name="connsiteY22" fmla="*/ 1666644 h 1748746"/>
                <a:gd name="connsiteX23" fmla="*/ 429327 w 1383626"/>
                <a:gd name="connsiteY23" fmla="*/ 1704269 h 1748746"/>
                <a:gd name="connsiteX24" fmla="*/ 399937 w 1383626"/>
                <a:gd name="connsiteY24" fmla="*/ 1731252 h 1748746"/>
                <a:gd name="connsiteX25" fmla="*/ 322407 w 1383626"/>
                <a:gd name="connsiteY25" fmla="*/ 1743541 h 1748746"/>
                <a:gd name="connsiteX26" fmla="*/ 290356 w 1383626"/>
                <a:gd name="connsiteY26" fmla="*/ 1734926 h 1748746"/>
                <a:gd name="connsiteX27" fmla="*/ 265906 w 1383626"/>
                <a:gd name="connsiteY27" fmla="*/ 1747594 h 1748746"/>
                <a:gd name="connsiteX28" fmla="*/ 236263 w 1383626"/>
                <a:gd name="connsiteY28" fmla="*/ 1738600 h 1748746"/>
                <a:gd name="connsiteX29" fmla="*/ 171528 w 1383626"/>
                <a:gd name="connsiteY29" fmla="*/ 1733153 h 1748746"/>
                <a:gd name="connsiteX30" fmla="*/ 104259 w 1383626"/>
                <a:gd name="connsiteY30" fmla="*/ 1731886 h 1748746"/>
                <a:gd name="connsiteX31" fmla="*/ 35091 w 1383626"/>
                <a:gd name="connsiteY31" fmla="*/ 1690587 h 1748746"/>
                <a:gd name="connsiteX32" fmla="*/ 0 w 1383626"/>
                <a:gd name="connsiteY32" fmla="*/ 1661071 h 1748746"/>
                <a:gd name="connsiteX33" fmla="*/ 380 w 1383626"/>
                <a:gd name="connsiteY33" fmla="*/ 1649416 h 1748746"/>
                <a:gd name="connsiteX34" fmla="*/ 2661 w 1383626"/>
                <a:gd name="connsiteY34" fmla="*/ 1617365 h 1748746"/>
                <a:gd name="connsiteX35" fmla="*/ 6207 w 1383626"/>
                <a:gd name="connsiteY35" fmla="*/ 1585314 h 1748746"/>
                <a:gd name="connsiteX36" fmla="*/ 38638 w 1383626"/>
                <a:gd name="connsiteY36" fmla="*/ 1578347 h 1748746"/>
                <a:gd name="connsiteX37" fmla="*/ 92985 w 1383626"/>
                <a:gd name="connsiteY37" fmla="*/ 1531347 h 1748746"/>
                <a:gd name="connsiteX38" fmla="*/ 72209 w 1383626"/>
                <a:gd name="connsiteY38" fmla="*/ 1525393 h 1748746"/>
                <a:gd name="connsiteX39" fmla="*/ 41299 w 1383626"/>
                <a:gd name="connsiteY39" fmla="*/ 1530461 h 1748746"/>
                <a:gd name="connsiteX40" fmla="*/ 25463 w 1383626"/>
                <a:gd name="connsiteY40" fmla="*/ 1511712 h 1748746"/>
                <a:gd name="connsiteX41" fmla="*/ 46999 w 1383626"/>
                <a:gd name="connsiteY41" fmla="*/ 1481941 h 1748746"/>
                <a:gd name="connsiteX42" fmla="*/ 45986 w 1383626"/>
                <a:gd name="connsiteY42" fmla="*/ 1466359 h 1748746"/>
                <a:gd name="connsiteX43" fmla="*/ 54220 w 1383626"/>
                <a:gd name="connsiteY43" fmla="*/ 1449131 h 1748746"/>
                <a:gd name="connsiteX44" fmla="*/ 69675 w 1383626"/>
                <a:gd name="connsiteY44" fmla="*/ 1422527 h 1748746"/>
                <a:gd name="connsiteX45" fmla="*/ 52320 w 1383626"/>
                <a:gd name="connsiteY45" fmla="*/ 1397824 h 1748746"/>
                <a:gd name="connsiteX46" fmla="*/ 65115 w 1383626"/>
                <a:gd name="connsiteY46" fmla="*/ 1365140 h 1748746"/>
                <a:gd name="connsiteX47" fmla="*/ 99193 w 1383626"/>
                <a:gd name="connsiteY47" fmla="*/ 1364887 h 1748746"/>
                <a:gd name="connsiteX48" fmla="*/ 147332 w 1383626"/>
                <a:gd name="connsiteY48" fmla="*/ 1358046 h 1748746"/>
                <a:gd name="connsiteX49" fmla="*/ 174442 w 1383626"/>
                <a:gd name="connsiteY49" fmla="*/ 1330176 h 1748746"/>
                <a:gd name="connsiteX50" fmla="*/ 210419 w 1383626"/>
                <a:gd name="connsiteY50" fmla="*/ 1305219 h 1748746"/>
                <a:gd name="connsiteX51" fmla="*/ 242344 w 1383626"/>
                <a:gd name="connsiteY51" fmla="*/ 1294578 h 1748746"/>
                <a:gd name="connsiteX52" fmla="*/ 272241 w 1383626"/>
                <a:gd name="connsiteY52" fmla="*/ 1307246 h 1748746"/>
                <a:gd name="connsiteX53" fmla="*/ 289216 w 1383626"/>
                <a:gd name="connsiteY53" fmla="*/ 1295845 h 1748746"/>
                <a:gd name="connsiteX54" fmla="*/ 300744 w 1383626"/>
                <a:gd name="connsiteY54" fmla="*/ 1275322 h 1748746"/>
                <a:gd name="connsiteX55" fmla="*/ 341410 w 1383626"/>
                <a:gd name="connsiteY55" fmla="*/ 1254800 h 1748746"/>
                <a:gd name="connsiteX56" fmla="*/ 365226 w 1383626"/>
                <a:gd name="connsiteY56" fmla="*/ 1216288 h 1748746"/>
                <a:gd name="connsiteX57" fmla="*/ 386508 w 1383626"/>
                <a:gd name="connsiteY57" fmla="*/ 1189558 h 1748746"/>
                <a:gd name="connsiteX58" fmla="*/ 418939 w 1383626"/>
                <a:gd name="connsiteY58" fmla="*/ 1187911 h 1748746"/>
                <a:gd name="connsiteX59" fmla="*/ 448203 w 1383626"/>
                <a:gd name="connsiteY59" fmla="*/ 1177017 h 1748746"/>
                <a:gd name="connsiteX60" fmla="*/ 464545 w 1383626"/>
                <a:gd name="connsiteY60" fmla="*/ 1148640 h 1748746"/>
                <a:gd name="connsiteX61" fmla="*/ 491275 w 1383626"/>
                <a:gd name="connsiteY61" fmla="*/ 1143066 h 1748746"/>
                <a:gd name="connsiteX62" fmla="*/ 520666 w 1383626"/>
                <a:gd name="connsiteY62" fmla="*/ 1131791 h 1748746"/>
                <a:gd name="connsiteX63" fmla="*/ 552462 w 1383626"/>
                <a:gd name="connsiteY63" fmla="*/ 1117982 h 1748746"/>
                <a:gd name="connsiteX64" fmla="*/ 605163 w 1383626"/>
                <a:gd name="connsiteY64" fmla="*/ 1069590 h 1748746"/>
                <a:gd name="connsiteX65" fmla="*/ 609469 w 1383626"/>
                <a:gd name="connsiteY65" fmla="*/ 1047547 h 1748746"/>
                <a:gd name="connsiteX66" fmla="*/ 621885 w 1383626"/>
                <a:gd name="connsiteY66" fmla="*/ 1028925 h 1748746"/>
                <a:gd name="connsiteX67" fmla="*/ 625179 w 1383626"/>
                <a:gd name="connsiteY67" fmla="*/ 986993 h 1748746"/>
                <a:gd name="connsiteX68" fmla="*/ 591101 w 1383626"/>
                <a:gd name="connsiteY68" fmla="*/ 961150 h 1748746"/>
                <a:gd name="connsiteX69" fmla="*/ 578306 w 1383626"/>
                <a:gd name="connsiteY69" fmla="*/ 946455 h 1748746"/>
                <a:gd name="connsiteX70" fmla="*/ 563358 w 1383626"/>
                <a:gd name="connsiteY70" fmla="*/ 934546 h 1748746"/>
                <a:gd name="connsiteX71" fmla="*/ 557403 w 1383626"/>
                <a:gd name="connsiteY71" fmla="*/ 900722 h 1748746"/>
                <a:gd name="connsiteX72" fmla="*/ 589580 w 1383626"/>
                <a:gd name="connsiteY72" fmla="*/ 878426 h 1748746"/>
                <a:gd name="connsiteX73" fmla="*/ 625558 w 1383626"/>
                <a:gd name="connsiteY73" fmla="*/ 853470 h 1748746"/>
                <a:gd name="connsiteX74" fmla="*/ 653555 w 1383626"/>
                <a:gd name="connsiteY74" fmla="*/ 808370 h 1748746"/>
                <a:gd name="connsiteX75" fmla="*/ 679019 w 1383626"/>
                <a:gd name="connsiteY75" fmla="*/ 775940 h 1748746"/>
                <a:gd name="connsiteX76" fmla="*/ 705115 w 1383626"/>
                <a:gd name="connsiteY76" fmla="*/ 740976 h 1748746"/>
                <a:gd name="connsiteX77" fmla="*/ 730705 w 1383626"/>
                <a:gd name="connsiteY77" fmla="*/ 727167 h 1748746"/>
                <a:gd name="connsiteX78" fmla="*/ 755914 w 1383626"/>
                <a:gd name="connsiteY78" fmla="*/ 724127 h 1748746"/>
                <a:gd name="connsiteX79" fmla="*/ 785938 w 1383626"/>
                <a:gd name="connsiteY79" fmla="*/ 712978 h 1748746"/>
                <a:gd name="connsiteX80" fmla="*/ 796960 w 1383626"/>
                <a:gd name="connsiteY80" fmla="*/ 690176 h 1748746"/>
                <a:gd name="connsiteX81" fmla="*/ 795186 w 1383626"/>
                <a:gd name="connsiteY81" fmla="*/ 643810 h 1748746"/>
                <a:gd name="connsiteX82" fmla="*/ 793033 w 1383626"/>
                <a:gd name="connsiteY82" fmla="*/ 613153 h 1748746"/>
                <a:gd name="connsiteX83" fmla="*/ 774283 w 1383626"/>
                <a:gd name="connsiteY83" fmla="*/ 596304 h 1748746"/>
                <a:gd name="connsiteX84" fmla="*/ 714109 w 1383626"/>
                <a:gd name="connsiteY84" fmla="*/ 573374 h 1748746"/>
                <a:gd name="connsiteX85" fmla="*/ 681805 w 1383626"/>
                <a:gd name="connsiteY85" fmla="*/ 553105 h 1748746"/>
                <a:gd name="connsiteX86" fmla="*/ 660016 w 1383626"/>
                <a:gd name="connsiteY86" fmla="*/ 500785 h 1748746"/>
                <a:gd name="connsiteX87" fmla="*/ 614917 w 1383626"/>
                <a:gd name="connsiteY87" fmla="*/ 376890 h 1748746"/>
                <a:gd name="connsiteX88" fmla="*/ 601235 w 1383626"/>
                <a:gd name="connsiteY88" fmla="*/ 335465 h 1748746"/>
                <a:gd name="connsiteX89" fmla="*/ 601615 w 1383626"/>
                <a:gd name="connsiteY89" fmla="*/ 331411 h 1748746"/>
                <a:gd name="connsiteX90" fmla="*/ 601615 w 1383626"/>
                <a:gd name="connsiteY90" fmla="*/ 331284 h 1748746"/>
                <a:gd name="connsiteX91" fmla="*/ 623532 w 1383626"/>
                <a:gd name="connsiteY91" fmla="*/ 313168 h 1748746"/>
                <a:gd name="connsiteX92" fmla="*/ 672051 w 1383626"/>
                <a:gd name="connsiteY92" fmla="*/ 299360 h 1748746"/>
                <a:gd name="connsiteX93" fmla="*/ 753254 w 1383626"/>
                <a:gd name="connsiteY93" fmla="*/ 219930 h 1748746"/>
                <a:gd name="connsiteX94" fmla="*/ 729438 w 1383626"/>
                <a:gd name="connsiteY94" fmla="*/ 201815 h 1748746"/>
                <a:gd name="connsiteX95" fmla="*/ 714363 w 1383626"/>
                <a:gd name="connsiteY95" fmla="*/ 187753 h 1748746"/>
                <a:gd name="connsiteX96" fmla="*/ 710436 w 1383626"/>
                <a:gd name="connsiteY96" fmla="*/ 158236 h 1748746"/>
                <a:gd name="connsiteX97" fmla="*/ 697894 w 1383626"/>
                <a:gd name="connsiteY97" fmla="*/ 130619 h 1748746"/>
                <a:gd name="connsiteX98" fmla="*/ 712716 w 1383626"/>
                <a:gd name="connsiteY98" fmla="*/ 87294 h 1748746"/>
                <a:gd name="connsiteX99" fmla="*/ 703848 w 1383626"/>
                <a:gd name="connsiteY99" fmla="*/ 32440 h 1748746"/>
                <a:gd name="connsiteX100" fmla="*/ 754141 w 1383626"/>
                <a:gd name="connsiteY100" fmla="*/ 136 h 1748746"/>
                <a:gd name="connsiteX101" fmla="*/ 798987 w 1383626"/>
                <a:gd name="connsiteY101" fmla="*/ 25093 h 1748746"/>
                <a:gd name="connsiteX102" fmla="*/ 833064 w 1383626"/>
                <a:gd name="connsiteY102" fmla="*/ 9637 h 1748746"/>
                <a:gd name="connsiteX103" fmla="*/ 845479 w 1383626"/>
                <a:gd name="connsiteY103" fmla="*/ 11411 h 1748746"/>
                <a:gd name="connsiteX104" fmla="*/ 863468 w 1383626"/>
                <a:gd name="connsiteY104" fmla="*/ 62844 h 1748746"/>
                <a:gd name="connsiteX105" fmla="*/ 889691 w 1383626"/>
                <a:gd name="connsiteY105" fmla="*/ 103509 h 1748746"/>
                <a:gd name="connsiteX106" fmla="*/ 908060 w 1383626"/>
                <a:gd name="connsiteY106" fmla="*/ 96542 h 1748746"/>
                <a:gd name="connsiteX107" fmla="*/ 927443 w 1383626"/>
                <a:gd name="connsiteY107" fmla="*/ 106296 h 1748746"/>
                <a:gd name="connsiteX108" fmla="*/ 931750 w 1383626"/>
                <a:gd name="connsiteY108" fmla="*/ 145314 h 1748746"/>
                <a:gd name="connsiteX109" fmla="*/ 949612 w 1383626"/>
                <a:gd name="connsiteY109" fmla="*/ 177618 h 1748746"/>
                <a:gd name="connsiteX110" fmla="*/ 979763 w 1383626"/>
                <a:gd name="connsiteY110" fmla="*/ 186613 h 1748746"/>
                <a:gd name="connsiteX111" fmla="*/ 979890 w 1383626"/>
                <a:gd name="connsiteY111" fmla="*/ 186613 h 1748746"/>
                <a:gd name="connsiteX112" fmla="*/ 990277 w 1383626"/>
                <a:gd name="connsiteY112" fmla="*/ 190793 h 1748746"/>
                <a:gd name="connsiteX113" fmla="*/ 978876 w 1383626"/>
                <a:gd name="connsiteY113" fmla="*/ 225758 h 1748746"/>
                <a:gd name="connsiteX114" fmla="*/ 998258 w 1383626"/>
                <a:gd name="connsiteY114" fmla="*/ 254261 h 1748746"/>
                <a:gd name="connsiteX115" fmla="*/ 1034743 w 1383626"/>
                <a:gd name="connsiteY115" fmla="*/ 266296 h 1748746"/>
                <a:gd name="connsiteX116" fmla="*/ 1060966 w 1383626"/>
                <a:gd name="connsiteY116" fmla="*/ 291759 h 1748746"/>
                <a:gd name="connsiteX117" fmla="*/ 1043104 w 1383626"/>
                <a:gd name="connsiteY117" fmla="*/ 323937 h 1748746"/>
                <a:gd name="connsiteX118" fmla="*/ 1071861 w 1383626"/>
                <a:gd name="connsiteY118" fmla="*/ 343826 h 1748746"/>
                <a:gd name="connsiteX119" fmla="*/ 1089850 w 1383626"/>
                <a:gd name="connsiteY119" fmla="*/ 333185 h 1748746"/>
                <a:gd name="connsiteX120" fmla="*/ 1107712 w 1383626"/>
                <a:gd name="connsiteY120" fmla="*/ 313929 h 1748746"/>
                <a:gd name="connsiteX121" fmla="*/ 1155598 w 1383626"/>
                <a:gd name="connsiteY121" fmla="*/ 307341 h 1748746"/>
                <a:gd name="connsiteX122" fmla="*/ 1182582 w 1383626"/>
                <a:gd name="connsiteY122" fmla="*/ 386518 h 1748746"/>
                <a:gd name="connsiteX123" fmla="*/ 1233761 w 1383626"/>
                <a:gd name="connsiteY123" fmla="*/ 360168 h 1748746"/>
                <a:gd name="connsiteX124" fmla="*/ 1259477 w 1383626"/>
                <a:gd name="connsiteY124" fmla="*/ 395512 h 1748746"/>
                <a:gd name="connsiteX125" fmla="*/ 1263025 w 1383626"/>
                <a:gd name="connsiteY125" fmla="*/ 431363 h 1748746"/>
                <a:gd name="connsiteX126" fmla="*/ 1254410 w 1383626"/>
                <a:gd name="connsiteY126" fmla="*/ 475956 h 1748746"/>
                <a:gd name="connsiteX127" fmla="*/ 1239842 w 1383626"/>
                <a:gd name="connsiteY127" fmla="*/ 514847 h 1748746"/>
                <a:gd name="connsiteX128" fmla="*/ 1304450 w 1383626"/>
                <a:gd name="connsiteY128" fmla="*/ 522701 h 1748746"/>
                <a:gd name="connsiteX129" fmla="*/ 1314077 w 1383626"/>
                <a:gd name="connsiteY129" fmla="*/ 554625 h 1748746"/>
                <a:gd name="connsiteX130" fmla="*/ 1286208 w 1383626"/>
                <a:gd name="connsiteY130" fmla="*/ 588830 h 1748746"/>
                <a:gd name="connsiteX131" fmla="*/ 1309011 w 1383626"/>
                <a:gd name="connsiteY131" fmla="*/ 654705 h 1748746"/>
                <a:gd name="connsiteX132" fmla="*/ 1343468 w 1383626"/>
                <a:gd name="connsiteY132" fmla="*/ 660532 h 1748746"/>
                <a:gd name="connsiteX133" fmla="*/ 1358416 w 1383626"/>
                <a:gd name="connsiteY133" fmla="*/ 686375 h 1748746"/>
                <a:gd name="connsiteX134" fmla="*/ 1383627 w 1383626"/>
                <a:gd name="connsiteY134" fmla="*/ 722480 h 1748746"/>
                <a:gd name="connsiteX135" fmla="*/ 1339921 w 1383626"/>
                <a:gd name="connsiteY135" fmla="*/ 761371 h 1748746"/>
                <a:gd name="connsiteX136" fmla="*/ 1257197 w 1383626"/>
                <a:gd name="connsiteY136" fmla="*/ 822179 h 1748746"/>
                <a:gd name="connsiteX137" fmla="*/ 1222867 w 1383626"/>
                <a:gd name="connsiteY137" fmla="*/ 885520 h 174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83626" h="1748746">
                  <a:moveTo>
                    <a:pt x="1222867" y="885520"/>
                  </a:moveTo>
                  <a:cubicBezTo>
                    <a:pt x="1232874" y="907943"/>
                    <a:pt x="1263785" y="915544"/>
                    <a:pt x="1280000" y="932899"/>
                  </a:cubicBezTo>
                  <a:cubicBezTo>
                    <a:pt x="1304323" y="958743"/>
                    <a:pt x="1311164" y="997761"/>
                    <a:pt x="1307870" y="1031965"/>
                  </a:cubicBezTo>
                  <a:cubicBezTo>
                    <a:pt x="1304070" y="1070730"/>
                    <a:pt x="1279874" y="1100754"/>
                    <a:pt x="1269865" y="1137365"/>
                  </a:cubicBezTo>
                  <a:cubicBezTo>
                    <a:pt x="1259604" y="1174610"/>
                    <a:pt x="1248710" y="1212614"/>
                    <a:pt x="1248710" y="1251506"/>
                  </a:cubicBezTo>
                  <a:cubicBezTo>
                    <a:pt x="1248710" y="1269748"/>
                    <a:pt x="1249216" y="1289384"/>
                    <a:pt x="1253903" y="1307246"/>
                  </a:cubicBezTo>
                  <a:cubicBezTo>
                    <a:pt x="1257830" y="1321434"/>
                    <a:pt x="1266825" y="1332329"/>
                    <a:pt x="1273666" y="1344998"/>
                  </a:cubicBezTo>
                  <a:cubicBezTo>
                    <a:pt x="1291148" y="1377555"/>
                    <a:pt x="1281140" y="1413279"/>
                    <a:pt x="1251496" y="1434562"/>
                  </a:cubicBezTo>
                  <a:cubicBezTo>
                    <a:pt x="1228314" y="1451158"/>
                    <a:pt x="1193223" y="1456732"/>
                    <a:pt x="1177768" y="1482575"/>
                  </a:cubicBezTo>
                  <a:cubicBezTo>
                    <a:pt x="1170800" y="1494230"/>
                    <a:pt x="1171686" y="1509305"/>
                    <a:pt x="1163832" y="1520326"/>
                  </a:cubicBezTo>
                  <a:cubicBezTo>
                    <a:pt x="1155218" y="1532234"/>
                    <a:pt x="1139129" y="1534388"/>
                    <a:pt x="1125575" y="1532868"/>
                  </a:cubicBezTo>
                  <a:cubicBezTo>
                    <a:pt x="1112653" y="1531474"/>
                    <a:pt x="1102265" y="1525520"/>
                    <a:pt x="1090863" y="1519946"/>
                  </a:cubicBezTo>
                  <a:cubicBezTo>
                    <a:pt x="1067173" y="1508291"/>
                    <a:pt x="1041710" y="1503478"/>
                    <a:pt x="1017894" y="1493976"/>
                  </a:cubicBezTo>
                  <a:cubicBezTo>
                    <a:pt x="995725" y="1485108"/>
                    <a:pt x="971149" y="1477761"/>
                    <a:pt x="947332" y="1483588"/>
                  </a:cubicBezTo>
                  <a:cubicBezTo>
                    <a:pt x="932763" y="1487262"/>
                    <a:pt x="926683" y="1494483"/>
                    <a:pt x="917308" y="1505504"/>
                  </a:cubicBezTo>
                  <a:cubicBezTo>
                    <a:pt x="905653" y="1519566"/>
                    <a:pt x="888805" y="1521973"/>
                    <a:pt x="871196" y="1521593"/>
                  </a:cubicBezTo>
                  <a:cubicBezTo>
                    <a:pt x="838385" y="1520959"/>
                    <a:pt x="822043" y="1497143"/>
                    <a:pt x="795313" y="1483208"/>
                  </a:cubicBezTo>
                  <a:cubicBezTo>
                    <a:pt x="770356" y="1470413"/>
                    <a:pt x="741093" y="1474594"/>
                    <a:pt x="716263" y="1484982"/>
                  </a:cubicBezTo>
                  <a:cubicBezTo>
                    <a:pt x="702201" y="1490809"/>
                    <a:pt x="691180" y="1494990"/>
                    <a:pt x="681425" y="1507151"/>
                  </a:cubicBezTo>
                  <a:cubicBezTo>
                    <a:pt x="668883" y="1522606"/>
                    <a:pt x="662043" y="1530207"/>
                    <a:pt x="642914" y="1535401"/>
                  </a:cubicBezTo>
                  <a:cubicBezTo>
                    <a:pt x="612003" y="1543889"/>
                    <a:pt x="615043" y="1573153"/>
                    <a:pt x="608836" y="1598869"/>
                  </a:cubicBezTo>
                  <a:cubicBezTo>
                    <a:pt x="602756" y="1623699"/>
                    <a:pt x="593634" y="1644475"/>
                    <a:pt x="570452" y="1657270"/>
                  </a:cubicBezTo>
                  <a:cubicBezTo>
                    <a:pt x="544735" y="1671585"/>
                    <a:pt x="519905" y="1668418"/>
                    <a:pt x="491401" y="1666644"/>
                  </a:cubicBezTo>
                  <a:cubicBezTo>
                    <a:pt x="462264" y="1664871"/>
                    <a:pt x="447189" y="1684000"/>
                    <a:pt x="429327" y="1704269"/>
                  </a:cubicBezTo>
                  <a:cubicBezTo>
                    <a:pt x="420080" y="1714784"/>
                    <a:pt x="410704" y="1722258"/>
                    <a:pt x="399937" y="1731252"/>
                  </a:cubicBezTo>
                  <a:cubicBezTo>
                    <a:pt x="379921" y="1748228"/>
                    <a:pt x="346730" y="1753928"/>
                    <a:pt x="322407" y="1743541"/>
                  </a:cubicBezTo>
                  <a:cubicBezTo>
                    <a:pt x="311259" y="1738727"/>
                    <a:pt x="303405" y="1731633"/>
                    <a:pt x="290356" y="1734926"/>
                  </a:cubicBezTo>
                  <a:cubicBezTo>
                    <a:pt x="280982" y="1737333"/>
                    <a:pt x="274268" y="1745188"/>
                    <a:pt x="265906" y="1747594"/>
                  </a:cubicBezTo>
                  <a:cubicBezTo>
                    <a:pt x="256532" y="1750382"/>
                    <a:pt x="243991" y="1743161"/>
                    <a:pt x="236263" y="1738600"/>
                  </a:cubicBezTo>
                  <a:cubicBezTo>
                    <a:pt x="216120" y="1726438"/>
                    <a:pt x="193951" y="1730492"/>
                    <a:pt x="171528" y="1733153"/>
                  </a:cubicBezTo>
                  <a:cubicBezTo>
                    <a:pt x="150119" y="1735560"/>
                    <a:pt x="124783" y="1740500"/>
                    <a:pt x="104259" y="1731886"/>
                  </a:cubicBezTo>
                  <a:cubicBezTo>
                    <a:pt x="81964" y="1722511"/>
                    <a:pt x="50040" y="1710476"/>
                    <a:pt x="35091" y="1690587"/>
                  </a:cubicBezTo>
                  <a:cubicBezTo>
                    <a:pt x="24450" y="1676399"/>
                    <a:pt x="16089" y="1663984"/>
                    <a:pt x="0" y="1661071"/>
                  </a:cubicBezTo>
                  <a:cubicBezTo>
                    <a:pt x="127" y="1657143"/>
                    <a:pt x="127" y="1653343"/>
                    <a:pt x="380" y="1649416"/>
                  </a:cubicBezTo>
                  <a:cubicBezTo>
                    <a:pt x="1014" y="1638394"/>
                    <a:pt x="4560" y="1628513"/>
                    <a:pt x="2661" y="1617365"/>
                  </a:cubicBezTo>
                  <a:cubicBezTo>
                    <a:pt x="760" y="1606090"/>
                    <a:pt x="-3547" y="1594435"/>
                    <a:pt x="6207" y="1585314"/>
                  </a:cubicBezTo>
                  <a:cubicBezTo>
                    <a:pt x="15202" y="1577080"/>
                    <a:pt x="27617" y="1580247"/>
                    <a:pt x="38638" y="1578347"/>
                  </a:cubicBezTo>
                  <a:cubicBezTo>
                    <a:pt x="62962" y="1574293"/>
                    <a:pt x="87791" y="1556558"/>
                    <a:pt x="92985" y="1531347"/>
                  </a:cubicBezTo>
                  <a:cubicBezTo>
                    <a:pt x="95645" y="1518299"/>
                    <a:pt x="79937" y="1524000"/>
                    <a:pt x="72209" y="1525393"/>
                  </a:cubicBezTo>
                  <a:cubicBezTo>
                    <a:pt x="61948" y="1527167"/>
                    <a:pt x="51560" y="1528940"/>
                    <a:pt x="41299" y="1530461"/>
                  </a:cubicBezTo>
                  <a:cubicBezTo>
                    <a:pt x="27997" y="1532234"/>
                    <a:pt x="19002" y="1525393"/>
                    <a:pt x="25463" y="1511712"/>
                  </a:cubicBezTo>
                  <a:cubicBezTo>
                    <a:pt x="30404" y="1501197"/>
                    <a:pt x="45859" y="1493723"/>
                    <a:pt x="46999" y="1481941"/>
                  </a:cubicBezTo>
                  <a:cubicBezTo>
                    <a:pt x="47506" y="1476747"/>
                    <a:pt x="45479" y="1471553"/>
                    <a:pt x="45986" y="1466359"/>
                  </a:cubicBezTo>
                  <a:cubicBezTo>
                    <a:pt x="46619" y="1459645"/>
                    <a:pt x="49786" y="1454071"/>
                    <a:pt x="54220" y="1449131"/>
                  </a:cubicBezTo>
                  <a:cubicBezTo>
                    <a:pt x="61315" y="1441403"/>
                    <a:pt x="74996" y="1434942"/>
                    <a:pt x="69675" y="1422527"/>
                  </a:cubicBezTo>
                  <a:cubicBezTo>
                    <a:pt x="65621" y="1413153"/>
                    <a:pt x="54220" y="1408466"/>
                    <a:pt x="52320" y="1397824"/>
                  </a:cubicBezTo>
                  <a:cubicBezTo>
                    <a:pt x="50419" y="1387183"/>
                    <a:pt x="56627" y="1371854"/>
                    <a:pt x="65115" y="1365140"/>
                  </a:cubicBezTo>
                  <a:cubicBezTo>
                    <a:pt x="75123" y="1357413"/>
                    <a:pt x="88044" y="1363113"/>
                    <a:pt x="99193" y="1364887"/>
                  </a:cubicBezTo>
                  <a:cubicBezTo>
                    <a:pt x="115282" y="1367547"/>
                    <a:pt x="132890" y="1366027"/>
                    <a:pt x="147332" y="1358046"/>
                  </a:cubicBezTo>
                  <a:cubicBezTo>
                    <a:pt x="159367" y="1351332"/>
                    <a:pt x="164814" y="1339297"/>
                    <a:pt x="174442" y="1330176"/>
                  </a:cubicBezTo>
                  <a:cubicBezTo>
                    <a:pt x="185083" y="1320168"/>
                    <a:pt x="198638" y="1313707"/>
                    <a:pt x="210419" y="1305219"/>
                  </a:cubicBezTo>
                  <a:cubicBezTo>
                    <a:pt x="219668" y="1298505"/>
                    <a:pt x="230056" y="1289891"/>
                    <a:pt x="242344" y="1294578"/>
                  </a:cubicBezTo>
                  <a:cubicBezTo>
                    <a:pt x="253871" y="1299139"/>
                    <a:pt x="258179" y="1313834"/>
                    <a:pt x="272241" y="1307246"/>
                  </a:cubicBezTo>
                  <a:cubicBezTo>
                    <a:pt x="277688" y="1304586"/>
                    <a:pt x="285162" y="1300279"/>
                    <a:pt x="289216" y="1295845"/>
                  </a:cubicBezTo>
                  <a:cubicBezTo>
                    <a:pt x="294157" y="1290397"/>
                    <a:pt x="296437" y="1281530"/>
                    <a:pt x="300744" y="1275322"/>
                  </a:cubicBezTo>
                  <a:cubicBezTo>
                    <a:pt x="311005" y="1260120"/>
                    <a:pt x="328868" y="1265821"/>
                    <a:pt x="341410" y="1254800"/>
                  </a:cubicBezTo>
                  <a:cubicBezTo>
                    <a:pt x="352937" y="1244665"/>
                    <a:pt x="358511" y="1229716"/>
                    <a:pt x="365226" y="1216288"/>
                  </a:cubicBezTo>
                  <a:cubicBezTo>
                    <a:pt x="369659" y="1207294"/>
                    <a:pt x="377641" y="1194752"/>
                    <a:pt x="386508" y="1189558"/>
                  </a:cubicBezTo>
                  <a:cubicBezTo>
                    <a:pt x="396010" y="1184111"/>
                    <a:pt x="408678" y="1187405"/>
                    <a:pt x="418939" y="1187911"/>
                  </a:cubicBezTo>
                  <a:cubicBezTo>
                    <a:pt x="430594" y="1188545"/>
                    <a:pt x="441489" y="1187911"/>
                    <a:pt x="448203" y="1177017"/>
                  </a:cubicBezTo>
                  <a:cubicBezTo>
                    <a:pt x="453777" y="1167769"/>
                    <a:pt x="457831" y="1157254"/>
                    <a:pt x="464545" y="1148640"/>
                  </a:cubicBezTo>
                  <a:cubicBezTo>
                    <a:pt x="472779" y="1137998"/>
                    <a:pt x="479747" y="1140912"/>
                    <a:pt x="491275" y="1143066"/>
                  </a:cubicBezTo>
                  <a:cubicBezTo>
                    <a:pt x="504577" y="1145599"/>
                    <a:pt x="510784" y="1139899"/>
                    <a:pt x="520666" y="1131791"/>
                  </a:cubicBezTo>
                  <a:cubicBezTo>
                    <a:pt x="530800" y="1123556"/>
                    <a:pt x="539921" y="1120263"/>
                    <a:pt x="552462" y="1117982"/>
                  </a:cubicBezTo>
                  <a:cubicBezTo>
                    <a:pt x="576279" y="1113675"/>
                    <a:pt x="600475" y="1094040"/>
                    <a:pt x="605163" y="1069590"/>
                  </a:cubicBezTo>
                  <a:cubicBezTo>
                    <a:pt x="606556" y="1062242"/>
                    <a:pt x="606556" y="1054641"/>
                    <a:pt x="609469" y="1047547"/>
                  </a:cubicBezTo>
                  <a:cubicBezTo>
                    <a:pt x="612384" y="1040706"/>
                    <a:pt x="617831" y="1035259"/>
                    <a:pt x="621885" y="1028925"/>
                  </a:cubicBezTo>
                  <a:cubicBezTo>
                    <a:pt x="629992" y="1016763"/>
                    <a:pt x="631513" y="1000421"/>
                    <a:pt x="625179" y="986993"/>
                  </a:cubicBezTo>
                  <a:cubicBezTo>
                    <a:pt x="618718" y="973058"/>
                    <a:pt x="601742" y="970777"/>
                    <a:pt x="591101" y="961150"/>
                  </a:cubicBezTo>
                  <a:cubicBezTo>
                    <a:pt x="586287" y="956842"/>
                    <a:pt x="582866" y="951142"/>
                    <a:pt x="578306" y="946455"/>
                  </a:cubicBezTo>
                  <a:cubicBezTo>
                    <a:pt x="573872" y="941767"/>
                    <a:pt x="568172" y="938727"/>
                    <a:pt x="563358" y="934546"/>
                  </a:cubicBezTo>
                  <a:cubicBezTo>
                    <a:pt x="553603" y="926058"/>
                    <a:pt x="552083" y="912250"/>
                    <a:pt x="557403" y="900722"/>
                  </a:cubicBezTo>
                  <a:cubicBezTo>
                    <a:pt x="563104" y="888307"/>
                    <a:pt x="578052" y="883620"/>
                    <a:pt x="589580" y="878426"/>
                  </a:cubicBezTo>
                  <a:cubicBezTo>
                    <a:pt x="603262" y="872345"/>
                    <a:pt x="615677" y="865124"/>
                    <a:pt x="625558" y="853470"/>
                  </a:cubicBezTo>
                  <a:cubicBezTo>
                    <a:pt x="636960" y="839788"/>
                    <a:pt x="643167" y="822812"/>
                    <a:pt x="653555" y="808370"/>
                  </a:cubicBezTo>
                  <a:cubicBezTo>
                    <a:pt x="661662" y="797223"/>
                    <a:pt x="670404" y="786581"/>
                    <a:pt x="679019" y="775940"/>
                  </a:cubicBezTo>
                  <a:cubicBezTo>
                    <a:pt x="688266" y="764665"/>
                    <a:pt x="694093" y="750730"/>
                    <a:pt x="705115" y="740976"/>
                  </a:cubicBezTo>
                  <a:cubicBezTo>
                    <a:pt x="712335" y="734768"/>
                    <a:pt x="721457" y="729574"/>
                    <a:pt x="730705" y="727167"/>
                  </a:cubicBezTo>
                  <a:cubicBezTo>
                    <a:pt x="738939" y="725140"/>
                    <a:pt x="747554" y="725900"/>
                    <a:pt x="755914" y="724127"/>
                  </a:cubicBezTo>
                  <a:cubicBezTo>
                    <a:pt x="765923" y="721973"/>
                    <a:pt x="777071" y="718299"/>
                    <a:pt x="785938" y="712978"/>
                  </a:cubicBezTo>
                  <a:cubicBezTo>
                    <a:pt x="794679" y="707911"/>
                    <a:pt x="796326" y="699804"/>
                    <a:pt x="796960" y="690176"/>
                  </a:cubicBezTo>
                  <a:cubicBezTo>
                    <a:pt x="797973" y="674720"/>
                    <a:pt x="796200" y="659265"/>
                    <a:pt x="795186" y="643810"/>
                  </a:cubicBezTo>
                  <a:cubicBezTo>
                    <a:pt x="794553" y="633549"/>
                    <a:pt x="794553" y="623414"/>
                    <a:pt x="793033" y="613153"/>
                  </a:cubicBezTo>
                  <a:cubicBezTo>
                    <a:pt x="791006" y="600231"/>
                    <a:pt x="785558" y="600865"/>
                    <a:pt x="774283" y="596304"/>
                  </a:cubicBezTo>
                  <a:cubicBezTo>
                    <a:pt x="754394" y="588323"/>
                    <a:pt x="734885" y="579075"/>
                    <a:pt x="714109" y="573374"/>
                  </a:cubicBezTo>
                  <a:cubicBezTo>
                    <a:pt x="701061" y="569701"/>
                    <a:pt x="690040" y="564380"/>
                    <a:pt x="681805" y="553105"/>
                  </a:cubicBezTo>
                  <a:cubicBezTo>
                    <a:pt x="670784" y="537904"/>
                    <a:pt x="665590" y="518521"/>
                    <a:pt x="660016" y="500785"/>
                  </a:cubicBezTo>
                  <a:cubicBezTo>
                    <a:pt x="646841" y="458853"/>
                    <a:pt x="632273" y="417302"/>
                    <a:pt x="614917" y="376890"/>
                  </a:cubicBezTo>
                  <a:cubicBezTo>
                    <a:pt x="609469" y="364095"/>
                    <a:pt x="601362" y="349780"/>
                    <a:pt x="601235" y="335465"/>
                  </a:cubicBezTo>
                  <a:cubicBezTo>
                    <a:pt x="601235" y="333945"/>
                    <a:pt x="601362" y="332678"/>
                    <a:pt x="601615" y="331411"/>
                  </a:cubicBezTo>
                  <a:cubicBezTo>
                    <a:pt x="601615" y="331411"/>
                    <a:pt x="601615" y="331411"/>
                    <a:pt x="601615" y="331284"/>
                  </a:cubicBezTo>
                  <a:cubicBezTo>
                    <a:pt x="603516" y="320770"/>
                    <a:pt x="613017" y="316082"/>
                    <a:pt x="623532" y="313168"/>
                  </a:cubicBezTo>
                  <a:cubicBezTo>
                    <a:pt x="639873" y="308735"/>
                    <a:pt x="656342" y="306074"/>
                    <a:pt x="672051" y="299360"/>
                  </a:cubicBezTo>
                  <a:cubicBezTo>
                    <a:pt x="699161" y="287959"/>
                    <a:pt x="776564" y="264269"/>
                    <a:pt x="753254" y="219930"/>
                  </a:cubicBezTo>
                  <a:cubicBezTo>
                    <a:pt x="748187" y="210302"/>
                    <a:pt x="738939" y="205742"/>
                    <a:pt x="729438" y="201815"/>
                  </a:cubicBezTo>
                  <a:cubicBezTo>
                    <a:pt x="722090" y="198648"/>
                    <a:pt x="716389" y="195987"/>
                    <a:pt x="714363" y="187753"/>
                  </a:cubicBezTo>
                  <a:cubicBezTo>
                    <a:pt x="711956" y="178125"/>
                    <a:pt x="712843" y="167864"/>
                    <a:pt x="710436" y="158236"/>
                  </a:cubicBezTo>
                  <a:cubicBezTo>
                    <a:pt x="707775" y="148228"/>
                    <a:pt x="702328" y="139867"/>
                    <a:pt x="697894" y="130619"/>
                  </a:cubicBezTo>
                  <a:cubicBezTo>
                    <a:pt x="689026" y="112123"/>
                    <a:pt x="707395" y="103382"/>
                    <a:pt x="712716" y="87294"/>
                  </a:cubicBezTo>
                  <a:cubicBezTo>
                    <a:pt x="719050" y="67785"/>
                    <a:pt x="698654" y="51316"/>
                    <a:pt x="703848" y="32440"/>
                  </a:cubicBezTo>
                  <a:cubicBezTo>
                    <a:pt x="708535" y="15338"/>
                    <a:pt x="738052" y="1910"/>
                    <a:pt x="754141" y="136"/>
                  </a:cubicBezTo>
                  <a:cubicBezTo>
                    <a:pt x="775170" y="-2018"/>
                    <a:pt x="780871" y="22052"/>
                    <a:pt x="798987" y="25093"/>
                  </a:cubicBezTo>
                  <a:cubicBezTo>
                    <a:pt x="811528" y="27120"/>
                    <a:pt x="821537" y="12804"/>
                    <a:pt x="833064" y="9637"/>
                  </a:cubicBezTo>
                  <a:cubicBezTo>
                    <a:pt x="836991" y="8497"/>
                    <a:pt x="841045" y="8750"/>
                    <a:pt x="845479" y="11411"/>
                  </a:cubicBezTo>
                  <a:cubicBezTo>
                    <a:pt x="861568" y="21039"/>
                    <a:pt x="860935" y="46755"/>
                    <a:pt x="863468" y="62844"/>
                  </a:cubicBezTo>
                  <a:cubicBezTo>
                    <a:pt x="865622" y="76399"/>
                    <a:pt x="868789" y="107056"/>
                    <a:pt x="889691" y="103509"/>
                  </a:cubicBezTo>
                  <a:cubicBezTo>
                    <a:pt x="896152" y="102369"/>
                    <a:pt x="901220" y="97428"/>
                    <a:pt x="908060" y="96542"/>
                  </a:cubicBezTo>
                  <a:cubicBezTo>
                    <a:pt x="917308" y="95401"/>
                    <a:pt x="922375" y="99328"/>
                    <a:pt x="927443" y="106296"/>
                  </a:cubicBezTo>
                  <a:cubicBezTo>
                    <a:pt x="936184" y="118078"/>
                    <a:pt x="930483" y="131759"/>
                    <a:pt x="931750" y="145314"/>
                  </a:cubicBezTo>
                  <a:cubicBezTo>
                    <a:pt x="933017" y="157729"/>
                    <a:pt x="940744" y="169257"/>
                    <a:pt x="949612" y="177618"/>
                  </a:cubicBezTo>
                  <a:cubicBezTo>
                    <a:pt x="957593" y="185219"/>
                    <a:pt x="969375" y="184333"/>
                    <a:pt x="979763" y="186613"/>
                  </a:cubicBezTo>
                  <a:cubicBezTo>
                    <a:pt x="979763" y="186613"/>
                    <a:pt x="979763" y="186613"/>
                    <a:pt x="979890" y="186613"/>
                  </a:cubicBezTo>
                  <a:cubicBezTo>
                    <a:pt x="983690" y="187373"/>
                    <a:pt x="987237" y="188640"/>
                    <a:pt x="990277" y="190793"/>
                  </a:cubicBezTo>
                  <a:cubicBezTo>
                    <a:pt x="1003452" y="199914"/>
                    <a:pt x="981789" y="215116"/>
                    <a:pt x="978876" y="225758"/>
                  </a:cubicBezTo>
                  <a:cubicBezTo>
                    <a:pt x="975328" y="239060"/>
                    <a:pt x="986477" y="250207"/>
                    <a:pt x="998258" y="254261"/>
                  </a:cubicBezTo>
                  <a:cubicBezTo>
                    <a:pt x="1011180" y="258822"/>
                    <a:pt x="1022834" y="258315"/>
                    <a:pt x="1034743" y="266296"/>
                  </a:cubicBezTo>
                  <a:cubicBezTo>
                    <a:pt x="1041964" y="271110"/>
                    <a:pt x="1062867" y="280105"/>
                    <a:pt x="1060966" y="291759"/>
                  </a:cubicBezTo>
                  <a:cubicBezTo>
                    <a:pt x="1058939" y="304301"/>
                    <a:pt x="1041077" y="309368"/>
                    <a:pt x="1043104" y="323937"/>
                  </a:cubicBezTo>
                  <a:cubicBezTo>
                    <a:pt x="1045004" y="337619"/>
                    <a:pt x="1060206" y="343066"/>
                    <a:pt x="1071861" y="343826"/>
                  </a:cubicBezTo>
                  <a:cubicBezTo>
                    <a:pt x="1081489" y="344459"/>
                    <a:pt x="1085542" y="340406"/>
                    <a:pt x="1089850" y="333185"/>
                  </a:cubicBezTo>
                  <a:cubicBezTo>
                    <a:pt x="1094284" y="325837"/>
                    <a:pt x="1100998" y="319123"/>
                    <a:pt x="1107712" y="313929"/>
                  </a:cubicBezTo>
                  <a:cubicBezTo>
                    <a:pt x="1121267" y="303287"/>
                    <a:pt x="1140016" y="296700"/>
                    <a:pt x="1155598" y="307341"/>
                  </a:cubicBezTo>
                  <a:cubicBezTo>
                    <a:pt x="1181314" y="324950"/>
                    <a:pt x="1159018" y="365995"/>
                    <a:pt x="1182582" y="386518"/>
                  </a:cubicBezTo>
                  <a:cubicBezTo>
                    <a:pt x="1207538" y="408307"/>
                    <a:pt x="1210451" y="350413"/>
                    <a:pt x="1233761" y="360168"/>
                  </a:cubicBezTo>
                  <a:cubicBezTo>
                    <a:pt x="1246556" y="365488"/>
                    <a:pt x="1255424" y="383097"/>
                    <a:pt x="1259477" y="395512"/>
                  </a:cubicBezTo>
                  <a:cubicBezTo>
                    <a:pt x="1263278" y="407167"/>
                    <a:pt x="1263025" y="419328"/>
                    <a:pt x="1263025" y="431363"/>
                  </a:cubicBezTo>
                  <a:cubicBezTo>
                    <a:pt x="1262898" y="447072"/>
                    <a:pt x="1260491" y="461387"/>
                    <a:pt x="1254410" y="475956"/>
                  </a:cubicBezTo>
                  <a:cubicBezTo>
                    <a:pt x="1248963" y="488877"/>
                    <a:pt x="1242502" y="501039"/>
                    <a:pt x="1239842" y="514847"/>
                  </a:cubicBezTo>
                  <a:cubicBezTo>
                    <a:pt x="1260618" y="518521"/>
                    <a:pt x="1285827" y="508893"/>
                    <a:pt x="1304450" y="522701"/>
                  </a:cubicBezTo>
                  <a:cubicBezTo>
                    <a:pt x="1313698" y="529669"/>
                    <a:pt x="1319399" y="543858"/>
                    <a:pt x="1314077" y="554625"/>
                  </a:cubicBezTo>
                  <a:cubicBezTo>
                    <a:pt x="1307364" y="568054"/>
                    <a:pt x="1289881" y="574515"/>
                    <a:pt x="1286208" y="588830"/>
                  </a:cubicBezTo>
                  <a:cubicBezTo>
                    <a:pt x="1280887" y="609606"/>
                    <a:pt x="1285067" y="646977"/>
                    <a:pt x="1309011" y="654705"/>
                  </a:cubicBezTo>
                  <a:cubicBezTo>
                    <a:pt x="1321552" y="658758"/>
                    <a:pt x="1332573" y="650524"/>
                    <a:pt x="1343468" y="660532"/>
                  </a:cubicBezTo>
                  <a:cubicBezTo>
                    <a:pt x="1350816" y="667246"/>
                    <a:pt x="1353603" y="677888"/>
                    <a:pt x="1358416" y="686375"/>
                  </a:cubicBezTo>
                  <a:cubicBezTo>
                    <a:pt x="1366018" y="699804"/>
                    <a:pt x="1374505" y="711585"/>
                    <a:pt x="1383627" y="722480"/>
                  </a:cubicBezTo>
                  <a:cubicBezTo>
                    <a:pt x="1367538" y="732994"/>
                    <a:pt x="1353603" y="748323"/>
                    <a:pt x="1339921" y="761371"/>
                  </a:cubicBezTo>
                  <a:cubicBezTo>
                    <a:pt x="1313191" y="782654"/>
                    <a:pt x="1286334" y="803937"/>
                    <a:pt x="1257197" y="822179"/>
                  </a:cubicBezTo>
                  <a:cubicBezTo>
                    <a:pt x="1235915" y="835861"/>
                    <a:pt x="1210198" y="856763"/>
                    <a:pt x="1222867" y="8855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5" name="Полилиния: фигура 404">
              <a:extLst>
                <a:ext uri="{FF2B5EF4-FFF2-40B4-BE49-F238E27FC236}">
                  <a16:creationId xmlns:a16="http://schemas.microsoft.com/office/drawing/2014/main" id="{1BBDE1CB-056A-472C-AE08-87D902895B29}"/>
                </a:ext>
              </a:extLst>
            </p:cNvPr>
            <p:cNvSpPr/>
            <p:nvPr/>
          </p:nvSpPr>
          <p:spPr>
            <a:xfrm>
              <a:off x="3308449" y="3920580"/>
              <a:ext cx="468798" cy="489227"/>
            </a:xfrm>
            <a:custGeom>
              <a:avLst/>
              <a:gdLst>
                <a:gd name="connsiteX0" fmla="*/ 468799 w 468798"/>
                <a:gd name="connsiteY0" fmla="*/ 110379 h 489227"/>
                <a:gd name="connsiteX1" fmla="*/ 435101 w 468798"/>
                <a:gd name="connsiteY1" fmla="*/ 145343 h 489227"/>
                <a:gd name="connsiteX2" fmla="*/ 405838 w 468798"/>
                <a:gd name="connsiteY2" fmla="*/ 193356 h 489227"/>
                <a:gd name="connsiteX3" fmla="*/ 372647 w 468798"/>
                <a:gd name="connsiteY3" fmla="*/ 225533 h 489227"/>
                <a:gd name="connsiteX4" fmla="*/ 339963 w 468798"/>
                <a:gd name="connsiteY4" fmla="*/ 280387 h 489227"/>
                <a:gd name="connsiteX5" fmla="*/ 334009 w 468798"/>
                <a:gd name="connsiteY5" fmla="*/ 335874 h 489227"/>
                <a:gd name="connsiteX6" fmla="*/ 266234 w 468798"/>
                <a:gd name="connsiteY6" fmla="*/ 376412 h 489227"/>
                <a:gd name="connsiteX7" fmla="*/ 263700 w 468798"/>
                <a:gd name="connsiteY7" fmla="*/ 420371 h 489227"/>
                <a:gd name="connsiteX8" fmla="*/ 266107 w 468798"/>
                <a:gd name="connsiteY8" fmla="*/ 441654 h 489227"/>
                <a:gd name="connsiteX9" fmla="*/ 219614 w 468798"/>
                <a:gd name="connsiteY9" fmla="*/ 479785 h 489227"/>
                <a:gd name="connsiteX10" fmla="*/ 176796 w 468798"/>
                <a:gd name="connsiteY10" fmla="*/ 486753 h 489227"/>
                <a:gd name="connsiteX11" fmla="*/ 176669 w 468798"/>
                <a:gd name="connsiteY11" fmla="*/ 482699 h 489227"/>
                <a:gd name="connsiteX12" fmla="*/ 176416 w 468798"/>
                <a:gd name="connsiteY12" fmla="*/ 478265 h 489227"/>
                <a:gd name="connsiteX13" fmla="*/ 176289 w 468798"/>
                <a:gd name="connsiteY13" fmla="*/ 476871 h 489227"/>
                <a:gd name="connsiteX14" fmla="*/ 176162 w 468798"/>
                <a:gd name="connsiteY14" fmla="*/ 473958 h 489227"/>
                <a:gd name="connsiteX15" fmla="*/ 175402 w 468798"/>
                <a:gd name="connsiteY15" fmla="*/ 465976 h 489227"/>
                <a:gd name="connsiteX16" fmla="*/ 175022 w 468798"/>
                <a:gd name="connsiteY16" fmla="*/ 462809 h 489227"/>
                <a:gd name="connsiteX17" fmla="*/ 174769 w 468798"/>
                <a:gd name="connsiteY17" fmla="*/ 460909 h 489227"/>
                <a:gd name="connsiteX18" fmla="*/ 174389 w 468798"/>
                <a:gd name="connsiteY18" fmla="*/ 457995 h 489227"/>
                <a:gd name="connsiteX19" fmla="*/ 173882 w 468798"/>
                <a:gd name="connsiteY19" fmla="*/ 454702 h 489227"/>
                <a:gd name="connsiteX20" fmla="*/ 173249 w 468798"/>
                <a:gd name="connsiteY20" fmla="*/ 451155 h 489227"/>
                <a:gd name="connsiteX21" fmla="*/ 172742 w 468798"/>
                <a:gd name="connsiteY21" fmla="*/ 449001 h 489227"/>
                <a:gd name="connsiteX22" fmla="*/ 180343 w 468798"/>
                <a:gd name="connsiteY22" fmla="*/ 416697 h 489227"/>
                <a:gd name="connsiteX23" fmla="*/ 160200 w 468798"/>
                <a:gd name="connsiteY23" fmla="*/ 376412 h 489227"/>
                <a:gd name="connsiteX24" fmla="*/ 209353 w 468798"/>
                <a:gd name="connsiteY24" fmla="*/ 341448 h 489227"/>
                <a:gd name="connsiteX25" fmla="*/ 185917 w 468798"/>
                <a:gd name="connsiteY25" fmla="*/ 302176 h 489227"/>
                <a:gd name="connsiteX26" fmla="*/ 157540 w 468798"/>
                <a:gd name="connsiteY26" fmla="*/ 325612 h 489227"/>
                <a:gd name="connsiteX27" fmla="*/ 123843 w 468798"/>
                <a:gd name="connsiteY27" fmla="*/ 333847 h 489227"/>
                <a:gd name="connsiteX28" fmla="*/ 120169 w 468798"/>
                <a:gd name="connsiteY28" fmla="*/ 362223 h 489227"/>
                <a:gd name="connsiteX29" fmla="*/ 99013 w 468798"/>
                <a:gd name="connsiteY29" fmla="*/ 384013 h 489227"/>
                <a:gd name="connsiteX30" fmla="*/ 88498 w 468798"/>
                <a:gd name="connsiteY30" fmla="*/ 359943 h 489227"/>
                <a:gd name="connsiteX31" fmla="*/ 23763 w 468798"/>
                <a:gd name="connsiteY31" fmla="*/ 355003 h 489227"/>
                <a:gd name="connsiteX32" fmla="*/ 7295 w 468798"/>
                <a:gd name="connsiteY32" fmla="*/ 314718 h 489227"/>
                <a:gd name="connsiteX33" fmla="*/ 13882 w 468798"/>
                <a:gd name="connsiteY33" fmla="*/ 290268 h 489227"/>
                <a:gd name="connsiteX34" fmla="*/ 14896 w 468798"/>
                <a:gd name="connsiteY34" fmla="*/ 283554 h 489227"/>
                <a:gd name="connsiteX35" fmla="*/ 27057 w 468798"/>
                <a:gd name="connsiteY35" fmla="*/ 271392 h 489227"/>
                <a:gd name="connsiteX36" fmla="*/ 41245 w 468798"/>
                <a:gd name="connsiteY36" fmla="*/ 259864 h 489227"/>
                <a:gd name="connsiteX37" fmla="*/ 41752 w 468798"/>
                <a:gd name="connsiteY37" fmla="*/ 209318 h 489227"/>
                <a:gd name="connsiteX38" fmla="*/ 95339 w 468798"/>
                <a:gd name="connsiteY38" fmla="*/ 211978 h 489227"/>
                <a:gd name="connsiteX39" fmla="*/ 109781 w 468798"/>
                <a:gd name="connsiteY39" fmla="*/ 179041 h 489227"/>
                <a:gd name="connsiteX40" fmla="*/ 114721 w 468798"/>
                <a:gd name="connsiteY40" fmla="*/ 115319 h 489227"/>
                <a:gd name="connsiteX41" fmla="*/ 151079 w 468798"/>
                <a:gd name="connsiteY41" fmla="*/ 111012 h 489227"/>
                <a:gd name="connsiteX42" fmla="*/ 188957 w 468798"/>
                <a:gd name="connsiteY42" fmla="*/ 135462 h 489227"/>
                <a:gd name="connsiteX43" fmla="*/ 234816 w 468798"/>
                <a:gd name="connsiteY43" fmla="*/ 95937 h 489227"/>
                <a:gd name="connsiteX44" fmla="*/ 267120 w 468798"/>
                <a:gd name="connsiteY44" fmla="*/ 21068 h 489227"/>
                <a:gd name="connsiteX45" fmla="*/ 324888 w 468798"/>
                <a:gd name="connsiteY45" fmla="*/ 3965 h 489227"/>
                <a:gd name="connsiteX46" fmla="*/ 350604 w 468798"/>
                <a:gd name="connsiteY46" fmla="*/ 33229 h 489227"/>
                <a:gd name="connsiteX47" fmla="*/ 356178 w 468798"/>
                <a:gd name="connsiteY47" fmla="*/ 56285 h 489227"/>
                <a:gd name="connsiteX48" fmla="*/ 406345 w 468798"/>
                <a:gd name="connsiteY48" fmla="*/ 54638 h 489227"/>
                <a:gd name="connsiteX49" fmla="*/ 468799 w 468798"/>
                <a:gd name="connsiteY49" fmla="*/ 110379 h 48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798" h="489227">
                  <a:moveTo>
                    <a:pt x="468799" y="110379"/>
                  </a:moveTo>
                  <a:cubicBezTo>
                    <a:pt x="460438" y="121020"/>
                    <a:pt x="447516" y="132295"/>
                    <a:pt x="435101" y="145343"/>
                  </a:cubicBezTo>
                  <a:cubicBezTo>
                    <a:pt x="414326" y="167133"/>
                    <a:pt x="416226" y="172580"/>
                    <a:pt x="405838" y="193356"/>
                  </a:cubicBezTo>
                  <a:cubicBezTo>
                    <a:pt x="395450" y="214132"/>
                    <a:pt x="388482" y="219579"/>
                    <a:pt x="372647" y="225533"/>
                  </a:cubicBezTo>
                  <a:cubicBezTo>
                    <a:pt x="356812" y="231487"/>
                    <a:pt x="353898" y="255683"/>
                    <a:pt x="339963" y="280387"/>
                  </a:cubicBezTo>
                  <a:cubicBezTo>
                    <a:pt x="326155" y="305216"/>
                    <a:pt x="334009" y="309650"/>
                    <a:pt x="334009" y="335874"/>
                  </a:cubicBezTo>
                  <a:cubicBezTo>
                    <a:pt x="334009" y="362097"/>
                    <a:pt x="287390" y="369064"/>
                    <a:pt x="266234" y="376412"/>
                  </a:cubicBezTo>
                  <a:cubicBezTo>
                    <a:pt x="245078" y="383886"/>
                    <a:pt x="253819" y="410489"/>
                    <a:pt x="263700" y="420371"/>
                  </a:cubicBezTo>
                  <a:cubicBezTo>
                    <a:pt x="273581" y="430252"/>
                    <a:pt x="266107" y="441654"/>
                    <a:pt x="266107" y="441654"/>
                  </a:cubicBezTo>
                  <a:cubicBezTo>
                    <a:pt x="250905" y="434053"/>
                    <a:pt x="232790" y="465216"/>
                    <a:pt x="219614" y="479785"/>
                  </a:cubicBezTo>
                  <a:cubicBezTo>
                    <a:pt x="205299" y="495620"/>
                    <a:pt x="176796" y="486753"/>
                    <a:pt x="176796" y="486753"/>
                  </a:cubicBezTo>
                  <a:cubicBezTo>
                    <a:pt x="176796" y="485359"/>
                    <a:pt x="176796" y="483966"/>
                    <a:pt x="176669" y="482699"/>
                  </a:cubicBezTo>
                  <a:cubicBezTo>
                    <a:pt x="176669" y="481179"/>
                    <a:pt x="176542" y="479658"/>
                    <a:pt x="176416" y="478265"/>
                  </a:cubicBezTo>
                  <a:cubicBezTo>
                    <a:pt x="176416" y="477758"/>
                    <a:pt x="176416" y="477378"/>
                    <a:pt x="176289" y="476871"/>
                  </a:cubicBezTo>
                  <a:cubicBezTo>
                    <a:pt x="176289" y="475858"/>
                    <a:pt x="176162" y="474844"/>
                    <a:pt x="176162" y="473958"/>
                  </a:cubicBezTo>
                  <a:cubicBezTo>
                    <a:pt x="175909" y="471170"/>
                    <a:pt x="175782" y="468510"/>
                    <a:pt x="175402" y="465976"/>
                  </a:cubicBezTo>
                  <a:cubicBezTo>
                    <a:pt x="175276" y="464836"/>
                    <a:pt x="175149" y="463823"/>
                    <a:pt x="175022" y="462809"/>
                  </a:cubicBezTo>
                  <a:cubicBezTo>
                    <a:pt x="174896" y="462176"/>
                    <a:pt x="174896" y="461543"/>
                    <a:pt x="174769" y="460909"/>
                  </a:cubicBezTo>
                  <a:cubicBezTo>
                    <a:pt x="174642" y="459896"/>
                    <a:pt x="174516" y="458882"/>
                    <a:pt x="174389" y="457995"/>
                  </a:cubicBezTo>
                  <a:cubicBezTo>
                    <a:pt x="174135" y="456855"/>
                    <a:pt x="174009" y="455715"/>
                    <a:pt x="173882" y="454702"/>
                  </a:cubicBezTo>
                  <a:cubicBezTo>
                    <a:pt x="173629" y="453308"/>
                    <a:pt x="173375" y="452041"/>
                    <a:pt x="173249" y="451155"/>
                  </a:cubicBezTo>
                  <a:cubicBezTo>
                    <a:pt x="173122" y="450268"/>
                    <a:pt x="172995" y="449634"/>
                    <a:pt x="172742" y="449001"/>
                  </a:cubicBezTo>
                  <a:cubicBezTo>
                    <a:pt x="169448" y="436080"/>
                    <a:pt x="161467" y="435193"/>
                    <a:pt x="180343" y="416697"/>
                  </a:cubicBezTo>
                  <a:cubicBezTo>
                    <a:pt x="199219" y="398201"/>
                    <a:pt x="174135" y="389587"/>
                    <a:pt x="160200" y="376412"/>
                  </a:cubicBezTo>
                  <a:cubicBezTo>
                    <a:pt x="146392" y="363237"/>
                    <a:pt x="187184" y="353356"/>
                    <a:pt x="209353" y="341448"/>
                  </a:cubicBezTo>
                  <a:cubicBezTo>
                    <a:pt x="231396" y="329540"/>
                    <a:pt x="202006" y="309397"/>
                    <a:pt x="185917" y="302176"/>
                  </a:cubicBezTo>
                  <a:cubicBezTo>
                    <a:pt x="169828" y="294955"/>
                    <a:pt x="162481" y="313704"/>
                    <a:pt x="157540" y="325612"/>
                  </a:cubicBezTo>
                  <a:cubicBezTo>
                    <a:pt x="152600" y="337521"/>
                    <a:pt x="145379" y="332580"/>
                    <a:pt x="123843" y="333847"/>
                  </a:cubicBezTo>
                  <a:cubicBezTo>
                    <a:pt x="102433" y="335114"/>
                    <a:pt x="115861" y="346388"/>
                    <a:pt x="120169" y="362223"/>
                  </a:cubicBezTo>
                  <a:cubicBezTo>
                    <a:pt x="124476" y="378059"/>
                    <a:pt x="106614" y="378692"/>
                    <a:pt x="99013" y="384013"/>
                  </a:cubicBezTo>
                  <a:cubicBezTo>
                    <a:pt x="91412" y="389334"/>
                    <a:pt x="83558" y="376159"/>
                    <a:pt x="88498" y="359943"/>
                  </a:cubicBezTo>
                  <a:cubicBezTo>
                    <a:pt x="93439" y="343728"/>
                    <a:pt x="37952" y="355636"/>
                    <a:pt x="23763" y="355003"/>
                  </a:cubicBezTo>
                  <a:cubicBezTo>
                    <a:pt x="9575" y="354369"/>
                    <a:pt x="21483" y="321052"/>
                    <a:pt x="7295" y="314718"/>
                  </a:cubicBezTo>
                  <a:cubicBezTo>
                    <a:pt x="-6894" y="308383"/>
                    <a:pt x="1974" y="299136"/>
                    <a:pt x="13882" y="290268"/>
                  </a:cubicBezTo>
                  <a:cubicBezTo>
                    <a:pt x="16669" y="288241"/>
                    <a:pt x="16669" y="285961"/>
                    <a:pt x="14896" y="283554"/>
                  </a:cubicBezTo>
                  <a:cubicBezTo>
                    <a:pt x="17049" y="279247"/>
                    <a:pt x="20976" y="272912"/>
                    <a:pt x="27057" y="271392"/>
                  </a:cubicBezTo>
                  <a:cubicBezTo>
                    <a:pt x="36305" y="269112"/>
                    <a:pt x="43906" y="277346"/>
                    <a:pt x="41245" y="259864"/>
                  </a:cubicBezTo>
                  <a:cubicBezTo>
                    <a:pt x="38585" y="242382"/>
                    <a:pt x="21483" y="203490"/>
                    <a:pt x="41752" y="209318"/>
                  </a:cubicBezTo>
                  <a:cubicBezTo>
                    <a:pt x="62021" y="215272"/>
                    <a:pt x="80517" y="221606"/>
                    <a:pt x="95339" y="211978"/>
                  </a:cubicBezTo>
                  <a:cubicBezTo>
                    <a:pt x="110161" y="202350"/>
                    <a:pt x="115735" y="196776"/>
                    <a:pt x="109781" y="179041"/>
                  </a:cubicBezTo>
                  <a:cubicBezTo>
                    <a:pt x="103827" y="161178"/>
                    <a:pt x="94959" y="130141"/>
                    <a:pt x="114721" y="115319"/>
                  </a:cubicBezTo>
                  <a:cubicBezTo>
                    <a:pt x="134484" y="100497"/>
                    <a:pt x="145379" y="99231"/>
                    <a:pt x="151079" y="111012"/>
                  </a:cubicBezTo>
                  <a:cubicBezTo>
                    <a:pt x="156653" y="122920"/>
                    <a:pt x="174769" y="136476"/>
                    <a:pt x="188957" y="135462"/>
                  </a:cubicBezTo>
                  <a:cubicBezTo>
                    <a:pt x="203146" y="134449"/>
                    <a:pt x="228862" y="114939"/>
                    <a:pt x="234816" y="95937"/>
                  </a:cubicBezTo>
                  <a:cubicBezTo>
                    <a:pt x="240770" y="76808"/>
                    <a:pt x="246725" y="30189"/>
                    <a:pt x="267120" y="21068"/>
                  </a:cubicBezTo>
                  <a:cubicBezTo>
                    <a:pt x="287643" y="11820"/>
                    <a:pt x="308419" y="-8576"/>
                    <a:pt x="324888" y="3965"/>
                  </a:cubicBezTo>
                  <a:cubicBezTo>
                    <a:pt x="341356" y="16507"/>
                    <a:pt x="356938" y="22715"/>
                    <a:pt x="350604" y="33229"/>
                  </a:cubicBezTo>
                  <a:cubicBezTo>
                    <a:pt x="344270" y="43744"/>
                    <a:pt x="344270" y="50331"/>
                    <a:pt x="356178" y="56285"/>
                  </a:cubicBezTo>
                  <a:cubicBezTo>
                    <a:pt x="368086" y="62239"/>
                    <a:pt x="405711" y="35510"/>
                    <a:pt x="406345" y="54638"/>
                  </a:cubicBezTo>
                  <a:cubicBezTo>
                    <a:pt x="407611" y="73894"/>
                    <a:pt x="412552" y="129001"/>
                    <a:pt x="468799" y="11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6" name="Полилиния: фигура 405">
              <a:extLst>
                <a:ext uri="{FF2B5EF4-FFF2-40B4-BE49-F238E27FC236}">
                  <a16:creationId xmlns:a16="http://schemas.microsoft.com/office/drawing/2014/main" id="{7483064E-D7D9-490C-9731-0F27ED567F71}"/>
                </a:ext>
              </a:extLst>
            </p:cNvPr>
            <p:cNvSpPr/>
            <p:nvPr/>
          </p:nvSpPr>
          <p:spPr>
            <a:xfrm>
              <a:off x="3107898" y="2259178"/>
              <a:ext cx="1253483" cy="1157859"/>
            </a:xfrm>
            <a:custGeom>
              <a:avLst/>
              <a:gdLst>
                <a:gd name="connsiteX0" fmla="*/ 1157712 w 1253483"/>
                <a:gd name="connsiteY0" fmla="*/ 666349 h 1157859"/>
                <a:gd name="connsiteX1" fmla="*/ 1138963 w 1253483"/>
                <a:gd name="connsiteY1" fmla="*/ 722343 h 1157859"/>
                <a:gd name="connsiteX2" fmla="*/ 1150364 w 1253483"/>
                <a:gd name="connsiteY2" fmla="*/ 761361 h 1157859"/>
                <a:gd name="connsiteX3" fmla="*/ 1126041 w 1253483"/>
                <a:gd name="connsiteY3" fmla="*/ 795059 h 1157859"/>
                <a:gd name="connsiteX4" fmla="*/ 1093864 w 1253483"/>
                <a:gd name="connsiteY4" fmla="*/ 770356 h 1157859"/>
                <a:gd name="connsiteX5" fmla="*/ 1072581 w 1253483"/>
                <a:gd name="connsiteY5" fmla="*/ 761361 h 1157859"/>
                <a:gd name="connsiteX6" fmla="*/ 1034450 w 1253483"/>
                <a:gd name="connsiteY6" fmla="*/ 740585 h 1157859"/>
                <a:gd name="connsiteX7" fmla="*/ 978963 w 1253483"/>
                <a:gd name="connsiteY7" fmla="*/ 733618 h 1157859"/>
                <a:gd name="connsiteX8" fmla="*/ 967054 w 1253483"/>
                <a:gd name="connsiteY8" fmla="*/ 692573 h 1157859"/>
                <a:gd name="connsiteX9" fmla="*/ 891805 w 1253483"/>
                <a:gd name="connsiteY9" fmla="*/ 641646 h 1157859"/>
                <a:gd name="connsiteX10" fmla="*/ 862668 w 1253483"/>
                <a:gd name="connsiteY10" fmla="*/ 598574 h 1157859"/>
                <a:gd name="connsiteX11" fmla="*/ 818076 w 1253483"/>
                <a:gd name="connsiteY11" fmla="*/ 564497 h 1157859"/>
                <a:gd name="connsiteX12" fmla="*/ 793880 w 1253483"/>
                <a:gd name="connsiteY12" fmla="*/ 583246 h 1157859"/>
                <a:gd name="connsiteX13" fmla="*/ 840879 w 1253483"/>
                <a:gd name="connsiteY13" fmla="*/ 672303 h 1157859"/>
                <a:gd name="connsiteX14" fmla="*/ 785519 w 1253483"/>
                <a:gd name="connsiteY14" fmla="*/ 746033 h 1157859"/>
                <a:gd name="connsiteX15" fmla="*/ 791473 w 1253483"/>
                <a:gd name="connsiteY15" fmla="*/ 812414 h 1157859"/>
                <a:gd name="connsiteX16" fmla="*/ 741433 w 1253483"/>
                <a:gd name="connsiteY16" fmla="*/ 837117 h 1157859"/>
                <a:gd name="connsiteX17" fmla="*/ 717236 w 1253483"/>
                <a:gd name="connsiteY17" fmla="*/ 869295 h 1157859"/>
                <a:gd name="connsiteX18" fmla="*/ 693040 w 1253483"/>
                <a:gd name="connsiteY18" fmla="*/ 882596 h 1157859"/>
                <a:gd name="connsiteX19" fmla="*/ 689113 w 1253483"/>
                <a:gd name="connsiteY19" fmla="*/ 908313 h 1157859"/>
                <a:gd name="connsiteX20" fmla="*/ 676191 w 1253483"/>
                <a:gd name="connsiteY20" fmla="*/ 936056 h 1157859"/>
                <a:gd name="connsiteX21" fmla="*/ 703428 w 1253483"/>
                <a:gd name="connsiteY21" fmla="*/ 933649 h 1157859"/>
                <a:gd name="connsiteX22" fmla="*/ 731172 w 1253483"/>
                <a:gd name="connsiteY22" fmla="*/ 953919 h 1157859"/>
                <a:gd name="connsiteX23" fmla="*/ 785645 w 1253483"/>
                <a:gd name="connsiteY23" fmla="*/ 928709 h 1157859"/>
                <a:gd name="connsiteX24" fmla="*/ 803001 w 1253483"/>
                <a:gd name="connsiteY24" fmla="*/ 937577 h 1157859"/>
                <a:gd name="connsiteX25" fmla="*/ 830237 w 1253483"/>
                <a:gd name="connsiteY25" fmla="*/ 920221 h 1157859"/>
                <a:gd name="connsiteX26" fmla="*/ 858994 w 1253483"/>
                <a:gd name="connsiteY26" fmla="*/ 987489 h 1157859"/>
                <a:gd name="connsiteX27" fmla="*/ 831251 w 1253483"/>
                <a:gd name="connsiteY27" fmla="*/ 1017133 h 1157859"/>
                <a:gd name="connsiteX28" fmla="*/ 773864 w 1253483"/>
                <a:gd name="connsiteY28" fmla="*/ 1046270 h 1157859"/>
                <a:gd name="connsiteX29" fmla="*/ 724964 w 1253483"/>
                <a:gd name="connsiteY29" fmla="*/ 1068060 h 1157859"/>
                <a:gd name="connsiteX30" fmla="*/ 720530 w 1253483"/>
                <a:gd name="connsiteY30" fmla="*/ 1107584 h 1157859"/>
                <a:gd name="connsiteX31" fmla="*/ 679485 w 1253483"/>
                <a:gd name="connsiteY31" fmla="*/ 1155597 h 1157859"/>
                <a:gd name="connsiteX32" fmla="*/ 604742 w 1253483"/>
                <a:gd name="connsiteY32" fmla="*/ 1128867 h 1157859"/>
                <a:gd name="connsiteX33" fmla="*/ 562557 w 1253483"/>
                <a:gd name="connsiteY33" fmla="*/ 1136975 h 1157859"/>
                <a:gd name="connsiteX34" fmla="*/ 546088 w 1253483"/>
                <a:gd name="connsiteY34" fmla="*/ 1128867 h 1157859"/>
                <a:gd name="connsiteX35" fmla="*/ 552043 w 1253483"/>
                <a:gd name="connsiteY35" fmla="*/ 1103784 h 1157859"/>
                <a:gd name="connsiteX36" fmla="*/ 536461 w 1253483"/>
                <a:gd name="connsiteY36" fmla="*/ 1061599 h 1157859"/>
                <a:gd name="connsiteX37" fmla="*/ 492628 w 1253483"/>
                <a:gd name="connsiteY37" fmla="*/ 1060205 h 1157859"/>
                <a:gd name="connsiteX38" fmla="*/ 434481 w 1253483"/>
                <a:gd name="connsiteY38" fmla="*/ 1020047 h 1157859"/>
                <a:gd name="connsiteX39" fmla="*/ 442082 w 1253483"/>
                <a:gd name="connsiteY39" fmla="*/ 991290 h 1157859"/>
                <a:gd name="connsiteX40" fmla="*/ 430174 w 1253483"/>
                <a:gd name="connsiteY40" fmla="*/ 954299 h 1157859"/>
                <a:gd name="connsiteX41" fmla="*/ 390902 w 1253483"/>
                <a:gd name="connsiteY41" fmla="*/ 957212 h 1157859"/>
                <a:gd name="connsiteX42" fmla="*/ 350997 w 1253483"/>
                <a:gd name="connsiteY42" fmla="*/ 932509 h 1157859"/>
                <a:gd name="connsiteX43" fmla="*/ 323634 w 1253483"/>
                <a:gd name="connsiteY43" fmla="*/ 876009 h 1157859"/>
                <a:gd name="connsiteX44" fmla="*/ 288290 w 1253483"/>
                <a:gd name="connsiteY44" fmla="*/ 863467 h 1157859"/>
                <a:gd name="connsiteX45" fmla="*/ 244711 w 1253483"/>
                <a:gd name="connsiteY45" fmla="*/ 844972 h 1157859"/>
                <a:gd name="connsiteX46" fmla="*/ 229889 w 1253483"/>
                <a:gd name="connsiteY46" fmla="*/ 812034 h 1157859"/>
                <a:gd name="connsiteX47" fmla="*/ 204172 w 1253483"/>
                <a:gd name="connsiteY47" fmla="*/ 793159 h 1157859"/>
                <a:gd name="connsiteX48" fmla="*/ 188337 w 1253483"/>
                <a:gd name="connsiteY48" fmla="*/ 748566 h 1157859"/>
                <a:gd name="connsiteX49" fmla="*/ 127023 w 1253483"/>
                <a:gd name="connsiteY49" fmla="*/ 724497 h 1157859"/>
                <a:gd name="connsiteX50" fmla="*/ 102953 w 1253483"/>
                <a:gd name="connsiteY50" fmla="*/ 701060 h 1157859"/>
                <a:gd name="connsiteX51" fmla="*/ 75590 w 1253483"/>
                <a:gd name="connsiteY51" fmla="*/ 672303 h 1157859"/>
                <a:gd name="connsiteX52" fmla="*/ 43666 w 1253483"/>
                <a:gd name="connsiteY52" fmla="*/ 614916 h 1157859"/>
                <a:gd name="connsiteX53" fmla="*/ 15669 w 1253483"/>
                <a:gd name="connsiteY53" fmla="*/ 584512 h 1157859"/>
                <a:gd name="connsiteX54" fmla="*/ 87 w 1253483"/>
                <a:gd name="connsiteY54" fmla="*/ 535360 h 1157859"/>
                <a:gd name="connsiteX55" fmla="*/ 44299 w 1253483"/>
                <a:gd name="connsiteY55" fmla="*/ 426539 h 1157859"/>
                <a:gd name="connsiteX56" fmla="*/ 45693 w 1253483"/>
                <a:gd name="connsiteY56" fmla="*/ 416025 h 1157859"/>
                <a:gd name="connsiteX57" fmla="*/ 117902 w 1253483"/>
                <a:gd name="connsiteY57" fmla="*/ 390308 h 1157859"/>
                <a:gd name="connsiteX58" fmla="*/ 153119 w 1253483"/>
                <a:gd name="connsiteY58" fmla="*/ 335328 h 1157859"/>
                <a:gd name="connsiteX59" fmla="*/ 220388 w 1253483"/>
                <a:gd name="connsiteY59" fmla="*/ 288836 h 1157859"/>
                <a:gd name="connsiteX60" fmla="*/ 210000 w 1253483"/>
                <a:gd name="connsiteY60" fmla="*/ 252224 h 1157859"/>
                <a:gd name="connsiteX61" fmla="*/ 185297 w 1253483"/>
                <a:gd name="connsiteY61" fmla="*/ 200284 h 1157859"/>
                <a:gd name="connsiteX62" fmla="*/ 231283 w 1253483"/>
                <a:gd name="connsiteY62" fmla="*/ 133903 h 1157859"/>
                <a:gd name="connsiteX63" fmla="*/ 254592 w 1253483"/>
                <a:gd name="connsiteY63" fmla="*/ 105146 h 1157859"/>
                <a:gd name="connsiteX64" fmla="*/ 272454 w 1253483"/>
                <a:gd name="connsiteY64" fmla="*/ 79936 h 1157859"/>
                <a:gd name="connsiteX65" fmla="*/ 355178 w 1253483"/>
                <a:gd name="connsiteY65" fmla="*/ 93364 h 1157859"/>
                <a:gd name="connsiteX66" fmla="*/ 367339 w 1253483"/>
                <a:gd name="connsiteY66" fmla="*/ 126935 h 1157859"/>
                <a:gd name="connsiteX67" fmla="*/ 382288 w 1253483"/>
                <a:gd name="connsiteY67" fmla="*/ 155185 h 1157859"/>
                <a:gd name="connsiteX68" fmla="*/ 403571 w 1253483"/>
                <a:gd name="connsiteY68" fmla="*/ 182042 h 1157859"/>
                <a:gd name="connsiteX69" fmla="*/ 434861 w 1253483"/>
                <a:gd name="connsiteY69" fmla="*/ 176468 h 1157859"/>
                <a:gd name="connsiteX70" fmla="*/ 473879 w 1253483"/>
                <a:gd name="connsiteY70" fmla="*/ 135930 h 1157859"/>
                <a:gd name="connsiteX71" fmla="*/ 449176 w 1253483"/>
                <a:gd name="connsiteY71" fmla="*/ 105526 h 1157859"/>
                <a:gd name="connsiteX72" fmla="*/ 452724 w 1253483"/>
                <a:gd name="connsiteY72" fmla="*/ 80696 h 1157859"/>
                <a:gd name="connsiteX73" fmla="*/ 469826 w 1253483"/>
                <a:gd name="connsiteY73" fmla="*/ 47505 h 1157859"/>
                <a:gd name="connsiteX74" fmla="*/ 477300 w 1253483"/>
                <a:gd name="connsiteY74" fmla="*/ 3293 h 1157859"/>
                <a:gd name="connsiteX75" fmla="*/ 510491 w 1253483"/>
                <a:gd name="connsiteY75" fmla="*/ 13554 h 1157859"/>
                <a:gd name="connsiteX76" fmla="*/ 537347 w 1253483"/>
                <a:gd name="connsiteY76" fmla="*/ 2026 h 1157859"/>
                <a:gd name="connsiteX77" fmla="*/ 554196 w 1253483"/>
                <a:gd name="connsiteY77" fmla="*/ 62707 h 1157859"/>
                <a:gd name="connsiteX78" fmla="*/ 557743 w 1253483"/>
                <a:gd name="connsiteY78" fmla="*/ 100205 h 1157859"/>
                <a:gd name="connsiteX79" fmla="*/ 529240 w 1253483"/>
                <a:gd name="connsiteY79" fmla="*/ 115661 h 1157859"/>
                <a:gd name="connsiteX80" fmla="*/ 556857 w 1253483"/>
                <a:gd name="connsiteY80" fmla="*/ 135423 h 1157859"/>
                <a:gd name="connsiteX81" fmla="*/ 575099 w 1253483"/>
                <a:gd name="connsiteY81" fmla="*/ 166080 h 1157859"/>
                <a:gd name="connsiteX82" fmla="*/ 606009 w 1253483"/>
                <a:gd name="connsiteY82" fmla="*/ 236009 h 1157859"/>
                <a:gd name="connsiteX83" fmla="*/ 672644 w 1253483"/>
                <a:gd name="connsiteY83" fmla="*/ 203071 h 1157859"/>
                <a:gd name="connsiteX84" fmla="*/ 709635 w 1253483"/>
                <a:gd name="connsiteY84" fmla="*/ 127189 h 1157859"/>
                <a:gd name="connsiteX85" fmla="*/ 754481 w 1253483"/>
                <a:gd name="connsiteY85" fmla="*/ 125035 h 1157859"/>
                <a:gd name="connsiteX86" fmla="*/ 801987 w 1253483"/>
                <a:gd name="connsiteY86" fmla="*/ 121995 h 1157859"/>
                <a:gd name="connsiteX87" fmla="*/ 866722 w 1253483"/>
                <a:gd name="connsiteY87" fmla="*/ 149738 h 1157859"/>
                <a:gd name="connsiteX88" fmla="*/ 898646 w 1253483"/>
                <a:gd name="connsiteY88" fmla="*/ 146444 h 1157859"/>
                <a:gd name="connsiteX89" fmla="*/ 945519 w 1253483"/>
                <a:gd name="connsiteY89" fmla="*/ 143404 h 1157859"/>
                <a:gd name="connsiteX90" fmla="*/ 968321 w 1253483"/>
                <a:gd name="connsiteY90" fmla="*/ 154805 h 1157859"/>
                <a:gd name="connsiteX91" fmla="*/ 971488 w 1253483"/>
                <a:gd name="connsiteY91" fmla="*/ 182802 h 1157859"/>
                <a:gd name="connsiteX92" fmla="*/ 991631 w 1253483"/>
                <a:gd name="connsiteY92" fmla="*/ 238289 h 1157859"/>
                <a:gd name="connsiteX93" fmla="*/ 973008 w 1253483"/>
                <a:gd name="connsiteY93" fmla="*/ 251717 h 1157859"/>
                <a:gd name="connsiteX94" fmla="*/ 988084 w 1253483"/>
                <a:gd name="connsiteY94" fmla="*/ 267046 h 1157859"/>
                <a:gd name="connsiteX95" fmla="*/ 994671 w 1253483"/>
                <a:gd name="connsiteY95" fmla="*/ 286809 h 1157859"/>
                <a:gd name="connsiteX96" fmla="*/ 1005059 w 1253483"/>
                <a:gd name="connsiteY96" fmla="*/ 284908 h 1157859"/>
                <a:gd name="connsiteX97" fmla="*/ 1010506 w 1253483"/>
                <a:gd name="connsiteY97" fmla="*/ 295423 h 1157859"/>
                <a:gd name="connsiteX98" fmla="*/ 1026722 w 1253483"/>
                <a:gd name="connsiteY98" fmla="*/ 316832 h 1157859"/>
                <a:gd name="connsiteX99" fmla="*/ 1045598 w 1253483"/>
                <a:gd name="connsiteY99" fmla="*/ 344702 h 1157859"/>
                <a:gd name="connsiteX100" fmla="*/ 1059533 w 1253483"/>
                <a:gd name="connsiteY100" fmla="*/ 373713 h 1157859"/>
                <a:gd name="connsiteX101" fmla="*/ 1074101 w 1253483"/>
                <a:gd name="connsiteY101" fmla="*/ 399936 h 1157859"/>
                <a:gd name="connsiteX102" fmla="*/ 1081449 w 1253483"/>
                <a:gd name="connsiteY102" fmla="*/ 429580 h 1157859"/>
                <a:gd name="connsiteX103" fmla="*/ 1095004 w 1253483"/>
                <a:gd name="connsiteY103" fmla="*/ 475565 h 1157859"/>
                <a:gd name="connsiteX104" fmla="*/ 1109699 w 1253483"/>
                <a:gd name="connsiteY104" fmla="*/ 487980 h 1157859"/>
                <a:gd name="connsiteX105" fmla="*/ 1127941 w 1253483"/>
                <a:gd name="connsiteY105" fmla="*/ 492288 h 1157859"/>
                <a:gd name="connsiteX106" fmla="*/ 1143017 w 1253483"/>
                <a:gd name="connsiteY106" fmla="*/ 498622 h 1157859"/>
                <a:gd name="connsiteX107" fmla="*/ 1155811 w 1253483"/>
                <a:gd name="connsiteY107" fmla="*/ 477846 h 1157859"/>
                <a:gd name="connsiteX108" fmla="*/ 1176461 w 1253483"/>
                <a:gd name="connsiteY108" fmla="*/ 474805 h 1157859"/>
                <a:gd name="connsiteX109" fmla="*/ 1205978 w 1253483"/>
                <a:gd name="connsiteY109" fmla="*/ 494315 h 1157859"/>
                <a:gd name="connsiteX110" fmla="*/ 1253484 w 1253483"/>
                <a:gd name="connsiteY110" fmla="*/ 516611 h 1157859"/>
                <a:gd name="connsiteX111" fmla="*/ 1148084 w 1253483"/>
                <a:gd name="connsiteY111" fmla="*/ 620490 h 1157859"/>
                <a:gd name="connsiteX112" fmla="*/ 1157712 w 1253483"/>
                <a:gd name="connsiteY112" fmla="*/ 666349 h 115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53483" h="1157859">
                  <a:moveTo>
                    <a:pt x="1157712" y="666349"/>
                  </a:moveTo>
                  <a:cubicBezTo>
                    <a:pt x="1169620" y="678257"/>
                    <a:pt x="1146310" y="708408"/>
                    <a:pt x="1138963" y="722343"/>
                  </a:cubicBezTo>
                  <a:cubicBezTo>
                    <a:pt x="1131488" y="736151"/>
                    <a:pt x="1139470" y="743626"/>
                    <a:pt x="1150364" y="761361"/>
                  </a:cubicBezTo>
                  <a:cubicBezTo>
                    <a:pt x="1161259" y="779223"/>
                    <a:pt x="1141877" y="787584"/>
                    <a:pt x="1126041" y="795059"/>
                  </a:cubicBezTo>
                  <a:cubicBezTo>
                    <a:pt x="1110206" y="802533"/>
                    <a:pt x="1098804" y="782644"/>
                    <a:pt x="1093864" y="770356"/>
                  </a:cubicBezTo>
                  <a:cubicBezTo>
                    <a:pt x="1088923" y="757941"/>
                    <a:pt x="1084489" y="763388"/>
                    <a:pt x="1072581" y="761361"/>
                  </a:cubicBezTo>
                  <a:cubicBezTo>
                    <a:pt x="1060673" y="759461"/>
                    <a:pt x="1055732" y="757941"/>
                    <a:pt x="1034450" y="740585"/>
                  </a:cubicBezTo>
                  <a:cubicBezTo>
                    <a:pt x="1013167" y="723230"/>
                    <a:pt x="1000372" y="732097"/>
                    <a:pt x="978963" y="733618"/>
                  </a:cubicBezTo>
                  <a:cubicBezTo>
                    <a:pt x="957680" y="735138"/>
                    <a:pt x="966168" y="713855"/>
                    <a:pt x="967054" y="692573"/>
                  </a:cubicBezTo>
                  <a:cubicBezTo>
                    <a:pt x="968068" y="671290"/>
                    <a:pt x="912707" y="651021"/>
                    <a:pt x="891805" y="641646"/>
                  </a:cubicBezTo>
                  <a:cubicBezTo>
                    <a:pt x="871029" y="632272"/>
                    <a:pt x="872043" y="617323"/>
                    <a:pt x="862668" y="598574"/>
                  </a:cubicBezTo>
                  <a:cubicBezTo>
                    <a:pt x="853294" y="579825"/>
                    <a:pt x="844299" y="584766"/>
                    <a:pt x="818076" y="564497"/>
                  </a:cubicBezTo>
                  <a:cubicBezTo>
                    <a:pt x="791853" y="544227"/>
                    <a:pt x="793373" y="568931"/>
                    <a:pt x="793880" y="583246"/>
                  </a:cubicBezTo>
                  <a:cubicBezTo>
                    <a:pt x="794386" y="597687"/>
                    <a:pt x="812122" y="625811"/>
                    <a:pt x="840879" y="672303"/>
                  </a:cubicBezTo>
                  <a:cubicBezTo>
                    <a:pt x="869636" y="718923"/>
                    <a:pt x="801354" y="733238"/>
                    <a:pt x="785519" y="746033"/>
                  </a:cubicBezTo>
                  <a:cubicBezTo>
                    <a:pt x="769683" y="758954"/>
                    <a:pt x="786532" y="788598"/>
                    <a:pt x="791473" y="812414"/>
                  </a:cubicBezTo>
                  <a:cubicBezTo>
                    <a:pt x="796413" y="836231"/>
                    <a:pt x="764236" y="838131"/>
                    <a:pt x="741433" y="837117"/>
                  </a:cubicBezTo>
                  <a:cubicBezTo>
                    <a:pt x="718630" y="836104"/>
                    <a:pt x="721670" y="854473"/>
                    <a:pt x="717236" y="869295"/>
                  </a:cubicBezTo>
                  <a:cubicBezTo>
                    <a:pt x="712803" y="884116"/>
                    <a:pt x="710269" y="878162"/>
                    <a:pt x="693040" y="882596"/>
                  </a:cubicBezTo>
                  <a:cubicBezTo>
                    <a:pt x="675685" y="887030"/>
                    <a:pt x="683666" y="897925"/>
                    <a:pt x="689113" y="908313"/>
                  </a:cubicBezTo>
                  <a:cubicBezTo>
                    <a:pt x="694561" y="918701"/>
                    <a:pt x="679739" y="921615"/>
                    <a:pt x="676191" y="936056"/>
                  </a:cubicBezTo>
                  <a:cubicBezTo>
                    <a:pt x="672771" y="950498"/>
                    <a:pt x="693547" y="937070"/>
                    <a:pt x="703428" y="933649"/>
                  </a:cubicBezTo>
                  <a:cubicBezTo>
                    <a:pt x="713309" y="930229"/>
                    <a:pt x="714323" y="945051"/>
                    <a:pt x="731172" y="953919"/>
                  </a:cubicBezTo>
                  <a:cubicBezTo>
                    <a:pt x="748020" y="962786"/>
                    <a:pt x="773737" y="938083"/>
                    <a:pt x="785645" y="928709"/>
                  </a:cubicBezTo>
                  <a:cubicBezTo>
                    <a:pt x="797553" y="919334"/>
                    <a:pt x="795526" y="928709"/>
                    <a:pt x="803001" y="937577"/>
                  </a:cubicBezTo>
                  <a:cubicBezTo>
                    <a:pt x="810475" y="946571"/>
                    <a:pt x="811488" y="937070"/>
                    <a:pt x="830237" y="920221"/>
                  </a:cubicBezTo>
                  <a:cubicBezTo>
                    <a:pt x="848986" y="903372"/>
                    <a:pt x="853040" y="970767"/>
                    <a:pt x="858994" y="987489"/>
                  </a:cubicBezTo>
                  <a:cubicBezTo>
                    <a:pt x="864948" y="1004338"/>
                    <a:pt x="855574" y="1007252"/>
                    <a:pt x="831251" y="1017133"/>
                  </a:cubicBezTo>
                  <a:cubicBezTo>
                    <a:pt x="806928" y="1027014"/>
                    <a:pt x="810981" y="1031448"/>
                    <a:pt x="773864" y="1046270"/>
                  </a:cubicBezTo>
                  <a:cubicBezTo>
                    <a:pt x="736746" y="1061092"/>
                    <a:pt x="738773" y="1051211"/>
                    <a:pt x="724964" y="1068060"/>
                  </a:cubicBezTo>
                  <a:cubicBezTo>
                    <a:pt x="711156" y="1084908"/>
                    <a:pt x="714069" y="1096310"/>
                    <a:pt x="720530" y="1107584"/>
                  </a:cubicBezTo>
                  <a:cubicBezTo>
                    <a:pt x="726991" y="1118986"/>
                    <a:pt x="698741" y="1145209"/>
                    <a:pt x="679485" y="1155597"/>
                  </a:cubicBezTo>
                  <a:cubicBezTo>
                    <a:pt x="660229" y="1165985"/>
                    <a:pt x="628939" y="1137735"/>
                    <a:pt x="604742" y="1128867"/>
                  </a:cubicBezTo>
                  <a:cubicBezTo>
                    <a:pt x="588020" y="1122786"/>
                    <a:pt x="571298" y="1131274"/>
                    <a:pt x="562557" y="1136975"/>
                  </a:cubicBezTo>
                  <a:cubicBezTo>
                    <a:pt x="559390" y="1133934"/>
                    <a:pt x="550776" y="1133301"/>
                    <a:pt x="546088" y="1128867"/>
                  </a:cubicBezTo>
                  <a:cubicBezTo>
                    <a:pt x="538488" y="1121646"/>
                    <a:pt x="547355" y="1116959"/>
                    <a:pt x="552043" y="1103784"/>
                  </a:cubicBezTo>
                  <a:cubicBezTo>
                    <a:pt x="556603" y="1090609"/>
                    <a:pt x="548749" y="1078954"/>
                    <a:pt x="536461" y="1061599"/>
                  </a:cubicBezTo>
                  <a:cubicBezTo>
                    <a:pt x="527086" y="1048170"/>
                    <a:pt x="503143" y="1055898"/>
                    <a:pt x="492628" y="1060205"/>
                  </a:cubicBezTo>
                  <a:cubicBezTo>
                    <a:pt x="480847" y="1046524"/>
                    <a:pt x="446769" y="1029675"/>
                    <a:pt x="434481" y="1020047"/>
                  </a:cubicBezTo>
                  <a:cubicBezTo>
                    <a:pt x="418392" y="1007505"/>
                    <a:pt x="431821" y="995977"/>
                    <a:pt x="442082" y="991290"/>
                  </a:cubicBezTo>
                  <a:cubicBezTo>
                    <a:pt x="452343" y="986729"/>
                    <a:pt x="441449" y="967220"/>
                    <a:pt x="430174" y="954299"/>
                  </a:cubicBezTo>
                  <a:cubicBezTo>
                    <a:pt x="418899" y="941377"/>
                    <a:pt x="403824" y="949358"/>
                    <a:pt x="390902" y="957212"/>
                  </a:cubicBezTo>
                  <a:cubicBezTo>
                    <a:pt x="377981" y="965067"/>
                    <a:pt x="374054" y="946698"/>
                    <a:pt x="350997" y="932509"/>
                  </a:cubicBezTo>
                  <a:cubicBezTo>
                    <a:pt x="327815" y="918321"/>
                    <a:pt x="321987" y="897165"/>
                    <a:pt x="323634" y="876009"/>
                  </a:cubicBezTo>
                  <a:cubicBezTo>
                    <a:pt x="325281" y="854853"/>
                    <a:pt x="303872" y="865114"/>
                    <a:pt x="288290" y="863467"/>
                  </a:cubicBezTo>
                  <a:cubicBezTo>
                    <a:pt x="272834" y="861820"/>
                    <a:pt x="263206" y="855233"/>
                    <a:pt x="244711" y="844972"/>
                  </a:cubicBezTo>
                  <a:cubicBezTo>
                    <a:pt x="226215" y="834710"/>
                    <a:pt x="231536" y="828123"/>
                    <a:pt x="229889" y="812034"/>
                  </a:cubicBezTo>
                  <a:cubicBezTo>
                    <a:pt x="228242" y="795819"/>
                    <a:pt x="219374" y="802406"/>
                    <a:pt x="204172" y="793159"/>
                  </a:cubicBezTo>
                  <a:cubicBezTo>
                    <a:pt x="188970" y="783911"/>
                    <a:pt x="192644" y="769089"/>
                    <a:pt x="188337" y="748566"/>
                  </a:cubicBezTo>
                  <a:cubicBezTo>
                    <a:pt x="184030" y="728170"/>
                    <a:pt x="147799" y="724877"/>
                    <a:pt x="127023" y="724497"/>
                  </a:cubicBezTo>
                  <a:cubicBezTo>
                    <a:pt x="106247" y="724117"/>
                    <a:pt x="112834" y="717529"/>
                    <a:pt x="102953" y="701060"/>
                  </a:cubicBezTo>
                  <a:cubicBezTo>
                    <a:pt x="93072" y="684592"/>
                    <a:pt x="91045" y="678004"/>
                    <a:pt x="75590" y="672303"/>
                  </a:cubicBezTo>
                  <a:cubicBezTo>
                    <a:pt x="60134" y="666729"/>
                    <a:pt x="48860" y="624797"/>
                    <a:pt x="43666" y="614916"/>
                  </a:cubicBezTo>
                  <a:cubicBezTo>
                    <a:pt x="38345" y="605035"/>
                    <a:pt x="32138" y="593127"/>
                    <a:pt x="15669" y="584512"/>
                  </a:cubicBezTo>
                  <a:cubicBezTo>
                    <a:pt x="-800" y="575898"/>
                    <a:pt x="2114" y="552462"/>
                    <a:pt x="87" y="535360"/>
                  </a:cubicBezTo>
                  <a:cubicBezTo>
                    <a:pt x="-1940" y="518131"/>
                    <a:pt x="32011" y="480633"/>
                    <a:pt x="44299" y="426539"/>
                  </a:cubicBezTo>
                  <a:cubicBezTo>
                    <a:pt x="45059" y="422992"/>
                    <a:pt x="45566" y="419445"/>
                    <a:pt x="45693" y="416025"/>
                  </a:cubicBezTo>
                  <a:cubicBezTo>
                    <a:pt x="47466" y="416025"/>
                    <a:pt x="94972" y="416025"/>
                    <a:pt x="117902" y="390308"/>
                  </a:cubicBezTo>
                  <a:cubicBezTo>
                    <a:pt x="141211" y="364085"/>
                    <a:pt x="142605" y="345209"/>
                    <a:pt x="153119" y="335328"/>
                  </a:cubicBezTo>
                  <a:cubicBezTo>
                    <a:pt x="163507" y="325447"/>
                    <a:pt x="212027" y="308598"/>
                    <a:pt x="220388" y="288836"/>
                  </a:cubicBezTo>
                  <a:cubicBezTo>
                    <a:pt x="228749" y="269073"/>
                    <a:pt x="229762" y="261599"/>
                    <a:pt x="210000" y="252224"/>
                  </a:cubicBezTo>
                  <a:cubicBezTo>
                    <a:pt x="190237" y="242850"/>
                    <a:pt x="170348" y="228028"/>
                    <a:pt x="185297" y="200284"/>
                  </a:cubicBezTo>
                  <a:cubicBezTo>
                    <a:pt x="200119" y="172541"/>
                    <a:pt x="214940" y="150751"/>
                    <a:pt x="231283" y="133903"/>
                  </a:cubicBezTo>
                  <a:cubicBezTo>
                    <a:pt x="247625" y="117054"/>
                    <a:pt x="249651" y="120601"/>
                    <a:pt x="254592" y="105146"/>
                  </a:cubicBezTo>
                  <a:cubicBezTo>
                    <a:pt x="259533" y="89817"/>
                    <a:pt x="262446" y="65494"/>
                    <a:pt x="272454" y="79936"/>
                  </a:cubicBezTo>
                  <a:cubicBezTo>
                    <a:pt x="281702" y="93364"/>
                    <a:pt x="311346" y="139350"/>
                    <a:pt x="355178" y="93364"/>
                  </a:cubicBezTo>
                  <a:cubicBezTo>
                    <a:pt x="364552" y="102739"/>
                    <a:pt x="364552" y="114900"/>
                    <a:pt x="367339" y="126935"/>
                  </a:cubicBezTo>
                  <a:cubicBezTo>
                    <a:pt x="370000" y="138590"/>
                    <a:pt x="377094" y="145051"/>
                    <a:pt x="382288" y="155185"/>
                  </a:cubicBezTo>
                  <a:cubicBezTo>
                    <a:pt x="388115" y="166714"/>
                    <a:pt x="389382" y="177988"/>
                    <a:pt x="403571" y="182042"/>
                  </a:cubicBezTo>
                  <a:cubicBezTo>
                    <a:pt x="414085" y="185083"/>
                    <a:pt x="425994" y="182802"/>
                    <a:pt x="434861" y="176468"/>
                  </a:cubicBezTo>
                  <a:cubicBezTo>
                    <a:pt x="448543" y="166587"/>
                    <a:pt x="464378" y="149738"/>
                    <a:pt x="473879" y="135930"/>
                  </a:cubicBezTo>
                  <a:cubicBezTo>
                    <a:pt x="487688" y="115787"/>
                    <a:pt x="465898" y="108820"/>
                    <a:pt x="449176" y="105526"/>
                  </a:cubicBezTo>
                  <a:cubicBezTo>
                    <a:pt x="449683" y="97291"/>
                    <a:pt x="450190" y="88677"/>
                    <a:pt x="452724" y="80696"/>
                  </a:cubicBezTo>
                  <a:cubicBezTo>
                    <a:pt x="456651" y="68408"/>
                    <a:pt x="467165" y="60174"/>
                    <a:pt x="469826" y="47505"/>
                  </a:cubicBezTo>
                  <a:cubicBezTo>
                    <a:pt x="472233" y="35851"/>
                    <a:pt x="466405" y="11528"/>
                    <a:pt x="477300" y="3293"/>
                  </a:cubicBezTo>
                  <a:cubicBezTo>
                    <a:pt x="488195" y="-4941"/>
                    <a:pt x="500736" y="10641"/>
                    <a:pt x="510491" y="13554"/>
                  </a:cubicBezTo>
                  <a:cubicBezTo>
                    <a:pt x="521639" y="16848"/>
                    <a:pt x="527466" y="5573"/>
                    <a:pt x="537347" y="2026"/>
                  </a:cubicBezTo>
                  <a:cubicBezTo>
                    <a:pt x="574845" y="-11655"/>
                    <a:pt x="550522" y="47885"/>
                    <a:pt x="554196" y="62707"/>
                  </a:cubicBezTo>
                  <a:cubicBezTo>
                    <a:pt x="557237" y="74869"/>
                    <a:pt x="567624" y="88677"/>
                    <a:pt x="557743" y="100205"/>
                  </a:cubicBezTo>
                  <a:cubicBezTo>
                    <a:pt x="553309" y="105399"/>
                    <a:pt x="529873" y="109960"/>
                    <a:pt x="529240" y="115661"/>
                  </a:cubicBezTo>
                  <a:cubicBezTo>
                    <a:pt x="528353" y="121741"/>
                    <a:pt x="552676" y="132256"/>
                    <a:pt x="556857" y="135423"/>
                  </a:cubicBezTo>
                  <a:cubicBezTo>
                    <a:pt x="567498" y="143404"/>
                    <a:pt x="572692" y="153032"/>
                    <a:pt x="575099" y="166080"/>
                  </a:cubicBezTo>
                  <a:cubicBezTo>
                    <a:pt x="580166" y="193317"/>
                    <a:pt x="575606" y="223341"/>
                    <a:pt x="606009" y="236009"/>
                  </a:cubicBezTo>
                  <a:cubicBezTo>
                    <a:pt x="637933" y="249310"/>
                    <a:pt x="659596" y="231702"/>
                    <a:pt x="672644" y="203071"/>
                  </a:cubicBezTo>
                  <a:cubicBezTo>
                    <a:pt x="683666" y="179128"/>
                    <a:pt x="680879" y="137957"/>
                    <a:pt x="709635" y="127189"/>
                  </a:cubicBezTo>
                  <a:cubicBezTo>
                    <a:pt x="723824" y="121868"/>
                    <a:pt x="739660" y="124528"/>
                    <a:pt x="754481" y="125035"/>
                  </a:cubicBezTo>
                  <a:cubicBezTo>
                    <a:pt x="770570" y="125668"/>
                    <a:pt x="786025" y="122501"/>
                    <a:pt x="801987" y="121995"/>
                  </a:cubicBezTo>
                  <a:cubicBezTo>
                    <a:pt x="827830" y="121234"/>
                    <a:pt x="843919" y="142137"/>
                    <a:pt x="866722" y="149738"/>
                  </a:cubicBezTo>
                  <a:cubicBezTo>
                    <a:pt x="876983" y="153158"/>
                    <a:pt x="888131" y="147584"/>
                    <a:pt x="898646" y="146444"/>
                  </a:cubicBezTo>
                  <a:cubicBezTo>
                    <a:pt x="914228" y="144671"/>
                    <a:pt x="929810" y="142517"/>
                    <a:pt x="945519" y="143404"/>
                  </a:cubicBezTo>
                  <a:cubicBezTo>
                    <a:pt x="954386" y="143911"/>
                    <a:pt x="964267" y="145938"/>
                    <a:pt x="968321" y="154805"/>
                  </a:cubicBezTo>
                  <a:cubicBezTo>
                    <a:pt x="972122" y="163420"/>
                    <a:pt x="968575" y="173934"/>
                    <a:pt x="971488" y="182802"/>
                  </a:cubicBezTo>
                  <a:cubicBezTo>
                    <a:pt x="976049" y="196991"/>
                    <a:pt x="1019754" y="226128"/>
                    <a:pt x="991631" y="238289"/>
                  </a:cubicBezTo>
                  <a:cubicBezTo>
                    <a:pt x="983903" y="241710"/>
                    <a:pt x="973135" y="242216"/>
                    <a:pt x="973008" y="251717"/>
                  </a:cubicBezTo>
                  <a:cubicBezTo>
                    <a:pt x="972755" y="262106"/>
                    <a:pt x="981370" y="262486"/>
                    <a:pt x="988084" y="267046"/>
                  </a:cubicBezTo>
                  <a:cubicBezTo>
                    <a:pt x="996192" y="272493"/>
                    <a:pt x="991884" y="278194"/>
                    <a:pt x="994671" y="286809"/>
                  </a:cubicBezTo>
                  <a:cubicBezTo>
                    <a:pt x="998092" y="286429"/>
                    <a:pt x="1001639" y="285922"/>
                    <a:pt x="1005059" y="284908"/>
                  </a:cubicBezTo>
                  <a:cubicBezTo>
                    <a:pt x="1005693" y="288582"/>
                    <a:pt x="1007339" y="292003"/>
                    <a:pt x="1010506" y="295423"/>
                  </a:cubicBezTo>
                  <a:cubicBezTo>
                    <a:pt x="1016587" y="302137"/>
                    <a:pt x="1021528" y="309358"/>
                    <a:pt x="1026722" y="316832"/>
                  </a:cubicBezTo>
                  <a:cubicBezTo>
                    <a:pt x="1033183" y="325953"/>
                    <a:pt x="1040404" y="334695"/>
                    <a:pt x="1045598" y="344702"/>
                  </a:cubicBezTo>
                  <a:cubicBezTo>
                    <a:pt x="1050412" y="354204"/>
                    <a:pt x="1053832" y="364465"/>
                    <a:pt x="1059533" y="373713"/>
                  </a:cubicBezTo>
                  <a:cubicBezTo>
                    <a:pt x="1064853" y="382327"/>
                    <a:pt x="1070681" y="390182"/>
                    <a:pt x="1074101" y="399936"/>
                  </a:cubicBezTo>
                  <a:cubicBezTo>
                    <a:pt x="1077395" y="409564"/>
                    <a:pt x="1079169" y="419699"/>
                    <a:pt x="1081449" y="429580"/>
                  </a:cubicBezTo>
                  <a:cubicBezTo>
                    <a:pt x="1085123" y="445035"/>
                    <a:pt x="1083983" y="463024"/>
                    <a:pt x="1095004" y="475565"/>
                  </a:cubicBezTo>
                  <a:cubicBezTo>
                    <a:pt x="1099058" y="480126"/>
                    <a:pt x="1103998" y="485320"/>
                    <a:pt x="1109699" y="487980"/>
                  </a:cubicBezTo>
                  <a:cubicBezTo>
                    <a:pt x="1115400" y="490641"/>
                    <a:pt x="1121987" y="490261"/>
                    <a:pt x="1127941" y="492288"/>
                  </a:cubicBezTo>
                  <a:cubicBezTo>
                    <a:pt x="1131995" y="493681"/>
                    <a:pt x="1138709" y="500015"/>
                    <a:pt x="1143017" y="498622"/>
                  </a:cubicBezTo>
                  <a:cubicBezTo>
                    <a:pt x="1148844" y="496848"/>
                    <a:pt x="1152518" y="482406"/>
                    <a:pt x="1155811" y="477846"/>
                  </a:cubicBezTo>
                  <a:cubicBezTo>
                    <a:pt x="1161892" y="469485"/>
                    <a:pt x="1168099" y="469485"/>
                    <a:pt x="1176461" y="474805"/>
                  </a:cubicBezTo>
                  <a:cubicBezTo>
                    <a:pt x="1186469" y="481139"/>
                    <a:pt x="1195717" y="488234"/>
                    <a:pt x="1205978" y="494315"/>
                  </a:cubicBezTo>
                  <a:cubicBezTo>
                    <a:pt x="1221813" y="503562"/>
                    <a:pt x="1235748" y="513824"/>
                    <a:pt x="1253484" y="516611"/>
                  </a:cubicBezTo>
                  <a:cubicBezTo>
                    <a:pt x="1224220" y="553729"/>
                    <a:pt x="1172407" y="600728"/>
                    <a:pt x="1148084" y="620490"/>
                  </a:cubicBezTo>
                  <a:cubicBezTo>
                    <a:pt x="1123127" y="640633"/>
                    <a:pt x="1145930" y="654568"/>
                    <a:pt x="1157712" y="66634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7" name="Полилиния: фигура 406">
              <a:extLst>
                <a:ext uri="{FF2B5EF4-FFF2-40B4-BE49-F238E27FC236}">
                  <a16:creationId xmlns:a16="http://schemas.microsoft.com/office/drawing/2014/main" id="{35D51DA5-0D5D-421B-9BD3-2B6E8DEEFEA7}"/>
                </a:ext>
              </a:extLst>
            </p:cNvPr>
            <p:cNvSpPr/>
            <p:nvPr/>
          </p:nvSpPr>
          <p:spPr>
            <a:xfrm>
              <a:off x="3567082" y="1398217"/>
              <a:ext cx="612158" cy="926228"/>
            </a:xfrm>
            <a:custGeom>
              <a:avLst/>
              <a:gdLst>
                <a:gd name="connsiteX0" fmla="*/ 611876 w 612158"/>
                <a:gd name="connsiteY0" fmla="*/ 406043 h 926228"/>
                <a:gd name="connsiteX1" fmla="*/ 608583 w 612158"/>
                <a:gd name="connsiteY1" fmla="*/ 436447 h 926228"/>
                <a:gd name="connsiteX2" fmla="*/ 603896 w 612158"/>
                <a:gd name="connsiteY2" fmla="*/ 469258 h 926228"/>
                <a:gd name="connsiteX3" fmla="*/ 603136 w 612158"/>
                <a:gd name="connsiteY3" fmla="*/ 510936 h 926228"/>
                <a:gd name="connsiteX4" fmla="*/ 602375 w 612158"/>
                <a:gd name="connsiteY4" fmla="*/ 550334 h 926228"/>
                <a:gd name="connsiteX5" fmla="*/ 597308 w 612158"/>
                <a:gd name="connsiteY5" fmla="*/ 595307 h 926228"/>
                <a:gd name="connsiteX6" fmla="*/ 596421 w 612158"/>
                <a:gd name="connsiteY6" fmla="*/ 642813 h 926228"/>
                <a:gd name="connsiteX7" fmla="*/ 600855 w 612158"/>
                <a:gd name="connsiteY7" fmla="*/ 686265 h 926228"/>
                <a:gd name="connsiteX8" fmla="*/ 602756 w 612158"/>
                <a:gd name="connsiteY8" fmla="*/ 742259 h 926228"/>
                <a:gd name="connsiteX9" fmla="*/ 599842 w 612158"/>
                <a:gd name="connsiteY9" fmla="*/ 803953 h 926228"/>
                <a:gd name="connsiteX10" fmla="*/ 579066 w 612158"/>
                <a:gd name="connsiteY10" fmla="*/ 845251 h 926228"/>
                <a:gd name="connsiteX11" fmla="*/ 554996 w 612158"/>
                <a:gd name="connsiteY11" fmla="*/ 895038 h 926228"/>
                <a:gd name="connsiteX12" fmla="*/ 527633 w 612158"/>
                <a:gd name="connsiteY12" fmla="*/ 911126 h 926228"/>
                <a:gd name="connsiteX13" fmla="*/ 495836 w 612158"/>
                <a:gd name="connsiteY13" fmla="*/ 918727 h 926228"/>
                <a:gd name="connsiteX14" fmla="*/ 460618 w 612158"/>
                <a:gd name="connsiteY14" fmla="*/ 920374 h 926228"/>
                <a:gd name="connsiteX15" fmla="*/ 411338 w 612158"/>
                <a:gd name="connsiteY15" fmla="*/ 926201 h 926228"/>
                <a:gd name="connsiteX16" fmla="*/ 380681 w 612158"/>
                <a:gd name="connsiteY16" fmla="*/ 922908 h 926228"/>
                <a:gd name="connsiteX17" fmla="*/ 353824 w 612158"/>
                <a:gd name="connsiteY17" fmla="*/ 916447 h 926228"/>
                <a:gd name="connsiteX18" fmla="*/ 309105 w 612158"/>
                <a:gd name="connsiteY18" fmla="*/ 879962 h 926228"/>
                <a:gd name="connsiteX19" fmla="*/ 277308 w 612158"/>
                <a:gd name="connsiteY19" fmla="*/ 847278 h 926228"/>
                <a:gd name="connsiteX20" fmla="*/ 267807 w 612158"/>
                <a:gd name="connsiteY20" fmla="*/ 823969 h 926228"/>
                <a:gd name="connsiteX21" fmla="*/ 254252 w 612158"/>
                <a:gd name="connsiteY21" fmla="*/ 797492 h 926228"/>
                <a:gd name="connsiteX22" fmla="*/ 239303 w 612158"/>
                <a:gd name="connsiteY22" fmla="*/ 762401 h 926228"/>
                <a:gd name="connsiteX23" fmla="*/ 232716 w 612158"/>
                <a:gd name="connsiteY23" fmla="*/ 725283 h 926228"/>
                <a:gd name="connsiteX24" fmla="*/ 220427 w 612158"/>
                <a:gd name="connsiteY24" fmla="*/ 688418 h 926228"/>
                <a:gd name="connsiteX25" fmla="*/ 201679 w 612158"/>
                <a:gd name="connsiteY25" fmla="*/ 664602 h 926228"/>
                <a:gd name="connsiteX26" fmla="*/ 201299 w 612158"/>
                <a:gd name="connsiteY26" fmla="*/ 607848 h 926228"/>
                <a:gd name="connsiteX27" fmla="*/ 191544 w 612158"/>
                <a:gd name="connsiteY27" fmla="*/ 580738 h 926228"/>
                <a:gd name="connsiteX28" fmla="*/ 199398 w 612158"/>
                <a:gd name="connsiteY28" fmla="*/ 555782 h 926228"/>
                <a:gd name="connsiteX29" fmla="*/ 196611 w 612158"/>
                <a:gd name="connsiteY29" fmla="*/ 537793 h 926228"/>
                <a:gd name="connsiteX30" fmla="*/ 183183 w 612158"/>
                <a:gd name="connsiteY30" fmla="*/ 505489 h 926228"/>
                <a:gd name="connsiteX31" fmla="*/ 189391 w 612158"/>
                <a:gd name="connsiteY31" fmla="*/ 428339 h 926228"/>
                <a:gd name="connsiteX32" fmla="*/ 183056 w 612158"/>
                <a:gd name="connsiteY32" fmla="*/ 400596 h 926228"/>
                <a:gd name="connsiteX33" fmla="*/ 168234 w 612158"/>
                <a:gd name="connsiteY33" fmla="*/ 420232 h 926228"/>
                <a:gd name="connsiteX34" fmla="*/ 154173 w 612158"/>
                <a:gd name="connsiteY34" fmla="*/ 464570 h 926228"/>
                <a:gd name="connsiteX35" fmla="*/ 133904 w 612158"/>
                <a:gd name="connsiteY35" fmla="*/ 445061 h 926228"/>
                <a:gd name="connsiteX36" fmla="*/ 71829 w 612158"/>
                <a:gd name="connsiteY36" fmla="*/ 472171 h 926228"/>
                <a:gd name="connsiteX37" fmla="*/ 69802 w 612158"/>
                <a:gd name="connsiteY37" fmla="*/ 418711 h 926228"/>
                <a:gd name="connsiteX38" fmla="*/ 82344 w 612158"/>
                <a:gd name="connsiteY38" fmla="*/ 377159 h 926228"/>
                <a:gd name="connsiteX39" fmla="*/ 0 w 612158"/>
                <a:gd name="connsiteY39" fmla="*/ 237682 h 926228"/>
                <a:gd name="connsiteX40" fmla="*/ 19256 w 612158"/>
                <a:gd name="connsiteY40" fmla="*/ 220200 h 926228"/>
                <a:gd name="connsiteX41" fmla="*/ 38765 w 612158"/>
                <a:gd name="connsiteY41" fmla="*/ 206138 h 926228"/>
                <a:gd name="connsiteX42" fmla="*/ 59794 w 612158"/>
                <a:gd name="connsiteY42" fmla="*/ 202338 h 926228"/>
                <a:gd name="connsiteX43" fmla="*/ 100586 w 612158"/>
                <a:gd name="connsiteY43" fmla="*/ 209432 h 926228"/>
                <a:gd name="connsiteX44" fmla="*/ 147079 w 612158"/>
                <a:gd name="connsiteY44" fmla="*/ 204238 h 926228"/>
                <a:gd name="connsiteX45" fmla="*/ 189897 w 612158"/>
                <a:gd name="connsiteY45" fmla="*/ 177381 h 926228"/>
                <a:gd name="connsiteX46" fmla="*/ 210166 w 612158"/>
                <a:gd name="connsiteY46" fmla="*/ 127468 h 926228"/>
                <a:gd name="connsiteX47" fmla="*/ 211053 w 612158"/>
                <a:gd name="connsiteY47" fmla="*/ 89590 h 926228"/>
                <a:gd name="connsiteX48" fmla="*/ 219414 w 612158"/>
                <a:gd name="connsiteY48" fmla="*/ 51712 h 926228"/>
                <a:gd name="connsiteX49" fmla="*/ 275281 w 612158"/>
                <a:gd name="connsiteY49" fmla="*/ 32076 h 926228"/>
                <a:gd name="connsiteX50" fmla="*/ 309105 w 612158"/>
                <a:gd name="connsiteY50" fmla="*/ 34357 h 926228"/>
                <a:gd name="connsiteX51" fmla="*/ 314806 w 612158"/>
                <a:gd name="connsiteY51" fmla="*/ 23335 h 926228"/>
                <a:gd name="connsiteX52" fmla="*/ 326587 w 612158"/>
                <a:gd name="connsiteY52" fmla="*/ 11934 h 926228"/>
                <a:gd name="connsiteX53" fmla="*/ 359905 w 612158"/>
                <a:gd name="connsiteY53" fmla="*/ 26 h 926228"/>
                <a:gd name="connsiteX54" fmla="*/ 388029 w 612158"/>
                <a:gd name="connsiteY54" fmla="*/ 14974 h 926228"/>
                <a:gd name="connsiteX55" fmla="*/ 415138 w 612158"/>
                <a:gd name="connsiteY55" fmla="*/ 26249 h 926228"/>
                <a:gd name="connsiteX56" fmla="*/ 446936 w 612158"/>
                <a:gd name="connsiteY56" fmla="*/ 47658 h 926228"/>
                <a:gd name="connsiteX57" fmla="*/ 477466 w 612158"/>
                <a:gd name="connsiteY57" fmla="*/ 76922 h 926228"/>
                <a:gd name="connsiteX58" fmla="*/ 516864 w 612158"/>
                <a:gd name="connsiteY58" fmla="*/ 65774 h 926228"/>
                <a:gd name="connsiteX59" fmla="*/ 531306 w 612158"/>
                <a:gd name="connsiteY59" fmla="*/ 74008 h 926228"/>
                <a:gd name="connsiteX60" fmla="*/ 531180 w 612158"/>
                <a:gd name="connsiteY60" fmla="*/ 95164 h 926228"/>
                <a:gd name="connsiteX61" fmla="*/ 531433 w 612158"/>
                <a:gd name="connsiteY61" fmla="*/ 108213 h 926228"/>
                <a:gd name="connsiteX62" fmla="*/ 557403 w 612158"/>
                <a:gd name="connsiteY62" fmla="*/ 115940 h 926228"/>
                <a:gd name="connsiteX63" fmla="*/ 587807 w 612158"/>
                <a:gd name="connsiteY63" fmla="*/ 134562 h 926228"/>
                <a:gd name="connsiteX64" fmla="*/ 584640 w 612158"/>
                <a:gd name="connsiteY64" fmla="*/ 177508 h 926228"/>
                <a:gd name="connsiteX65" fmla="*/ 563357 w 612158"/>
                <a:gd name="connsiteY65" fmla="*/ 199931 h 926228"/>
                <a:gd name="connsiteX66" fmla="*/ 549422 w 612158"/>
                <a:gd name="connsiteY66" fmla="*/ 165220 h 926228"/>
                <a:gd name="connsiteX67" fmla="*/ 533713 w 612158"/>
                <a:gd name="connsiteY67" fmla="*/ 169400 h 926228"/>
                <a:gd name="connsiteX68" fmla="*/ 534347 w 612158"/>
                <a:gd name="connsiteY68" fmla="*/ 204238 h 926228"/>
                <a:gd name="connsiteX69" fmla="*/ 552589 w 612158"/>
                <a:gd name="connsiteY69" fmla="*/ 230841 h 926228"/>
                <a:gd name="connsiteX70" fmla="*/ 544102 w 612158"/>
                <a:gd name="connsiteY70" fmla="*/ 244650 h 926228"/>
                <a:gd name="connsiteX71" fmla="*/ 531053 w 612158"/>
                <a:gd name="connsiteY71" fmla="*/ 255164 h 926228"/>
                <a:gd name="connsiteX72" fmla="*/ 556896 w 612158"/>
                <a:gd name="connsiteY72" fmla="*/ 269859 h 926228"/>
                <a:gd name="connsiteX73" fmla="*/ 565511 w 612158"/>
                <a:gd name="connsiteY73" fmla="*/ 302290 h 926228"/>
                <a:gd name="connsiteX74" fmla="*/ 588947 w 612158"/>
                <a:gd name="connsiteY74" fmla="*/ 343335 h 926228"/>
                <a:gd name="connsiteX75" fmla="*/ 607316 w 612158"/>
                <a:gd name="connsiteY75" fmla="*/ 371712 h 926228"/>
                <a:gd name="connsiteX76" fmla="*/ 611876 w 612158"/>
                <a:gd name="connsiteY76" fmla="*/ 406043 h 9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12158" h="926228">
                  <a:moveTo>
                    <a:pt x="611876" y="406043"/>
                  </a:moveTo>
                  <a:cubicBezTo>
                    <a:pt x="611496" y="416431"/>
                    <a:pt x="611623" y="426439"/>
                    <a:pt x="608583" y="436447"/>
                  </a:cubicBezTo>
                  <a:cubicBezTo>
                    <a:pt x="605036" y="447722"/>
                    <a:pt x="603136" y="457350"/>
                    <a:pt x="603896" y="469258"/>
                  </a:cubicBezTo>
                  <a:cubicBezTo>
                    <a:pt x="604782" y="483446"/>
                    <a:pt x="604529" y="496874"/>
                    <a:pt x="603136" y="510936"/>
                  </a:cubicBezTo>
                  <a:cubicBezTo>
                    <a:pt x="601869" y="524111"/>
                    <a:pt x="602756" y="537160"/>
                    <a:pt x="602375" y="550334"/>
                  </a:cubicBezTo>
                  <a:cubicBezTo>
                    <a:pt x="601869" y="565536"/>
                    <a:pt x="598702" y="580231"/>
                    <a:pt x="597308" y="595307"/>
                  </a:cubicBezTo>
                  <a:cubicBezTo>
                    <a:pt x="595915" y="611269"/>
                    <a:pt x="598195" y="627104"/>
                    <a:pt x="596421" y="642813"/>
                  </a:cubicBezTo>
                  <a:cubicBezTo>
                    <a:pt x="594648" y="659028"/>
                    <a:pt x="597182" y="670683"/>
                    <a:pt x="600855" y="686265"/>
                  </a:cubicBezTo>
                  <a:cubicBezTo>
                    <a:pt x="605162" y="704634"/>
                    <a:pt x="604149" y="723509"/>
                    <a:pt x="602756" y="742259"/>
                  </a:cubicBezTo>
                  <a:cubicBezTo>
                    <a:pt x="601235" y="762781"/>
                    <a:pt x="602756" y="783684"/>
                    <a:pt x="599842" y="803953"/>
                  </a:cubicBezTo>
                  <a:cubicBezTo>
                    <a:pt x="597308" y="821435"/>
                    <a:pt x="587934" y="830936"/>
                    <a:pt x="579066" y="845251"/>
                  </a:cubicBezTo>
                  <a:cubicBezTo>
                    <a:pt x="569438" y="860960"/>
                    <a:pt x="566017" y="880216"/>
                    <a:pt x="554996" y="895038"/>
                  </a:cubicBezTo>
                  <a:cubicBezTo>
                    <a:pt x="548282" y="904159"/>
                    <a:pt x="537767" y="907072"/>
                    <a:pt x="527633" y="911126"/>
                  </a:cubicBezTo>
                  <a:cubicBezTo>
                    <a:pt x="517118" y="915180"/>
                    <a:pt x="507110" y="918347"/>
                    <a:pt x="495836" y="918727"/>
                  </a:cubicBezTo>
                  <a:cubicBezTo>
                    <a:pt x="484054" y="919234"/>
                    <a:pt x="472272" y="918474"/>
                    <a:pt x="460618" y="920374"/>
                  </a:cubicBezTo>
                  <a:cubicBezTo>
                    <a:pt x="444022" y="922908"/>
                    <a:pt x="428187" y="926581"/>
                    <a:pt x="411338" y="926201"/>
                  </a:cubicBezTo>
                  <a:cubicBezTo>
                    <a:pt x="401077" y="925948"/>
                    <a:pt x="390816" y="924681"/>
                    <a:pt x="380681" y="922908"/>
                  </a:cubicBezTo>
                  <a:cubicBezTo>
                    <a:pt x="372320" y="921514"/>
                    <a:pt x="361172" y="920627"/>
                    <a:pt x="353824" y="916447"/>
                  </a:cubicBezTo>
                  <a:cubicBezTo>
                    <a:pt x="337609" y="907326"/>
                    <a:pt x="323927" y="891237"/>
                    <a:pt x="309105" y="879962"/>
                  </a:cubicBezTo>
                  <a:cubicBezTo>
                    <a:pt x="296944" y="870715"/>
                    <a:pt x="284402" y="861087"/>
                    <a:pt x="277308" y="847278"/>
                  </a:cubicBezTo>
                  <a:cubicBezTo>
                    <a:pt x="273381" y="839804"/>
                    <a:pt x="271987" y="831316"/>
                    <a:pt x="267807" y="823969"/>
                  </a:cubicBezTo>
                  <a:cubicBezTo>
                    <a:pt x="262359" y="814341"/>
                    <a:pt x="256532" y="808260"/>
                    <a:pt x="254252" y="797492"/>
                  </a:cubicBezTo>
                  <a:cubicBezTo>
                    <a:pt x="251592" y="784950"/>
                    <a:pt x="243991" y="774056"/>
                    <a:pt x="239303" y="762401"/>
                  </a:cubicBezTo>
                  <a:cubicBezTo>
                    <a:pt x="234489" y="750493"/>
                    <a:pt x="233983" y="737825"/>
                    <a:pt x="232716" y="725283"/>
                  </a:cubicBezTo>
                  <a:cubicBezTo>
                    <a:pt x="231322" y="712108"/>
                    <a:pt x="228915" y="699060"/>
                    <a:pt x="220427" y="688418"/>
                  </a:cubicBezTo>
                  <a:cubicBezTo>
                    <a:pt x="214220" y="680564"/>
                    <a:pt x="204719" y="674610"/>
                    <a:pt x="201679" y="664602"/>
                  </a:cubicBezTo>
                  <a:cubicBezTo>
                    <a:pt x="195725" y="644840"/>
                    <a:pt x="212446" y="627484"/>
                    <a:pt x="201299" y="607848"/>
                  </a:cubicBezTo>
                  <a:cubicBezTo>
                    <a:pt x="196358" y="599107"/>
                    <a:pt x="191417" y="591126"/>
                    <a:pt x="191544" y="580738"/>
                  </a:cubicBezTo>
                  <a:cubicBezTo>
                    <a:pt x="191671" y="571364"/>
                    <a:pt x="196105" y="564143"/>
                    <a:pt x="199398" y="555782"/>
                  </a:cubicBezTo>
                  <a:cubicBezTo>
                    <a:pt x="202059" y="548814"/>
                    <a:pt x="199905" y="544254"/>
                    <a:pt x="196611" y="537793"/>
                  </a:cubicBezTo>
                  <a:cubicBezTo>
                    <a:pt x="191164" y="527405"/>
                    <a:pt x="185970" y="517017"/>
                    <a:pt x="183183" y="505489"/>
                  </a:cubicBezTo>
                  <a:cubicBezTo>
                    <a:pt x="176975" y="479646"/>
                    <a:pt x="188377" y="454182"/>
                    <a:pt x="189391" y="428339"/>
                  </a:cubicBezTo>
                  <a:cubicBezTo>
                    <a:pt x="189644" y="423019"/>
                    <a:pt x="191164" y="402243"/>
                    <a:pt x="183056" y="400596"/>
                  </a:cubicBezTo>
                  <a:cubicBezTo>
                    <a:pt x="175835" y="399076"/>
                    <a:pt x="170135" y="415671"/>
                    <a:pt x="168234" y="420232"/>
                  </a:cubicBezTo>
                  <a:cubicBezTo>
                    <a:pt x="162153" y="434673"/>
                    <a:pt x="158100" y="449495"/>
                    <a:pt x="154173" y="464570"/>
                  </a:cubicBezTo>
                  <a:cubicBezTo>
                    <a:pt x="147839" y="450129"/>
                    <a:pt x="140364" y="439107"/>
                    <a:pt x="133904" y="445061"/>
                  </a:cubicBezTo>
                  <a:cubicBezTo>
                    <a:pt x="118701" y="458870"/>
                    <a:pt x="85004" y="488640"/>
                    <a:pt x="71829" y="472171"/>
                  </a:cubicBezTo>
                  <a:cubicBezTo>
                    <a:pt x="58654" y="455703"/>
                    <a:pt x="50040" y="431253"/>
                    <a:pt x="69802" y="418711"/>
                  </a:cubicBezTo>
                  <a:cubicBezTo>
                    <a:pt x="89565" y="406170"/>
                    <a:pt x="90958" y="390334"/>
                    <a:pt x="82344" y="377159"/>
                  </a:cubicBezTo>
                  <a:cubicBezTo>
                    <a:pt x="75883" y="367152"/>
                    <a:pt x="24830" y="279994"/>
                    <a:pt x="0" y="237682"/>
                  </a:cubicBezTo>
                  <a:cubicBezTo>
                    <a:pt x="6588" y="231981"/>
                    <a:pt x="12542" y="225774"/>
                    <a:pt x="19256" y="220200"/>
                  </a:cubicBezTo>
                  <a:cubicBezTo>
                    <a:pt x="25210" y="215259"/>
                    <a:pt x="32051" y="210192"/>
                    <a:pt x="38765" y="206138"/>
                  </a:cubicBezTo>
                  <a:cubicBezTo>
                    <a:pt x="45226" y="202338"/>
                    <a:pt x="52447" y="202464"/>
                    <a:pt x="59794" y="202338"/>
                  </a:cubicBezTo>
                  <a:cubicBezTo>
                    <a:pt x="74236" y="202211"/>
                    <a:pt x="86651" y="206898"/>
                    <a:pt x="100586" y="209432"/>
                  </a:cubicBezTo>
                  <a:cubicBezTo>
                    <a:pt x="115661" y="212219"/>
                    <a:pt x="132383" y="208292"/>
                    <a:pt x="147079" y="204238"/>
                  </a:cubicBezTo>
                  <a:cubicBezTo>
                    <a:pt x="162027" y="200184"/>
                    <a:pt x="182043" y="191696"/>
                    <a:pt x="189897" y="177381"/>
                  </a:cubicBezTo>
                  <a:cubicBezTo>
                    <a:pt x="198385" y="161546"/>
                    <a:pt x="208013" y="145711"/>
                    <a:pt x="210166" y="127468"/>
                  </a:cubicBezTo>
                  <a:cubicBezTo>
                    <a:pt x="211686" y="114673"/>
                    <a:pt x="212193" y="102385"/>
                    <a:pt x="211053" y="89590"/>
                  </a:cubicBezTo>
                  <a:cubicBezTo>
                    <a:pt x="209913" y="75782"/>
                    <a:pt x="211053" y="63367"/>
                    <a:pt x="219414" y="51712"/>
                  </a:cubicBezTo>
                  <a:cubicBezTo>
                    <a:pt x="232843" y="32963"/>
                    <a:pt x="253492" y="29163"/>
                    <a:pt x="275281" y="32076"/>
                  </a:cubicBezTo>
                  <a:cubicBezTo>
                    <a:pt x="284149" y="33343"/>
                    <a:pt x="301124" y="40691"/>
                    <a:pt x="309105" y="34357"/>
                  </a:cubicBezTo>
                  <a:cubicBezTo>
                    <a:pt x="312399" y="31823"/>
                    <a:pt x="312906" y="26882"/>
                    <a:pt x="314806" y="23335"/>
                  </a:cubicBezTo>
                  <a:cubicBezTo>
                    <a:pt x="317466" y="18141"/>
                    <a:pt x="321647" y="14848"/>
                    <a:pt x="326587" y="11934"/>
                  </a:cubicBezTo>
                  <a:cubicBezTo>
                    <a:pt x="335835" y="6613"/>
                    <a:pt x="348884" y="-481"/>
                    <a:pt x="359905" y="26"/>
                  </a:cubicBezTo>
                  <a:cubicBezTo>
                    <a:pt x="371940" y="406"/>
                    <a:pt x="379034" y="8387"/>
                    <a:pt x="388029" y="14974"/>
                  </a:cubicBezTo>
                  <a:cubicBezTo>
                    <a:pt x="395376" y="20422"/>
                    <a:pt x="406651" y="22068"/>
                    <a:pt x="415138" y="26249"/>
                  </a:cubicBezTo>
                  <a:cubicBezTo>
                    <a:pt x="426667" y="31950"/>
                    <a:pt x="437688" y="38664"/>
                    <a:pt x="446936" y="47658"/>
                  </a:cubicBezTo>
                  <a:cubicBezTo>
                    <a:pt x="456944" y="57286"/>
                    <a:pt x="463151" y="72615"/>
                    <a:pt x="477466" y="76922"/>
                  </a:cubicBezTo>
                  <a:cubicBezTo>
                    <a:pt x="490641" y="80849"/>
                    <a:pt x="503816" y="67294"/>
                    <a:pt x="516864" y="65774"/>
                  </a:cubicBezTo>
                  <a:cubicBezTo>
                    <a:pt x="524466" y="64887"/>
                    <a:pt x="530293" y="65901"/>
                    <a:pt x="531306" y="74008"/>
                  </a:cubicBezTo>
                  <a:cubicBezTo>
                    <a:pt x="532193" y="80976"/>
                    <a:pt x="532067" y="88197"/>
                    <a:pt x="531180" y="95164"/>
                  </a:cubicBezTo>
                  <a:cubicBezTo>
                    <a:pt x="530673" y="99725"/>
                    <a:pt x="529026" y="103905"/>
                    <a:pt x="531433" y="108213"/>
                  </a:cubicBezTo>
                  <a:cubicBezTo>
                    <a:pt x="536627" y="117587"/>
                    <a:pt x="548535" y="115307"/>
                    <a:pt x="557403" y="115940"/>
                  </a:cubicBezTo>
                  <a:cubicBezTo>
                    <a:pt x="570451" y="116954"/>
                    <a:pt x="582360" y="121768"/>
                    <a:pt x="587807" y="134562"/>
                  </a:cubicBezTo>
                  <a:cubicBezTo>
                    <a:pt x="593634" y="148244"/>
                    <a:pt x="590467" y="164460"/>
                    <a:pt x="584640" y="177508"/>
                  </a:cubicBezTo>
                  <a:cubicBezTo>
                    <a:pt x="581726" y="184095"/>
                    <a:pt x="572985" y="202084"/>
                    <a:pt x="563357" y="199931"/>
                  </a:cubicBezTo>
                  <a:cubicBezTo>
                    <a:pt x="553096" y="197650"/>
                    <a:pt x="552209" y="172947"/>
                    <a:pt x="549422" y="165220"/>
                  </a:cubicBezTo>
                  <a:cubicBezTo>
                    <a:pt x="544102" y="150524"/>
                    <a:pt x="536754" y="157619"/>
                    <a:pt x="533713" y="169400"/>
                  </a:cubicBezTo>
                  <a:cubicBezTo>
                    <a:pt x="530926" y="180042"/>
                    <a:pt x="529533" y="193977"/>
                    <a:pt x="534347" y="204238"/>
                  </a:cubicBezTo>
                  <a:cubicBezTo>
                    <a:pt x="538654" y="213359"/>
                    <a:pt x="551956" y="220200"/>
                    <a:pt x="552589" y="230841"/>
                  </a:cubicBezTo>
                  <a:cubicBezTo>
                    <a:pt x="552969" y="236795"/>
                    <a:pt x="548282" y="241229"/>
                    <a:pt x="544102" y="244650"/>
                  </a:cubicBezTo>
                  <a:cubicBezTo>
                    <a:pt x="541315" y="246930"/>
                    <a:pt x="531813" y="251237"/>
                    <a:pt x="531053" y="255164"/>
                  </a:cubicBezTo>
                  <a:cubicBezTo>
                    <a:pt x="529660" y="262132"/>
                    <a:pt x="552209" y="265552"/>
                    <a:pt x="556896" y="269859"/>
                  </a:cubicBezTo>
                  <a:cubicBezTo>
                    <a:pt x="565891" y="277714"/>
                    <a:pt x="561837" y="291902"/>
                    <a:pt x="565511" y="302290"/>
                  </a:cubicBezTo>
                  <a:cubicBezTo>
                    <a:pt x="570831" y="316859"/>
                    <a:pt x="581599" y="329654"/>
                    <a:pt x="588947" y="343335"/>
                  </a:cubicBezTo>
                  <a:cubicBezTo>
                    <a:pt x="594395" y="353343"/>
                    <a:pt x="601869" y="361831"/>
                    <a:pt x="607316" y="371712"/>
                  </a:cubicBezTo>
                  <a:cubicBezTo>
                    <a:pt x="613397" y="382353"/>
                    <a:pt x="612130" y="394515"/>
                    <a:pt x="611876" y="4060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8" name="Полилиния: фигура 407">
              <a:extLst>
                <a:ext uri="{FF2B5EF4-FFF2-40B4-BE49-F238E27FC236}">
                  <a16:creationId xmlns:a16="http://schemas.microsoft.com/office/drawing/2014/main" id="{806A93B6-CFF9-4C7D-BC1E-A1E12CDBA422}"/>
                </a:ext>
              </a:extLst>
            </p:cNvPr>
            <p:cNvSpPr/>
            <p:nvPr/>
          </p:nvSpPr>
          <p:spPr>
            <a:xfrm>
              <a:off x="2335221" y="2088134"/>
              <a:ext cx="683001" cy="652445"/>
            </a:xfrm>
            <a:custGeom>
              <a:avLst/>
              <a:gdLst>
                <a:gd name="connsiteX0" fmla="*/ 682312 w 683001"/>
                <a:gd name="connsiteY0" fmla="*/ 495984 h 652445"/>
                <a:gd name="connsiteX1" fmla="*/ 659889 w 683001"/>
                <a:gd name="connsiteY1" fmla="*/ 456586 h 652445"/>
                <a:gd name="connsiteX2" fmla="*/ 647474 w 683001"/>
                <a:gd name="connsiteY2" fmla="*/ 438851 h 652445"/>
                <a:gd name="connsiteX3" fmla="*/ 633413 w 683001"/>
                <a:gd name="connsiteY3" fmla="*/ 451265 h 652445"/>
                <a:gd name="connsiteX4" fmla="*/ 651021 w 683001"/>
                <a:gd name="connsiteY4" fmla="*/ 490664 h 652445"/>
                <a:gd name="connsiteX5" fmla="*/ 629612 w 683001"/>
                <a:gd name="connsiteY5" fmla="*/ 486610 h 652445"/>
                <a:gd name="connsiteX6" fmla="*/ 586033 w 683001"/>
                <a:gd name="connsiteY6" fmla="*/ 489904 h 652445"/>
                <a:gd name="connsiteX7" fmla="*/ 561583 w 683001"/>
                <a:gd name="connsiteY7" fmla="*/ 515620 h 652445"/>
                <a:gd name="connsiteX8" fmla="*/ 491655 w 683001"/>
                <a:gd name="connsiteY8" fmla="*/ 532849 h 652445"/>
                <a:gd name="connsiteX9" fmla="*/ 463278 w 683001"/>
                <a:gd name="connsiteY9" fmla="*/ 609365 h 652445"/>
                <a:gd name="connsiteX10" fmla="*/ 457957 w 683001"/>
                <a:gd name="connsiteY10" fmla="*/ 633181 h 652445"/>
                <a:gd name="connsiteX11" fmla="*/ 422993 w 683001"/>
                <a:gd name="connsiteY11" fmla="*/ 622667 h 652445"/>
                <a:gd name="connsiteX12" fmla="*/ 395249 w 683001"/>
                <a:gd name="connsiteY12" fmla="*/ 649017 h 652445"/>
                <a:gd name="connsiteX13" fmla="*/ 365606 w 683001"/>
                <a:gd name="connsiteY13" fmla="*/ 620640 h 652445"/>
                <a:gd name="connsiteX14" fmla="*/ 335455 w 683001"/>
                <a:gd name="connsiteY14" fmla="*/ 628114 h 652445"/>
                <a:gd name="connsiteX15" fmla="*/ 335202 w 683001"/>
                <a:gd name="connsiteY15" fmla="*/ 627861 h 652445"/>
                <a:gd name="connsiteX16" fmla="*/ 332542 w 683001"/>
                <a:gd name="connsiteY16" fmla="*/ 622034 h 652445"/>
                <a:gd name="connsiteX17" fmla="*/ 318733 w 683001"/>
                <a:gd name="connsiteY17" fmla="*/ 579848 h 652445"/>
                <a:gd name="connsiteX18" fmla="*/ 314046 w 683001"/>
                <a:gd name="connsiteY18" fmla="*/ 528415 h 652445"/>
                <a:gd name="connsiteX19" fmla="*/ 287062 w 683001"/>
                <a:gd name="connsiteY19" fmla="*/ 492057 h 652445"/>
                <a:gd name="connsiteX20" fmla="*/ 269834 w 683001"/>
                <a:gd name="connsiteY20" fmla="*/ 455066 h 652445"/>
                <a:gd name="connsiteX21" fmla="*/ 246777 w 683001"/>
                <a:gd name="connsiteY21" fmla="*/ 432643 h 652445"/>
                <a:gd name="connsiteX22" fmla="*/ 236263 w 683001"/>
                <a:gd name="connsiteY22" fmla="*/ 351440 h 652445"/>
                <a:gd name="connsiteX23" fmla="*/ 172288 w 683001"/>
                <a:gd name="connsiteY23" fmla="*/ 359294 h 652445"/>
                <a:gd name="connsiteX24" fmla="*/ 157086 w 683001"/>
                <a:gd name="connsiteY24" fmla="*/ 321036 h 652445"/>
                <a:gd name="connsiteX25" fmla="*/ 109580 w 683001"/>
                <a:gd name="connsiteY25" fmla="*/ 329523 h 652445"/>
                <a:gd name="connsiteX26" fmla="*/ 73349 w 683001"/>
                <a:gd name="connsiteY26" fmla="*/ 318249 h 652445"/>
                <a:gd name="connsiteX27" fmla="*/ 1267 w 683001"/>
                <a:gd name="connsiteY27" fmla="*/ 293799 h 652445"/>
                <a:gd name="connsiteX28" fmla="*/ 1393 w 683001"/>
                <a:gd name="connsiteY28" fmla="*/ 289239 h 652445"/>
                <a:gd name="connsiteX29" fmla="*/ 10641 w 683001"/>
                <a:gd name="connsiteY29" fmla="*/ 253641 h 652445"/>
                <a:gd name="connsiteX30" fmla="*/ 15962 w 683001"/>
                <a:gd name="connsiteY30" fmla="*/ 229191 h 652445"/>
                <a:gd name="connsiteX31" fmla="*/ 24576 w 683001"/>
                <a:gd name="connsiteY31" fmla="*/ 193593 h 652445"/>
                <a:gd name="connsiteX32" fmla="*/ 0 w 683001"/>
                <a:gd name="connsiteY32" fmla="*/ 121131 h 652445"/>
                <a:gd name="connsiteX33" fmla="*/ 6461 w 683001"/>
                <a:gd name="connsiteY33" fmla="*/ 115177 h 652445"/>
                <a:gd name="connsiteX34" fmla="*/ 30784 w 683001"/>
                <a:gd name="connsiteY34" fmla="*/ 99088 h 652445"/>
                <a:gd name="connsiteX35" fmla="*/ 55614 w 683001"/>
                <a:gd name="connsiteY35" fmla="*/ 114543 h 652445"/>
                <a:gd name="connsiteX36" fmla="*/ 77150 w 683001"/>
                <a:gd name="connsiteY36" fmla="*/ 139247 h 652445"/>
                <a:gd name="connsiteX37" fmla="*/ 86777 w 683001"/>
                <a:gd name="connsiteY37" fmla="*/ 108463 h 652445"/>
                <a:gd name="connsiteX38" fmla="*/ 137957 w 683001"/>
                <a:gd name="connsiteY38" fmla="*/ 76919 h 652445"/>
                <a:gd name="connsiteX39" fmla="*/ 152906 w 683001"/>
                <a:gd name="connsiteY39" fmla="*/ 92501 h 652445"/>
                <a:gd name="connsiteX40" fmla="*/ 178876 w 683001"/>
                <a:gd name="connsiteY40" fmla="*/ 97948 h 652445"/>
                <a:gd name="connsiteX41" fmla="*/ 203959 w 683001"/>
                <a:gd name="connsiteY41" fmla="*/ 129112 h 652445"/>
                <a:gd name="connsiteX42" fmla="*/ 237910 w 683001"/>
                <a:gd name="connsiteY42" fmla="*/ 163443 h 652445"/>
                <a:gd name="connsiteX43" fmla="*/ 246271 w 683001"/>
                <a:gd name="connsiteY43" fmla="*/ 206008 h 652445"/>
                <a:gd name="connsiteX44" fmla="*/ 283009 w 683001"/>
                <a:gd name="connsiteY44" fmla="*/ 179025 h 652445"/>
                <a:gd name="connsiteX45" fmla="*/ 276295 w 683001"/>
                <a:gd name="connsiteY45" fmla="*/ 134559 h 652445"/>
                <a:gd name="connsiteX46" fmla="*/ 251338 w 683001"/>
                <a:gd name="connsiteY46" fmla="*/ 104029 h 652445"/>
                <a:gd name="connsiteX47" fmla="*/ 253365 w 683001"/>
                <a:gd name="connsiteY47" fmla="*/ 84520 h 652445"/>
                <a:gd name="connsiteX48" fmla="*/ 246904 w 683001"/>
                <a:gd name="connsiteY48" fmla="*/ 62604 h 652445"/>
                <a:gd name="connsiteX49" fmla="*/ 274648 w 683001"/>
                <a:gd name="connsiteY49" fmla="*/ 44741 h 652445"/>
                <a:gd name="connsiteX50" fmla="*/ 243737 w 683001"/>
                <a:gd name="connsiteY50" fmla="*/ 149 h 652445"/>
                <a:gd name="connsiteX51" fmla="*/ 313666 w 683001"/>
                <a:gd name="connsiteY51" fmla="*/ 5090 h 652445"/>
                <a:gd name="connsiteX52" fmla="*/ 373840 w 683001"/>
                <a:gd name="connsiteY52" fmla="*/ 20038 h 652445"/>
                <a:gd name="connsiteX53" fmla="*/ 424133 w 683001"/>
                <a:gd name="connsiteY53" fmla="*/ 26372 h 652445"/>
                <a:gd name="connsiteX54" fmla="*/ 437055 w 683001"/>
                <a:gd name="connsiteY54" fmla="*/ 95034 h 652445"/>
                <a:gd name="connsiteX55" fmla="*/ 431354 w 683001"/>
                <a:gd name="connsiteY55" fmla="*/ 100228 h 652445"/>
                <a:gd name="connsiteX56" fmla="*/ 433001 w 683001"/>
                <a:gd name="connsiteY56" fmla="*/ 139880 h 652445"/>
                <a:gd name="connsiteX57" fmla="*/ 421726 w 683001"/>
                <a:gd name="connsiteY57" fmla="*/ 162049 h 652445"/>
                <a:gd name="connsiteX58" fmla="*/ 381948 w 683001"/>
                <a:gd name="connsiteY58" fmla="*/ 185612 h 652445"/>
                <a:gd name="connsiteX59" fmla="*/ 375740 w 683001"/>
                <a:gd name="connsiteY59" fmla="*/ 203474 h 652445"/>
                <a:gd name="connsiteX60" fmla="*/ 364212 w 683001"/>
                <a:gd name="connsiteY60" fmla="*/ 226277 h 652445"/>
                <a:gd name="connsiteX61" fmla="*/ 339889 w 683001"/>
                <a:gd name="connsiteY61" fmla="*/ 256808 h 652445"/>
                <a:gd name="connsiteX62" fmla="*/ 329248 w 683001"/>
                <a:gd name="connsiteY62" fmla="*/ 290505 h 652445"/>
                <a:gd name="connsiteX63" fmla="*/ 364592 w 683001"/>
                <a:gd name="connsiteY63" fmla="*/ 298106 h 652445"/>
                <a:gd name="connsiteX64" fmla="*/ 400443 w 683001"/>
                <a:gd name="connsiteY64" fmla="*/ 354607 h 652445"/>
                <a:gd name="connsiteX65" fmla="*/ 436674 w 683001"/>
                <a:gd name="connsiteY65" fmla="*/ 353213 h 652445"/>
                <a:gd name="connsiteX66" fmla="*/ 457957 w 683001"/>
                <a:gd name="connsiteY66" fmla="*/ 350553 h 652445"/>
                <a:gd name="connsiteX67" fmla="*/ 462898 w 683001"/>
                <a:gd name="connsiteY67" fmla="*/ 361701 h 652445"/>
                <a:gd name="connsiteX68" fmla="*/ 515091 w 683001"/>
                <a:gd name="connsiteY68" fmla="*/ 369682 h 652445"/>
                <a:gd name="connsiteX69" fmla="*/ 531560 w 683001"/>
                <a:gd name="connsiteY69" fmla="*/ 324076 h 652445"/>
                <a:gd name="connsiteX70" fmla="*/ 577039 w 683001"/>
                <a:gd name="connsiteY70" fmla="*/ 361068 h 652445"/>
                <a:gd name="connsiteX71" fmla="*/ 598828 w 683001"/>
                <a:gd name="connsiteY71" fmla="*/ 314195 h 652445"/>
                <a:gd name="connsiteX72" fmla="*/ 627205 w 683001"/>
                <a:gd name="connsiteY72" fmla="*/ 390711 h 652445"/>
                <a:gd name="connsiteX73" fmla="*/ 681932 w 683001"/>
                <a:gd name="connsiteY73" fmla="*/ 439611 h 652445"/>
                <a:gd name="connsiteX74" fmla="*/ 682312 w 683001"/>
                <a:gd name="connsiteY74" fmla="*/ 495984 h 6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83001" h="652445">
                  <a:moveTo>
                    <a:pt x="682312" y="495984"/>
                  </a:moveTo>
                  <a:cubicBezTo>
                    <a:pt x="666350" y="495731"/>
                    <a:pt x="663436" y="470141"/>
                    <a:pt x="659889" y="456586"/>
                  </a:cubicBezTo>
                  <a:cubicBezTo>
                    <a:pt x="658242" y="449872"/>
                    <a:pt x="655709" y="439737"/>
                    <a:pt x="647474" y="438851"/>
                  </a:cubicBezTo>
                  <a:cubicBezTo>
                    <a:pt x="640253" y="437964"/>
                    <a:pt x="634806" y="444931"/>
                    <a:pt x="633413" y="451265"/>
                  </a:cubicBezTo>
                  <a:cubicBezTo>
                    <a:pt x="630245" y="465834"/>
                    <a:pt x="643040" y="478375"/>
                    <a:pt x="651021" y="490664"/>
                  </a:cubicBezTo>
                  <a:cubicBezTo>
                    <a:pt x="642534" y="486863"/>
                    <a:pt x="634299" y="484583"/>
                    <a:pt x="629612" y="486610"/>
                  </a:cubicBezTo>
                  <a:cubicBezTo>
                    <a:pt x="619097" y="491297"/>
                    <a:pt x="590087" y="477362"/>
                    <a:pt x="586033" y="489904"/>
                  </a:cubicBezTo>
                  <a:cubicBezTo>
                    <a:pt x="582106" y="502445"/>
                    <a:pt x="588060" y="520941"/>
                    <a:pt x="561583" y="515620"/>
                  </a:cubicBezTo>
                  <a:cubicBezTo>
                    <a:pt x="535234" y="510426"/>
                    <a:pt x="500269" y="517647"/>
                    <a:pt x="491655" y="532849"/>
                  </a:cubicBezTo>
                  <a:cubicBezTo>
                    <a:pt x="483040" y="548051"/>
                    <a:pt x="458717" y="592897"/>
                    <a:pt x="463278" y="609365"/>
                  </a:cubicBezTo>
                  <a:cubicBezTo>
                    <a:pt x="467838" y="625834"/>
                    <a:pt x="469865" y="644330"/>
                    <a:pt x="457957" y="633181"/>
                  </a:cubicBezTo>
                  <a:cubicBezTo>
                    <a:pt x="446049" y="621907"/>
                    <a:pt x="428314" y="611392"/>
                    <a:pt x="422993" y="622667"/>
                  </a:cubicBezTo>
                  <a:cubicBezTo>
                    <a:pt x="417672" y="633942"/>
                    <a:pt x="409818" y="662192"/>
                    <a:pt x="395249" y="649017"/>
                  </a:cubicBezTo>
                  <a:cubicBezTo>
                    <a:pt x="380681" y="635842"/>
                    <a:pt x="380048" y="615319"/>
                    <a:pt x="365606" y="620640"/>
                  </a:cubicBezTo>
                  <a:cubicBezTo>
                    <a:pt x="353318" y="625201"/>
                    <a:pt x="341916" y="636349"/>
                    <a:pt x="335455" y="628114"/>
                  </a:cubicBezTo>
                  <a:cubicBezTo>
                    <a:pt x="335328" y="627987"/>
                    <a:pt x="335328" y="627987"/>
                    <a:pt x="335202" y="627861"/>
                  </a:cubicBezTo>
                  <a:cubicBezTo>
                    <a:pt x="334188" y="626467"/>
                    <a:pt x="333302" y="624567"/>
                    <a:pt x="332542" y="622034"/>
                  </a:cubicBezTo>
                  <a:cubicBezTo>
                    <a:pt x="327221" y="603538"/>
                    <a:pt x="313412" y="606831"/>
                    <a:pt x="318733" y="579848"/>
                  </a:cubicBezTo>
                  <a:cubicBezTo>
                    <a:pt x="324054" y="552865"/>
                    <a:pt x="331275" y="547544"/>
                    <a:pt x="314046" y="528415"/>
                  </a:cubicBezTo>
                  <a:cubicBezTo>
                    <a:pt x="296944" y="509286"/>
                    <a:pt x="285036" y="505992"/>
                    <a:pt x="287062" y="492057"/>
                  </a:cubicBezTo>
                  <a:cubicBezTo>
                    <a:pt x="289089" y="478249"/>
                    <a:pt x="282375" y="455826"/>
                    <a:pt x="269834" y="455066"/>
                  </a:cubicBezTo>
                  <a:cubicBezTo>
                    <a:pt x="257292" y="454432"/>
                    <a:pt x="242850" y="455066"/>
                    <a:pt x="246777" y="432643"/>
                  </a:cubicBezTo>
                  <a:cubicBezTo>
                    <a:pt x="250705" y="410220"/>
                    <a:pt x="244751" y="348906"/>
                    <a:pt x="236263" y="351440"/>
                  </a:cubicBezTo>
                  <a:cubicBezTo>
                    <a:pt x="227775" y="354100"/>
                    <a:pt x="170261" y="382477"/>
                    <a:pt x="172288" y="359294"/>
                  </a:cubicBezTo>
                  <a:cubicBezTo>
                    <a:pt x="174315" y="336238"/>
                    <a:pt x="186096" y="312421"/>
                    <a:pt x="157086" y="321036"/>
                  </a:cubicBezTo>
                  <a:cubicBezTo>
                    <a:pt x="128076" y="329523"/>
                    <a:pt x="118828" y="338138"/>
                    <a:pt x="109580" y="329523"/>
                  </a:cubicBezTo>
                  <a:cubicBezTo>
                    <a:pt x="100333" y="321036"/>
                    <a:pt x="81837" y="318249"/>
                    <a:pt x="73349" y="318249"/>
                  </a:cubicBezTo>
                  <a:cubicBezTo>
                    <a:pt x="65495" y="318249"/>
                    <a:pt x="6207" y="309381"/>
                    <a:pt x="1267" y="293799"/>
                  </a:cubicBezTo>
                  <a:cubicBezTo>
                    <a:pt x="760" y="292279"/>
                    <a:pt x="760" y="290885"/>
                    <a:pt x="1393" y="289239"/>
                  </a:cubicBezTo>
                  <a:cubicBezTo>
                    <a:pt x="7981" y="270743"/>
                    <a:pt x="14568" y="266182"/>
                    <a:pt x="10641" y="253641"/>
                  </a:cubicBezTo>
                  <a:cubicBezTo>
                    <a:pt x="6714" y="241099"/>
                    <a:pt x="5321" y="243760"/>
                    <a:pt x="15962" y="229191"/>
                  </a:cubicBezTo>
                  <a:cubicBezTo>
                    <a:pt x="26477" y="214623"/>
                    <a:pt x="29770" y="204741"/>
                    <a:pt x="24576" y="193593"/>
                  </a:cubicBezTo>
                  <a:cubicBezTo>
                    <a:pt x="19889" y="183585"/>
                    <a:pt x="7221" y="149888"/>
                    <a:pt x="0" y="121131"/>
                  </a:cubicBezTo>
                  <a:cubicBezTo>
                    <a:pt x="2154" y="119991"/>
                    <a:pt x="4307" y="118090"/>
                    <a:pt x="6461" y="115177"/>
                  </a:cubicBezTo>
                  <a:cubicBezTo>
                    <a:pt x="14442" y="104029"/>
                    <a:pt x="14188" y="98075"/>
                    <a:pt x="30784" y="99088"/>
                  </a:cubicBezTo>
                  <a:cubicBezTo>
                    <a:pt x="43325" y="99848"/>
                    <a:pt x="52447" y="101622"/>
                    <a:pt x="55614" y="114543"/>
                  </a:cubicBezTo>
                  <a:cubicBezTo>
                    <a:pt x="58527" y="126071"/>
                    <a:pt x="59414" y="142540"/>
                    <a:pt x="77150" y="139247"/>
                  </a:cubicBezTo>
                  <a:cubicBezTo>
                    <a:pt x="91338" y="136713"/>
                    <a:pt x="86651" y="119484"/>
                    <a:pt x="86777" y="108463"/>
                  </a:cubicBezTo>
                  <a:cubicBezTo>
                    <a:pt x="87157" y="75398"/>
                    <a:pt x="111860" y="77172"/>
                    <a:pt x="137957" y="76919"/>
                  </a:cubicBezTo>
                  <a:cubicBezTo>
                    <a:pt x="137704" y="89967"/>
                    <a:pt x="140237" y="92501"/>
                    <a:pt x="152906" y="92501"/>
                  </a:cubicBezTo>
                  <a:cubicBezTo>
                    <a:pt x="163040" y="92501"/>
                    <a:pt x="171528" y="92374"/>
                    <a:pt x="178876" y="97948"/>
                  </a:cubicBezTo>
                  <a:cubicBezTo>
                    <a:pt x="178116" y="119864"/>
                    <a:pt x="184070" y="124551"/>
                    <a:pt x="203959" y="129112"/>
                  </a:cubicBezTo>
                  <a:cubicBezTo>
                    <a:pt x="222581" y="133292"/>
                    <a:pt x="235883" y="143554"/>
                    <a:pt x="237910" y="163443"/>
                  </a:cubicBezTo>
                  <a:cubicBezTo>
                    <a:pt x="239303" y="176238"/>
                    <a:pt x="230942" y="199294"/>
                    <a:pt x="246271" y="206008"/>
                  </a:cubicBezTo>
                  <a:cubicBezTo>
                    <a:pt x="263246" y="213482"/>
                    <a:pt x="279968" y="193340"/>
                    <a:pt x="283009" y="179025"/>
                  </a:cubicBezTo>
                  <a:cubicBezTo>
                    <a:pt x="285922" y="165216"/>
                    <a:pt x="283769" y="146721"/>
                    <a:pt x="276295" y="134559"/>
                  </a:cubicBezTo>
                  <a:cubicBezTo>
                    <a:pt x="269707" y="123538"/>
                    <a:pt x="253365" y="117204"/>
                    <a:pt x="251338" y="104029"/>
                  </a:cubicBezTo>
                  <a:cubicBezTo>
                    <a:pt x="250325" y="97821"/>
                    <a:pt x="253492" y="90980"/>
                    <a:pt x="253365" y="84520"/>
                  </a:cubicBezTo>
                  <a:cubicBezTo>
                    <a:pt x="253112" y="76158"/>
                    <a:pt x="249311" y="70331"/>
                    <a:pt x="246904" y="62604"/>
                  </a:cubicBezTo>
                  <a:cubicBezTo>
                    <a:pt x="241330" y="45121"/>
                    <a:pt x="260712" y="48668"/>
                    <a:pt x="274648" y="44741"/>
                  </a:cubicBezTo>
                  <a:cubicBezTo>
                    <a:pt x="321013" y="31693"/>
                    <a:pt x="258432" y="11424"/>
                    <a:pt x="243737" y="149"/>
                  </a:cubicBezTo>
                  <a:cubicBezTo>
                    <a:pt x="266667" y="-864"/>
                    <a:pt x="290610" y="3569"/>
                    <a:pt x="313666" y="5090"/>
                  </a:cubicBezTo>
                  <a:cubicBezTo>
                    <a:pt x="334695" y="6610"/>
                    <a:pt x="353444" y="15984"/>
                    <a:pt x="373840" y="20038"/>
                  </a:cubicBezTo>
                  <a:cubicBezTo>
                    <a:pt x="390182" y="23205"/>
                    <a:pt x="407158" y="24725"/>
                    <a:pt x="424133" y="26372"/>
                  </a:cubicBezTo>
                  <a:cubicBezTo>
                    <a:pt x="421726" y="42968"/>
                    <a:pt x="420966" y="71091"/>
                    <a:pt x="437055" y="95034"/>
                  </a:cubicBezTo>
                  <a:cubicBezTo>
                    <a:pt x="434648" y="96301"/>
                    <a:pt x="432621" y="97948"/>
                    <a:pt x="431354" y="100228"/>
                  </a:cubicBezTo>
                  <a:cubicBezTo>
                    <a:pt x="425273" y="110870"/>
                    <a:pt x="434141" y="128225"/>
                    <a:pt x="433001" y="139880"/>
                  </a:cubicBezTo>
                  <a:cubicBezTo>
                    <a:pt x="432241" y="148621"/>
                    <a:pt x="428060" y="156095"/>
                    <a:pt x="421726" y="162049"/>
                  </a:cubicBezTo>
                  <a:cubicBezTo>
                    <a:pt x="410325" y="172564"/>
                    <a:pt x="394743" y="177124"/>
                    <a:pt x="381948" y="185612"/>
                  </a:cubicBezTo>
                  <a:cubicBezTo>
                    <a:pt x="373333" y="191313"/>
                    <a:pt x="375867" y="194353"/>
                    <a:pt x="375740" y="203474"/>
                  </a:cubicBezTo>
                  <a:cubicBezTo>
                    <a:pt x="375740" y="212722"/>
                    <a:pt x="371433" y="220703"/>
                    <a:pt x="364212" y="226277"/>
                  </a:cubicBezTo>
                  <a:cubicBezTo>
                    <a:pt x="354584" y="233752"/>
                    <a:pt x="346983" y="246927"/>
                    <a:pt x="339889" y="256808"/>
                  </a:cubicBezTo>
                  <a:cubicBezTo>
                    <a:pt x="334442" y="264282"/>
                    <a:pt x="321520" y="280877"/>
                    <a:pt x="329248" y="290505"/>
                  </a:cubicBezTo>
                  <a:cubicBezTo>
                    <a:pt x="336342" y="299373"/>
                    <a:pt x="354711" y="296459"/>
                    <a:pt x="364592" y="298106"/>
                  </a:cubicBezTo>
                  <a:cubicBezTo>
                    <a:pt x="398036" y="303554"/>
                    <a:pt x="376880" y="341432"/>
                    <a:pt x="400443" y="354607"/>
                  </a:cubicBezTo>
                  <a:cubicBezTo>
                    <a:pt x="411338" y="360687"/>
                    <a:pt x="425526" y="356127"/>
                    <a:pt x="436674" y="353213"/>
                  </a:cubicBezTo>
                  <a:cubicBezTo>
                    <a:pt x="444149" y="351186"/>
                    <a:pt x="450736" y="350426"/>
                    <a:pt x="457957" y="350553"/>
                  </a:cubicBezTo>
                  <a:cubicBezTo>
                    <a:pt x="458971" y="356380"/>
                    <a:pt x="460617" y="360307"/>
                    <a:pt x="462898" y="361701"/>
                  </a:cubicBezTo>
                  <a:cubicBezTo>
                    <a:pt x="484054" y="374242"/>
                    <a:pt x="515724" y="400592"/>
                    <a:pt x="515091" y="369682"/>
                  </a:cubicBezTo>
                  <a:cubicBezTo>
                    <a:pt x="514457" y="338645"/>
                    <a:pt x="518385" y="316855"/>
                    <a:pt x="531560" y="324076"/>
                  </a:cubicBezTo>
                  <a:cubicBezTo>
                    <a:pt x="544735" y="331297"/>
                    <a:pt x="567918" y="382857"/>
                    <a:pt x="577039" y="361068"/>
                  </a:cubicBezTo>
                  <a:cubicBezTo>
                    <a:pt x="586287" y="339278"/>
                    <a:pt x="585020" y="291772"/>
                    <a:pt x="598828" y="314195"/>
                  </a:cubicBezTo>
                  <a:cubicBezTo>
                    <a:pt x="612636" y="336618"/>
                    <a:pt x="602122" y="376269"/>
                    <a:pt x="627205" y="390711"/>
                  </a:cubicBezTo>
                  <a:cubicBezTo>
                    <a:pt x="652288" y="405280"/>
                    <a:pt x="680665" y="411867"/>
                    <a:pt x="681932" y="439611"/>
                  </a:cubicBezTo>
                  <a:cubicBezTo>
                    <a:pt x="682439" y="457346"/>
                    <a:pt x="683832" y="482049"/>
                    <a:pt x="682312" y="49598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09" name="Полилиния: фигура 408">
              <a:extLst>
                <a:ext uri="{FF2B5EF4-FFF2-40B4-BE49-F238E27FC236}">
                  <a16:creationId xmlns:a16="http://schemas.microsoft.com/office/drawing/2014/main" id="{863DB12D-E24C-4356-BF7C-751BD8B245EE}"/>
                </a:ext>
              </a:extLst>
            </p:cNvPr>
            <p:cNvSpPr/>
            <p:nvPr/>
          </p:nvSpPr>
          <p:spPr>
            <a:xfrm>
              <a:off x="1923637" y="2209518"/>
              <a:ext cx="438496" cy="575518"/>
            </a:xfrm>
            <a:custGeom>
              <a:avLst/>
              <a:gdLst>
                <a:gd name="connsiteX0" fmla="*/ 427420 w 438496"/>
                <a:gd name="connsiteY0" fmla="*/ 107807 h 575518"/>
                <a:gd name="connsiteX1" fmla="*/ 422099 w 438496"/>
                <a:gd name="connsiteY1" fmla="*/ 132257 h 575518"/>
                <a:gd name="connsiteX2" fmla="*/ 412851 w 438496"/>
                <a:gd name="connsiteY2" fmla="*/ 167854 h 575518"/>
                <a:gd name="connsiteX3" fmla="*/ 412725 w 438496"/>
                <a:gd name="connsiteY3" fmla="*/ 172415 h 575518"/>
                <a:gd name="connsiteX4" fmla="*/ 370793 w 438496"/>
                <a:gd name="connsiteY4" fmla="*/ 166714 h 575518"/>
                <a:gd name="connsiteX5" fmla="*/ 346470 w 438496"/>
                <a:gd name="connsiteY5" fmla="*/ 182043 h 575518"/>
                <a:gd name="connsiteX6" fmla="*/ 351410 w 438496"/>
                <a:gd name="connsiteY6" fmla="*/ 268693 h 575518"/>
                <a:gd name="connsiteX7" fmla="*/ 322653 w 438496"/>
                <a:gd name="connsiteY7" fmla="*/ 298844 h 575518"/>
                <a:gd name="connsiteX8" fmla="*/ 304284 w 438496"/>
                <a:gd name="connsiteY8" fmla="*/ 324561 h 575518"/>
                <a:gd name="connsiteX9" fmla="*/ 267166 w 438496"/>
                <a:gd name="connsiteY9" fmla="*/ 337862 h 575518"/>
                <a:gd name="connsiteX10" fmla="*/ 263239 w 438496"/>
                <a:gd name="connsiteY10" fmla="*/ 361172 h 575518"/>
                <a:gd name="connsiteX11" fmla="*/ 243983 w 438496"/>
                <a:gd name="connsiteY11" fmla="*/ 382455 h 575518"/>
                <a:gd name="connsiteX12" fmla="*/ 235496 w 438496"/>
                <a:gd name="connsiteY12" fmla="*/ 422993 h 575518"/>
                <a:gd name="connsiteX13" fmla="*/ 234229 w 438496"/>
                <a:gd name="connsiteY13" fmla="*/ 429327 h 575518"/>
                <a:gd name="connsiteX14" fmla="*/ 208386 w 438496"/>
                <a:gd name="connsiteY14" fmla="*/ 430974 h 575518"/>
                <a:gd name="connsiteX15" fmla="*/ 176715 w 438496"/>
                <a:gd name="connsiteY15" fmla="*/ 461631 h 575518"/>
                <a:gd name="connsiteX16" fmla="*/ 183556 w 438496"/>
                <a:gd name="connsiteY16" fmla="*/ 487348 h 575518"/>
                <a:gd name="connsiteX17" fmla="*/ 178109 w 438496"/>
                <a:gd name="connsiteY17" fmla="*/ 530420 h 575518"/>
                <a:gd name="connsiteX18" fmla="*/ 104759 w 438496"/>
                <a:gd name="connsiteY18" fmla="*/ 575519 h 575518"/>
                <a:gd name="connsiteX19" fmla="*/ 102226 w 438496"/>
                <a:gd name="connsiteY19" fmla="*/ 571971 h 575518"/>
                <a:gd name="connsiteX20" fmla="*/ 100706 w 438496"/>
                <a:gd name="connsiteY20" fmla="*/ 570325 h 575518"/>
                <a:gd name="connsiteX21" fmla="*/ 99059 w 438496"/>
                <a:gd name="connsiteY21" fmla="*/ 568804 h 575518"/>
                <a:gd name="connsiteX22" fmla="*/ 37744 w 438496"/>
                <a:gd name="connsiteY22" fmla="*/ 536247 h 575518"/>
                <a:gd name="connsiteX23" fmla="*/ 46485 w 438496"/>
                <a:gd name="connsiteY23" fmla="*/ 501536 h 575518"/>
                <a:gd name="connsiteX24" fmla="*/ 27356 w 438496"/>
                <a:gd name="connsiteY24" fmla="*/ 447062 h 575518"/>
                <a:gd name="connsiteX25" fmla="*/ 25203 w 438496"/>
                <a:gd name="connsiteY25" fmla="*/ 388915 h 575518"/>
                <a:gd name="connsiteX26" fmla="*/ 8987 w 438496"/>
                <a:gd name="connsiteY26" fmla="*/ 343816 h 575518"/>
                <a:gd name="connsiteX27" fmla="*/ 1387 w 438496"/>
                <a:gd name="connsiteY27" fmla="*/ 291370 h 575518"/>
                <a:gd name="connsiteX28" fmla="*/ 13928 w 438496"/>
                <a:gd name="connsiteY28" fmla="*/ 245764 h 575518"/>
                <a:gd name="connsiteX29" fmla="*/ 63714 w 438496"/>
                <a:gd name="connsiteY29" fmla="*/ 227142 h 575518"/>
                <a:gd name="connsiteX30" fmla="*/ 90064 w 438496"/>
                <a:gd name="connsiteY30" fmla="*/ 173682 h 575518"/>
                <a:gd name="connsiteX31" fmla="*/ 121735 w 438496"/>
                <a:gd name="connsiteY31" fmla="*/ 145811 h 575518"/>
                <a:gd name="connsiteX32" fmla="*/ 158726 w 438496"/>
                <a:gd name="connsiteY32" fmla="*/ 114394 h 575518"/>
                <a:gd name="connsiteX33" fmla="*/ 259059 w 438496"/>
                <a:gd name="connsiteY33" fmla="*/ 73222 h 575518"/>
                <a:gd name="connsiteX34" fmla="*/ 246390 w 438496"/>
                <a:gd name="connsiteY34" fmla="*/ 119335 h 575518"/>
                <a:gd name="connsiteX35" fmla="*/ 263999 w 438496"/>
                <a:gd name="connsiteY35" fmla="*/ 127823 h 575518"/>
                <a:gd name="connsiteX36" fmla="*/ 304918 w 438496"/>
                <a:gd name="connsiteY36" fmla="*/ 84117 h 575518"/>
                <a:gd name="connsiteX37" fmla="*/ 328354 w 438496"/>
                <a:gd name="connsiteY37" fmla="*/ 43832 h 575518"/>
                <a:gd name="connsiteX38" fmla="*/ 366992 w 438496"/>
                <a:gd name="connsiteY38" fmla="*/ 33064 h 575518"/>
                <a:gd name="connsiteX39" fmla="*/ 388402 w 438496"/>
                <a:gd name="connsiteY39" fmla="*/ 6207 h 575518"/>
                <a:gd name="connsiteX40" fmla="*/ 411585 w 438496"/>
                <a:gd name="connsiteY40" fmla="*/ 0 h 575518"/>
                <a:gd name="connsiteX41" fmla="*/ 436161 w 438496"/>
                <a:gd name="connsiteY41" fmla="*/ 72462 h 575518"/>
                <a:gd name="connsiteX42" fmla="*/ 427420 w 438496"/>
                <a:gd name="connsiteY42" fmla="*/ 107807 h 57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496" h="575518">
                  <a:moveTo>
                    <a:pt x="427420" y="107807"/>
                  </a:moveTo>
                  <a:cubicBezTo>
                    <a:pt x="416905" y="122375"/>
                    <a:pt x="418172" y="119715"/>
                    <a:pt x="422099" y="132257"/>
                  </a:cubicBezTo>
                  <a:cubicBezTo>
                    <a:pt x="426026" y="144798"/>
                    <a:pt x="419439" y="149359"/>
                    <a:pt x="412851" y="167854"/>
                  </a:cubicBezTo>
                  <a:cubicBezTo>
                    <a:pt x="412345" y="169501"/>
                    <a:pt x="412345" y="170895"/>
                    <a:pt x="412725" y="172415"/>
                  </a:cubicBezTo>
                  <a:cubicBezTo>
                    <a:pt x="397903" y="186603"/>
                    <a:pt x="381561" y="171655"/>
                    <a:pt x="370793" y="166714"/>
                  </a:cubicBezTo>
                  <a:cubicBezTo>
                    <a:pt x="359898" y="161774"/>
                    <a:pt x="357364" y="167221"/>
                    <a:pt x="346470" y="182043"/>
                  </a:cubicBezTo>
                  <a:cubicBezTo>
                    <a:pt x="335575" y="196865"/>
                    <a:pt x="353817" y="241457"/>
                    <a:pt x="351410" y="268693"/>
                  </a:cubicBezTo>
                  <a:cubicBezTo>
                    <a:pt x="349003" y="295930"/>
                    <a:pt x="337982" y="290483"/>
                    <a:pt x="322653" y="298844"/>
                  </a:cubicBezTo>
                  <a:cubicBezTo>
                    <a:pt x="307325" y="307332"/>
                    <a:pt x="310745" y="307332"/>
                    <a:pt x="304284" y="324561"/>
                  </a:cubicBezTo>
                  <a:cubicBezTo>
                    <a:pt x="297824" y="341916"/>
                    <a:pt x="280595" y="333428"/>
                    <a:pt x="267166" y="337862"/>
                  </a:cubicBezTo>
                  <a:cubicBezTo>
                    <a:pt x="253865" y="342296"/>
                    <a:pt x="261212" y="347743"/>
                    <a:pt x="263239" y="361172"/>
                  </a:cubicBezTo>
                  <a:cubicBezTo>
                    <a:pt x="265266" y="374600"/>
                    <a:pt x="256779" y="369153"/>
                    <a:pt x="243983" y="382455"/>
                  </a:cubicBezTo>
                  <a:cubicBezTo>
                    <a:pt x="231062" y="395756"/>
                    <a:pt x="236003" y="409185"/>
                    <a:pt x="235496" y="422993"/>
                  </a:cubicBezTo>
                  <a:cubicBezTo>
                    <a:pt x="235369" y="425907"/>
                    <a:pt x="234989" y="427933"/>
                    <a:pt x="234229" y="429327"/>
                  </a:cubicBezTo>
                  <a:cubicBezTo>
                    <a:pt x="231315" y="434648"/>
                    <a:pt x="223208" y="430974"/>
                    <a:pt x="208386" y="430974"/>
                  </a:cubicBezTo>
                  <a:cubicBezTo>
                    <a:pt x="189510" y="430974"/>
                    <a:pt x="186090" y="449343"/>
                    <a:pt x="176715" y="461631"/>
                  </a:cubicBezTo>
                  <a:cubicBezTo>
                    <a:pt x="167341" y="474046"/>
                    <a:pt x="173168" y="473539"/>
                    <a:pt x="183556" y="487348"/>
                  </a:cubicBezTo>
                  <a:cubicBezTo>
                    <a:pt x="193944" y="501156"/>
                    <a:pt x="185583" y="509137"/>
                    <a:pt x="178109" y="530420"/>
                  </a:cubicBezTo>
                  <a:cubicBezTo>
                    <a:pt x="170634" y="551702"/>
                    <a:pt x="104759" y="575519"/>
                    <a:pt x="104759" y="575519"/>
                  </a:cubicBezTo>
                  <a:cubicBezTo>
                    <a:pt x="103999" y="574252"/>
                    <a:pt x="103239" y="572985"/>
                    <a:pt x="102226" y="571971"/>
                  </a:cubicBezTo>
                  <a:cubicBezTo>
                    <a:pt x="101846" y="571465"/>
                    <a:pt x="101339" y="570831"/>
                    <a:pt x="100706" y="570325"/>
                  </a:cubicBezTo>
                  <a:cubicBezTo>
                    <a:pt x="100199" y="569818"/>
                    <a:pt x="99565" y="569311"/>
                    <a:pt x="99059" y="568804"/>
                  </a:cubicBezTo>
                  <a:cubicBezTo>
                    <a:pt x="81196" y="554236"/>
                    <a:pt x="60167" y="542961"/>
                    <a:pt x="37744" y="536247"/>
                  </a:cubicBezTo>
                  <a:cubicBezTo>
                    <a:pt x="51933" y="528773"/>
                    <a:pt x="50666" y="519652"/>
                    <a:pt x="46485" y="501536"/>
                  </a:cubicBezTo>
                  <a:cubicBezTo>
                    <a:pt x="41798" y="480887"/>
                    <a:pt x="39645" y="465051"/>
                    <a:pt x="27356" y="447062"/>
                  </a:cubicBezTo>
                  <a:cubicBezTo>
                    <a:pt x="11648" y="424133"/>
                    <a:pt x="14942" y="413238"/>
                    <a:pt x="25203" y="388915"/>
                  </a:cubicBezTo>
                  <a:cubicBezTo>
                    <a:pt x="34577" y="366492"/>
                    <a:pt x="20389" y="361045"/>
                    <a:pt x="8987" y="343816"/>
                  </a:cubicBezTo>
                  <a:cubicBezTo>
                    <a:pt x="-2034" y="327474"/>
                    <a:pt x="2147" y="309739"/>
                    <a:pt x="1387" y="291370"/>
                  </a:cubicBezTo>
                  <a:cubicBezTo>
                    <a:pt x="626" y="274521"/>
                    <a:pt x="-5074" y="254252"/>
                    <a:pt x="13928" y="245764"/>
                  </a:cubicBezTo>
                  <a:cubicBezTo>
                    <a:pt x="31410" y="237910"/>
                    <a:pt x="48766" y="241710"/>
                    <a:pt x="63714" y="227142"/>
                  </a:cubicBezTo>
                  <a:cubicBezTo>
                    <a:pt x="78663" y="212573"/>
                    <a:pt x="86391" y="193824"/>
                    <a:pt x="90064" y="173682"/>
                  </a:cubicBezTo>
                  <a:cubicBezTo>
                    <a:pt x="94498" y="149485"/>
                    <a:pt x="97412" y="146065"/>
                    <a:pt x="121735" y="145811"/>
                  </a:cubicBezTo>
                  <a:cubicBezTo>
                    <a:pt x="145044" y="145558"/>
                    <a:pt x="152899" y="135424"/>
                    <a:pt x="158726" y="114394"/>
                  </a:cubicBezTo>
                  <a:cubicBezTo>
                    <a:pt x="171268" y="68915"/>
                    <a:pt x="220167" y="72589"/>
                    <a:pt x="259059" y="73222"/>
                  </a:cubicBezTo>
                  <a:cubicBezTo>
                    <a:pt x="257159" y="89818"/>
                    <a:pt x="250318" y="103246"/>
                    <a:pt x="246390" y="119335"/>
                  </a:cubicBezTo>
                  <a:cubicBezTo>
                    <a:pt x="241070" y="140491"/>
                    <a:pt x="251585" y="142898"/>
                    <a:pt x="263999" y="127823"/>
                  </a:cubicBezTo>
                  <a:cubicBezTo>
                    <a:pt x="276668" y="112494"/>
                    <a:pt x="294910" y="101599"/>
                    <a:pt x="304918" y="84117"/>
                  </a:cubicBezTo>
                  <a:cubicBezTo>
                    <a:pt x="314292" y="67775"/>
                    <a:pt x="305805" y="50420"/>
                    <a:pt x="328354" y="43832"/>
                  </a:cubicBezTo>
                  <a:cubicBezTo>
                    <a:pt x="341402" y="40032"/>
                    <a:pt x="355211" y="41425"/>
                    <a:pt x="366992" y="33064"/>
                  </a:cubicBezTo>
                  <a:cubicBezTo>
                    <a:pt x="376240" y="26477"/>
                    <a:pt x="379661" y="12035"/>
                    <a:pt x="388402" y="6207"/>
                  </a:cubicBezTo>
                  <a:cubicBezTo>
                    <a:pt x="396129" y="1013"/>
                    <a:pt x="404237" y="3927"/>
                    <a:pt x="411585" y="0"/>
                  </a:cubicBezTo>
                  <a:cubicBezTo>
                    <a:pt x="418932" y="28757"/>
                    <a:pt x="431474" y="62454"/>
                    <a:pt x="436161" y="72462"/>
                  </a:cubicBezTo>
                  <a:cubicBezTo>
                    <a:pt x="441228" y="83357"/>
                    <a:pt x="437934" y="93238"/>
                    <a:pt x="427420" y="1078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0" name="Полилиния: фигура 409">
              <a:extLst>
                <a:ext uri="{FF2B5EF4-FFF2-40B4-BE49-F238E27FC236}">
                  <a16:creationId xmlns:a16="http://schemas.microsoft.com/office/drawing/2014/main" id="{EB2E90CD-EE01-470D-B48A-6B2BD306CFDF}"/>
                </a:ext>
              </a:extLst>
            </p:cNvPr>
            <p:cNvSpPr/>
            <p:nvPr/>
          </p:nvSpPr>
          <p:spPr>
            <a:xfrm>
              <a:off x="3511088" y="4663852"/>
              <a:ext cx="636537" cy="686369"/>
            </a:xfrm>
            <a:custGeom>
              <a:avLst/>
              <a:gdLst>
                <a:gd name="connsiteX0" fmla="*/ 627965 w 636537"/>
                <a:gd name="connsiteY0" fmla="*/ 245903 h 686369"/>
                <a:gd name="connsiteX1" fmla="*/ 634806 w 636537"/>
                <a:gd name="connsiteY1" fmla="*/ 269213 h 686369"/>
                <a:gd name="connsiteX2" fmla="*/ 621378 w 636537"/>
                <a:gd name="connsiteY2" fmla="*/ 289355 h 686369"/>
                <a:gd name="connsiteX3" fmla="*/ 583373 w 636537"/>
                <a:gd name="connsiteY3" fmla="*/ 293029 h 686369"/>
                <a:gd name="connsiteX4" fmla="*/ 572985 w 636537"/>
                <a:gd name="connsiteY4" fmla="*/ 311525 h 686369"/>
                <a:gd name="connsiteX5" fmla="*/ 556643 w 636537"/>
                <a:gd name="connsiteY5" fmla="*/ 330020 h 686369"/>
                <a:gd name="connsiteX6" fmla="*/ 537387 w 636537"/>
                <a:gd name="connsiteY6" fmla="*/ 331540 h 686369"/>
                <a:gd name="connsiteX7" fmla="*/ 526366 w 636537"/>
                <a:gd name="connsiteY7" fmla="*/ 348389 h 686369"/>
                <a:gd name="connsiteX8" fmla="*/ 519018 w 636537"/>
                <a:gd name="connsiteY8" fmla="*/ 361437 h 686369"/>
                <a:gd name="connsiteX9" fmla="*/ 527506 w 636537"/>
                <a:gd name="connsiteY9" fmla="*/ 372712 h 686369"/>
                <a:gd name="connsiteX10" fmla="*/ 537007 w 636537"/>
                <a:gd name="connsiteY10" fmla="*/ 382973 h 686369"/>
                <a:gd name="connsiteX11" fmla="*/ 549549 w 636537"/>
                <a:gd name="connsiteY11" fmla="*/ 402356 h 686369"/>
                <a:gd name="connsiteX12" fmla="*/ 564497 w 636537"/>
                <a:gd name="connsiteY12" fmla="*/ 416924 h 686369"/>
                <a:gd name="connsiteX13" fmla="*/ 575772 w 636537"/>
                <a:gd name="connsiteY13" fmla="*/ 477605 h 686369"/>
                <a:gd name="connsiteX14" fmla="*/ 572098 w 636537"/>
                <a:gd name="connsiteY14" fmla="*/ 506616 h 686369"/>
                <a:gd name="connsiteX15" fmla="*/ 564624 w 636537"/>
                <a:gd name="connsiteY15" fmla="*/ 530432 h 686369"/>
                <a:gd name="connsiteX16" fmla="*/ 550055 w 636537"/>
                <a:gd name="connsiteY16" fmla="*/ 525618 h 686369"/>
                <a:gd name="connsiteX17" fmla="*/ 517372 w 636537"/>
                <a:gd name="connsiteY17" fmla="*/ 510923 h 686369"/>
                <a:gd name="connsiteX18" fmla="*/ 487601 w 636537"/>
                <a:gd name="connsiteY18" fmla="*/ 503322 h 686369"/>
                <a:gd name="connsiteX19" fmla="*/ 431354 w 636537"/>
                <a:gd name="connsiteY19" fmla="*/ 495341 h 686369"/>
                <a:gd name="connsiteX20" fmla="*/ 407031 w 636537"/>
                <a:gd name="connsiteY20" fmla="*/ 478492 h 686369"/>
                <a:gd name="connsiteX21" fmla="*/ 371813 w 636537"/>
                <a:gd name="connsiteY21" fmla="*/ 465824 h 686369"/>
                <a:gd name="connsiteX22" fmla="*/ 357878 w 636537"/>
                <a:gd name="connsiteY22" fmla="*/ 429339 h 686369"/>
                <a:gd name="connsiteX23" fmla="*/ 337229 w 636537"/>
                <a:gd name="connsiteY23" fmla="*/ 454422 h 686369"/>
                <a:gd name="connsiteX24" fmla="*/ 317213 w 636537"/>
                <a:gd name="connsiteY24" fmla="*/ 466331 h 686369"/>
                <a:gd name="connsiteX25" fmla="*/ 320760 w 636537"/>
                <a:gd name="connsiteY25" fmla="*/ 488753 h 686369"/>
                <a:gd name="connsiteX26" fmla="*/ 330261 w 636537"/>
                <a:gd name="connsiteY26" fmla="*/ 521944 h 686369"/>
                <a:gd name="connsiteX27" fmla="*/ 309866 w 636537"/>
                <a:gd name="connsiteY27" fmla="*/ 535372 h 686369"/>
                <a:gd name="connsiteX28" fmla="*/ 296184 w 636537"/>
                <a:gd name="connsiteY28" fmla="*/ 551714 h 686369"/>
                <a:gd name="connsiteX29" fmla="*/ 310499 w 636537"/>
                <a:gd name="connsiteY29" fmla="*/ 576164 h 686369"/>
                <a:gd name="connsiteX30" fmla="*/ 329881 w 636537"/>
                <a:gd name="connsiteY30" fmla="*/ 589846 h 686369"/>
                <a:gd name="connsiteX31" fmla="*/ 333302 w 636537"/>
                <a:gd name="connsiteY31" fmla="*/ 604921 h 686369"/>
                <a:gd name="connsiteX32" fmla="*/ 341536 w 636537"/>
                <a:gd name="connsiteY32" fmla="*/ 622277 h 686369"/>
                <a:gd name="connsiteX33" fmla="*/ 336849 w 636537"/>
                <a:gd name="connsiteY33" fmla="*/ 647486 h 686369"/>
                <a:gd name="connsiteX34" fmla="*/ 316200 w 636537"/>
                <a:gd name="connsiteY34" fmla="*/ 637985 h 686369"/>
                <a:gd name="connsiteX35" fmla="*/ 302518 w 636537"/>
                <a:gd name="connsiteY35" fmla="*/ 599220 h 686369"/>
                <a:gd name="connsiteX36" fmla="*/ 273001 w 636537"/>
                <a:gd name="connsiteY36" fmla="*/ 590859 h 686369"/>
                <a:gd name="connsiteX37" fmla="*/ 233222 w 636537"/>
                <a:gd name="connsiteY37" fmla="*/ 585032 h 686369"/>
                <a:gd name="connsiteX38" fmla="*/ 181916 w 636537"/>
                <a:gd name="connsiteY38" fmla="*/ 596687 h 686369"/>
                <a:gd name="connsiteX39" fmla="*/ 186603 w 636537"/>
                <a:gd name="connsiteY39" fmla="*/ 637732 h 686369"/>
                <a:gd name="connsiteX40" fmla="*/ 181156 w 636537"/>
                <a:gd name="connsiteY40" fmla="*/ 675230 h 686369"/>
                <a:gd name="connsiteX41" fmla="*/ 85511 w 636537"/>
                <a:gd name="connsiteY41" fmla="*/ 667502 h 686369"/>
                <a:gd name="connsiteX42" fmla="*/ 68282 w 636537"/>
                <a:gd name="connsiteY42" fmla="*/ 663575 h 686369"/>
                <a:gd name="connsiteX43" fmla="*/ 66255 w 636537"/>
                <a:gd name="connsiteY43" fmla="*/ 656988 h 686369"/>
                <a:gd name="connsiteX44" fmla="*/ 77023 w 636537"/>
                <a:gd name="connsiteY44" fmla="*/ 615056 h 686369"/>
                <a:gd name="connsiteX45" fmla="*/ 89691 w 636537"/>
                <a:gd name="connsiteY45" fmla="*/ 599474 h 686369"/>
                <a:gd name="connsiteX46" fmla="*/ 61694 w 636537"/>
                <a:gd name="connsiteY46" fmla="*/ 554628 h 686369"/>
                <a:gd name="connsiteX47" fmla="*/ 20016 w 636537"/>
                <a:gd name="connsiteY47" fmla="*/ 557542 h 686369"/>
                <a:gd name="connsiteX48" fmla="*/ 5827 w 636537"/>
                <a:gd name="connsiteY48" fmla="*/ 548674 h 686369"/>
                <a:gd name="connsiteX49" fmla="*/ 0 w 636537"/>
                <a:gd name="connsiteY49" fmla="*/ 533472 h 686369"/>
                <a:gd name="connsiteX50" fmla="*/ 4434 w 636537"/>
                <a:gd name="connsiteY50" fmla="*/ 515230 h 686369"/>
                <a:gd name="connsiteX51" fmla="*/ 23310 w 636537"/>
                <a:gd name="connsiteY51" fmla="*/ 466964 h 686369"/>
                <a:gd name="connsiteX52" fmla="*/ 76390 w 636537"/>
                <a:gd name="connsiteY52" fmla="*/ 416798 h 686369"/>
                <a:gd name="connsiteX53" fmla="*/ 102740 w 636537"/>
                <a:gd name="connsiteY53" fmla="*/ 367645 h 686369"/>
                <a:gd name="connsiteX54" fmla="*/ 147332 w 636537"/>
                <a:gd name="connsiteY54" fmla="*/ 320392 h 686369"/>
                <a:gd name="connsiteX55" fmla="*/ 173048 w 636537"/>
                <a:gd name="connsiteY55" fmla="*/ 279474 h 686369"/>
                <a:gd name="connsiteX56" fmla="*/ 229169 w 636537"/>
                <a:gd name="connsiteY56" fmla="*/ 289355 h 686369"/>
                <a:gd name="connsiteX57" fmla="*/ 268440 w 636537"/>
                <a:gd name="connsiteY57" fmla="*/ 298223 h 686369"/>
                <a:gd name="connsiteX58" fmla="*/ 281615 w 636537"/>
                <a:gd name="connsiteY58" fmla="*/ 261612 h 686369"/>
                <a:gd name="connsiteX59" fmla="*/ 316960 w 636537"/>
                <a:gd name="connsiteY59" fmla="*/ 226014 h 686369"/>
                <a:gd name="connsiteX60" fmla="*/ 279715 w 636537"/>
                <a:gd name="connsiteY60" fmla="*/ 211192 h 686369"/>
                <a:gd name="connsiteX61" fmla="*/ 250958 w 636537"/>
                <a:gd name="connsiteY61" fmla="*/ 223734 h 686369"/>
                <a:gd name="connsiteX62" fmla="*/ 210673 w 636537"/>
                <a:gd name="connsiteY62" fmla="*/ 208278 h 686369"/>
                <a:gd name="connsiteX63" fmla="*/ 170135 w 636537"/>
                <a:gd name="connsiteY63" fmla="*/ 191049 h 686369"/>
                <a:gd name="connsiteX64" fmla="*/ 141124 w 636537"/>
                <a:gd name="connsiteY64" fmla="*/ 171920 h 686369"/>
                <a:gd name="connsiteX65" fmla="*/ 118068 w 636537"/>
                <a:gd name="connsiteY65" fmla="*/ 176481 h 686369"/>
                <a:gd name="connsiteX66" fmla="*/ 90325 w 636537"/>
                <a:gd name="connsiteY66" fmla="*/ 118080 h 686369"/>
                <a:gd name="connsiteX67" fmla="*/ 112747 w 636537"/>
                <a:gd name="connsiteY67" fmla="*/ 60947 h 686369"/>
                <a:gd name="connsiteX68" fmla="*/ 157593 w 636537"/>
                <a:gd name="connsiteY68" fmla="*/ 8880 h 686369"/>
                <a:gd name="connsiteX69" fmla="*/ 207379 w 636537"/>
                <a:gd name="connsiteY69" fmla="*/ 56766 h 686369"/>
                <a:gd name="connsiteX70" fmla="*/ 180649 w 636537"/>
                <a:gd name="connsiteY70" fmla="*/ 102245 h 686369"/>
                <a:gd name="connsiteX71" fmla="*/ 214347 w 636537"/>
                <a:gd name="connsiteY71" fmla="*/ 98951 h 686369"/>
                <a:gd name="connsiteX72" fmla="*/ 230435 w 636537"/>
                <a:gd name="connsiteY72" fmla="*/ 120361 h 686369"/>
                <a:gd name="connsiteX73" fmla="*/ 269074 w 636537"/>
                <a:gd name="connsiteY73" fmla="*/ 111113 h 686369"/>
                <a:gd name="connsiteX74" fmla="*/ 292510 w 636537"/>
                <a:gd name="connsiteY74" fmla="*/ 135816 h 686369"/>
                <a:gd name="connsiteX75" fmla="*/ 333428 w 636537"/>
                <a:gd name="connsiteY75" fmla="*/ 114407 h 686369"/>
                <a:gd name="connsiteX76" fmla="*/ 372067 w 636537"/>
                <a:gd name="connsiteY76" fmla="*/ 111746 h 686369"/>
                <a:gd name="connsiteX77" fmla="*/ 350657 w 636537"/>
                <a:gd name="connsiteY77" fmla="*/ 66267 h 686369"/>
                <a:gd name="connsiteX78" fmla="*/ 390942 w 636537"/>
                <a:gd name="connsiteY78" fmla="*/ 41564 h 686369"/>
                <a:gd name="connsiteX79" fmla="*/ 390689 w 636537"/>
                <a:gd name="connsiteY79" fmla="*/ 16608 h 686369"/>
                <a:gd name="connsiteX80" fmla="*/ 413365 w 636537"/>
                <a:gd name="connsiteY80" fmla="*/ 1659 h 686369"/>
                <a:gd name="connsiteX81" fmla="*/ 472779 w 636537"/>
                <a:gd name="connsiteY81" fmla="*/ 46251 h 686369"/>
                <a:gd name="connsiteX82" fmla="*/ 532953 w 636537"/>
                <a:gd name="connsiteY82" fmla="*/ 83116 h 686369"/>
                <a:gd name="connsiteX83" fmla="*/ 554996 w 636537"/>
                <a:gd name="connsiteY83" fmla="*/ 103892 h 686369"/>
                <a:gd name="connsiteX84" fmla="*/ 596294 w 636537"/>
                <a:gd name="connsiteY84" fmla="*/ 111113 h 686369"/>
                <a:gd name="connsiteX85" fmla="*/ 634679 w 636537"/>
                <a:gd name="connsiteY85" fmla="*/ 164066 h 686369"/>
                <a:gd name="connsiteX86" fmla="*/ 632399 w 636537"/>
                <a:gd name="connsiteY86" fmla="*/ 170907 h 686369"/>
                <a:gd name="connsiteX87" fmla="*/ 636199 w 636537"/>
                <a:gd name="connsiteY87" fmla="*/ 197890 h 686369"/>
                <a:gd name="connsiteX88" fmla="*/ 628219 w 636537"/>
                <a:gd name="connsiteY88" fmla="*/ 229688 h 686369"/>
                <a:gd name="connsiteX89" fmla="*/ 627965 w 636537"/>
                <a:gd name="connsiteY89" fmla="*/ 245903 h 68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6537" h="686369">
                  <a:moveTo>
                    <a:pt x="627965" y="245903"/>
                  </a:moveTo>
                  <a:cubicBezTo>
                    <a:pt x="629105" y="254771"/>
                    <a:pt x="636833" y="260345"/>
                    <a:pt x="634806" y="269213"/>
                  </a:cubicBezTo>
                  <a:cubicBezTo>
                    <a:pt x="633159" y="276940"/>
                    <a:pt x="628979" y="285808"/>
                    <a:pt x="621378" y="289355"/>
                  </a:cubicBezTo>
                  <a:cubicBezTo>
                    <a:pt x="609216" y="294929"/>
                    <a:pt x="595028" y="287328"/>
                    <a:pt x="583373" y="293029"/>
                  </a:cubicBezTo>
                  <a:cubicBezTo>
                    <a:pt x="575645" y="296829"/>
                    <a:pt x="575139" y="304177"/>
                    <a:pt x="572985" y="311525"/>
                  </a:cubicBezTo>
                  <a:cubicBezTo>
                    <a:pt x="570705" y="318872"/>
                    <a:pt x="565638" y="329640"/>
                    <a:pt x="556643" y="330020"/>
                  </a:cubicBezTo>
                  <a:cubicBezTo>
                    <a:pt x="548915" y="330273"/>
                    <a:pt x="544861" y="326853"/>
                    <a:pt x="537387" y="331540"/>
                  </a:cubicBezTo>
                  <a:cubicBezTo>
                    <a:pt x="530546" y="335721"/>
                    <a:pt x="527379" y="340661"/>
                    <a:pt x="526366" y="348389"/>
                  </a:cubicBezTo>
                  <a:cubicBezTo>
                    <a:pt x="525606" y="354723"/>
                    <a:pt x="521045" y="356117"/>
                    <a:pt x="519018" y="361437"/>
                  </a:cubicBezTo>
                  <a:cubicBezTo>
                    <a:pt x="516865" y="367012"/>
                    <a:pt x="523706" y="370305"/>
                    <a:pt x="527506" y="372712"/>
                  </a:cubicBezTo>
                  <a:cubicBezTo>
                    <a:pt x="531940" y="375626"/>
                    <a:pt x="534093" y="378666"/>
                    <a:pt x="537007" y="382973"/>
                  </a:cubicBezTo>
                  <a:cubicBezTo>
                    <a:pt x="541188" y="389434"/>
                    <a:pt x="545241" y="395895"/>
                    <a:pt x="549549" y="402356"/>
                  </a:cubicBezTo>
                  <a:cubicBezTo>
                    <a:pt x="553603" y="408437"/>
                    <a:pt x="559430" y="411730"/>
                    <a:pt x="564497" y="416924"/>
                  </a:cubicBezTo>
                  <a:cubicBezTo>
                    <a:pt x="579573" y="432126"/>
                    <a:pt x="577419" y="457969"/>
                    <a:pt x="575772" y="477605"/>
                  </a:cubicBezTo>
                  <a:cubicBezTo>
                    <a:pt x="574885" y="487360"/>
                    <a:pt x="573492" y="496988"/>
                    <a:pt x="572098" y="506616"/>
                  </a:cubicBezTo>
                  <a:cubicBezTo>
                    <a:pt x="570958" y="514850"/>
                    <a:pt x="569565" y="523464"/>
                    <a:pt x="564624" y="530432"/>
                  </a:cubicBezTo>
                  <a:cubicBezTo>
                    <a:pt x="559810" y="528785"/>
                    <a:pt x="554996" y="527138"/>
                    <a:pt x="550055" y="525618"/>
                  </a:cubicBezTo>
                  <a:cubicBezTo>
                    <a:pt x="538527" y="522198"/>
                    <a:pt x="527759" y="516877"/>
                    <a:pt x="517372" y="510923"/>
                  </a:cubicBezTo>
                  <a:cubicBezTo>
                    <a:pt x="507490" y="505095"/>
                    <a:pt x="499002" y="504842"/>
                    <a:pt x="487601" y="503322"/>
                  </a:cubicBezTo>
                  <a:cubicBezTo>
                    <a:pt x="469486" y="500915"/>
                    <a:pt x="446176" y="508769"/>
                    <a:pt x="431354" y="495341"/>
                  </a:cubicBezTo>
                  <a:cubicBezTo>
                    <a:pt x="423626" y="488373"/>
                    <a:pt x="417292" y="481912"/>
                    <a:pt x="407031" y="478492"/>
                  </a:cubicBezTo>
                  <a:cubicBezTo>
                    <a:pt x="395629" y="474692"/>
                    <a:pt x="378907" y="477225"/>
                    <a:pt x="371813" y="465824"/>
                  </a:cubicBezTo>
                  <a:cubicBezTo>
                    <a:pt x="366873" y="457716"/>
                    <a:pt x="369153" y="431873"/>
                    <a:pt x="357878" y="429339"/>
                  </a:cubicBezTo>
                  <a:cubicBezTo>
                    <a:pt x="346857" y="426932"/>
                    <a:pt x="342169" y="448215"/>
                    <a:pt x="337229" y="454422"/>
                  </a:cubicBezTo>
                  <a:cubicBezTo>
                    <a:pt x="331908" y="461137"/>
                    <a:pt x="322154" y="459616"/>
                    <a:pt x="317213" y="466331"/>
                  </a:cubicBezTo>
                  <a:cubicBezTo>
                    <a:pt x="311892" y="473805"/>
                    <a:pt x="316960" y="482166"/>
                    <a:pt x="320760" y="488753"/>
                  </a:cubicBezTo>
                  <a:cubicBezTo>
                    <a:pt x="326208" y="498761"/>
                    <a:pt x="329755" y="510416"/>
                    <a:pt x="330261" y="521944"/>
                  </a:cubicBezTo>
                  <a:cubicBezTo>
                    <a:pt x="330895" y="536766"/>
                    <a:pt x="321520" y="534232"/>
                    <a:pt x="309866" y="535372"/>
                  </a:cubicBezTo>
                  <a:cubicBezTo>
                    <a:pt x="298971" y="536386"/>
                    <a:pt x="291750" y="540313"/>
                    <a:pt x="296184" y="551714"/>
                  </a:cubicBezTo>
                  <a:cubicBezTo>
                    <a:pt x="299351" y="559822"/>
                    <a:pt x="303658" y="570590"/>
                    <a:pt x="310499" y="576164"/>
                  </a:cubicBezTo>
                  <a:cubicBezTo>
                    <a:pt x="317213" y="581738"/>
                    <a:pt x="326588" y="580978"/>
                    <a:pt x="329881" y="589846"/>
                  </a:cubicBezTo>
                  <a:cubicBezTo>
                    <a:pt x="331655" y="594660"/>
                    <a:pt x="331528" y="600107"/>
                    <a:pt x="333302" y="604921"/>
                  </a:cubicBezTo>
                  <a:cubicBezTo>
                    <a:pt x="335455" y="610875"/>
                    <a:pt x="339002" y="616323"/>
                    <a:pt x="341536" y="622277"/>
                  </a:cubicBezTo>
                  <a:cubicBezTo>
                    <a:pt x="344830" y="630131"/>
                    <a:pt x="346857" y="643306"/>
                    <a:pt x="336849" y="647486"/>
                  </a:cubicBezTo>
                  <a:cubicBezTo>
                    <a:pt x="329248" y="650780"/>
                    <a:pt x="319240" y="644953"/>
                    <a:pt x="316200" y="637985"/>
                  </a:cubicBezTo>
                  <a:cubicBezTo>
                    <a:pt x="310246" y="624557"/>
                    <a:pt x="314046" y="610875"/>
                    <a:pt x="302518" y="599220"/>
                  </a:cubicBezTo>
                  <a:cubicBezTo>
                    <a:pt x="293270" y="589846"/>
                    <a:pt x="284909" y="591113"/>
                    <a:pt x="273001" y="590859"/>
                  </a:cubicBezTo>
                  <a:cubicBezTo>
                    <a:pt x="259573" y="590606"/>
                    <a:pt x="246651" y="585159"/>
                    <a:pt x="233222" y="585032"/>
                  </a:cubicBezTo>
                  <a:cubicBezTo>
                    <a:pt x="218654" y="584905"/>
                    <a:pt x="189137" y="579711"/>
                    <a:pt x="181916" y="596687"/>
                  </a:cubicBezTo>
                  <a:cubicBezTo>
                    <a:pt x="176342" y="609735"/>
                    <a:pt x="183436" y="624937"/>
                    <a:pt x="186603" y="637732"/>
                  </a:cubicBezTo>
                  <a:cubicBezTo>
                    <a:pt x="189770" y="650907"/>
                    <a:pt x="194458" y="666489"/>
                    <a:pt x="181156" y="675230"/>
                  </a:cubicBezTo>
                  <a:cubicBezTo>
                    <a:pt x="148979" y="696259"/>
                    <a:pt x="115914" y="683971"/>
                    <a:pt x="85511" y="667502"/>
                  </a:cubicBezTo>
                  <a:cubicBezTo>
                    <a:pt x="77656" y="663195"/>
                    <a:pt x="71576" y="661168"/>
                    <a:pt x="68282" y="663575"/>
                  </a:cubicBezTo>
                  <a:cubicBezTo>
                    <a:pt x="67522" y="661422"/>
                    <a:pt x="66888" y="659141"/>
                    <a:pt x="66255" y="656988"/>
                  </a:cubicBezTo>
                  <a:cubicBezTo>
                    <a:pt x="61821" y="642039"/>
                    <a:pt x="65495" y="626331"/>
                    <a:pt x="77023" y="615056"/>
                  </a:cubicBezTo>
                  <a:cubicBezTo>
                    <a:pt x="82597" y="609608"/>
                    <a:pt x="92478" y="609355"/>
                    <a:pt x="89691" y="599474"/>
                  </a:cubicBezTo>
                  <a:cubicBezTo>
                    <a:pt x="85257" y="583638"/>
                    <a:pt x="74996" y="564763"/>
                    <a:pt x="61694" y="554628"/>
                  </a:cubicBezTo>
                  <a:cubicBezTo>
                    <a:pt x="48393" y="544367"/>
                    <a:pt x="34204" y="557035"/>
                    <a:pt x="20016" y="557542"/>
                  </a:cubicBezTo>
                  <a:cubicBezTo>
                    <a:pt x="13175" y="557795"/>
                    <a:pt x="8741" y="554755"/>
                    <a:pt x="5827" y="548674"/>
                  </a:cubicBezTo>
                  <a:cubicBezTo>
                    <a:pt x="3674" y="544493"/>
                    <a:pt x="3674" y="536766"/>
                    <a:pt x="0" y="533472"/>
                  </a:cubicBezTo>
                  <a:cubicBezTo>
                    <a:pt x="0" y="533472"/>
                    <a:pt x="5447" y="528025"/>
                    <a:pt x="4434" y="515230"/>
                  </a:cubicBezTo>
                  <a:cubicBezTo>
                    <a:pt x="3420" y="502308"/>
                    <a:pt x="6714" y="479252"/>
                    <a:pt x="23310" y="466964"/>
                  </a:cubicBezTo>
                  <a:cubicBezTo>
                    <a:pt x="39778" y="454802"/>
                    <a:pt x="72462" y="434660"/>
                    <a:pt x="76390" y="416798"/>
                  </a:cubicBezTo>
                  <a:cubicBezTo>
                    <a:pt x="80317" y="398935"/>
                    <a:pt x="93238" y="377906"/>
                    <a:pt x="102740" y="367645"/>
                  </a:cubicBezTo>
                  <a:cubicBezTo>
                    <a:pt x="112367" y="357384"/>
                    <a:pt x="143024" y="338508"/>
                    <a:pt x="147332" y="320392"/>
                  </a:cubicBezTo>
                  <a:cubicBezTo>
                    <a:pt x="151639" y="302277"/>
                    <a:pt x="149612" y="270860"/>
                    <a:pt x="173048" y="279474"/>
                  </a:cubicBezTo>
                  <a:cubicBezTo>
                    <a:pt x="196484" y="288088"/>
                    <a:pt x="217261" y="278840"/>
                    <a:pt x="229169" y="289355"/>
                  </a:cubicBezTo>
                  <a:cubicBezTo>
                    <a:pt x="241077" y="299870"/>
                    <a:pt x="267047" y="318112"/>
                    <a:pt x="268440" y="298223"/>
                  </a:cubicBezTo>
                  <a:cubicBezTo>
                    <a:pt x="269707" y="278460"/>
                    <a:pt x="252985" y="270480"/>
                    <a:pt x="281615" y="261612"/>
                  </a:cubicBezTo>
                  <a:cubicBezTo>
                    <a:pt x="310372" y="252744"/>
                    <a:pt x="328868" y="233868"/>
                    <a:pt x="316960" y="226014"/>
                  </a:cubicBezTo>
                  <a:cubicBezTo>
                    <a:pt x="305052" y="218160"/>
                    <a:pt x="290483" y="197637"/>
                    <a:pt x="279715" y="211192"/>
                  </a:cubicBezTo>
                  <a:cubicBezTo>
                    <a:pt x="268820" y="224747"/>
                    <a:pt x="269454" y="232981"/>
                    <a:pt x="250958" y="223734"/>
                  </a:cubicBezTo>
                  <a:cubicBezTo>
                    <a:pt x="232462" y="214486"/>
                    <a:pt x="222961" y="208532"/>
                    <a:pt x="210673" y="208278"/>
                  </a:cubicBezTo>
                  <a:cubicBezTo>
                    <a:pt x="198511" y="207898"/>
                    <a:pt x="184957" y="217146"/>
                    <a:pt x="170135" y="191049"/>
                  </a:cubicBezTo>
                  <a:cubicBezTo>
                    <a:pt x="155313" y="164953"/>
                    <a:pt x="147078" y="166347"/>
                    <a:pt x="141124" y="171920"/>
                  </a:cubicBezTo>
                  <a:cubicBezTo>
                    <a:pt x="135170" y="177494"/>
                    <a:pt x="127569" y="185475"/>
                    <a:pt x="118068" y="176481"/>
                  </a:cubicBezTo>
                  <a:cubicBezTo>
                    <a:pt x="108440" y="167613"/>
                    <a:pt x="84371" y="142530"/>
                    <a:pt x="90325" y="118080"/>
                  </a:cubicBezTo>
                  <a:cubicBezTo>
                    <a:pt x="96279" y="93631"/>
                    <a:pt x="104766" y="82736"/>
                    <a:pt x="112747" y="60947"/>
                  </a:cubicBezTo>
                  <a:cubicBezTo>
                    <a:pt x="120602" y="39157"/>
                    <a:pt x="135550" y="-3408"/>
                    <a:pt x="157593" y="8880"/>
                  </a:cubicBezTo>
                  <a:cubicBezTo>
                    <a:pt x="179636" y="21042"/>
                    <a:pt x="219541" y="36877"/>
                    <a:pt x="207379" y="56766"/>
                  </a:cubicBezTo>
                  <a:cubicBezTo>
                    <a:pt x="195218" y="76528"/>
                    <a:pt x="175455" y="97431"/>
                    <a:pt x="180649" y="102245"/>
                  </a:cubicBezTo>
                  <a:cubicBezTo>
                    <a:pt x="185843" y="107186"/>
                    <a:pt x="205352" y="86029"/>
                    <a:pt x="214347" y="98951"/>
                  </a:cubicBezTo>
                  <a:cubicBezTo>
                    <a:pt x="223215" y="111746"/>
                    <a:pt x="225875" y="133915"/>
                    <a:pt x="230435" y="120361"/>
                  </a:cubicBezTo>
                  <a:cubicBezTo>
                    <a:pt x="235123" y="106806"/>
                    <a:pt x="269074" y="97304"/>
                    <a:pt x="269074" y="111113"/>
                  </a:cubicBezTo>
                  <a:cubicBezTo>
                    <a:pt x="269074" y="124921"/>
                    <a:pt x="281615" y="145064"/>
                    <a:pt x="292510" y="135816"/>
                  </a:cubicBezTo>
                  <a:cubicBezTo>
                    <a:pt x="303405" y="126568"/>
                    <a:pt x="322534" y="105159"/>
                    <a:pt x="333428" y="114407"/>
                  </a:cubicBezTo>
                  <a:cubicBezTo>
                    <a:pt x="344323" y="123654"/>
                    <a:pt x="377007" y="130242"/>
                    <a:pt x="372067" y="111746"/>
                  </a:cubicBezTo>
                  <a:cubicBezTo>
                    <a:pt x="367126" y="93250"/>
                    <a:pt x="342423" y="81469"/>
                    <a:pt x="350657" y="66267"/>
                  </a:cubicBezTo>
                  <a:cubicBezTo>
                    <a:pt x="358892" y="51065"/>
                    <a:pt x="390562" y="59046"/>
                    <a:pt x="390942" y="41564"/>
                  </a:cubicBezTo>
                  <a:cubicBezTo>
                    <a:pt x="391069" y="34343"/>
                    <a:pt x="389929" y="24842"/>
                    <a:pt x="390689" y="16608"/>
                  </a:cubicBezTo>
                  <a:cubicBezTo>
                    <a:pt x="391702" y="4953"/>
                    <a:pt x="396263" y="-3788"/>
                    <a:pt x="413365" y="1659"/>
                  </a:cubicBezTo>
                  <a:cubicBezTo>
                    <a:pt x="442375" y="10907"/>
                    <a:pt x="463151" y="35990"/>
                    <a:pt x="472779" y="46251"/>
                  </a:cubicBezTo>
                  <a:cubicBezTo>
                    <a:pt x="482407" y="56386"/>
                    <a:pt x="523199" y="72981"/>
                    <a:pt x="532953" y="83116"/>
                  </a:cubicBezTo>
                  <a:cubicBezTo>
                    <a:pt x="542581" y="93250"/>
                    <a:pt x="544101" y="106806"/>
                    <a:pt x="554996" y="103892"/>
                  </a:cubicBezTo>
                  <a:cubicBezTo>
                    <a:pt x="565891" y="100978"/>
                    <a:pt x="581979" y="86790"/>
                    <a:pt x="596294" y="111113"/>
                  </a:cubicBezTo>
                  <a:cubicBezTo>
                    <a:pt x="610610" y="135436"/>
                    <a:pt x="634679" y="164066"/>
                    <a:pt x="634679" y="164066"/>
                  </a:cubicBezTo>
                  <a:cubicBezTo>
                    <a:pt x="633539" y="165966"/>
                    <a:pt x="632779" y="168247"/>
                    <a:pt x="632399" y="170907"/>
                  </a:cubicBezTo>
                  <a:cubicBezTo>
                    <a:pt x="631132" y="180028"/>
                    <a:pt x="634933" y="188896"/>
                    <a:pt x="636199" y="197890"/>
                  </a:cubicBezTo>
                  <a:cubicBezTo>
                    <a:pt x="637973" y="210685"/>
                    <a:pt x="632399" y="218666"/>
                    <a:pt x="628219" y="229688"/>
                  </a:cubicBezTo>
                  <a:cubicBezTo>
                    <a:pt x="625938" y="234628"/>
                    <a:pt x="627205" y="240329"/>
                    <a:pt x="627965" y="2459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1" name="Полилиния: фигура 410">
              <a:extLst>
                <a:ext uri="{FF2B5EF4-FFF2-40B4-BE49-F238E27FC236}">
                  <a16:creationId xmlns:a16="http://schemas.microsoft.com/office/drawing/2014/main" id="{8AAFD9B6-E5EB-482C-BBC7-A956794E09F4}"/>
                </a:ext>
              </a:extLst>
            </p:cNvPr>
            <p:cNvSpPr/>
            <p:nvPr/>
          </p:nvSpPr>
          <p:spPr>
            <a:xfrm>
              <a:off x="4029437" y="4807110"/>
              <a:ext cx="619641" cy="501780"/>
            </a:xfrm>
            <a:custGeom>
              <a:avLst/>
              <a:gdLst>
                <a:gd name="connsiteX0" fmla="*/ 618373 w 619641"/>
                <a:gd name="connsiteY0" fmla="*/ 490547 h 501780"/>
                <a:gd name="connsiteX1" fmla="*/ 591517 w 619641"/>
                <a:gd name="connsiteY1" fmla="*/ 484593 h 501780"/>
                <a:gd name="connsiteX2" fmla="*/ 568460 w 619641"/>
                <a:gd name="connsiteY2" fmla="*/ 491814 h 501780"/>
                <a:gd name="connsiteX3" fmla="*/ 547431 w 619641"/>
                <a:gd name="connsiteY3" fmla="*/ 489027 h 501780"/>
                <a:gd name="connsiteX4" fmla="*/ 532863 w 619641"/>
                <a:gd name="connsiteY4" fmla="*/ 499162 h 501780"/>
                <a:gd name="connsiteX5" fmla="*/ 521841 w 619641"/>
                <a:gd name="connsiteY5" fmla="*/ 501442 h 501780"/>
                <a:gd name="connsiteX6" fmla="*/ 498025 w 619641"/>
                <a:gd name="connsiteY6" fmla="*/ 497515 h 501780"/>
                <a:gd name="connsiteX7" fmla="*/ 479656 w 619641"/>
                <a:gd name="connsiteY7" fmla="*/ 499035 h 501780"/>
                <a:gd name="connsiteX8" fmla="*/ 428730 w 619641"/>
                <a:gd name="connsiteY8" fmla="*/ 490547 h 501780"/>
                <a:gd name="connsiteX9" fmla="*/ 346386 w 619641"/>
                <a:gd name="connsiteY9" fmla="*/ 461410 h 501780"/>
                <a:gd name="connsiteX10" fmla="*/ 309395 w 619641"/>
                <a:gd name="connsiteY10" fmla="*/ 444561 h 501780"/>
                <a:gd name="connsiteX11" fmla="*/ 272910 w 619641"/>
                <a:gd name="connsiteY11" fmla="*/ 438227 h 501780"/>
                <a:gd name="connsiteX12" fmla="*/ 239213 w 619641"/>
                <a:gd name="connsiteY12" fmla="*/ 448109 h 501780"/>
                <a:gd name="connsiteX13" fmla="*/ 208555 w 619641"/>
                <a:gd name="connsiteY13" fmla="*/ 449375 h 501780"/>
                <a:gd name="connsiteX14" fmla="*/ 174858 w 619641"/>
                <a:gd name="connsiteY14" fmla="*/ 441521 h 501780"/>
                <a:gd name="connsiteX15" fmla="*/ 161936 w 619641"/>
                <a:gd name="connsiteY15" fmla="*/ 434173 h 501780"/>
                <a:gd name="connsiteX16" fmla="*/ 137740 w 619641"/>
                <a:gd name="connsiteY16" fmla="*/ 427459 h 501780"/>
                <a:gd name="connsiteX17" fmla="*/ 101382 w 619641"/>
                <a:gd name="connsiteY17" fmla="*/ 422265 h 501780"/>
                <a:gd name="connsiteX18" fmla="*/ 82253 w 619641"/>
                <a:gd name="connsiteY18" fmla="*/ 409597 h 501780"/>
                <a:gd name="connsiteX19" fmla="*/ 64644 w 619641"/>
                <a:gd name="connsiteY19" fmla="*/ 393762 h 501780"/>
                <a:gd name="connsiteX20" fmla="*/ 46022 w 619641"/>
                <a:gd name="connsiteY20" fmla="*/ 387174 h 501780"/>
                <a:gd name="connsiteX21" fmla="*/ 53496 w 619641"/>
                <a:gd name="connsiteY21" fmla="*/ 363358 h 501780"/>
                <a:gd name="connsiteX22" fmla="*/ 57170 w 619641"/>
                <a:gd name="connsiteY22" fmla="*/ 334348 h 501780"/>
                <a:gd name="connsiteX23" fmla="*/ 45895 w 619641"/>
                <a:gd name="connsiteY23" fmla="*/ 273667 h 501780"/>
                <a:gd name="connsiteX24" fmla="*/ 30947 w 619641"/>
                <a:gd name="connsiteY24" fmla="*/ 259098 h 501780"/>
                <a:gd name="connsiteX25" fmla="*/ 18405 w 619641"/>
                <a:gd name="connsiteY25" fmla="*/ 239716 h 501780"/>
                <a:gd name="connsiteX26" fmla="*/ 8904 w 619641"/>
                <a:gd name="connsiteY26" fmla="*/ 229454 h 501780"/>
                <a:gd name="connsiteX27" fmla="*/ 416 w 619641"/>
                <a:gd name="connsiteY27" fmla="*/ 218180 h 501780"/>
                <a:gd name="connsiteX28" fmla="*/ 7764 w 619641"/>
                <a:gd name="connsiteY28" fmla="*/ 205132 h 501780"/>
                <a:gd name="connsiteX29" fmla="*/ 18785 w 619641"/>
                <a:gd name="connsiteY29" fmla="*/ 188283 h 501780"/>
                <a:gd name="connsiteX30" fmla="*/ 38041 w 619641"/>
                <a:gd name="connsiteY30" fmla="*/ 186762 h 501780"/>
                <a:gd name="connsiteX31" fmla="*/ 54383 w 619641"/>
                <a:gd name="connsiteY31" fmla="*/ 168267 h 501780"/>
                <a:gd name="connsiteX32" fmla="*/ 64771 w 619641"/>
                <a:gd name="connsiteY32" fmla="*/ 149771 h 501780"/>
                <a:gd name="connsiteX33" fmla="*/ 102776 w 619641"/>
                <a:gd name="connsiteY33" fmla="*/ 146098 h 501780"/>
                <a:gd name="connsiteX34" fmla="*/ 116204 w 619641"/>
                <a:gd name="connsiteY34" fmla="*/ 125955 h 501780"/>
                <a:gd name="connsiteX35" fmla="*/ 109363 w 619641"/>
                <a:gd name="connsiteY35" fmla="*/ 102646 h 501780"/>
                <a:gd name="connsiteX36" fmla="*/ 109363 w 619641"/>
                <a:gd name="connsiteY36" fmla="*/ 85923 h 501780"/>
                <a:gd name="connsiteX37" fmla="*/ 117344 w 619641"/>
                <a:gd name="connsiteY37" fmla="*/ 54126 h 501780"/>
                <a:gd name="connsiteX38" fmla="*/ 113543 w 619641"/>
                <a:gd name="connsiteY38" fmla="*/ 27142 h 501780"/>
                <a:gd name="connsiteX39" fmla="*/ 115824 w 619641"/>
                <a:gd name="connsiteY39" fmla="*/ 20302 h 501780"/>
                <a:gd name="connsiteX40" fmla="*/ 155095 w 619641"/>
                <a:gd name="connsiteY40" fmla="*/ 6113 h 501780"/>
                <a:gd name="connsiteX41" fmla="*/ 220590 w 619641"/>
                <a:gd name="connsiteY41" fmla="*/ 13841 h 501780"/>
                <a:gd name="connsiteX42" fmla="*/ 246307 w 619641"/>
                <a:gd name="connsiteY42" fmla="*/ 39431 h 501780"/>
                <a:gd name="connsiteX43" fmla="*/ 275064 w 619641"/>
                <a:gd name="connsiteY43" fmla="*/ 57420 h 501780"/>
                <a:gd name="connsiteX44" fmla="*/ 297740 w 619641"/>
                <a:gd name="connsiteY44" fmla="*/ 70215 h 501780"/>
                <a:gd name="connsiteX45" fmla="*/ 329157 w 619641"/>
                <a:gd name="connsiteY45" fmla="*/ 65654 h 501780"/>
                <a:gd name="connsiteX46" fmla="*/ 389205 w 619641"/>
                <a:gd name="connsiteY46" fmla="*/ 57800 h 501780"/>
                <a:gd name="connsiteX47" fmla="*/ 399593 w 619641"/>
                <a:gd name="connsiteY47" fmla="*/ 64641 h 501780"/>
                <a:gd name="connsiteX48" fmla="*/ 397946 w 619641"/>
                <a:gd name="connsiteY48" fmla="*/ 69834 h 501780"/>
                <a:gd name="connsiteX49" fmla="*/ 375776 w 619641"/>
                <a:gd name="connsiteY49" fmla="*/ 101759 h 501780"/>
                <a:gd name="connsiteX50" fmla="*/ 386291 w 619641"/>
                <a:gd name="connsiteY50" fmla="*/ 159653 h 501780"/>
                <a:gd name="connsiteX51" fmla="*/ 422395 w 619641"/>
                <a:gd name="connsiteY51" fmla="*/ 197024 h 501780"/>
                <a:gd name="connsiteX52" fmla="*/ 451153 w 619641"/>
                <a:gd name="connsiteY52" fmla="*/ 221980 h 501780"/>
                <a:gd name="connsiteX53" fmla="*/ 465847 w 619641"/>
                <a:gd name="connsiteY53" fmla="*/ 250991 h 501780"/>
                <a:gd name="connsiteX54" fmla="*/ 495872 w 619641"/>
                <a:gd name="connsiteY54" fmla="*/ 261125 h 501780"/>
                <a:gd name="connsiteX55" fmla="*/ 520828 w 619641"/>
                <a:gd name="connsiteY55" fmla="*/ 322439 h 501780"/>
                <a:gd name="connsiteX56" fmla="*/ 530202 w 619641"/>
                <a:gd name="connsiteY56" fmla="*/ 356897 h 501780"/>
                <a:gd name="connsiteX57" fmla="*/ 557946 w 619641"/>
                <a:gd name="connsiteY57" fmla="*/ 377039 h 501780"/>
                <a:gd name="connsiteX58" fmla="*/ 592404 w 619641"/>
                <a:gd name="connsiteY58" fmla="*/ 383880 h 501780"/>
                <a:gd name="connsiteX59" fmla="*/ 598231 w 619641"/>
                <a:gd name="connsiteY59" fmla="*/ 417198 h 501780"/>
                <a:gd name="connsiteX60" fmla="*/ 615713 w 619641"/>
                <a:gd name="connsiteY60" fmla="*/ 441268 h 501780"/>
                <a:gd name="connsiteX61" fmla="*/ 619133 w 619641"/>
                <a:gd name="connsiteY61" fmla="*/ 460650 h 501780"/>
                <a:gd name="connsiteX62" fmla="*/ 618373 w 619641"/>
                <a:gd name="connsiteY62" fmla="*/ 490547 h 50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19641" h="501780">
                  <a:moveTo>
                    <a:pt x="618373" y="490547"/>
                  </a:moveTo>
                  <a:cubicBezTo>
                    <a:pt x="610012" y="486493"/>
                    <a:pt x="601651" y="482566"/>
                    <a:pt x="591517" y="484593"/>
                  </a:cubicBezTo>
                  <a:cubicBezTo>
                    <a:pt x="583536" y="486113"/>
                    <a:pt x="576315" y="489787"/>
                    <a:pt x="568460" y="491814"/>
                  </a:cubicBezTo>
                  <a:cubicBezTo>
                    <a:pt x="560479" y="493714"/>
                    <a:pt x="555032" y="488900"/>
                    <a:pt x="547431" y="489027"/>
                  </a:cubicBezTo>
                  <a:cubicBezTo>
                    <a:pt x="539577" y="489154"/>
                    <a:pt x="537677" y="494854"/>
                    <a:pt x="532863" y="499162"/>
                  </a:cubicBezTo>
                  <a:cubicBezTo>
                    <a:pt x="529569" y="502075"/>
                    <a:pt x="526909" y="502075"/>
                    <a:pt x="521841" y="501442"/>
                  </a:cubicBezTo>
                  <a:cubicBezTo>
                    <a:pt x="513987" y="500555"/>
                    <a:pt x="506006" y="497768"/>
                    <a:pt x="498025" y="497515"/>
                  </a:cubicBezTo>
                  <a:cubicBezTo>
                    <a:pt x="491818" y="497388"/>
                    <a:pt x="485990" y="499288"/>
                    <a:pt x="479656" y="499035"/>
                  </a:cubicBezTo>
                  <a:cubicBezTo>
                    <a:pt x="462427" y="498402"/>
                    <a:pt x="445072" y="495741"/>
                    <a:pt x="428730" y="490547"/>
                  </a:cubicBezTo>
                  <a:cubicBezTo>
                    <a:pt x="400986" y="481933"/>
                    <a:pt x="374003" y="470405"/>
                    <a:pt x="346386" y="461410"/>
                  </a:cubicBezTo>
                  <a:cubicBezTo>
                    <a:pt x="332831" y="456976"/>
                    <a:pt x="321429" y="451656"/>
                    <a:pt x="309395" y="444561"/>
                  </a:cubicBezTo>
                  <a:cubicBezTo>
                    <a:pt x="297487" y="437467"/>
                    <a:pt x="286465" y="436580"/>
                    <a:pt x="272910" y="438227"/>
                  </a:cubicBezTo>
                  <a:cubicBezTo>
                    <a:pt x="261002" y="439621"/>
                    <a:pt x="250741" y="446082"/>
                    <a:pt x="239213" y="448109"/>
                  </a:cubicBezTo>
                  <a:cubicBezTo>
                    <a:pt x="227558" y="450136"/>
                    <a:pt x="220210" y="450896"/>
                    <a:pt x="208555" y="449375"/>
                  </a:cubicBezTo>
                  <a:cubicBezTo>
                    <a:pt x="197534" y="447982"/>
                    <a:pt x="185246" y="445575"/>
                    <a:pt x="174858" y="441521"/>
                  </a:cubicBezTo>
                  <a:cubicBezTo>
                    <a:pt x="169917" y="439621"/>
                    <a:pt x="166243" y="437214"/>
                    <a:pt x="161936" y="434173"/>
                  </a:cubicBezTo>
                  <a:cubicBezTo>
                    <a:pt x="153195" y="428093"/>
                    <a:pt x="147748" y="428979"/>
                    <a:pt x="137740" y="427459"/>
                  </a:cubicBezTo>
                  <a:cubicBezTo>
                    <a:pt x="125452" y="425686"/>
                    <a:pt x="114177" y="420872"/>
                    <a:pt x="101382" y="422265"/>
                  </a:cubicBezTo>
                  <a:cubicBezTo>
                    <a:pt x="91374" y="423532"/>
                    <a:pt x="86434" y="418338"/>
                    <a:pt x="82253" y="409597"/>
                  </a:cubicBezTo>
                  <a:cubicBezTo>
                    <a:pt x="78199" y="400983"/>
                    <a:pt x="73892" y="396802"/>
                    <a:pt x="64644" y="393762"/>
                  </a:cubicBezTo>
                  <a:cubicBezTo>
                    <a:pt x="58310" y="391608"/>
                    <a:pt x="52229" y="389454"/>
                    <a:pt x="46022" y="387174"/>
                  </a:cubicBezTo>
                  <a:cubicBezTo>
                    <a:pt x="50962" y="380207"/>
                    <a:pt x="52229" y="371592"/>
                    <a:pt x="53496" y="363358"/>
                  </a:cubicBezTo>
                  <a:cubicBezTo>
                    <a:pt x="54890" y="353730"/>
                    <a:pt x="56283" y="344102"/>
                    <a:pt x="57170" y="334348"/>
                  </a:cubicBezTo>
                  <a:cubicBezTo>
                    <a:pt x="58817" y="314712"/>
                    <a:pt x="60970" y="288869"/>
                    <a:pt x="45895" y="273667"/>
                  </a:cubicBezTo>
                  <a:cubicBezTo>
                    <a:pt x="40828" y="268599"/>
                    <a:pt x="35001" y="265179"/>
                    <a:pt x="30947" y="259098"/>
                  </a:cubicBezTo>
                  <a:cubicBezTo>
                    <a:pt x="26639" y="252764"/>
                    <a:pt x="22585" y="246177"/>
                    <a:pt x="18405" y="239716"/>
                  </a:cubicBezTo>
                  <a:cubicBezTo>
                    <a:pt x="15618" y="235409"/>
                    <a:pt x="13338" y="232368"/>
                    <a:pt x="8904" y="229454"/>
                  </a:cubicBezTo>
                  <a:cubicBezTo>
                    <a:pt x="4977" y="227047"/>
                    <a:pt x="-1737" y="223627"/>
                    <a:pt x="416" y="218180"/>
                  </a:cubicBezTo>
                  <a:cubicBezTo>
                    <a:pt x="2443" y="212859"/>
                    <a:pt x="7003" y="211466"/>
                    <a:pt x="7764" y="205132"/>
                  </a:cubicBezTo>
                  <a:cubicBezTo>
                    <a:pt x="8777" y="197404"/>
                    <a:pt x="11944" y="192463"/>
                    <a:pt x="18785" y="188283"/>
                  </a:cubicBezTo>
                  <a:cubicBezTo>
                    <a:pt x="26259" y="183595"/>
                    <a:pt x="30440" y="187143"/>
                    <a:pt x="38041" y="186762"/>
                  </a:cubicBezTo>
                  <a:cubicBezTo>
                    <a:pt x="47035" y="186382"/>
                    <a:pt x="52103" y="175614"/>
                    <a:pt x="54383" y="168267"/>
                  </a:cubicBezTo>
                  <a:cubicBezTo>
                    <a:pt x="56536" y="160919"/>
                    <a:pt x="57170" y="153572"/>
                    <a:pt x="64771" y="149771"/>
                  </a:cubicBezTo>
                  <a:cubicBezTo>
                    <a:pt x="76426" y="144071"/>
                    <a:pt x="90741" y="151672"/>
                    <a:pt x="102776" y="146098"/>
                  </a:cubicBezTo>
                  <a:cubicBezTo>
                    <a:pt x="110376" y="142677"/>
                    <a:pt x="114430" y="133809"/>
                    <a:pt x="116204" y="125955"/>
                  </a:cubicBezTo>
                  <a:cubicBezTo>
                    <a:pt x="118231" y="117087"/>
                    <a:pt x="110503" y="111513"/>
                    <a:pt x="109363" y="102646"/>
                  </a:cubicBezTo>
                  <a:cubicBezTo>
                    <a:pt x="108603" y="97071"/>
                    <a:pt x="107336" y="91371"/>
                    <a:pt x="109363" y="85923"/>
                  </a:cubicBezTo>
                  <a:cubicBezTo>
                    <a:pt x="113417" y="74902"/>
                    <a:pt x="118991" y="66921"/>
                    <a:pt x="117344" y="54126"/>
                  </a:cubicBezTo>
                  <a:cubicBezTo>
                    <a:pt x="116077" y="45258"/>
                    <a:pt x="112277" y="36264"/>
                    <a:pt x="113543" y="27142"/>
                  </a:cubicBezTo>
                  <a:cubicBezTo>
                    <a:pt x="113923" y="24482"/>
                    <a:pt x="114684" y="22202"/>
                    <a:pt x="115824" y="20302"/>
                  </a:cubicBezTo>
                  <a:cubicBezTo>
                    <a:pt x="122665" y="8140"/>
                    <a:pt x="142554" y="8900"/>
                    <a:pt x="155095" y="6113"/>
                  </a:cubicBezTo>
                  <a:cubicBezTo>
                    <a:pt x="179418" y="793"/>
                    <a:pt x="201841" y="-7442"/>
                    <a:pt x="220590" y="13841"/>
                  </a:cubicBezTo>
                  <a:cubicBezTo>
                    <a:pt x="228698" y="23089"/>
                    <a:pt x="236046" y="32336"/>
                    <a:pt x="246307" y="39431"/>
                  </a:cubicBezTo>
                  <a:cubicBezTo>
                    <a:pt x="255555" y="45892"/>
                    <a:pt x="265816" y="50832"/>
                    <a:pt x="275064" y="57420"/>
                  </a:cubicBezTo>
                  <a:cubicBezTo>
                    <a:pt x="282158" y="62487"/>
                    <a:pt x="288746" y="68694"/>
                    <a:pt x="297740" y="70215"/>
                  </a:cubicBezTo>
                  <a:cubicBezTo>
                    <a:pt x="308255" y="72115"/>
                    <a:pt x="319276" y="68568"/>
                    <a:pt x="329157" y="65654"/>
                  </a:cubicBezTo>
                  <a:cubicBezTo>
                    <a:pt x="348413" y="60207"/>
                    <a:pt x="369062" y="56026"/>
                    <a:pt x="389205" y="57800"/>
                  </a:cubicBezTo>
                  <a:cubicBezTo>
                    <a:pt x="395666" y="58307"/>
                    <a:pt x="399846" y="60207"/>
                    <a:pt x="399593" y="64641"/>
                  </a:cubicBezTo>
                  <a:cubicBezTo>
                    <a:pt x="399593" y="66161"/>
                    <a:pt x="399086" y="67808"/>
                    <a:pt x="397946" y="69834"/>
                  </a:cubicBezTo>
                  <a:cubicBezTo>
                    <a:pt x="392119" y="81363"/>
                    <a:pt x="381857" y="90357"/>
                    <a:pt x="375776" y="101759"/>
                  </a:cubicBezTo>
                  <a:cubicBezTo>
                    <a:pt x="364755" y="122154"/>
                    <a:pt x="374256" y="142170"/>
                    <a:pt x="386291" y="159653"/>
                  </a:cubicBezTo>
                  <a:cubicBezTo>
                    <a:pt x="396172" y="173841"/>
                    <a:pt x="410867" y="184229"/>
                    <a:pt x="422395" y="197024"/>
                  </a:cubicBezTo>
                  <a:cubicBezTo>
                    <a:pt x="430250" y="205892"/>
                    <a:pt x="446465" y="211212"/>
                    <a:pt x="451153" y="221980"/>
                  </a:cubicBezTo>
                  <a:cubicBezTo>
                    <a:pt x="455460" y="231735"/>
                    <a:pt x="454826" y="245417"/>
                    <a:pt x="465847" y="250991"/>
                  </a:cubicBezTo>
                  <a:cubicBezTo>
                    <a:pt x="474589" y="255425"/>
                    <a:pt x="486497" y="258212"/>
                    <a:pt x="495872" y="261125"/>
                  </a:cubicBezTo>
                  <a:cubicBezTo>
                    <a:pt x="523995" y="269866"/>
                    <a:pt x="508413" y="302297"/>
                    <a:pt x="520828" y="322439"/>
                  </a:cubicBezTo>
                  <a:cubicBezTo>
                    <a:pt x="527795" y="333714"/>
                    <a:pt x="526909" y="344356"/>
                    <a:pt x="530202" y="356897"/>
                  </a:cubicBezTo>
                  <a:cubicBezTo>
                    <a:pt x="533876" y="371086"/>
                    <a:pt x="543884" y="376026"/>
                    <a:pt x="557946" y="377039"/>
                  </a:cubicBezTo>
                  <a:cubicBezTo>
                    <a:pt x="568080" y="377800"/>
                    <a:pt x="583916" y="376659"/>
                    <a:pt x="592404" y="383880"/>
                  </a:cubicBezTo>
                  <a:cubicBezTo>
                    <a:pt x="600511" y="390721"/>
                    <a:pt x="594557" y="407697"/>
                    <a:pt x="598231" y="417198"/>
                  </a:cubicBezTo>
                  <a:cubicBezTo>
                    <a:pt x="602285" y="427586"/>
                    <a:pt x="612419" y="429866"/>
                    <a:pt x="615713" y="441268"/>
                  </a:cubicBezTo>
                  <a:cubicBezTo>
                    <a:pt x="617486" y="447475"/>
                    <a:pt x="618627" y="454189"/>
                    <a:pt x="619133" y="460650"/>
                  </a:cubicBezTo>
                  <a:cubicBezTo>
                    <a:pt x="620147" y="470785"/>
                    <a:pt x="619513" y="480792"/>
                    <a:pt x="618373" y="490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2" name="Полилиния: фигура 411">
              <a:extLst>
                <a:ext uri="{FF2B5EF4-FFF2-40B4-BE49-F238E27FC236}">
                  <a16:creationId xmlns:a16="http://schemas.microsoft.com/office/drawing/2014/main" id="{ACA42BEC-EBC6-4297-A643-3E6BA5655A82}"/>
                </a:ext>
              </a:extLst>
            </p:cNvPr>
            <p:cNvSpPr/>
            <p:nvPr/>
          </p:nvSpPr>
          <p:spPr>
            <a:xfrm>
              <a:off x="2705255" y="4309146"/>
              <a:ext cx="477421" cy="453657"/>
            </a:xfrm>
            <a:custGeom>
              <a:avLst/>
              <a:gdLst>
                <a:gd name="connsiteX0" fmla="*/ 476205 w 477421"/>
                <a:gd name="connsiteY0" fmla="*/ 216508 h 453657"/>
                <a:gd name="connsiteX1" fmla="*/ 468097 w 477421"/>
                <a:gd name="connsiteY1" fmla="*/ 220055 h 453657"/>
                <a:gd name="connsiteX2" fmla="*/ 437947 w 477421"/>
                <a:gd name="connsiteY2" fmla="*/ 254766 h 453657"/>
                <a:gd name="connsiteX3" fmla="*/ 411977 w 477421"/>
                <a:gd name="connsiteY3" fmla="*/ 266801 h 453657"/>
                <a:gd name="connsiteX4" fmla="*/ 373212 w 477421"/>
                <a:gd name="connsiteY4" fmla="*/ 279850 h 453657"/>
                <a:gd name="connsiteX5" fmla="*/ 361051 w 477421"/>
                <a:gd name="connsiteY5" fmla="*/ 329762 h 453657"/>
                <a:gd name="connsiteX6" fmla="*/ 349776 w 477421"/>
                <a:gd name="connsiteY6" fmla="*/ 349145 h 453657"/>
                <a:gd name="connsiteX7" fmla="*/ 311771 w 477421"/>
                <a:gd name="connsiteY7" fmla="*/ 349905 h 453657"/>
                <a:gd name="connsiteX8" fmla="*/ 262618 w 477421"/>
                <a:gd name="connsiteY8" fmla="*/ 361433 h 453657"/>
                <a:gd name="connsiteX9" fmla="*/ 243489 w 477421"/>
                <a:gd name="connsiteY9" fmla="*/ 379169 h 453657"/>
                <a:gd name="connsiteX10" fmla="*/ 211439 w 477421"/>
                <a:gd name="connsiteY10" fmla="*/ 376635 h 453657"/>
                <a:gd name="connsiteX11" fmla="*/ 200544 w 477421"/>
                <a:gd name="connsiteY11" fmla="*/ 367134 h 453657"/>
                <a:gd name="connsiteX12" fmla="*/ 192563 w 477421"/>
                <a:gd name="connsiteY12" fmla="*/ 374988 h 453657"/>
                <a:gd name="connsiteX13" fmla="*/ 186862 w 477421"/>
                <a:gd name="connsiteY13" fmla="*/ 402478 h 453657"/>
                <a:gd name="connsiteX14" fmla="*/ 171787 w 477421"/>
                <a:gd name="connsiteY14" fmla="*/ 419580 h 453657"/>
                <a:gd name="connsiteX15" fmla="*/ 151138 w 477421"/>
                <a:gd name="connsiteY15" fmla="*/ 428321 h 453657"/>
                <a:gd name="connsiteX16" fmla="*/ 120987 w 477421"/>
                <a:gd name="connsiteY16" fmla="*/ 438203 h 453657"/>
                <a:gd name="connsiteX17" fmla="*/ 85770 w 477421"/>
                <a:gd name="connsiteY17" fmla="*/ 431362 h 453657"/>
                <a:gd name="connsiteX18" fmla="*/ 61320 w 477421"/>
                <a:gd name="connsiteY18" fmla="*/ 453658 h 453657"/>
                <a:gd name="connsiteX19" fmla="*/ 49032 w 477421"/>
                <a:gd name="connsiteY19" fmla="*/ 450617 h 453657"/>
                <a:gd name="connsiteX20" fmla="*/ 44471 w 477421"/>
                <a:gd name="connsiteY20" fmla="*/ 450111 h 453657"/>
                <a:gd name="connsiteX21" fmla="*/ 48272 w 477421"/>
                <a:gd name="connsiteY21" fmla="*/ 427941 h 453657"/>
                <a:gd name="connsiteX22" fmla="*/ 43838 w 477421"/>
                <a:gd name="connsiteY22" fmla="*/ 393357 h 453657"/>
                <a:gd name="connsiteX23" fmla="*/ 34843 w 477421"/>
                <a:gd name="connsiteY23" fmla="*/ 361433 h 453657"/>
                <a:gd name="connsiteX24" fmla="*/ 31043 w 477421"/>
                <a:gd name="connsiteY24" fmla="*/ 351045 h 453657"/>
                <a:gd name="connsiteX25" fmla="*/ 30536 w 477421"/>
                <a:gd name="connsiteY25" fmla="*/ 335843 h 453657"/>
                <a:gd name="connsiteX26" fmla="*/ 26736 w 477421"/>
                <a:gd name="connsiteY26" fmla="*/ 318108 h 453657"/>
                <a:gd name="connsiteX27" fmla="*/ 29523 w 477421"/>
                <a:gd name="connsiteY27" fmla="*/ 297712 h 453657"/>
                <a:gd name="connsiteX28" fmla="*/ 30789 w 477421"/>
                <a:gd name="connsiteY28" fmla="*/ 273515 h 453657"/>
                <a:gd name="connsiteX29" fmla="*/ 15334 w 477421"/>
                <a:gd name="connsiteY29" fmla="*/ 258567 h 453657"/>
                <a:gd name="connsiteX30" fmla="*/ 17741 w 477421"/>
                <a:gd name="connsiteY30" fmla="*/ 242478 h 453657"/>
                <a:gd name="connsiteX31" fmla="*/ 24202 w 477421"/>
                <a:gd name="connsiteY31" fmla="*/ 220942 h 453657"/>
                <a:gd name="connsiteX32" fmla="*/ 11027 w 477421"/>
                <a:gd name="connsiteY32" fmla="*/ 203586 h 453657"/>
                <a:gd name="connsiteX33" fmla="*/ 766 w 477421"/>
                <a:gd name="connsiteY33" fmla="*/ 188765 h 453657"/>
                <a:gd name="connsiteX34" fmla="*/ 14194 w 477421"/>
                <a:gd name="connsiteY34" fmla="*/ 166089 h 453657"/>
                <a:gd name="connsiteX35" fmla="*/ 7607 w 477421"/>
                <a:gd name="connsiteY35" fmla="*/ 146960 h 453657"/>
                <a:gd name="connsiteX36" fmla="*/ 6 w 477421"/>
                <a:gd name="connsiteY36" fmla="*/ 128844 h 453657"/>
                <a:gd name="connsiteX37" fmla="*/ 6 w 477421"/>
                <a:gd name="connsiteY37" fmla="*/ 123650 h 453657"/>
                <a:gd name="connsiteX38" fmla="*/ 12420 w 477421"/>
                <a:gd name="connsiteY38" fmla="*/ 112122 h 453657"/>
                <a:gd name="connsiteX39" fmla="*/ 27242 w 477421"/>
                <a:gd name="connsiteY39" fmla="*/ 100720 h 453657"/>
                <a:gd name="connsiteX40" fmla="*/ 11407 w 477421"/>
                <a:gd name="connsiteY40" fmla="*/ 65376 h 453657"/>
                <a:gd name="connsiteX41" fmla="*/ 51565 w 477421"/>
                <a:gd name="connsiteY41" fmla="*/ 2035 h 453657"/>
                <a:gd name="connsiteX42" fmla="*/ 82223 w 477421"/>
                <a:gd name="connsiteY42" fmla="*/ 16983 h 453657"/>
                <a:gd name="connsiteX43" fmla="*/ 93751 w 477421"/>
                <a:gd name="connsiteY43" fmla="*/ 28512 h 453657"/>
                <a:gd name="connsiteX44" fmla="*/ 126815 w 477421"/>
                <a:gd name="connsiteY44" fmla="*/ 2035 h 453657"/>
                <a:gd name="connsiteX45" fmla="*/ 153798 w 477421"/>
                <a:gd name="connsiteY45" fmla="*/ 21291 h 453657"/>
                <a:gd name="connsiteX46" fmla="*/ 165706 w 477421"/>
                <a:gd name="connsiteY46" fmla="*/ 36113 h 453657"/>
                <a:gd name="connsiteX47" fmla="*/ 124154 w 477421"/>
                <a:gd name="connsiteY47" fmla="*/ 101734 h 453657"/>
                <a:gd name="connsiteX48" fmla="*/ 146577 w 477421"/>
                <a:gd name="connsiteY48" fmla="*/ 128464 h 453657"/>
                <a:gd name="connsiteX49" fmla="*/ 157725 w 477421"/>
                <a:gd name="connsiteY49" fmla="*/ 112248 h 453657"/>
                <a:gd name="connsiteX50" fmla="*/ 210552 w 477421"/>
                <a:gd name="connsiteY50" fmla="*/ 69683 h 453657"/>
                <a:gd name="connsiteX51" fmla="*/ 255398 w 477421"/>
                <a:gd name="connsiteY51" fmla="*/ 88812 h 453657"/>
                <a:gd name="connsiteX52" fmla="*/ 298596 w 477421"/>
                <a:gd name="connsiteY52" fmla="*/ 52454 h 453657"/>
                <a:gd name="connsiteX53" fmla="*/ 334321 w 477421"/>
                <a:gd name="connsiteY53" fmla="*/ 20024 h 453657"/>
                <a:gd name="connsiteX54" fmla="*/ 334701 w 477421"/>
                <a:gd name="connsiteY54" fmla="*/ 20530 h 453657"/>
                <a:gd name="connsiteX55" fmla="*/ 335841 w 477421"/>
                <a:gd name="connsiteY55" fmla="*/ 23191 h 453657"/>
                <a:gd name="connsiteX56" fmla="*/ 379673 w 477421"/>
                <a:gd name="connsiteY56" fmla="*/ 69937 h 453657"/>
                <a:gd name="connsiteX57" fmla="*/ 428826 w 477421"/>
                <a:gd name="connsiteY57" fmla="*/ 86786 h 453657"/>
                <a:gd name="connsiteX58" fmla="*/ 438454 w 477421"/>
                <a:gd name="connsiteY58" fmla="*/ 112882 h 453657"/>
                <a:gd name="connsiteX59" fmla="*/ 450362 w 477421"/>
                <a:gd name="connsiteY59" fmla="*/ 137332 h 453657"/>
                <a:gd name="connsiteX60" fmla="*/ 456949 w 477421"/>
                <a:gd name="connsiteY60" fmla="*/ 176603 h 453657"/>
                <a:gd name="connsiteX61" fmla="*/ 476205 w 477421"/>
                <a:gd name="connsiteY61" fmla="*/ 216508 h 45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421" h="453657">
                  <a:moveTo>
                    <a:pt x="476205" y="216508"/>
                  </a:moveTo>
                  <a:cubicBezTo>
                    <a:pt x="473798" y="216635"/>
                    <a:pt x="471138" y="217775"/>
                    <a:pt x="468097" y="220055"/>
                  </a:cubicBezTo>
                  <a:cubicBezTo>
                    <a:pt x="455936" y="229303"/>
                    <a:pt x="447575" y="243112"/>
                    <a:pt x="437947" y="254766"/>
                  </a:cubicBezTo>
                  <a:cubicBezTo>
                    <a:pt x="430093" y="264141"/>
                    <a:pt x="424139" y="267181"/>
                    <a:pt x="411977" y="266801"/>
                  </a:cubicBezTo>
                  <a:cubicBezTo>
                    <a:pt x="397662" y="266421"/>
                    <a:pt x="382967" y="267815"/>
                    <a:pt x="373212" y="279850"/>
                  </a:cubicBezTo>
                  <a:cubicBezTo>
                    <a:pt x="361938" y="293911"/>
                    <a:pt x="363838" y="313040"/>
                    <a:pt x="361051" y="329762"/>
                  </a:cubicBezTo>
                  <a:cubicBezTo>
                    <a:pt x="359784" y="337490"/>
                    <a:pt x="356490" y="344711"/>
                    <a:pt x="349776" y="349145"/>
                  </a:cubicBezTo>
                  <a:cubicBezTo>
                    <a:pt x="338121" y="356619"/>
                    <a:pt x="324059" y="352312"/>
                    <a:pt x="311771" y="349905"/>
                  </a:cubicBezTo>
                  <a:cubicBezTo>
                    <a:pt x="296316" y="346865"/>
                    <a:pt x="275667" y="352945"/>
                    <a:pt x="262618" y="361433"/>
                  </a:cubicBezTo>
                  <a:cubicBezTo>
                    <a:pt x="255271" y="366247"/>
                    <a:pt x="250203" y="373468"/>
                    <a:pt x="243489" y="379169"/>
                  </a:cubicBezTo>
                  <a:cubicBezTo>
                    <a:pt x="233608" y="387530"/>
                    <a:pt x="218913" y="387910"/>
                    <a:pt x="211439" y="376635"/>
                  </a:cubicBezTo>
                  <a:cubicBezTo>
                    <a:pt x="208905" y="372961"/>
                    <a:pt x="205865" y="366880"/>
                    <a:pt x="200544" y="367134"/>
                  </a:cubicBezTo>
                  <a:cubicBezTo>
                    <a:pt x="196363" y="367387"/>
                    <a:pt x="193703" y="371314"/>
                    <a:pt x="192563" y="374988"/>
                  </a:cubicBezTo>
                  <a:cubicBezTo>
                    <a:pt x="189649" y="383856"/>
                    <a:pt x="190916" y="393737"/>
                    <a:pt x="186862" y="402478"/>
                  </a:cubicBezTo>
                  <a:cubicBezTo>
                    <a:pt x="183695" y="409319"/>
                    <a:pt x="176601" y="414006"/>
                    <a:pt x="171787" y="419580"/>
                  </a:cubicBezTo>
                  <a:cubicBezTo>
                    <a:pt x="165326" y="427181"/>
                    <a:pt x="161146" y="428575"/>
                    <a:pt x="151138" y="428321"/>
                  </a:cubicBezTo>
                  <a:cubicBezTo>
                    <a:pt x="139483" y="428068"/>
                    <a:pt x="132009" y="435922"/>
                    <a:pt x="120987" y="438203"/>
                  </a:cubicBezTo>
                  <a:cubicBezTo>
                    <a:pt x="108193" y="440863"/>
                    <a:pt x="98058" y="430095"/>
                    <a:pt x="85770" y="431362"/>
                  </a:cubicBezTo>
                  <a:cubicBezTo>
                    <a:pt x="74242" y="432502"/>
                    <a:pt x="69428" y="445930"/>
                    <a:pt x="61320" y="453658"/>
                  </a:cubicBezTo>
                  <a:cubicBezTo>
                    <a:pt x="58406" y="451504"/>
                    <a:pt x="54606" y="450744"/>
                    <a:pt x="49032" y="450617"/>
                  </a:cubicBezTo>
                  <a:cubicBezTo>
                    <a:pt x="47385" y="450617"/>
                    <a:pt x="45865" y="450364"/>
                    <a:pt x="44471" y="450111"/>
                  </a:cubicBezTo>
                  <a:cubicBezTo>
                    <a:pt x="44344" y="442257"/>
                    <a:pt x="47638" y="431489"/>
                    <a:pt x="48272" y="427941"/>
                  </a:cubicBezTo>
                  <a:cubicBezTo>
                    <a:pt x="50172" y="416160"/>
                    <a:pt x="48272" y="404378"/>
                    <a:pt x="43838" y="393357"/>
                  </a:cubicBezTo>
                  <a:cubicBezTo>
                    <a:pt x="39784" y="382969"/>
                    <a:pt x="38137" y="372201"/>
                    <a:pt x="34843" y="361433"/>
                  </a:cubicBezTo>
                  <a:cubicBezTo>
                    <a:pt x="33830" y="357886"/>
                    <a:pt x="31930" y="354592"/>
                    <a:pt x="31043" y="351045"/>
                  </a:cubicBezTo>
                  <a:cubicBezTo>
                    <a:pt x="29776" y="345724"/>
                    <a:pt x="30409" y="341037"/>
                    <a:pt x="30536" y="335843"/>
                  </a:cubicBezTo>
                  <a:cubicBezTo>
                    <a:pt x="30663" y="329889"/>
                    <a:pt x="28256" y="323808"/>
                    <a:pt x="26736" y="318108"/>
                  </a:cubicBezTo>
                  <a:cubicBezTo>
                    <a:pt x="24835" y="311140"/>
                    <a:pt x="27496" y="304299"/>
                    <a:pt x="29523" y="297712"/>
                  </a:cubicBezTo>
                  <a:cubicBezTo>
                    <a:pt x="31930" y="289984"/>
                    <a:pt x="35097" y="281116"/>
                    <a:pt x="30789" y="273515"/>
                  </a:cubicBezTo>
                  <a:cubicBezTo>
                    <a:pt x="27116" y="266928"/>
                    <a:pt x="19641" y="264394"/>
                    <a:pt x="15334" y="258567"/>
                  </a:cubicBezTo>
                  <a:cubicBezTo>
                    <a:pt x="11280" y="252993"/>
                    <a:pt x="14701" y="247672"/>
                    <a:pt x="17741" y="242478"/>
                  </a:cubicBezTo>
                  <a:cubicBezTo>
                    <a:pt x="21542" y="235891"/>
                    <a:pt x="25469" y="228797"/>
                    <a:pt x="24202" y="220942"/>
                  </a:cubicBezTo>
                  <a:cubicBezTo>
                    <a:pt x="22935" y="213088"/>
                    <a:pt x="16981" y="208020"/>
                    <a:pt x="11027" y="203586"/>
                  </a:cubicBezTo>
                  <a:cubicBezTo>
                    <a:pt x="5833" y="199913"/>
                    <a:pt x="-755" y="196112"/>
                    <a:pt x="766" y="188765"/>
                  </a:cubicBezTo>
                  <a:cubicBezTo>
                    <a:pt x="2539" y="180277"/>
                    <a:pt x="11027" y="174070"/>
                    <a:pt x="14194" y="166089"/>
                  </a:cubicBezTo>
                  <a:cubicBezTo>
                    <a:pt x="17488" y="157854"/>
                    <a:pt x="13307" y="152660"/>
                    <a:pt x="7607" y="146960"/>
                  </a:cubicBezTo>
                  <a:cubicBezTo>
                    <a:pt x="1906" y="141386"/>
                    <a:pt x="-121" y="136952"/>
                    <a:pt x="6" y="128844"/>
                  </a:cubicBezTo>
                  <a:cubicBezTo>
                    <a:pt x="6" y="127070"/>
                    <a:pt x="6" y="125297"/>
                    <a:pt x="6" y="123650"/>
                  </a:cubicBezTo>
                  <a:cubicBezTo>
                    <a:pt x="6" y="123650"/>
                    <a:pt x="6" y="116936"/>
                    <a:pt x="12420" y="112122"/>
                  </a:cubicBezTo>
                  <a:cubicBezTo>
                    <a:pt x="24835" y="107054"/>
                    <a:pt x="39150" y="108448"/>
                    <a:pt x="27242" y="100720"/>
                  </a:cubicBezTo>
                  <a:cubicBezTo>
                    <a:pt x="15334" y="93120"/>
                    <a:pt x="9127" y="86405"/>
                    <a:pt x="11407" y="65376"/>
                  </a:cubicBezTo>
                  <a:cubicBezTo>
                    <a:pt x="13687" y="44347"/>
                    <a:pt x="29269" y="1021"/>
                    <a:pt x="51565" y="2035"/>
                  </a:cubicBezTo>
                  <a:cubicBezTo>
                    <a:pt x="73861" y="3048"/>
                    <a:pt x="82223" y="4695"/>
                    <a:pt x="82223" y="16983"/>
                  </a:cubicBezTo>
                  <a:cubicBezTo>
                    <a:pt x="82223" y="29145"/>
                    <a:pt x="89823" y="42447"/>
                    <a:pt x="93751" y="28512"/>
                  </a:cubicBezTo>
                  <a:cubicBezTo>
                    <a:pt x="97678" y="14703"/>
                    <a:pt x="114273" y="-6706"/>
                    <a:pt x="126815" y="2035"/>
                  </a:cubicBezTo>
                  <a:cubicBezTo>
                    <a:pt x="139356" y="10776"/>
                    <a:pt x="147591" y="20910"/>
                    <a:pt x="153798" y="21291"/>
                  </a:cubicBezTo>
                  <a:cubicBezTo>
                    <a:pt x="160006" y="21544"/>
                    <a:pt x="181795" y="17363"/>
                    <a:pt x="165706" y="36113"/>
                  </a:cubicBezTo>
                  <a:cubicBezTo>
                    <a:pt x="149491" y="54861"/>
                    <a:pt x="98438" y="111615"/>
                    <a:pt x="124154" y="101734"/>
                  </a:cubicBezTo>
                  <a:cubicBezTo>
                    <a:pt x="149871" y="91853"/>
                    <a:pt x="142017" y="138725"/>
                    <a:pt x="146577" y="128464"/>
                  </a:cubicBezTo>
                  <a:cubicBezTo>
                    <a:pt x="151138" y="118203"/>
                    <a:pt x="202064" y="180657"/>
                    <a:pt x="157725" y="112248"/>
                  </a:cubicBezTo>
                  <a:cubicBezTo>
                    <a:pt x="113513" y="43967"/>
                    <a:pt x="201557" y="42573"/>
                    <a:pt x="210552" y="69683"/>
                  </a:cubicBezTo>
                  <a:cubicBezTo>
                    <a:pt x="219420" y="96793"/>
                    <a:pt x="246150" y="103001"/>
                    <a:pt x="255398" y="88812"/>
                  </a:cubicBezTo>
                  <a:cubicBezTo>
                    <a:pt x="264645" y="74624"/>
                    <a:pt x="279721" y="60435"/>
                    <a:pt x="298596" y="52454"/>
                  </a:cubicBezTo>
                  <a:cubicBezTo>
                    <a:pt x="315318" y="45360"/>
                    <a:pt x="329253" y="15843"/>
                    <a:pt x="334321" y="20024"/>
                  </a:cubicBezTo>
                  <a:cubicBezTo>
                    <a:pt x="334447" y="20150"/>
                    <a:pt x="334574" y="20277"/>
                    <a:pt x="334701" y="20530"/>
                  </a:cubicBezTo>
                  <a:cubicBezTo>
                    <a:pt x="335081" y="21037"/>
                    <a:pt x="335588" y="21924"/>
                    <a:pt x="335841" y="23191"/>
                  </a:cubicBezTo>
                  <a:cubicBezTo>
                    <a:pt x="339135" y="38013"/>
                    <a:pt x="354717" y="70697"/>
                    <a:pt x="379673" y="69937"/>
                  </a:cubicBezTo>
                  <a:cubicBezTo>
                    <a:pt x="404756" y="69303"/>
                    <a:pt x="423252" y="73230"/>
                    <a:pt x="428826" y="86786"/>
                  </a:cubicBezTo>
                  <a:cubicBezTo>
                    <a:pt x="434400" y="100340"/>
                    <a:pt x="429459" y="104901"/>
                    <a:pt x="438454" y="112882"/>
                  </a:cubicBezTo>
                  <a:cubicBezTo>
                    <a:pt x="447448" y="120863"/>
                    <a:pt x="452262" y="125424"/>
                    <a:pt x="450362" y="137332"/>
                  </a:cubicBezTo>
                  <a:cubicBezTo>
                    <a:pt x="448335" y="149240"/>
                    <a:pt x="445675" y="167989"/>
                    <a:pt x="456949" y="176603"/>
                  </a:cubicBezTo>
                  <a:cubicBezTo>
                    <a:pt x="468351" y="185218"/>
                    <a:pt x="481526" y="196872"/>
                    <a:pt x="476205" y="2165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3" name="Полилиния: фигура 412">
              <a:extLst>
                <a:ext uri="{FF2B5EF4-FFF2-40B4-BE49-F238E27FC236}">
                  <a16:creationId xmlns:a16="http://schemas.microsoft.com/office/drawing/2014/main" id="{03A47F6B-4816-4D80-A5FE-73039E65A435}"/>
                </a:ext>
              </a:extLst>
            </p:cNvPr>
            <p:cNvSpPr/>
            <p:nvPr/>
          </p:nvSpPr>
          <p:spPr>
            <a:xfrm>
              <a:off x="2766829" y="4525731"/>
              <a:ext cx="860178" cy="1045586"/>
            </a:xfrm>
            <a:custGeom>
              <a:avLst/>
              <a:gdLst>
                <a:gd name="connsiteX0" fmla="*/ 816849 w 860178"/>
                <a:gd name="connsiteY0" fmla="*/ 1044547 h 1045586"/>
                <a:gd name="connsiteX1" fmla="*/ 766429 w 860178"/>
                <a:gd name="connsiteY1" fmla="*/ 1042647 h 1045586"/>
                <a:gd name="connsiteX2" fmla="*/ 723737 w 860178"/>
                <a:gd name="connsiteY2" fmla="*/ 1032639 h 1045586"/>
                <a:gd name="connsiteX3" fmla="*/ 656215 w 860178"/>
                <a:gd name="connsiteY3" fmla="*/ 966510 h 1045586"/>
                <a:gd name="connsiteX4" fmla="*/ 618211 w 860178"/>
                <a:gd name="connsiteY4" fmla="*/ 967397 h 1045586"/>
                <a:gd name="connsiteX5" fmla="*/ 596295 w 860178"/>
                <a:gd name="connsiteY5" fmla="*/ 940161 h 1045586"/>
                <a:gd name="connsiteX6" fmla="*/ 571338 w 860178"/>
                <a:gd name="connsiteY6" fmla="*/ 913430 h 1045586"/>
                <a:gd name="connsiteX7" fmla="*/ 571591 w 860178"/>
                <a:gd name="connsiteY7" fmla="*/ 857183 h 1045586"/>
                <a:gd name="connsiteX8" fmla="*/ 559810 w 860178"/>
                <a:gd name="connsiteY8" fmla="*/ 807651 h 1045586"/>
                <a:gd name="connsiteX9" fmla="*/ 520792 w 860178"/>
                <a:gd name="connsiteY9" fmla="*/ 799416 h 1045586"/>
                <a:gd name="connsiteX10" fmla="*/ 504450 w 860178"/>
                <a:gd name="connsiteY10" fmla="*/ 802837 h 1045586"/>
                <a:gd name="connsiteX11" fmla="*/ 485067 w 860178"/>
                <a:gd name="connsiteY11" fmla="*/ 802583 h 1045586"/>
                <a:gd name="connsiteX12" fmla="*/ 460618 w 860178"/>
                <a:gd name="connsiteY12" fmla="*/ 787128 h 1045586"/>
                <a:gd name="connsiteX13" fmla="*/ 448963 w 860178"/>
                <a:gd name="connsiteY13" fmla="*/ 761791 h 1045586"/>
                <a:gd name="connsiteX14" fmla="*/ 442755 w 860178"/>
                <a:gd name="connsiteY14" fmla="*/ 744436 h 1045586"/>
                <a:gd name="connsiteX15" fmla="*/ 416025 w 860178"/>
                <a:gd name="connsiteY15" fmla="*/ 727587 h 1045586"/>
                <a:gd name="connsiteX16" fmla="*/ 376120 w 860178"/>
                <a:gd name="connsiteY16" fmla="*/ 726067 h 1045586"/>
                <a:gd name="connsiteX17" fmla="*/ 320127 w 860178"/>
                <a:gd name="connsiteY17" fmla="*/ 727967 h 1045586"/>
                <a:gd name="connsiteX18" fmla="*/ 285923 w 860178"/>
                <a:gd name="connsiteY18" fmla="*/ 724167 h 1045586"/>
                <a:gd name="connsiteX19" fmla="*/ 257546 w 860178"/>
                <a:gd name="connsiteY19" fmla="*/ 699844 h 1045586"/>
                <a:gd name="connsiteX20" fmla="*/ 245257 w 860178"/>
                <a:gd name="connsiteY20" fmla="*/ 619020 h 1045586"/>
                <a:gd name="connsiteX21" fmla="*/ 227522 w 860178"/>
                <a:gd name="connsiteY21" fmla="*/ 586843 h 1045586"/>
                <a:gd name="connsiteX22" fmla="*/ 211433 w 860178"/>
                <a:gd name="connsiteY22" fmla="*/ 616360 h 1045586"/>
                <a:gd name="connsiteX23" fmla="*/ 189644 w 860178"/>
                <a:gd name="connsiteY23" fmla="*/ 642710 h 1045586"/>
                <a:gd name="connsiteX24" fmla="*/ 165321 w 860178"/>
                <a:gd name="connsiteY24" fmla="*/ 625481 h 1045586"/>
                <a:gd name="connsiteX25" fmla="*/ 166334 w 860178"/>
                <a:gd name="connsiteY25" fmla="*/ 598498 h 1045586"/>
                <a:gd name="connsiteX26" fmla="*/ 185970 w 860178"/>
                <a:gd name="connsiteY26" fmla="*/ 572401 h 1045586"/>
                <a:gd name="connsiteX27" fmla="*/ 187744 w 860178"/>
                <a:gd name="connsiteY27" fmla="*/ 542504 h 1045586"/>
                <a:gd name="connsiteX28" fmla="*/ 192177 w 860178"/>
                <a:gd name="connsiteY28" fmla="*/ 509440 h 1045586"/>
                <a:gd name="connsiteX29" fmla="*/ 194078 w 860178"/>
                <a:gd name="connsiteY29" fmla="*/ 474856 h 1045586"/>
                <a:gd name="connsiteX30" fmla="*/ 176469 w 860178"/>
                <a:gd name="connsiteY30" fmla="*/ 442805 h 1045586"/>
                <a:gd name="connsiteX31" fmla="*/ 154299 w 860178"/>
                <a:gd name="connsiteY31" fmla="*/ 424056 h 1045586"/>
                <a:gd name="connsiteX32" fmla="*/ 132130 w 860178"/>
                <a:gd name="connsiteY32" fmla="*/ 410627 h 1045586"/>
                <a:gd name="connsiteX33" fmla="*/ 110721 w 860178"/>
                <a:gd name="connsiteY33" fmla="*/ 382378 h 1045586"/>
                <a:gd name="connsiteX34" fmla="*/ 123895 w 860178"/>
                <a:gd name="connsiteY34" fmla="*/ 336899 h 1045586"/>
                <a:gd name="connsiteX35" fmla="*/ 67268 w 860178"/>
                <a:gd name="connsiteY35" fmla="*/ 302947 h 1045586"/>
                <a:gd name="connsiteX36" fmla="*/ 49533 w 860178"/>
                <a:gd name="connsiteY36" fmla="*/ 314602 h 1045586"/>
                <a:gd name="connsiteX37" fmla="*/ 23183 w 860178"/>
                <a:gd name="connsiteY37" fmla="*/ 310548 h 1045586"/>
                <a:gd name="connsiteX38" fmla="*/ 16469 w 860178"/>
                <a:gd name="connsiteY38" fmla="*/ 287239 h 1045586"/>
                <a:gd name="connsiteX39" fmla="*/ 6714 w 860178"/>
                <a:gd name="connsiteY39" fmla="*/ 248094 h 1045586"/>
                <a:gd name="connsiteX40" fmla="*/ 0 w 860178"/>
                <a:gd name="connsiteY40" fmla="*/ 237199 h 1045586"/>
                <a:gd name="connsiteX41" fmla="*/ 24450 w 860178"/>
                <a:gd name="connsiteY41" fmla="*/ 214903 h 1045586"/>
                <a:gd name="connsiteX42" fmla="*/ 59668 w 860178"/>
                <a:gd name="connsiteY42" fmla="*/ 221744 h 1045586"/>
                <a:gd name="connsiteX43" fmla="*/ 89818 w 860178"/>
                <a:gd name="connsiteY43" fmla="*/ 211863 h 1045586"/>
                <a:gd name="connsiteX44" fmla="*/ 110467 w 860178"/>
                <a:gd name="connsiteY44" fmla="*/ 203122 h 1045586"/>
                <a:gd name="connsiteX45" fmla="*/ 125542 w 860178"/>
                <a:gd name="connsiteY45" fmla="*/ 186020 h 1045586"/>
                <a:gd name="connsiteX46" fmla="*/ 131243 w 860178"/>
                <a:gd name="connsiteY46" fmla="*/ 158529 h 1045586"/>
                <a:gd name="connsiteX47" fmla="*/ 139224 w 860178"/>
                <a:gd name="connsiteY47" fmla="*/ 150675 h 1045586"/>
                <a:gd name="connsiteX48" fmla="*/ 150119 w 860178"/>
                <a:gd name="connsiteY48" fmla="*/ 160176 h 1045586"/>
                <a:gd name="connsiteX49" fmla="*/ 182170 w 860178"/>
                <a:gd name="connsiteY49" fmla="*/ 162710 h 1045586"/>
                <a:gd name="connsiteX50" fmla="*/ 201298 w 860178"/>
                <a:gd name="connsiteY50" fmla="*/ 144974 h 1045586"/>
                <a:gd name="connsiteX51" fmla="*/ 250451 w 860178"/>
                <a:gd name="connsiteY51" fmla="*/ 133446 h 1045586"/>
                <a:gd name="connsiteX52" fmla="*/ 288456 w 860178"/>
                <a:gd name="connsiteY52" fmla="*/ 132686 h 1045586"/>
                <a:gd name="connsiteX53" fmla="*/ 299731 w 860178"/>
                <a:gd name="connsiteY53" fmla="*/ 113304 h 1045586"/>
                <a:gd name="connsiteX54" fmla="*/ 311892 w 860178"/>
                <a:gd name="connsiteY54" fmla="*/ 63391 h 1045586"/>
                <a:gd name="connsiteX55" fmla="*/ 350657 w 860178"/>
                <a:gd name="connsiteY55" fmla="*/ 50342 h 1045586"/>
                <a:gd name="connsiteX56" fmla="*/ 376627 w 860178"/>
                <a:gd name="connsiteY56" fmla="*/ 38308 h 1045586"/>
                <a:gd name="connsiteX57" fmla="*/ 406778 w 860178"/>
                <a:gd name="connsiteY57" fmla="*/ 3597 h 1045586"/>
                <a:gd name="connsiteX58" fmla="*/ 414885 w 860178"/>
                <a:gd name="connsiteY58" fmla="*/ 50 h 1045586"/>
                <a:gd name="connsiteX59" fmla="*/ 429200 w 860178"/>
                <a:gd name="connsiteY59" fmla="*/ 7524 h 1045586"/>
                <a:gd name="connsiteX60" fmla="*/ 458844 w 860178"/>
                <a:gd name="connsiteY60" fmla="*/ 28047 h 1045586"/>
                <a:gd name="connsiteX61" fmla="*/ 460238 w 860178"/>
                <a:gd name="connsiteY61" fmla="*/ 47809 h 1045586"/>
                <a:gd name="connsiteX62" fmla="*/ 471892 w 860178"/>
                <a:gd name="connsiteY62" fmla="*/ 68838 h 1045586"/>
                <a:gd name="connsiteX63" fmla="*/ 487854 w 860178"/>
                <a:gd name="connsiteY63" fmla="*/ 80620 h 1045586"/>
                <a:gd name="connsiteX64" fmla="*/ 488108 w 860178"/>
                <a:gd name="connsiteY64" fmla="*/ 91134 h 1045586"/>
                <a:gd name="connsiteX65" fmla="*/ 463405 w 860178"/>
                <a:gd name="connsiteY65" fmla="*/ 136234 h 1045586"/>
                <a:gd name="connsiteX66" fmla="*/ 455170 w 860178"/>
                <a:gd name="connsiteY66" fmla="*/ 173731 h 1045586"/>
                <a:gd name="connsiteX67" fmla="*/ 446429 w 860178"/>
                <a:gd name="connsiteY67" fmla="*/ 214523 h 1045586"/>
                <a:gd name="connsiteX68" fmla="*/ 482534 w 860178"/>
                <a:gd name="connsiteY68" fmla="*/ 273937 h 1045586"/>
                <a:gd name="connsiteX69" fmla="*/ 465305 w 860178"/>
                <a:gd name="connsiteY69" fmla="*/ 313969 h 1045586"/>
                <a:gd name="connsiteX70" fmla="*/ 461124 w 860178"/>
                <a:gd name="connsiteY70" fmla="*/ 345006 h 1045586"/>
                <a:gd name="connsiteX71" fmla="*/ 464165 w 860178"/>
                <a:gd name="connsiteY71" fmla="*/ 378577 h 1045586"/>
                <a:gd name="connsiteX72" fmla="*/ 449723 w 860178"/>
                <a:gd name="connsiteY72" fmla="*/ 411134 h 1045586"/>
                <a:gd name="connsiteX73" fmla="*/ 452510 w 860178"/>
                <a:gd name="connsiteY73" fmla="*/ 446479 h 1045586"/>
                <a:gd name="connsiteX74" fmla="*/ 476580 w 860178"/>
                <a:gd name="connsiteY74" fmla="*/ 470802 h 1045586"/>
                <a:gd name="connsiteX75" fmla="*/ 510404 w 860178"/>
                <a:gd name="connsiteY75" fmla="*/ 467001 h 1045586"/>
                <a:gd name="connsiteX76" fmla="*/ 545115 w 860178"/>
                <a:gd name="connsiteY76" fmla="*/ 473209 h 1045586"/>
                <a:gd name="connsiteX77" fmla="*/ 531813 w 860178"/>
                <a:gd name="connsiteY77" fmla="*/ 514507 h 1045586"/>
                <a:gd name="connsiteX78" fmla="*/ 501916 w 860178"/>
                <a:gd name="connsiteY78" fmla="*/ 536170 h 1045586"/>
                <a:gd name="connsiteX79" fmla="*/ 517625 w 860178"/>
                <a:gd name="connsiteY79" fmla="*/ 573288 h 1045586"/>
                <a:gd name="connsiteX80" fmla="*/ 501156 w 860178"/>
                <a:gd name="connsiteY80" fmla="*/ 603818 h 1045586"/>
                <a:gd name="connsiteX81" fmla="*/ 476960 w 860178"/>
                <a:gd name="connsiteY81" fmla="*/ 626115 h 1045586"/>
                <a:gd name="connsiteX82" fmla="*/ 488361 w 860178"/>
                <a:gd name="connsiteY82" fmla="*/ 652211 h 1045586"/>
                <a:gd name="connsiteX83" fmla="*/ 524212 w 860178"/>
                <a:gd name="connsiteY83" fmla="*/ 639670 h 1045586"/>
                <a:gd name="connsiteX84" fmla="*/ 545875 w 860178"/>
                <a:gd name="connsiteY84" fmla="*/ 678181 h 1045586"/>
                <a:gd name="connsiteX85" fmla="*/ 564751 w 860178"/>
                <a:gd name="connsiteY85" fmla="*/ 680081 h 1045586"/>
                <a:gd name="connsiteX86" fmla="*/ 583120 w 860178"/>
                <a:gd name="connsiteY86" fmla="*/ 687429 h 1045586"/>
                <a:gd name="connsiteX87" fmla="*/ 604782 w 860178"/>
                <a:gd name="connsiteY87" fmla="*/ 687936 h 1045586"/>
                <a:gd name="connsiteX88" fmla="*/ 622264 w 860178"/>
                <a:gd name="connsiteY88" fmla="*/ 688062 h 1045586"/>
                <a:gd name="connsiteX89" fmla="*/ 632652 w 860178"/>
                <a:gd name="connsiteY89" fmla="*/ 728601 h 1045586"/>
                <a:gd name="connsiteX90" fmla="*/ 665463 w 860178"/>
                <a:gd name="connsiteY90" fmla="*/ 713525 h 1045586"/>
                <a:gd name="connsiteX91" fmla="*/ 684972 w 860178"/>
                <a:gd name="connsiteY91" fmla="*/ 683248 h 1045586"/>
                <a:gd name="connsiteX92" fmla="*/ 714363 w 860178"/>
                <a:gd name="connsiteY92" fmla="*/ 674001 h 1045586"/>
                <a:gd name="connsiteX93" fmla="*/ 732352 w 860178"/>
                <a:gd name="connsiteY93" fmla="*/ 671340 h 1045586"/>
                <a:gd name="connsiteX94" fmla="*/ 744006 w 860178"/>
                <a:gd name="connsiteY94" fmla="*/ 671213 h 1045586"/>
                <a:gd name="connsiteX95" fmla="*/ 749834 w 860178"/>
                <a:gd name="connsiteY95" fmla="*/ 686416 h 1045586"/>
                <a:gd name="connsiteX96" fmla="*/ 764022 w 860178"/>
                <a:gd name="connsiteY96" fmla="*/ 695283 h 1045586"/>
                <a:gd name="connsiteX97" fmla="*/ 805701 w 860178"/>
                <a:gd name="connsiteY97" fmla="*/ 692370 h 1045586"/>
                <a:gd name="connsiteX98" fmla="*/ 833698 w 860178"/>
                <a:gd name="connsiteY98" fmla="*/ 737215 h 1045586"/>
                <a:gd name="connsiteX99" fmla="*/ 821029 w 860178"/>
                <a:gd name="connsiteY99" fmla="*/ 752797 h 1045586"/>
                <a:gd name="connsiteX100" fmla="*/ 810261 w 860178"/>
                <a:gd name="connsiteY100" fmla="*/ 794729 h 1045586"/>
                <a:gd name="connsiteX101" fmla="*/ 812288 w 860178"/>
                <a:gd name="connsiteY101" fmla="*/ 801317 h 1045586"/>
                <a:gd name="connsiteX102" fmla="*/ 809628 w 860178"/>
                <a:gd name="connsiteY102" fmla="*/ 815125 h 1045586"/>
                <a:gd name="connsiteX103" fmla="*/ 819002 w 860178"/>
                <a:gd name="connsiteY103" fmla="*/ 878466 h 1045586"/>
                <a:gd name="connsiteX104" fmla="*/ 830784 w 860178"/>
                <a:gd name="connsiteY104" fmla="*/ 935727 h 1045586"/>
                <a:gd name="connsiteX105" fmla="*/ 857894 w 860178"/>
                <a:gd name="connsiteY105" fmla="*/ 987033 h 1045586"/>
                <a:gd name="connsiteX106" fmla="*/ 816849 w 860178"/>
                <a:gd name="connsiteY106" fmla="*/ 1044547 h 10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60178" h="1045586">
                  <a:moveTo>
                    <a:pt x="816849" y="1044547"/>
                  </a:moveTo>
                  <a:cubicBezTo>
                    <a:pt x="800380" y="1047461"/>
                    <a:pt x="782898" y="1043407"/>
                    <a:pt x="766429" y="1042647"/>
                  </a:cubicBezTo>
                  <a:cubicBezTo>
                    <a:pt x="751481" y="1042013"/>
                    <a:pt x="735392" y="1043660"/>
                    <a:pt x="723737" y="1032639"/>
                  </a:cubicBezTo>
                  <a:cubicBezTo>
                    <a:pt x="699921" y="1010343"/>
                    <a:pt x="699794" y="953716"/>
                    <a:pt x="656215" y="966510"/>
                  </a:cubicBezTo>
                  <a:cubicBezTo>
                    <a:pt x="643674" y="970184"/>
                    <a:pt x="629865" y="976392"/>
                    <a:pt x="618211" y="967397"/>
                  </a:cubicBezTo>
                  <a:cubicBezTo>
                    <a:pt x="608963" y="960430"/>
                    <a:pt x="604656" y="948395"/>
                    <a:pt x="596295" y="940161"/>
                  </a:cubicBezTo>
                  <a:cubicBezTo>
                    <a:pt x="587427" y="931419"/>
                    <a:pt x="576279" y="925592"/>
                    <a:pt x="571338" y="913430"/>
                  </a:cubicBezTo>
                  <a:cubicBezTo>
                    <a:pt x="564117" y="895948"/>
                    <a:pt x="569438" y="875172"/>
                    <a:pt x="571591" y="857183"/>
                  </a:cubicBezTo>
                  <a:cubicBezTo>
                    <a:pt x="573492" y="840208"/>
                    <a:pt x="575139" y="819179"/>
                    <a:pt x="559810" y="807651"/>
                  </a:cubicBezTo>
                  <a:cubicBezTo>
                    <a:pt x="548662" y="799290"/>
                    <a:pt x="534094" y="798910"/>
                    <a:pt x="520792" y="799416"/>
                  </a:cubicBezTo>
                  <a:cubicBezTo>
                    <a:pt x="514458" y="799670"/>
                    <a:pt x="510151" y="801063"/>
                    <a:pt x="504450" y="802837"/>
                  </a:cubicBezTo>
                  <a:cubicBezTo>
                    <a:pt x="497482" y="805117"/>
                    <a:pt x="492162" y="803850"/>
                    <a:pt x="485067" y="802583"/>
                  </a:cubicBezTo>
                  <a:cubicBezTo>
                    <a:pt x="473792" y="800556"/>
                    <a:pt x="464798" y="799416"/>
                    <a:pt x="460618" y="787128"/>
                  </a:cubicBezTo>
                  <a:cubicBezTo>
                    <a:pt x="457704" y="778387"/>
                    <a:pt x="452383" y="770533"/>
                    <a:pt x="448963" y="761791"/>
                  </a:cubicBezTo>
                  <a:cubicBezTo>
                    <a:pt x="446809" y="756091"/>
                    <a:pt x="445796" y="750010"/>
                    <a:pt x="442755" y="744436"/>
                  </a:cubicBezTo>
                  <a:cubicBezTo>
                    <a:pt x="437435" y="734302"/>
                    <a:pt x="426667" y="729994"/>
                    <a:pt x="416025" y="727587"/>
                  </a:cubicBezTo>
                  <a:cubicBezTo>
                    <a:pt x="402597" y="724547"/>
                    <a:pt x="389675" y="726067"/>
                    <a:pt x="376120" y="726067"/>
                  </a:cubicBezTo>
                  <a:cubicBezTo>
                    <a:pt x="358005" y="725940"/>
                    <a:pt x="337862" y="730501"/>
                    <a:pt x="320127" y="727967"/>
                  </a:cubicBezTo>
                  <a:cubicBezTo>
                    <a:pt x="308852" y="726320"/>
                    <a:pt x="297070" y="726700"/>
                    <a:pt x="285923" y="724167"/>
                  </a:cubicBezTo>
                  <a:cubicBezTo>
                    <a:pt x="271987" y="721000"/>
                    <a:pt x="265273" y="710865"/>
                    <a:pt x="257546" y="699844"/>
                  </a:cubicBezTo>
                  <a:cubicBezTo>
                    <a:pt x="239557" y="674001"/>
                    <a:pt x="243990" y="648411"/>
                    <a:pt x="245257" y="619020"/>
                  </a:cubicBezTo>
                  <a:cubicBezTo>
                    <a:pt x="245511" y="610912"/>
                    <a:pt x="242977" y="578735"/>
                    <a:pt x="227522" y="586843"/>
                  </a:cubicBezTo>
                  <a:cubicBezTo>
                    <a:pt x="219541" y="591024"/>
                    <a:pt x="214220" y="608632"/>
                    <a:pt x="211433" y="616360"/>
                  </a:cubicBezTo>
                  <a:cubicBezTo>
                    <a:pt x="207253" y="628268"/>
                    <a:pt x="205859" y="644737"/>
                    <a:pt x="189644" y="642710"/>
                  </a:cubicBezTo>
                  <a:cubicBezTo>
                    <a:pt x="178876" y="641317"/>
                    <a:pt x="168234" y="636376"/>
                    <a:pt x="165321" y="625481"/>
                  </a:cubicBezTo>
                  <a:cubicBezTo>
                    <a:pt x="163040" y="616867"/>
                    <a:pt x="161774" y="606352"/>
                    <a:pt x="166334" y="598498"/>
                  </a:cubicBezTo>
                  <a:cubicBezTo>
                    <a:pt x="171781" y="589123"/>
                    <a:pt x="180143" y="581522"/>
                    <a:pt x="185970" y="572401"/>
                  </a:cubicBezTo>
                  <a:cubicBezTo>
                    <a:pt x="192051" y="562773"/>
                    <a:pt x="187617" y="553272"/>
                    <a:pt x="187744" y="542504"/>
                  </a:cubicBezTo>
                  <a:cubicBezTo>
                    <a:pt x="187870" y="531229"/>
                    <a:pt x="192304" y="520715"/>
                    <a:pt x="192177" y="509440"/>
                  </a:cubicBezTo>
                  <a:cubicBezTo>
                    <a:pt x="192177" y="498039"/>
                    <a:pt x="195724" y="486131"/>
                    <a:pt x="194078" y="474856"/>
                  </a:cubicBezTo>
                  <a:cubicBezTo>
                    <a:pt x="192304" y="462694"/>
                    <a:pt x="183943" y="452179"/>
                    <a:pt x="176469" y="442805"/>
                  </a:cubicBezTo>
                  <a:cubicBezTo>
                    <a:pt x="170008" y="434824"/>
                    <a:pt x="162027" y="430390"/>
                    <a:pt x="154299" y="424056"/>
                  </a:cubicBezTo>
                  <a:cubicBezTo>
                    <a:pt x="146698" y="417722"/>
                    <a:pt x="142264" y="413161"/>
                    <a:pt x="132130" y="410627"/>
                  </a:cubicBezTo>
                  <a:cubicBezTo>
                    <a:pt x="116421" y="406574"/>
                    <a:pt x="111607" y="399100"/>
                    <a:pt x="110721" y="382378"/>
                  </a:cubicBezTo>
                  <a:cubicBezTo>
                    <a:pt x="109707" y="364008"/>
                    <a:pt x="118448" y="353240"/>
                    <a:pt x="123895" y="336899"/>
                  </a:cubicBezTo>
                  <a:cubicBezTo>
                    <a:pt x="135550" y="302314"/>
                    <a:pt x="88678" y="303201"/>
                    <a:pt x="67268" y="302947"/>
                  </a:cubicBezTo>
                  <a:cubicBezTo>
                    <a:pt x="61188" y="306874"/>
                    <a:pt x="56627" y="312955"/>
                    <a:pt x="49533" y="314602"/>
                  </a:cubicBezTo>
                  <a:cubicBezTo>
                    <a:pt x="40792" y="316756"/>
                    <a:pt x="29517" y="317389"/>
                    <a:pt x="23183" y="310548"/>
                  </a:cubicBezTo>
                  <a:cubicBezTo>
                    <a:pt x="17102" y="303961"/>
                    <a:pt x="18749" y="295473"/>
                    <a:pt x="16469" y="287239"/>
                  </a:cubicBezTo>
                  <a:cubicBezTo>
                    <a:pt x="12922" y="274317"/>
                    <a:pt x="11275" y="260762"/>
                    <a:pt x="6714" y="248094"/>
                  </a:cubicBezTo>
                  <a:cubicBezTo>
                    <a:pt x="4814" y="242773"/>
                    <a:pt x="2787" y="239226"/>
                    <a:pt x="0" y="237199"/>
                  </a:cubicBezTo>
                  <a:cubicBezTo>
                    <a:pt x="8108" y="229472"/>
                    <a:pt x="12922" y="216043"/>
                    <a:pt x="24450" y="214903"/>
                  </a:cubicBezTo>
                  <a:cubicBezTo>
                    <a:pt x="36738" y="213636"/>
                    <a:pt x="46872" y="224404"/>
                    <a:pt x="59668" y="221744"/>
                  </a:cubicBezTo>
                  <a:cubicBezTo>
                    <a:pt x="70562" y="219590"/>
                    <a:pt x="78036" y="211609"/>
                    <a:pt x="89818" y="211863"/>
                  </a:cubicBezTo>
                  <a:cubicBezTo>
                    <a:pt x="99699" y="212116"/>
                    <a:pt x="103880" y="210723"/>
                    <a:pt x="110467" y="203122"/>
                  </a:cubicBezTo>
                  <a:cubicBezTo>
                    <a:pt x="115281" y="197421"/>
                    <a:pt x="122375" y="192734"/>
                    <a:pt x="125542" y="186020"/>
                  </a:cubicBezTo>
                  <a:cubicBezTo>
                    <a:pt x="129596" y="177279"/>
                    <a:pt x="128329" y="167397"/>
                    <a:pt x="131243" y="158529"/>
                  </a:cubicBezTo>
                  <a:cubicBezTo>
                    <a:pt x="132510" y="154855"/>
                    <a:pt x="135044" y="150928"/>
                    <a:pt x="139224" y="150675"/>
                  </a:cubicBezTo>
                  <a:cubicBezTo>
                    <a:pt x="144545" y="150422"/>
                    <a:pt x="147585" y="156376"/>
                    <a:pt x="150119" y="160176"/>
                  </a:cubicBezTo>
                  <a:cubicBezTo>
                    <a:pt x="157593" y="171324"/>
                    <a:pt x="172415" y="170944"/>
                    <a:pt x="182170" y="162710"/>
                  </a:cubicBezTo>
                  <a:cubicBezTo>
                    <a:pt x="188884" y="157009"/>
                    <a:pt x="193951" y="149788"/>
                    <a:pt x="201298" y="144974"/>
                  </a:cubicBezTo>
                  <a:cubicBezTo>
                    <a:pt x="214347" y="136614"/>
                    <a:pt x="234869" y="130406"/>
                    <a:pt x="250451" y="133446"/>
                  </a:cubicBezTo>
                  <a:cubicBezTo>
                    <a:pt x="262740" y="135853"/>
                    <a:pt x="276801" y="140161"/>
                    <a:pt x="288456" y="132686"/>
                  </a:cubicBezTo>
                  <a:cubicBezTo>
                    <a:pt x="295170" y="128379"/>
                    <a:pt x="298464" y="121031"/>
                    <a:pt x="299731" y="113304"/>
                  </a:cubicBezTo>
                  <a:cubicBezTo>
                    <a:pt x="302391" y="96582"/>
                    <a:pt x="300491" y="77453"/>
                    <a:pt x="311892" y="63391"/>
                  </a:cubicBezTo>
                  <a:cubicBezTo>
                    <a:pt x="321647" y="51356"/>
                    <a:pt x="336215" y="49962"/>
                    <a:pt x="350657" y="50342"/>
                  </a:cubicBezTo>
                  <a:cubicBezTo>
                    <a:pt x="362819" y="50723"/>
                    <a:pt x="368899" y="47682"/>
                    <a:pt x="376627" y="38308"/>
                  </a:cubicBezTo>
                  <a:cubicBezTo>
                    <a:pt x="386255" y="26653"/>
                    <a:pt x="394616" y="12845"/>
                    <a:pt x="406778" y="3597"/>
                  </a:cubicBezTo>
                  <a:cubicBezTo>
                    <a:pt x="409818" y="1316"/>
                    <a:pt x="412478" y="176"/>
                    <a:pt x="414885" y="50"/>
                  </a:cubicBezTo>
                  <a:cubicBezTo>
                    <a:pt x="419826" y="-457"/>
                    <a:pt x="424006" y="2963"/>
                    <a:pt x="429200" y="7524"/>
                  </a:cubicBezTo>
                  <a:cubicBezTo>
                    <a:pt x="438448" y="15505"/>
                    <a:pt x="449469" y="20572"/>
                    <a:pt x="458844" y="28047"/>
                  </a:cubicBezTo>
                  <a:cubicBezTo>
                    <a:pt x="466825" y="34507"/>
                    <a:pt x="462771" y="39575"/>
                    <a:pt x="460238" y="47809"/>
                  </a:cubicBezTo>
                  <a:cubicBezTo>
                    <a:pt x="456690" y="58577"/>
                    <a:pt x="462645" y="64151"/>
                    <a:pt x="471892" y="68838"/>
                  </a:cubicBezTo>
                  <a:cubicBezTo>
                    <a:pt x="478480" y="72259"/>
                    <a:pt x="485321" y="75172"/>
                    <a:pt x="487854" y="80620"/>
                  </a:cubicBezTo>
                  <a:cubicBezTo>
                    <a:pt x="489121" y="83407"/>
                    <a:pt x="489375" y="86827"/>
                    <a:pt x="488108" y="91134"/>
                  </a:cubicBezTo>
                  <a:cubicBezTo>
                    <a:pt x="483167" y="107350"/>
                    <a:pt x="470372" y="120778"/>
                    <a:pt x="463405" y="136234"/>
                  </a:cubicBezTo>
                  <a:cubicBezTo>
                    <a:pt x="457957" y="148395"/>
                    <a:pt x="457071" y="160683"/>
                    <a:pt x="455170" y="173731"/>
                  </a:cubicBezTo>
                  <a:cubicBezTo>
                    <a:pt x="453017" y="187413"/>
                    <a:pt x="447569" y="200715"/>
                    <a:pt x="446429" y="214523"/>
                  </a:cubicBezTo>
                  <a:cubicBezTo>
                    <a:pt x="444149" y="242900"/>
                    <a:pt x="482914" y="245180"/>
                    <a:pt x="482534" y="273937"/>
                  </a:cubicBezTo>
                  <a:cubicBezTo>
                    <a:pt x="482280" y="289139"/>
                    <a:pt x="472906" y="301554"/>
                    <a:pt x="465305" y="313969"/>
                  </a:cubicBezTo>
                  <a:cubicBezTo>
                    <a:pt x="458844" y="324484"/>
                    <a:pt x="457831" y="333098"/>
                    <a:pt x="461124" y="345006"/>
                  </a:cubicBezTo>
                  <a:cubicBezTo>
                    <a:pt x="464165" y="356154"/>
                    <a:pt x="467839" y="367049"/>
                    <a:pt x="464165" y="378577"/>
                  </a:cubicBezTo>
                  <a:cubicBezTo>
                    <a:pt x="460491" y="390232"/>
                    <a:pt x="451623" y="399226"/>
                    <a:pt x="449723" y="411134"/>
                  </a:cubicBezTo>
                  <a:cubicBezTo>
                    <a:pt x="447949" y="422409"/>
                    <a:pt x="445162" y="436598"/>
                    <a:pt x="452510" y="446479"/>
                  </a:cubicBezTo>
                  <a:cubicBezTo>
                    <a:pt x="458591" y="454713"/>
                    <a:pt x="466065" y="468395"/>
                    <a:pt x="476580" y="470802"/>
                  </a:cubicBezTo>
                  <a:cubicBezTo>
                    <a:pt x="488108" y="473335"/>
                    <a:pt x="499889" y="472069"/>
                    <a:pt x="510404" y="467001"/>
                  </a:cubicBezTo>
                  <a:cubicBezTo>
                    <a:pt x="521932" y="461554"/>
                    <a:pt x="540934" y="455980"/>
                    <a:pt x="545115" y="473209"/>
                  </a:cubicBezTo>
                  <a:cubicBezTo>
                    <a:pt x="548535" y="486764"/>
                    <a:pt x="541188" y="504753"/>
                    <a:pt x="531813" y="514507"/>
                  </a:cubicBezTo>
                  <a:cubicBezTo>
                    <a:pt x="523959" y="522615"/>
                    <a:pt x="506730" y="525909"/>
                    <a:pt x="501916" y="536170"/>
                  </a:cubicBezTo>
                  <a:cubicBezTo>
                    <a:pt x="496595" y="547445"/>
                    <a:pt x="513951" y="563280"/>
                    <a:pt x="517625" y="573288"/>
                  </a:cubicBezTo>
                  <a:cubicBezTo>
                    <a:pt x="522945" y="588237"/>
                    <a:pt x="512431" y="596091"/>
                    <a:pt x="501156" y="603818"/>
                  </a:cubicBezTo>
                  <a:cubicBezTo>
                    <a:pt x="492668" y="609646"/>
                    <a:pt x="480633" y="615726"/>
                    <a:pt x="476960" y="626115"/>
                  </a:cubicBezTo>
                  <a:cubicBezTo>
                    <a:pt x="473919" y="634982"/>
                    <a:pt x="475313" y="653731"/>
                    <a:pt x="488361" y="652211"/>
                  </a:cubicBezTo>
                  <a:cubicBezTo>
                    <a:pt x="498369" y="651071"/>
                    <a:pt x="515978" y="628015"/>
                    <a:pt x="524212" y="639670"/>
                  </a:cubicBezTo>
                  <a:cubicBezTo>
                    <a:pt x="532827" y="651704"/>
                    <a:pt x="527506" y="673874"/>
                    <a:pt x="545875" y="678181"/>
                  </a:cubicBezTo>
                  <a:cubicBezTo>
                    <a:pt x="552082" y="679575"/>
                    <a:pt x="558543" y="678561"/>
                    <a:pt x="564751" y="680081"/>
                  </a:cubicBezTo>
                  <a:cubicBezTo>
                    <a:pt x="571211" y="681602"/>
                    <a:pt x="576785" y="685402"/>
                    <a:pt x="583120" y="687429"/>
                  </a:cubicBezTo>
                  <a:cubicBezTo>
                    <a:pt x="590341" y="689709"/>
                    <a:pt x="597308" y="689329"/>
                    <a:pt x="604782" y="687936"/>
                  </a:cubicBezTo>
                  <a:cubicBezTo>
                    <a:pt x="610103" y="686922"/>
                    <a:pt x="617577" y="684135"/>
                    <a:pt x="622264" y="688062"/>
                  </a:cubicBezTo>
                  <a:cubicBezTo>
                    <a:pt x="633286" y="697057"/>
                    <a:pt x="621251" y="720113"/>
                    <a:pt x="632652" y="728601"/>
                  </a:cubicBezTo>
                  <a:cubicBezTo>
                    <a:pt x="641267" y="735062"/>
                    <a:pt x="659256" y="718719"/>
                    <a:pt x="665463" y="713525"/>
                  </a:cubicBezTo>
                  <a:cubicBezTo>
                    <a:pt x="675218" y="705164"/>
                    <a:pt x="678258" y="693510"/>
                    <a:pt x="684972" y="683248"/>
                  </a:cubicBezTo>
                  <a:cubicBezTo>
                    <a:pt x="693333" y="670453"/>
                    <a:pt x="701188" y="672860"/>
                    <a:pt x="714363" y="674001"/>
                  </a:cubicBezTo>
                  <a:cubicBezTo>
                    <a:pt x="720697" y="674507"/>
                    <a:pt x="726271" y="673114"/>
                    <a:pt x="732352" y="671340"/>
                  </a:cubicBezTo>
                  <a:cubicBezTo>
                    <a:pt x="736279" y="670200"/>
                    <a:pt x="740586" y="667920"/>
                    <a:pt x="744006" y="671213"/>
                  </a:cubicBezTo>
                  <a:cubicBezTo>
                    <a:pt x="747553" y="674507"/>
                    <a:pt x="747680" y="682235"/>
                    <a:pt x="749834" y="686416"/>
                  </a:cubicBezTo>
                  <a:cubicBezTo>
                    <a:pt x="752747" y="692496"/>
                    <a:pt x="757308" y="695537"/>
                    <a:pt x="764022" y="695283"/>
                  </a:cubicBezTo>
                  <a:cubicBezTo>
                    <a:pt x="778211" y="694777"/>
                    <a:pt x="792399" y="682108"/>
                    <a:pt x="805701" y="692370"/>
                  </a:cubicBezTo>
                  <a:cubicBezTo>
                    <a:pt x="819002" y="702504"/>
                    <a:pt x="829264" y="721380"/>
                    <a:pt x="833698" y="737215"/>
                  </a:cubicBezTo>
                  <a:cubicBezTo>
                    <a:pt x="836485" y="747096"/>
                    <a:pt x="826603" y="747350"/>
                    <a:pt x="821029" y="752797"/>
                  </a:cubicBezTo>
                  <a:cubicBezTo>
                    <a:pt x="809501" y="764072"/>
                    <a:pt x="805827" y="779654"/>
                    <a:pt x="810261" y="794729"/>
                  </a:cubicBezTo>
                  <a:cubicBezTo>
                    <a:pt x="810895" y="796883"/>
                    <a:pt x="811528" y="799163"/>
                    <a:pt x="812288" y="801317"/>
                  </a:cubicBezTo>
                  <a:cubicBezTo>
                    <a:pt x="809755" y="803090"/>
                    <a:pt x="808868" y="807397"/>
                    <a:pt x="809628" y="815125"/>
                  </a:cubicBezTo>
                  <a:cubicBezTo>
                    <a:pt x="811908" y="836408"/>
                    <a:pt x="816976" y="857183"/>
                    <a:pt x="819002" y="878466"/>
                  </a:cubicBezTo>
                  <a:cubicBezTo>
                    <a:pt x="820903" y="898355"/>
                    <a:pt x="823056" y="917231"/>
                    <a:pt x="830784" y="935727"/>
                  </a:cubicBezTo>
                  <a:cubicBezTo>
                    <a:pt x="838385" y="953589"/>
                    <a:pt x="850546" y="969171"/>
                    <a:pt x="857894" y="987033"/>
                  </a:cubicBezTo>
                  <a:cubicBezTo>
                    <a:pt x="868409" y="1012496"/>
                    <a:pt x="840539" y="1040366"/>
                    <a:pt x="816849" y="1044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4" name="Полилиния: фигура 413">
              <a:extLst>
                <a:ext uri="{FF2B5EF4-FFF2-40B4-BE49-F238E27FC236}">
                  <a16:creationId xmlns:a16="http://schemas.microsoft.com/office/drawing/2014/main" id="{1B1CCFDA-EFF2-4F32-8DF9-84880CC8B374}"/>
                </a:ext>
              </a:extLst>
            </p:cNvPr>
            <p:cNvSpPr/>
            <p:nvPr/>
          </p:nvSpPr>
          <p:spPr>
            <a:xfrm>
              <a:off x="1774301" y="2745891"/>
              <a:ext cx="470454" cy="404445"/>
            </a:xfrm>
            <a:custGeom>
              <a:avLst/>
              <a:gdLst>
                <a:gd name="connsiteX0" fmla="*/ 420936 w 470454"/>
                <a:gd name="connsiteY0" fmla="*/ 341409 h 404445"/>
                <a:gd name="connsiteX1" fmla="*/ 350754 w 470454"/>
                <a:gd name="connsiteY1" fmla="*/ 377387 h 404445"/>
                <a:gd name="connsiteX2" fmla="*/ 309202 w 470454"/>
                <a:gd name="connsiteY2" fmla="*/ 393222 h 404445"/>
                <a:gd name="connsiteX3" fmla="*/ 271451 w 470454"/>
                <a:gd name="connsiteY3" fmla="*/ 403610 h 404445"/>
                <a:gd name="connsiteX4" fmla="*/ 199242 w 470454"/>
                <a:gd name="connsiteY4" fmla="*/ 355724 h 404445"/>
                <a:gd name="connsiteX5" fmla="*/ 173019 w 470454"/>
                <a:gd name="connsiteY5" fmla="*/ 335075 h 404445"/>
                <a:gd name="connsiteX6" fmla="*/ 142108 w 470454"/>
                <a:gd name="connsiteY6" fmla="*/ 352177 h 404445"/>
                <a:gd name="connsiteX7" fmla="*/ 111704 w 470454"/>
                <a:gd name="connsiteY7" fmla="*/ 369153 h 404445"/>
                <a:gd name="connsiteX8" fmla="*/ 73826 w 470454"/>
                <a:gd name="connsiteY8" fmla="*/ 367759 h 404445"/>
                <a:gd name="connsiteX9" fmla="*/ 1744 w 470454"/>
                <a:gd name="connsiteY9" fmla="*/ 328361 h 404445"/>
                <a:gd name="connsiteX10" fmla="*/ 6051 w 470454"/>
                <a:gd name="connsiteY10" fmla="*/ 320380 h 404445"/>
                <a:gd name="connsiteX11" fmla="*/ 3517 w 470454"/>
                <a:gd name="connsiteY11" fmla="*/ 277941 h 404445"/>
                <a:gd name="connsiteX12" fmla="*/ 15046 w 470454"/>
                <a:gd name="connsiteY12" fmla="*/ 229929 h 404445"/>
                <a:gd name="connsiteX13" fmla="*/ 27460 w 470454"/>
                <a:gd name="connsiteY13" fmla="*/ 184703 h 404445"/>
                <a:gd name="connsiteX14" fmla="*/ 29614 w 470454"/>
                <a:gd name="connsiteY14" fmla="*/ 134284 h 404445"/>
                <a:gd name="connsiteX15" fmla="*/ 66225 w 470454"/>
                <a:gd name="connsiteY15" fmla="*/ 92478 h 404445"/>
                <a:gd name="connsiteX16" fmla="*/ 85101 w 470454"/>
                <a:gd name="connsiteY16" fmla="*/ 72842 h 404445"/>
                <a:gd name="connsiteX17" fmla="*/ 98909 w 470454"/>
                <a:gd name="connsiteY17" fmla="*/ 52827 h 404445"/>
                <a:gd name="connsiteX18" fmla="*/ 147175 w 470454"/>
                <a:gd name="connsiteY18" fmla="*/ 40158 h 404445"/>
                <a:gd name="connsiteX19" fmla="*/ 157437 w 470454"/>
                <a:gd name="connsiteY19" fmla="*/ 16595 h 404445"/>
                <a:gd name="connsiteX20" fmla="*/ 179733 w 470454"/>
                <a:gd name="connsiteY20" fmla="*/ 3167 h 404445"/>
                <a:gd name="connsiteX21" fmla="*/ 186954 w 470454"/>
                <a:gd name="connsiteY21" fmla="*/ 0 h 404445"/>
                <a:gd name="connsiteX22" fmla="*/ 248268 w 470454"/>
                <a:gd name="connsiteY22" fmla="*/ 32557 h 404445"/>
                <a:gd name="connsiteX23" fmla="*/ 249915 w 470454"/>
                <a:gd name="connsiteY23" fmla="*/ 34078 h 404445"/>
                <a:gd name="connsiteX24" fmla="*/ 251435 w 470454"/>
                <a:gd name="connsiteY24" fmla="*/ 35725 h 404445"/>
                <a:gd name="connsiteX25" fmla="*/ 253969 w 470454"/>
                <a:gd name="connsiteY25" fmla="*/ 39272 h 404445"/>
                <a:gd name="connsiteX26" fmla="*/ 255869 w 470454"/>
                <a:gd name="connsiteY26" fmla="*/ 42819 h 404445"/>
                <a:gd name="connsiteX27" fmla="*/ 257516 w 470454"/>
                <a:gd name="connsiteY27" fmla="*/ 46492 h 404445"/>
                <a:gd name="connsiteX28" fmla="*/ 259669 w 470454"/>
                <a:gd name="connsiteY28" fmla="*/ 51180 h 404445"/>
                <a:gd name="connsiteX29" fmla="*/ 261190 w 470454"/>
                <a:gd name="connsiteY29" fmla="*/ 54220 h 404445"/>
                <a:gd name="connsiteX30" fmla="*/ 281205 w 470454"/>
                <a:gd name="connsiteY30" fmla="*/ 97039 h 404445"/>
                <a:gd name="connsiteX31" fmla="*/ 291340 w 470454"/>
                <a:gd name="connsiteY31" fmla="*/ 130356 h 404445"/>
                <a:gd name="connsiteX32" fmla="*/ 337959 w 470454"/>
                <a:gd name="connsiteY32" fmla="*/ 178242 h 404445"/>
                <a:gd name="connsiteX33" fmla="*/ 425750 w 470454"/>
                <a:gd name="connsiteY33" fmla="*/ 210800 h 404445"/>
                <a:gd name="connsiteX34" fmla="*/ 449440 w 470454"/>
                <a:gd name="connsiteY34" fmla="*/ 250831 h 404445"/>
                <a:gd name="connsiteX35" fmla="*/ 466162 w 470454"/>
                <a:gd name="connsiteY35" fmla="*/ 282122 h 404445"/>
                <a:gd name="connsiteX36" fmla="*/ 466289 w 470454"/>
                <a:gd name="connsiteY36" fmla="*/ 282375 h 404445"/>
                <a:gd name="connsiteX37" fmla="*/ 469582 w 470454"/>
                <a:gd name="connsiteY37" fmla="*/ 293143 h 404445"/>
                <a:gd name="connsiteX38" fmla="*/ 420936 w 470454"/>
                <a:gd name="connsiteY38" fmla="*/ 341409 h 40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454" h="404445">
                  <a:moveTo>
                    <a:pt x="420936" y="341409"/>
                  </a:moveTo>
                  <a:cubicBezTo>
                    <a:pt x="396360" y="351417"/>
                    <a:pt x="375457" y="367886"/>
                    <a:pt x="350754" y="377387"/>
                  </a:cubicBezTo>
                  <a:cubicBezTo>
                    <a:pt x="337706" y="382455"/>
                    <a:pt x="323517" y="388282"/>
                    <a:pt x="309202" y="393222"/>
                  </a:cubicBezTo>
                  <a:cubicBezTo>
                    <a:pt x="296534" y="397656"/>
                    <a:pt x="283739" y="401457"/>
                    <a:pt x="271451" y="403610"/>
                  </a:cubicBezTo>
                  <a:cubicBezTo>
                    <a:pt x="236993" y="409818"/>
                    <a:pt x="216977" y="380174"/>
                    <a:pt x="199242" y="355724"/>
                  </a:cubicBezTo>
                  <a:cubicBezTo>
                    <a:pt x="192908" y="346983"/>
                    <a:pt x="185180" y="334695"/>
                    <a:pt x="173019" y="335075"/>
                  </a:cubicBezTo>
                  <a:cubicBezTo>
                    <a:pt x="161617" y="335329"/>
                    <a:pt x="150722" y="345843"/>
                    <a:pt x="142108" y="352177"/>
                  </a:cubicBezTo>
                  <a:cubicBezTo>
                    <a:pt x="131847" y="359652"/>
                    <a:pt x="122092" y="365859"/>
                    <a:pt x="111704" y="369153"/>
                  </a:cubicBezTo>
                  <a:cubicBezTo>
                    <a:pt x="100176" y="372827"/>
                    <a:pt x="88015" y="373080"/>
                    <a:pt x="73826" y="367759"/>
                  </a:cubicBezTo>
                  <a:cubicBezTo>
                    <a:pt x="51277" y="359272"/>
                    <a:pt x="22266" y="344703"/>
                    <a:pt x="1744" y="328361"/>
                  </a:cubicBezTo>
                  <a:cubicBezTo>
                    <a:pt x="3011" y="325701"/>
                    <a:pt x="4531" y="323040"/>
                    <a:pt x="6051" y="320380"/>
                  </a:cubicBezTo>
                  <a:cubicBezTo>
                    <a:pt x="17579" y="301124"/>
                    <a:pt x="12765" y="297070"/>
                    <a:pt x="3517" y="277941"/>
                  </a:cubicBezTo>
                  <a:cubicBezTo>
                    <a:pt x="-5857" y="258559"/>
                    <a:pt x="5418" y="246397"/>
                    <a:pt x="15046" y="229929"/>
                  </a:cubicBezTo>
                  <a:cubicBezTo>
                    <a:pt x="23026" y="216247"/>
                    <a:pt x="28220" y="200792"/>
                    <a:pt x="27460" y="184703"/>
                  </a:cubicBezTo>
                  <a:cubicBezTo>
                    <a:pt x="26574" y="165954"/>
                    <a:pt x="18339" y="151512"/>
                    <a:pt x="29614" y="134284"/>
                  </a:cubicBezTo>
                  <a:cubicBezTo>
                    <a:pt x="39495" y="119208"/>
                    <a:pt x="53050" y="104766"/>
                    <a:pt x="66225" y="92478"/>
                  </a:cubicBezTo>
                  <a:cubicBezTo>
                    <a:pt x="72939" y="86144"/>
                    <a:pt x="79654" y="80317"/>
                    <a:pt x="85101" y="72842"/>
                  </a:cubicBezTo>
                  <a:cubicBezTo>
                    <a:pt x="89535" y="66635"/>
                    <a:pt x="92702" y="57387"/>
                    <a:pt x="98909" y="52827"/>
                  </a:cubicBezTo>
                  <a:cubicBezTo>
                    <a:pt x="113224" y="42439"/>
                    <a:pt x="134127" y="55487"/>
                    <a:pt x="147175" y="40158"/>
                  </a:cubicBezTo>
                  <a:cubicBezTo>
                    <a:pt x="152876" y="33444"/>
                    <a:pt x="152749" y="23816"/>
                    <a:pt x="157437" y="16595"/>
                  </a:cubicBezTo>
                  <a:cubicBezTo>
                    <a:pt x="162884" y="8488"/>
                    <a:pt x="170992" y="6334"/>
                    <a:pt x="179733" y="3167"/>
                  </a:cubicBezTo>
                  <a:cubicBezTo>
                    <a:pt x="182520" y="2154"/>
                    <a:pt x="184927" y="1013"/>
                    <a:pt x="186954" y="0"/>
                  </a:cubicBezTo>
                  <a:cubicBezTo>
                    <a:pt x="209376" y="6714"/>
                    <a:pt x="230406" y="17989"/>
                    <a:pt x="248268" y="32557"/>
                  </a:cubicBezTo>
                  <a:cubicBezTo>
                    <a:pt x="248901" y="33064"/>
                    <a:pt x="249408" y="33571"/>
                    <a:pt x="249915" y="34078"/>
                  </a:cubicBezTo>
                  <a:cubicBezTo>
                    <a:pt x="250422" y="34584"/>
                    <a:pt x="250928" y="35218"/>
                    <a:pt x="251435" y="35725"/>
                  </a:cubicBezTo>
                  <a:cubicBezTo>
                    <a:pt x="252449" y="36865"/>
                    <a:pt x="253209" y="38005"/>
                    <a:pt x="253969" y="39272"/>
                  </a:cubicBezTo>
                  <a:cubicBezTo>
                    <a:pt x="254729" y="40412"/>
                    <a:pt x="255362" y="41552"/>
                    <a:pt x="255869" y="42819"/>
                  </a:cubicBezTo>
                  <a:cubicBezTo>
                    <a:pt x="256502" y="44085"/>
                    <a:pt x="257009" y="45226"/>
                    <a:pt x="257516" y="46492"/>
                  </a:cubicBezTo>
                  <a:cubicBezTo>
                    <a:pt x="258149" y="48013"/>
                    <a:pt x="258909" y="49660"/>
                    <a:pt x="259669" y="51180"/>
                  </a:cubicBezTo>
                  <a:cubicBezTo>
                    <a:pt x="260049" y="52193"/>
                    <a:pt x="260556" y="53207"/>
                    <a:pt x="261190" y="54220"/>
                  </a:cubicBezTo>
                  <a:cubicBezTo>
                    <a:pt x="268537" y="67775"/>
                    <a:pt x="277025" y="82217"/>
                    <a:pt x="281205" y="97039"/>
                  </a:cubicBezTo>
                  <a:cubicBezTo>
                    <a:pt x="284372" y="108187"/>
                    <a:pt x="286906" y="119462"/>
                    <a:pt x="291340" y="130356"/>
                  </a:cubicBezTo>
                  <a:cubicBezTo>
                    <a:pt x="300208" y="152272"/>
                    <a:pt x="314396" y="171148"/>
                    <a:pt x="337959" y="178242"/>
                  </a:cubicBezTo>
                  <a:cubicBezTo>
                    <a:pt x="368236" y="187363"/>
                    <a:pt x="404214" y="183563"/>
                    <a:pt x="425750" y="210800"/>
                  </a:cubicBezTo>
                  <a:cubicBezTo>
                    <a:pt x="435251" y="222834"/>
                    <a:pt x="441965" y="237530"/>
                    <a:pt x="449440" y="250831"/>
                  </a:cubicBezTo>
                  <a:cubicBezTo>
                    <a:pt x="455014" y="260839"/>
                    <a:pt x="461728" y="271227"/>
                    <a:pt x="466162" y="282122"/>
                  </a:cubicBezTo>
                  <a:cubicBezTo>
                    <a:pt x="466162" y="282249"/>
                    <a:pt x="466289" y="282375"/>
                    <a:pt x="466289" y="282375"/>
                  </a:cubicBezTo>
                  <a:cubicBezTo>
                    <a:pt x="467682" y="285923"/>
                    <a:pt x="468822" y="289470"/>
                    <a:pt x="469582" y="293143"/>
                  </a:cubicBezTo>
                  <a:cubicBezTo>
                    <a:pt x="476296" y="323420"/>
                    <a:pt x="442726" y="332415"/>
                    <a:pt x="420936" y="3414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5" name="Полилиния: фигура 414">
              <a:extLst>
                <a:ext uri="{FF2B5EF4-FFF2-40B4-BE49-F238E27FC236}">
                  <a16:creationId xmlns:a16="http://schemas.microsoft.com/office/drawing/2014/main" id="{9BCDE79D-0F00-40EF-9ECF-2CF2599A2256}"/>
                </a:ext>
              </a:extLst>
            </p:cNvPr>
            <p:cNvSpPr/>
            <p:nvPr/>
          </p:nvSpPr>
          <p:spPr>
            <a:xfrm>
              <a:off x="1506552" y="3004056"/>
              <a:ext cx="392616" cy="402133"/>
            </a:xfrm>
            <a:custGeom>
              <a:avLst/>
              <a:gdLst>
                <a:gd name="connsiteX0" fmla="*/ 387180 w 392616"/>
                <a:gd name="connsiteY0" fmla="*/ 183704 h 402133"/>
                <a:gd name="connsiteX1" fmla="*/ 363364 w 392616"/>
                <a:gd name="connsiteY1" fmla="*/ 241091 h 402133"/>
                <a:gd name="connsiteX2" fmla="*/ 364631 w 392616"/>
                <a:gd name="connsiteY2" fmla="*/ 283277 h 402133"/>
                <a:gd name="connsiteX3" fmla="*/ 357790 w 392616"/>
                <a:gd name="connsiteY3" fmla="*/ 289864 h 402133"/>
                <a:gd name="connsiteX4" fmla="*/ 312438 w 392616"/>
                <a:gd name="connsiteY4" fmla="*/ 336103 h 402133"/>
                <a:gd name="connsiteX5" fmla="*/ 255050 w 392616"/>
                <a:gd name="connsiteY5" fmla="*/ 322928 h 402133"/>
                <a:gd name="connsiteX6" fmla="*/ 242509 w 392616"/>
                <a:gd name="connsiteY6" fmla="*/ 353332 h 402133"/>
                <a:gd name="connsiteX7" fmla="*/ 199944 w 392616"/>
                <a:gd name="connsiteY7" fmla="*/ 383609 h 402133"/>
                <a:gd name="connsiteX8" fmla="*/ 177267 w 392616"/>
                <a:gd name="connsiteY8" fmla="*/ 392603 h 402133"/>
                <a:gd name="connsiteX9" fmla="*/ 120514 w 392616"/>
                <a:gd name="connsiteY9" fmla="*/ 373474 h 402133"/>
                <a:gd name="connsiteX10" fmla="*/ 107845 w 392616"/>
                <a:gd name="connsiteY10" fmla="*/ 393617 h 402133"/>
                <a:gd name="connsiteX11" fmla="*/ 124061 w 392616"/>
                <a:gd name="connsiteY11" fmla="*/ 348645 h 402133"/>
                <a:gd name="connsiteX12" fmla="*/ 144203 w 392616"/>
                <a:gd name="connsiteY12" fmla="*/ 302026 h 402133"/>
                <a:gd name="connsiteX13" fmla="*/ 113673 w 392616"/>
                <a:gd name="connsiteY13" fmla="*/ 254266 h 402133"/>
                <a:gd name="connsiteX14" fmla="*/ 52232 w 392616"/>
                <a:gd name="connsiteY14" fmla="*/ 184844 h 402133"/>
                <a:gd name="connsiteX15" fmla="*/ 165 w 392616"/>
                <a:gd name="connsiteY15" fmla="*/ 146586 h 402133"/>
                <a:gd name="connsiteX16" fmla="*/ 11947 w 392616"/>
                <a:gd name="connsiteY16" fmla="*/ 99460 h 402133"/>
                <a:gd name="connsiteX17" fmla="*/ 34750 w 392616"/>
                <a:gd name="connsiteY17" fmla="*/ 66776 h 402133"/>
                <a:gd name="connsiteX18" fmla="*/ 74528 w 392616"/>
                <a:gd name="connsiteY18" fmla="*/ 49674 h 402133"/>
                <a:gd name="connsiteX19" fmla="*/ 141923 w 392616"/>
                <a:gd name="connsiteY19" fmla="*/ 7109 h 402133"/>
                <a:gd name="connsiteX20" fmla="*/ 164472 w 392616"/>
                <a:gd name="connsiteY20" fmla="*/ 44733 h 402133"/>
                <a:gd name="connsiteX21" fmla="*/ 175240 w 392616"/>
                <a:gd name="connsiteY21" fmla="*/ 88185 h 402133"/>
                <a:gd name="connsiteX22" fmla="*/ 264045 w 392616"/>
                <a:gd name="connsiteY22" fmla="*/ 84638 h 402133"/>
                <a:gd name="connsiteX23" fmla="*/ 269365 w 392616"/>
                <a:gd name="connsiteY23" fmla="*/ 70450 h 402133"/>
                <a:gd name="connsiteX24" fmla="*/ 341448 w 392616"/>
                <a:gd name="connsiteY24" fmla="*/ 109848 h 402133"/>
                <a:gd name="connsiteX25" fmla="*/ 379326 w 392616"/>
                <a:gd name="connsiteY25" fmla="*/ 111242 h 402133"/>
                <a:gd name="connsiteX26" fmla="*/ 387180 w 392616"/>
                <a:gd name="connsiteY26" fmla="*/ 183704 h 40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616" h="402133">
                  <a:moveTo>
                    <a:pt x="387180" y="183704"/>
                  </a:moveTo>
                  <a:cubicBezTo>
                    <a:pt x="371345" y="202200"/>
                    <a:pt x="351583" y="223229"/>
                    <a:pt x="363364" y="241091"/>
                  </a:cubicBezTo>
                  <a:cubicBezTo>
                    <a:pt x="375272" y="258954"/>
                    <a:pt x="385153" y="266808"/>
                    <a:pt x="364631" y="283277"/>
                  </a:cubicBezTo>
                  <a:cubicBezTo>
                    <a:pt x="362224" y="285177"/>
                    <a:pt x="359944" y="287330"/>
                    <a:pt x="357790" y="289864"/>
                  </a:cubicBezTo>
                  <a:cubicBezTo>
                    <a:pt x="341068" y="308106"/>
                    <a:pt x="329413" y="337877"/>
                    <a:pt x="312438" y="336103"/>
                  </a:cubicBezTo>
                  <a:cubicBezTo>
                    <a:pt x="293308" y="334076"/>
                    <a:pt x="256317" y="301139"/>
                    <a:pt x="255050" y="322928"/>
                  </a:cubicBezTo>
                  <a:cubicBezTo>
                    <a:pt x="253784" y="344717"/>
                    <a:pt x="254417" y="351305"/>
                    <a:pt x="242509" y="353332"/>
                  </a:cubicBezTo>
                  <a:cubicBezTo>
                    <a:pt x="230601" y="355359"/>
                    <a:pt x="210078" y="346618"/>
                    <a:pt x="199944" y="383609"/>
                  </a:cubicBezTo>
                  <a:cubicBezTo>
                    <a:pt x="192089" y="379682"/>
                    <a:pt x="185248" y="384243"/>
                    <a:pt x="177267" y="392603"/>
                  </a:cubicBezTo>
                  <a:cubicBezTo>
                    <a:pt x="146103" y="425034"/>
                    <a:pt x="138756" y="363467"/>
                    <a:pt x="120514" y="373474"/>
                  </a:cubicBezTo>
                  <a:cubicBezTo>
                    <a:pt x="114559" y="376768"/>
                    <a:pt x="112406" y="386776"/>
                    <a:pt x="107845" y="393617"/>
                  </a:cubicBezTo>
                  <a:cubicBezTo>
                    <a:pt x="111139" y="377022"/>
                    <a:pt x="107592" y="363213"/>
                    <a:pt x="124061" y="348645"/>
                  </a:cubicBezTo>
                  <a:cubicBezTo>
                    <a:pt x="140276" y="334456"/>
                    <a:pt x="148637" y="324955"/>
                    <a:pt x="144203" y="302026"/>
                  </a:cubicBezTo>
                  <a:cubicBezTo>
                    <a:pt x="140276" y="281376"/>
                    <a:pt x="125708" y="270228"/>
                    <a:pt x="113673" y="254266"/>
                  </a:cubicBezTo>
                  <a:cubicBezTo>
                    <a:pt x="95304" y="229690"/>
                    <a:pt x="77948" y="202453"/>
                    <a:pt x="52232" y="184844"/>
                  </a:cubicBezTo>
                  <a:cubicBezTo>
                    <a:pt x="33609" y="172176"/>
                    <a:pt x="-2748" y="176610"/>
                    <a:pt x="165" y="146586"/>
                  </a:cubicBezTo>
                  <a:cubicBezTo>
                    <a:pt x="1559" y="131004"/>
                    <a:pt x="5106" y="113522"/>
                    <a:pt x="11947" y="99460"/>
                  </a:cubicBezTo>
                  <a:cubicBezTo>
                    <a:pt x="17394" y="88312"/>
                    <a:pt x="24995" y="74884"/>
                    <a:pt x="34750" y="66776"/>
                  </a:cubicBezTo>
                  <a:cubicBezTo>
                    <a:pt x="46151" y="57148"/>
                    <a:pt x="61733" y="56642"/>
                    <a:pt x="74528" y="49674"/>
                  </a:cubicBezTo>
                  <a:cubicBezTo>
                    <a:pt x="97331" y="37259"/>
                    <a:pt x="107719" y="-19748"/>
                    <a:pt x="141923" y="7109"/>
                  </a:cubicBezTo>
                  <a:cubicBezTo>
                    <a:pt x="153324" y="15976"/>
                    <a:pt x="160545" y="31052"/>
                    <a:pt x="164472" y="44733"/>
                  </a:cubicBezTo>
                  <a:cubicBezTo>
                    <a:pt x="168273" y="57655"/>
                    <a:pt x="166373" y="77418"/>
                    <a:pt x="175240" y="88185"/>
                  </a:cubicBezTo>
                  <a:cubicBezTo>
                    <a:pt x="191582" y="107695"/>
                    <a:pt x="244156" y="91352"/>
                    <a:pt x="264045" y="84638"/>
                  </a:cubicBezTo>
                  <a:cubicBezTo>
                    <a:pt x="265438" y="79571"/>
                    <a:pt x="267212" y="75011"/>
                    <a:pt x="269365" y="70450"/>
                  </a:cubicBezTo>
                  <a:cubicBezTo>
                    <a:pt x="289888" y="86792"/>
                    <a:pt x="318898" y="101360"/>
                    <a:pt x="341448" y="109848"/>
                  </a:cubicBezTo>
                  <a:cubicBezTo>
                    <a:pt x="355636" y="115169"/>
                    <a:pt x="367798" y="115042"/>
                    <a:pt x="379326" y="111242"/>
                  </a:cubicBezTo>
                  <a:cubicBezTo>
                    <a:pt x="379959" y="112255"/>
                    <a:pt x="402762" y="165462"/>
                    <a:pt x="387180" y="18370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6" name="Полилиния: фигура 415">
              <a:extLst>
                <a:ext uri="{FF2B5EF4-FFF2-40B4-BE49-F238E27FC236}">
                  <a16:creationId xmlns:a16="http://schemas.microsoft.com/office/drawing/2014/main" id="{D04DB5B9-0496-4389-BCFF-D4E68F97206B}"/>
                </a:ext>
              </a:extLst>
            </p:cNvPr>
            <p:cNvSpPr/>
            <p:nvPr/>
          </p:nvSpPr>
          <p:spPr>
            <a:xfrm>
              <a:off x="1487632" y="3593904"/>
              <a:ext cx="329689" cy="444148"/>
            </a:xfrm>
            <a:custGeom>
              <a:avLst/>
              <a:gdLst>
                <a:gd name="connsiteX0" fmla="*/ 324644 w 329689"/>
                <a:gd name="connsiteY0" fmla="*/ 223088 h 444148"/>
                <a:gd name="connsiteX1" fmla="*/ 290059 w 329689"/>
                <a:gd name="connsiteY1" fmla="*/ 230562 h 444148"/>
                <a:gd name="connsiteX2" fmla="*/ 301461 w 329689"/>
                <a:gd name="connsiteY2" fmla="*/ 281995 h 444148"/>
                <a:gd name="connsiteX3" fmla="*/ 260416 w 329689"/>
                <a:gd name="connsiteY3" fmla="*/ 314173 h 444148"/>
                <a:gd name="connsiteX4" fmla="*/ 247494 w 329689"/>
                <a:gd name="connsiteY4" fmla="*/ 347237 h 444148"/>
                <a:gd name="connsiteX5" fmla="*/ 215823 w 329689"/>
                <a:gd name="connsiteY5" fmla="*/ 380427 h 444148"/>
                <a:gd name="connsiteX6" fmla="*/ 156536 w 329689"/>
                <a:gd name="connsiteY6" fmla="*/ 444149 h 444148"/>
                <a:gd name="connsiteX7" fmla="*/ 133100 w 329689"/>
                <a:gd name="connsiteY7" fmla="*/ 397150 h 444148"/>
                <a:gd name="connsiteX8" fmla="*/ 111690 w 329689"/>
                <a:gd name="connsiteY8" fmla="*/ 342676 h 444148"/>
                <a:gd name="connsiteX9" fmla="*/ 90661 w 329689"/>
                <a:gd name="connsiteY9" fmla="*/ 286176 h 444148"/>
                <a:gd name="connsiteX10" fmla="*/ 122838 w 329689"/>
                <a:gd name="connsiteY10" fmla="*/ 237023 h 444148"/>
                <a:gd name="connsiteX11" fmla="*/ 82807 w 329689"/>
                <a:gd name="connsiteY11" fmla="*/ 201045 h 444148"/>
                <a:gd name="connsiteX12" fmla="*/ 29093 w 329689"/>
                <a:gd name="connsiteY12" fmla="*/ 173048 h 444148"/>
                <a:gd name="connsiteX13" fmla="*/ 18199 w 329689"/>
                <a:gd name="connsiteY13" fmla="*/ 106413 h 444148"/>
                <a:gd name="connsiteX14" fmla="*/ 843 w 329689"/>
                <a:gd name="connsiteY14" fmla="*/ 41932 h 444148"/>
                <a:gd name="connsiteX15" fmla="*/ 53670 w 329689"/>
                <a:gd name="connsiteY15" fmla="*/ 9121 h 444148"/>
                <a:gd name="connsiteX16" fmla="*/ 64438 w 329689"/>
                <a:gd name="connsiteY16" fmla="*/ 0 h 444148"/>
                <a:gd name="connsiteX17" fmla="*/ 74952 w 329689"/>
                <a:gd name="connsiteY17" fmla="*/ 4434 h 444148"/>
                <a:gd name="connsiteX18" fmla="*/ 185293 w 329689"/>
                <a:gd name="connsiteY18" fmla="*/ 70055 h 444148"/>
                <a:gd name="connsiteX19" fmla="*/ 249774 w 329689"/>
                <a:gd name="connsiteY19" fmla="*/ 94758 h 444148"/>
                <a:gd name="connsiteX20" fmla="*/ 291833 w 329689"/>
                <a:gd name="connsiteY20" fmla="*/ 138337 h 444148"/>
                <a:gd name="connsiteX21" fmla="*/ 320336 w 329689"/>
                <a:gd name="connsiteY21" fmla="*/ 181536 h 444148"/>
                <a:gd name="connsiteX22" fmla="*/ 324644 w 329689"/>
                <a:gd name="connsiteY22" fmla="*/ 223088 h 44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89" h="444148">
                  <a:moveTo>
                    <a:pt x="324644" y="223088"/>
                  </a:moveTo>
                  <a:cubicBezTo>
                    <a:pt x="311342" y="222581"/>
                    <a:pt x="286005" y="212193"/>
                    <a:pt x="290059" y="230562"/>
                  </a:cubicBezTo>
                  <a:cubicBezTo>
                    <a:pt x="293986" y="248931"/>
                    <a:pt x="318183" y="263753"/>
                    <a:pt x="301461" y="281995"/>
                  </a:cubicBezTo>
                  <a:cubicBezTo>
                    <a:pt x="284612" y="300364"/>
                    <a:pt x="263836" y="293903"/>
                    <a:pt x="260416" y="314173"/>
                  </a:cubicBezTo>
                  <a:cubicBezTo>
                    <a:pt x="256995" y="334442"/>
                    <a:pt x="260922" y="341409"/>
                    <a:pt x="247494" y="347237"/>
                  </a:cubicBezTo>
                  <a:cubicBezTo>
                    <a:pt x="234192" y="353191"/>
                    <a:pt x="226211" y="355724"/>
                    <a:pt x="215823" y="380427"/>
                  </a:cubicBezTo>
                  <a:cubicBezTo>
                    <a:pt x="206069" y="403737"/>
                    <a:pt x="220384" y="418559"/>
                    <a:pt x="156536" y="444149"/>
                  </a:cubicBezTo>
                  <a:cubicBezTo>
                    <a:pt x="148048" y="426920"/>
                    <a:pt x="135507" y="417546"/>
                    <a:pt x="133100" y="397150"/>
                  </a:cubicBezTo>
                  <a:cubicBezTo>
                    <a:pt x="130439" y="373967"/>
                    <a:pt x="131073" y="358131"/>
                    <a:pt x="111690" y="342676"/>
                  </a:cubicBezTo>
                  <a:cubicBezTo>
                    <a:pt x="93575" y="328234"/>
                    <a:pt x="89267" y="309105"/>
                    <a:pt x="90661" y="286176"/>
                  </a:cubicBezTo>
                  <a:cubicBezTo>
                    <a:pt x="91928" y="262993"/>
                    <a:pt x="116378" y="257419"/>
                    <a:pt x="122838" y="237023"/>
                  </a:cubicBezTo>
                  <a:cubicBezTo>
                    <a:pt x="129426" y="216247"/>
                    <a:pt x="98389" y="204846"/>
                    <a:pt x="82807" y="201045"/>
                  </a:cubicBezTo>
                  <a:cubicBezTo>
                    <a:pt x="61271" y="195724"/>
                    <a:pt x="38721" y="197371"/>
                    <a:pt x="29093" y="173048"/>
                  </a:cubicBezTo>
                  <a:cubicBezTo>
                    <a:pt x="20732" y="152146"/>
                    <a:pt x="25926" y="127949"/>
                    <a:pt x="18199" y="106413"/>
                  </a:cubicBezTo>
                  <a:cubicBezTo>
                    <a:pt x="9711" y="82977"/>
                    <a:pt x="-3464" y="69042"/>
                    <a:pt x="843" y="41932"/>
                  </a:cubicBezTo>
                  <a:cubicBezTo>
                    <a:pt x="6417" y="6714"/>
                    <a:pt x="29853" y="21409"/>
                    <a:pt x="53670" y="9121"/>
                  </a:cubicBezTo>
                  <a:cubicBezTo>
                    <a:pt x="58104" y="6841"/>
                    <a:pt x="61651" y="3674"/>
                    <a:pt x="64438" y="0"/>
                  </a:cubicBezTo>
                  <a:cubicBezTo>
                    <a:pt x="68112" y="1394"/>
                    <a:pt x="71532" y="2914"/>
                    <a:pt x="74952" y="4434"/>
                  </a:cubicBezTo>
                  <a:cubicBezTo>
                    <a:pt x="114477" y="22043"/>
                    <a:pt x="147668" y="49533"/>
                    <a:pt x="185293" y="70055"/>
                  </a:cubicBezTo>
                  <a:cubicBezTo>
                    <a:pt x="205942" y="81330"/>
                    <a:pt x="228111" y="86271"/>
                    <a:pt x="249774" y="94758"/>
                  </a:cubicBezTo>
                  <a:cubicBezTo>
                    <a:pt x="271057" y="102993"/>
                    <a:pt x="281952" y="118448"/>
                    <a:pt x="291833" y="138337"/>
                  </a:cubicBezTo>
                  <a:cubicBezTo>
                    <a:pt x="297280" y="149612"/>
                    <a:pt x="305261" y="178116"/>
                    <a:pt x="320336" y="181536"/>
                  </a:cubicBezTo>
                  <a:cubicBezTo>
                    <a:pt x="320463" y="181409"/>
                    <a:pt x="338072" y="223595"/>
                    <a:pt x="324644" y="22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7" name="Полилиния: фигура 416">
              <a:extLst>
                <a:ext uri="{FF2B5EF4-FFF2-40B4-BE49-F238E27FC236}">
                  <a16:creationId xmlns:a16="http://schemas.microsoft.com/office/drawing/2014/main" id="{8420645B-9D67-4168-BAD1-8396012ED1F9}"/>
                </a:ext>
              </a:extLst>
            </p:cNvPr>
            <p:cNvSpPr/>
            <p:nvPr/>
          </p:nvSpPr>
          <p:spPr>
            <a:xfrm>
              <a:off x="1514685" y="3376063"/>
              <a:ext cx="373712" cy="399635"/>
            </a:xfrm>
            <a:custGeom>
              <a:avLst/>
              <a:gdLst>
                <a:gd name="connsiteX0" fmla="*/ 372460 w 373712"/>
                <a:gd name="connsiteY0" fmla="*/ 344524 h 399635"/>
                <a:gd name="connsiteX1" fmla="*/ 336356 w 373712"/>
                <a:gd name="connsiteY1" fmla="*/ 368467 h 399635"/>
                <a:gd name="connsiteX2" fmla="*/ 296071 w 373712"/>
                <a:gd name="connsiteY2" fmla="*/ 399631 h 399635"/>
                <a:gd name="connsiteX3" fmla="*/ 293410 w 373712"/>
                <a:gd name="connsiteY3" fmla="*/ 399251 h 399635"/>
                <a:gd name="connsiteX4" fmla="*/ 264907 w 373712"/>
                <a:gd name="connsiteY4" fmla="*/ 356052 h 399635"/>
                <a:gd name="connsiteX5" fmla="*/ 222848 w 373712"/>
                <a:gd name="connsiteY5" fmla="*/ 312473 h 399635"/>
                <a:gd name="connsiteX6" fmla="*/ 158367 w 373712"/>
                <a:gd name="connsiteY6" fmla="*/ 287770 h 399635"/>
                <a:gd name="connsiteX7" fmla="*/ 48026 w 373712"/>
                <a:gd name="connsiteY7" fmla="*/ 222148 h 399635"/>
                <a:gd name="connsiteX8" fmla="*/ 37512 w 373712"/>
                <a:gd name="connsiteY8" fmla="*/ 217715 h 399635"/>
                <a:gd name="connsiteX9" fmla="*/ 50687 w 373712"/>
                <a:gd name="connsiteY9" fmla="*/ 170209 h 399635"/>
                <a:gd name="connsiteX10" fmla="*/ 36751 w 373712"/>
                <a:gd name="connsiteY10" fmla="*/ 113582 h 399635"/>
                <a:gd name="connsiteX11" fmla="*/ 19523 w 373712"/>
                <a:gd name="connsiteY11" fmla="*/ 84951 h 399635"/>
                <a:gd name="connsiteX12" fmla="*/ 140 w 373712"/>
                <a:gd name="connsiteY12" fmla="*/ 62655 h 399635"/>
                <a:gd name="connsiteX13" fmla="*/ 50687 w 373712"/>
                <a:gd name="connsiteY13" fmla="*/ 43273 h 399635"/>
                <a:gd name="connsiteX14" fmla="*/ 97052 w 373712"/>
                <a:gd name="connsiteY14" fmla="*/ 31111 h 399635"/>
                <a:gd name="connsiteX15" fmla="*/ 99839 w 373712"/>
                <a:gd name="connsiteY15" fmla="*/ 21230 h 399635"/>
                <a:gd name="connsiteX16" fmla="*/ 99839 w 373712"/>
                <a:gd name="connsiteY16" fmla="*/ 21230 h 399635"/>
                <a:gd name="connsiteX17" fmla="*/ 112508 w 373712"/>
                <a:gd name="connsiteY17" fmla="*/ 1088 h 399635"/>
                <a:gd name="connsiteX18" fmla="*/ 169261 w 373712"/>
                <a:gd name="connsiteY18" fmla="*/ 20217 h 399635"/>
                <a:gd name="connsiteX19" fmla="*/ 191938 w 373712"/>
                <a:gd name="connsiteY19" fmla="*/ 11222 h 399635"/>
                <a:gd name="connsiteX20" fmla="*/ 200172 w 373712"/>
                <a:gd name="connsiteY20" fmla="*/ 18316 h 399635"/>
                <a:gd name="connsiteX21" fmla="*/ 232603 w 373712"/>
                <a:gd name="connsiteY21" fmla="*/ 38712 h 399635"/>
                <a:gd name="connsiteX22" fmla="*/ 244637 w 373712"/>
                <a:gd name="connsiteY22" fmla="*/ 67342 h 399635"/>
                <a:gd name="connsiteX23" fmla="*/ 253379 w 373712"/>
                <a:gd name="connsiteY23" fmla="*/ 96226 h 399635"/>
                <a:gd name="connsiteX24" fmla="*/ 289230 w 373712"/>
                <a:gd name="connsiteY24" fmla="*/ 115228 h 399635"/>
                <a:gd name="connsiteX25" fmla="*/ 290243 w 373712"/>
                <a:gd name="connsiteY25" fmla="*/ 219868 h 399635"/>
                <a:gd name="connsiteX26" fmla="*/ 295564 w 373712"/>
                <a:gd name="connsiteY26" fmla="*/ 272061 h 399635"/>
                <a:gd name="connsiteX27" fmla="*/ 336229 w 373712"/>
                <a:gd name="connsiteY27" fmla="*/ 299298 h 399635"/>
                <a:gd name="connsiteX28" fmla="*/ 350037 w 373712"/>
                <a:gd name="connsiteY28" fmla="*/ 308799 h 399635"/>
                <a:gd name="connsiteX29" fmla="*/ 373347 w 373712"/>
                <a:gd name="connsiteY29" fmla="*/ 335149 h 399635"/>
                <a:gd name="connsiteX30" fmla="*/ 372460 w 373712"/>
                <a:gd name="connsiteY30" fmla="*/ 344524 h 3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3712" h="399635">
                  <a:moveTo>
                    <a:pt x="372460" y="344524"/>
                  </a:moveTo>
                  <a:cubicBezTo>
                    <a:pt x="367393" y="354658"/>
                    <a:pt x="345223" y="361499"/>
                    <a:pt x="336356" y="368467"/>
                  </a:cubicBezTo>
                  <a:cubicBezTo>
                    <a:pt x="326094" y="376701"/>
                    <a:pt x="310639" y="400011"/>
                    <a:pt x="296071" y="399631"/>
                  </a:cubicBezTo>
                  <a:cubicBezTo>
                    <a:pt x="295184" y="399631"/>
                    <a:pt x="294297" y="399504"/>
                    <a:pt x="293410" y="399251"/>
                  </a:cubicBezTo>
                  <a:cubicBezTo>
                    <a:pt x="278335" y="395830"/>
                    <a:pt x="270354" y="367327"/>
                    <a:pt x="264907" y="356052"/>
                  </a:cubicBezTo>
                  <a:cubicBezTo>
                    <a:pt x="255025" y="336163"/>
                    <a:pt x="244131" y="320708"/>
                    <a:pt x="222848" y="312473"/>
                  </a:cubicBezTo>
                  <a:cubicBezTo>
                    <a:pt x="201059" y="304112"/>
                    <a:pt x="179016" y="299045"/>
                    <a:pt x="158367" y="287770"/>
                  </a:cubicBezTo>
                  <a:cubicBezTo>
                    <a:pt x="120615" y="267247"/>
                    <a:pt x="87551" y="239884"/>
                    <a:pt x="48026" y="222148"/>
                  </a:cubicBezTo>
                  <a:cubicBezTo>
                    <a:pt x="44606" y="220628"/>
                    <a:pt x="41059" y="219108"/>
                    <a:pt x="37512" y="217715"/>
                  </a:cubicBezTo>
                  <a:cubicBezTo>
                    <a:pt x="47393" y="204920"/>
                    <a:pt x="49293" y="185411"/>
                    <a:pt x="50687" y="170209"/>
                  </a:cubicBezTo>
                  <a:cubicBezTo>
                    <a:pt x="52587" y="149686"/>
                    <a:pt x="43972" y="132331"/>
                    <a:pt x="36751" y="113582"/>
                  </a:cubicBezTo>
                  <a:cubicBezTo>
                    <a:pt x="32571" y="102687"/>
                    <a:pt x="27757" y="93439"/>
                    <a:pt x="19523" y="84951"/>
                  </a:cubicBezTo>
                  <a:cubicBezTo>
                    <a:pt x="13569" y="78871"/>
                    <a:pt x="1280" y="72156"/>
                    <a:pt x="140" y="62655"/>
                  </a:cubicBezTo>
                  <a:cubicBezTo>
                    <a:pt x="-2647" y="39219"/>
                    <a:pt x="36878" y="41119"/>
                    <a:pt x="50687" y="43273"/>
                  </a:cubicBezTo>
                  <a:cubicBezTo>
                    <a:pt x="67029" y="45806"/>
                    <a:pt x="89451" y="50747"/>
                    <a:pt x="97052" y="31111"/>
                  </a:cubicBezTo>
                  <a:cubicBezTo>
                    <a:pt x="98446" y="27691"/>
                    <a:pt x="99333" y="24397"/>
                    <a:pt x="99839" y="21230"/>
                  </a:cubicBezTo>
                  <a:cubicBezTo>
                    <a:pt x="99839" y="21230"/>
                    <a:pt x="99839" y="21230"/>
                    <a:pt x="99839" y="21230"/>
                  </a:cubicBezTo>
                  <a:cubicBezTo>
                    <a:pt x="104400" y="14389"/>
                    <a:pt x="106554" y="4381"/>
                    <a:pt x="112508" y="1088"/>
                  </a:cubicBezTo>
                  <a:cubicBezTo>
                    <a:pt x="130750" y="-8794"/>
                    <a:pt x="138097" y="52774"/>
                    <a:pt x="169261" y="20217"/>
                  </a:cubicBezTo>
                  <a:cubicBezTo>
                    <a:pt x="177242" y="11856"/>
                    <a:pt x="184210" y="7295"/>
                    <a:pt x="191938" y="11222"/>
                  </a:cubicBezTo>
                  <a:cubicBezTo>
                    <a:pt x="194598" y="12616"/>
                    <a:pt x="197258" y="14769"/>
                    <a:pt x="200172" y="18316"/>
                  </a:cubicBezTo>
                  <a:cubicBezTo>
                    <a:pt x="211700" y="31871"/>
                    <a:pt x="214867" y="35038"/>
                    <a:pt x="232603" y="38712"/>
                  </a:cubicBezTo>
                  <a:cubicBezTo>
                    <a:pt x="248818" y="42133"/>
                    <a:pt x="248438" y="53027"/>
                    <a:pt x="244637" y="67342"/>
                  </a:cubicBezTo>
                  <a:cubicBezTo>
                    <a:pt x="240710" y="81658"/>
                    <a:pt x="240077" y="88245"/>
                    <a:pt x="253379" y="96226"/>
                  </a:cubicBezTo>
                  <a:cubicBezTo>
                    <a:pt x="264907" y="103194"/>
                    <a:pt x="279095" y="106361"/>
                    <a:pt x="289230" y="115228"/>
                  </a:cubicBezTo>
                  <a:cubicBezTo>
                    <a:pt x="318367" y="140692"/>
                    <a:pt x="297464" y="189464"/>
                    <a:pt x="290243" y="219868"/>
                  </a:cubicBezTo>
                  <a:cubicBezTo>
                    <a:pt x="286063" y="237984"/>
                    <a:pt x="281122" y="257366"/>
                    <a:pt x="295564" y="272061"/>
                  </a:cubicBezTo>
                  <a:cubicBezTo>
                    <a:pt x="306712" y="283463"/>
                    <a:pt x="322167" y="290810"/>
                    <a:pt x="336229" y="299298"/>
                  </a:cubicBezTo>
                  <a:cubicBezTo>
                    <a:pt x="341043" y="302212"/>
                    <a:pt x="345730" y="305379"/>
                    <a:pt x="350037" y="308799"/>
                  </a:cubicBezTo>
                  <a:cubicBezTo>
                    <a:pt x="356625" y="313993"/>
                    <a:pt x="370560" y="324508"/>
                    <a:pt x="373347" y="335149"/>
                  </a:cubicBezTo>
                  <a:cubicBezTo>
                    <a:pt x="373980" y="338570"/>
                    <a:pt x="373854" y="341610"/>
                    <a:pt x="372460" y="3445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8" name="Полилиния: фигура 417">
              <a:extLst>
                <a:ext uri="{FF2B5EF4-FFF2-40B4-BE49-F238E27FC236}">
                  <a16:creationId xmlns:a16="http://schemas.microsoft.com/office/drawing/2014/main" id="{8110080B-5B3C-412D-9271-2FC348D1A907}"/>
                </a:ext>
              </a:extLst>
            </p:cNvPr>
            <p:cNvSpPr/>
            <p:nvPr/>
          </p:nvSpPr>
          <p:spPr>
            <a:xfrm>
              <a:off x="1638214" y="3711972"/>
              <a:ext cx="497177" cy="479742"/>
            </a:xfrm>
            <a:custGeom>
              <a:avLst/>
              <a:gdLst>
                <a:gd name="connsiteX0" fmla="*/ 496975 w 497177"/>
                <a:gd name="connsiteY0" fmla="*/ 406778 h 479742"/>
                <a:gd name="connsiteX1" fmla="*/ 493682 w 497177"/>
                <a:gd name="connsiteY1" fmla="*/ 414505 h 479742"/>
                <a:gd name="connsiteX2" fmla="*/ 492161 w 497177"/>
                <a:gd name="connsiteY2" fmla="*/ 442502 h 479742"/>
                <a:gd name="connsiteX3" fmla="*/ 477593 w 497177"/>
                <a:gd name="connsiteY3" fmla="*/ 460491 h 479742"/>
                <a:gd name="connsiteX4" fmla="*/ 465051 w 497177"/>
                <a:gd name="connsiteY4" fmla="*/ 471512 h 479742"/>
                <a:gd name="connsiteX5" fmla="*/ 385115 w 497177"/>
                <a:gd name="connsiteY5" fmla="*/ 446556 h 479742"/>
                <a:gd name="connsiteX6" fmla="*/ 315819 w 497177"/>
                <a:gd name="connsiteY6" fmla="*/ 390689 h 479742"/>
                <a:gd name="connsiteX7" fmla="*/ 270340 w 497177"/>
                <a:gd name="connsiteY7" fmla="*/ 435661 h 479742"/>
                <a:gd name="connsiteX8" fmla="*/ 205226 w 497177"/>
                <a:gd name="connsiteY8" fmla="*/ 454030 h 479742"/>
                <a:gd name="connsiteX9" fmla="*/ 81077 w 497177"/>
                <a:gd name="connsiteY9" fmla="*/ 474426 h 479742"/>
                <a:gd name="connsiteX10" fmla="*/ 38638 w 497177"/>
                <a:gd name="connsiteY10" fmla="*/ 448330 h 479742"/>
                <a:gd name="connsiteX11" fmla="*/ 0 w 497177"/>
                <a:gd name="connsiteY11" fmla="*/ 424640 h 479742"/>
                <a:gd name="connsiteX12" fmla="*/ 9501 w 497177"/>
                <a:gd name="connsiteY12" fmla="*/ 382455 h 479742"/>
                <a:gd name="connsiteX13" fmla="*/ 6081 w 497177"/>
                <a:gd name="connsiteY13" fmla="*/ 326714 h 479742"/>
                <a:gd name="connsiteX14" fmla="*/ 5954 w 497177"/>
                <a:gd name="connsiteY14" fmla="*/ 326334 h 479742"/>
                <a:gd name="connsiteX15" fmla="*/ 65241 w 497177"/>
                <a:gd name="connsiteY15" fmla="*/ 262613 h 479742"/>
                <a:gd name="connsiteX16" fmla="*/ 96912 w 497177"/>
                <a:gd name="connsiteY16" fmla="*/ 229422 h 479742"/>
                <a:gd name="connsiteX17" fmla="*/ 109834 w 497177"/>
                <a:gd name="connsiteY17" fmla="*/ 196358 h 479742"/>
                <a:gd name="connsiteX18" fmla="*/ 150879 w 497177"/>
                <a:gd name="connsiteY18" fmla="*/ 164180 h 479742"/>
                <a:gd name="connsiteX19" fmla="*/ 139477 w 497177"/>
                <a:gd name="connsiteY19" fmla="*/ 112747 h 479742"/>
                <a:gd name="connsiteX20" fmla="*/ 174062 w 497177"/>
                <a:gd name="connsiteY20" fmla="*/ 105273 h 479742"/>
                <a:gd name="connsiteX21" fmla="*/ 169754 w 497177"/>
                <a:gd name="connsiteY21" fmla="*/ 63721 h 479742"/>
                <a:gd name="connsiteX22" fmla="*/ 172415 w 497177"/>
                <a:gd name="connsiteY22" fmla="*/ 64101 h 479742"/>
                <a:gd name="connsiteX23" fmla="*/ 212700 w 497177"/>
                <a:gd name="connsiteY23" fmla="*/ 32938 h 479742"/>
                <a:gd name="connsiteX24" fmla="*/ 248804 w 497177"/>
                <a:gd name="connsiteY24" fmla="*/ 8994 h 479742"/>
                <a:gd name="connsiteX25" fmla="*/ 249691 w 497177"/>
                <a:gd name="connsiteY25" fmla="*/ 0 h 479742"/>
                <a:gd name="connsiteX26" fmla="*/ 295677 w 497177"/>
                <a:gd name="connsiteY26" fmla="*/ 29897 h 479742"/>
                <a:gd name="connsiteX27" fmla="*/ 339256 w 497177"/>
                <a:gd name="connsiteY27" fmla="*/ 103120 h 479742"/>
                <a:gd name="connsiteX28" fmla="*/ 349770 w 497177"/>
                <a:gd name="connsiteY28" fmla="*/ 153286 h 479742"/>
                <a:gd name="connsiteX29" fmla="*/ 404117 w 497177"/>
                <a:gd name="connsiteY29" fmla="*/ 206366 h 479742"/>
                <a:gd name="connsiteX30" fmla="*/ 409184 w 497177"/>
                <a:gd name="connsiteY30" fmla="*/ 224608 h 479742"/>
                <a:gd name="connsiteX31" fmla="*/ 398670 w 497177"/>
                <a:gd name="connsiteY31" fmla="*/ 277435 h 479742"/>
                <a:gd name="connsiteX32" fmla="*/ 496975 w 497177"/>
                <a:gd name="connsiteY32" fmla="*/ 406778 h 47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7177" h="479742">
                  <a:moveTo>
                    <a:pt x="496975" y="406778"/>
                  </a:moveTo>
                  <a:cubicBezTo>
                    <a:pt x="495582" y="409058"/>
                    <a:pt x="494442" y="411592"/>
                    <a:pt x="493682" y="414505"/>
                  </a:cubicBezTo>
                  <a:cubicBezTo>
                    <a:pt x="491275" y="423626"/>
                    <a:pt x="493682" y="433254"/>
                    <a:pt x="492161" y="442502"/>
                  </a:cubicBezTo>
                  <a:cubicBezTo>
                    <a:pt x="490641" y="451243"/>
                    <a:pt x="484687" y="455931"/>
                    <a:pt x="477593" y="460491"/>
                  </a:cubicBezTo>
                  <a:cubicBezTo>
                    <a:pt x="472906" y="463531"/>
                    <a:pt x="467965" y="466825"/>
                    <a:pt x="465051" y="471512"/>
                  </a:cubicBezTo>
                  <a:cubicBezTo>
                    <a:pt x="425273" y="477593"/>
                    <a:pt x="403864" y="452510"/>
                    <a:pt x="385115" y="446556"/>
                  </a:cubicBezTo>
                  <a:cubicBezTo>
                    <a:pt x="366239" y="440602"/>
                    <a:pt x="353444" y="411972"/>
                    <a:pt x="315819" y="390689"/>
                  </a:cubicBezTo>
                  <a:cubicBezTo>
                    <a:pt x="278195" y="369406"/>
                    <a:pt x="282122" y="412985"/>
                    <a:pt x="270340" y="435661"/>
                  </a:cubicBezTo>
                  <a:cubicBezTo>
                    <a:pt x="258432" y="458464"/>
                    <a:pt x="205226" y="454030"/>
                    <a:pt x="205226" y="454030"/>
                  </a:cubicBezTo>
                  <a:cubicBezTo>
                    <a:pt x="164307" y="460364"/>
                    <a:pt x="122755" y="492162"/>
                    <a:pt x="81077" y="474426"/>
                  </a:cubicBezTo>
                  <a:cubicBezTo>
                    <a:pt x="65875" y="467965"/>
                    <a:pt x="52700" y="456817"/>
                    <a:pt x="38638" y="448330"/>
                  </a:cubicBezTo>
                  <a:cubicBezTo>
                    <a:pt x="25717" y="440475"/>
                    <a:pt x="12162" y="433634"/>
                    <a:pt x="0" y="424640"/>
                  </a:cubicBezTo>
                  <a:cubicBezTo>
                    <a:pt x="8994" y="412985"/>
                    <a:pt x="7854" y="400570"/>
                    <a:pt x="9501" y="382455"/>
                  </a:cubicBezTo>
                  <a:cubicBezTo>
                    <a:pt x="11148" y="363959"/>
                    <a:pt x="14568" y="344197"/>
                    <a:pt x="6081" y="326714"/>
                  </a:cubicBezTo>
                  <a:cubicBezTo>
                    <a:pt x="6081" y="326587"/>
                    <a:pt x="5954" y="326461"/>
                    <a:pt x="5954" y="326334"/>
                  </a:cubicBezTo>
                  <a:cubicBezTo>
                    <a:pt x="69802" y="300745"/>
                    <a:pt x="55487" y="285923"/>
                    <a:pt x="65241" y="262613"/>
                  </a:cubicBezTo>
                  <a:cubicBezTo>
                    <a:pt x="75629" y="237910"/>
                    <a:pt x="83610" y="235376"/>
                    <a:pt x="96912" y="229422"/>
                  </a:cubicBezTo>
                  <a:cubicBezTo>
                    <a:pt x="110340" y="223468"/>
                    <a:pt x="106287" y="216627"/>
                    <a:pt x="109834" y="196358"/>
                  </a:cubicBezTo>
                  <a:cubicBezTo>
                    <a:pt x="113254" y="176089"/>
                    <a:pt x="134030" y="182550"/>
                    <a:pt x="150879" y="164180"/>
                  </a:cubicBezTo>
                  <a:cubicBezTo>
                    <a:pt x="167728" y="145938"/>
                    <a:pt x="143531" y="131116"/>
                    <a:pt x="139477" y="112747"/>
                  </a:cubicBezTo>
                  <a:cubicBezTo>
                    <a:pt x="135550" y="94505"/>
                    <a:pt x="160760" y="104893"/>
                    <a:pt x="174062" y="105273"/>
                  </a:cubicBezTo>
                  <a:cubicBezTo>
                    <a:pt x="187490" y="105780"/>
                    <a:pt x="169754" y="63721"/>
                    <a:pt x="169754" y="63721"/>
                  </a:cubicBezTo>
                  <a:cubicBezTo>
                    <a:pt x="170641" y="63975"/>
                    <a:pt x="171528" y="64101"/>
                    <a:pt x="172415" y="64101"/>
                  </a:cubicBezTo>
                  <a:cubicBezTo>
                    <a:pt x="186983" y="64481"/>
                    <a:pt x="202439" y="41172"/>
                    <a:pt x="212700" y="32938"/>
                  </a:cubicBezTo>
                  <a:cubicBezTo>
                    <a:pt x="221568" y="25843"/>
                    <a:pt x="243737" y="19129"/>
                    <a:pt x="248804" y="8994"/>
                  </a:cubicBezTo>
                  <a:cubicBezTo>
                    <a:pt x="250325" y="6081"/>
                    <a:pt x="250451" y="3041"/>
                    <a:pt x="249691" y="0"/>
                  </a:cubicBezTo>
                  <a:cubicBezTo>
                    <a:pt x="250958" y="0"/>
                    <a:pt x="281488" y="1394"/>
                    <a:pt x="295677" y="29897"/>
                  </a:cubicBezTo>
                  <a:cubicBezTo>
                    <a:pt x="310245" y="58907"/>
                    <a:pt x="342549" y="86018"/>
                    <a:pt x="339256" y="103120"/>
                  </a:cubicBezTo>
                  <a:cubicBezTo>
                    <a:pt x="335962" y="120348"/>
                    <a:pt x="336595" y="145938"/>
                    <a:pt x="349770" y="153286"/>
                  </a:cubicBezTo>
                  <a:cubicBezTo>
                    <a:pt x="359018" y="158480"/>
                    <a:pt x="390435" y="186603"/>
                    <a:pt x="404117" y="206366"/>
                  </a:cubicBezTo>
                  <a:cubicBezTo>
                    <a:pt x="409818" y="214600"/>
                    <a:pt x="412478" y="221441"/>
                    <a:pt x="409184" y="224608"/>
                  </a:cubicBezTo>
                  <a:cubicBezTo>
                    <a:pt x="398036" y="235123"/>
                    <a:pt x="378147" y="262233"/>
                    <a:pt x="398670" y="277435"/>
                  </a:cubicBezTo>
                  <a:cubicBezTo>
                    <a:pt x="419192" y="292003"/>
                    <a:pt x="501789" y="371053"/>
                    <a:pt x="496975" y="4067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19" name="Полилиния: фигура 418">
              <a:extLst>
                <a:ext uri="{FF2B5EF4-FFF2-40B4-BE49-F238E27FC236}">
                  <a16:creationId xmlns:a16="http://schemas.microsoft.com/office/drawing/2014/main" id="{92D5102B-4089-4382-B02B-9AF64EE41844}"/>
                </a:ext>
              </a:extLst>
            </p:cNvPr>
            <p:cNvSpPr/>
            <p:nvPr/>
          </p:nvSpPr>
          <p:spPr>
            <a:xfrm>
              <a:off x="812479" y="4237257"/>
              <a:ext cx="479005" cy="661218"/>
            </a:xfrm>
            <a:custGeom>
              <a:avLst/>
              <a:gdLst>
                <a:gd name="connsiteX0" fmla="*/ 436440 w 479005"/>
                <a:gd name="connsiteY0" fmla="*/ 311200 h 661218"/>
                <a:gd name="connsiteX1" fmla="*/ 451262 w 479005"/>
                <a:gd name="connsiteY1" fmla="*/ 255459 h 661218"/>
                <a:gd name="connsiteX2" fmla="*/ 464310 w 479005"/>
                <a:gd name="connsiteY2" fmla="*/ 198579 h 661218"/>
                <a:gd name="connsiteX3" fmla="*/ 428586 w 479005"/>
                <a:gd name="connsiteY3" fmla="*/ 157280 h 661218"/>
                <a:gd name="connsiteX4" fmla="*/ 398942 w 479005"/>
                <a:gd name="connsiteY4" fmla="*/ 119656 h 661218"/>
                <a:gd name="connsiteX5" fmla="*/ 394888 w 479005"/>
                <a:gd name="connsiteY5" fmla="*/ 61635 h 661218"/>
                <a:gd name="connsiteX6" fmla="*/ 390074 w 479005"/>
                <a:gd name="connsiteY6" fmla="*/ 58721 h 661218"/>
                <a:gd name="connsiteX7" fmla="*/ 373225 w 479005"/>
                <a:gd name="connsiteY7" fmla="*/ 64549 h 661218"/>
                <a:gd name="connsiteX8" fmla="*/ 353336 w 479005"/>
                <a:gd name="connsiteY8" fmla="*/ 67336 h 661218"/>
                <a:gd name="connsiteX9" fmla="*/ 345355 w 479005"/>
                <a:gd name="connsiteY9" fmla="*/ 54034 h 661218"/>
                <a:gd name="connsiteX10" fmla="*/ 306337 w 479005"/>
                <a:gd name="connsiteY10" fmla="*/ 3868 h 661218"/>
                <a:gd name="connsiteX11" fmla="*/ 293542 w 479005"/>
                <a:gd name="connsiteY11" fmla="*/ 2221 h 661218"/>
                <a:gd name="connsiteX12" fmla="*/ 292655 w 479005"/>
                <a:gd name="connsiteY12" fmla="*/ 20843 h 661218"/>
                <a:gd name="connsiteX13" fmla="*/ 282901 w 479005"/>
                <a:gd name="connsiteY13" fmla="*/ 36425 h 661218"/>
                <a:gd name="connsiteX14" fmla="*/ 275426 w 479005"/>
                <a:gd name="connsiteY14" fmla="*/ 43646 h 661218"/>
                <a:gd name="connsiteX15" fmla="*/ 270106 w 479005"/>
                <a:gd name="connsiteY15" fmla="*/ 50233 h 661218"/>
                <a:gd name="connsiteX16" fmla="*/ 277073 w 479005"/>
                <a:gd name="connsiteY16" fmla="*/ 62268 h 661218"/>
                <a:gd name="connsiteX17" fmla="*/ 281761 w 479005"/>
                <a:gd name="connsiteY17" fmla="*/ 75950 h 661218"/>
                <a:gd name="connsiteX18" fmla="*/ 276693 w 479005"/>
                <a:gd name="connsiteY18" fmla="*/ 99260 h 661218"/>
                <a:gd name="connsiteX19" fmla="*/ 273019 w 479005"/>
                <a:gd name="connsiteY19" fmla="*/ 135238 h 661218"/>
                <a:gd name="connsiteX20" fmla="*/ 264658 w 479005"/>
                <a:gd name="connsiteY20" fmla="*/ 127383 h 661218"/>
                <a:gd name="connsiteX21" fmla="*/ 261618 w 479005"/>
                <a:gd name="connsiteY21" fmla="*/ 112181 h 661218"/>
                <a:gd name="connsiteX22" fmla="*/ 262505 w 479005"/>
                <a:gd name="connsiteY22" fmla="*/ 104707 h 661218"/>
                <a:gd name="connsiteX23" fmla="*/ 263645 w 479005"/>
                <a:gd name="connsiteY23" fmla="*/ 99513 h 661218"/>
                <a:gd name="connsiteX24" fmla="*/ 255411 w 479005"/>
                <a:gd name="connsiteY24" fmla="*/ 97106 h 661218"/>
                <a:gd name="connsiteX25" fmla="*/ 242996 w 479005"/>
                <a:gd name="connsiteY25" fmla="*/ 104960 h 661218"/>
                <a:gd name="connsiteX26" fmla="*/ 226274 w 479005"/>
                <a:gd name="connsiteY26" fmla="*/ 112815 h 661218"/>
                <a:gd name="connsiteX27" fmla="*/ 213479 w 479005"/>
                <a:gd name="connsiteY27" fmla="*/ 111675 h 661218"/>
                <a:gd name="connsiteX28" fmla="*/ 212085 w 479005"/>
                <a:gd name="connsiteY28" fmla="*/ 100526 h 661218"/>
                <a:gd name="connsiteX29" fmla="*/ 201824 w 479005"/>
                <a:gd name="connsiteY29" fmla="*/ 101160 h 661218"/>
                <a:gd name="connsiteX30" fmla="*/ 191563 w 479005"/>
                <a:gd name="connsiteY30" fmla="*/ 110281 h 661218"/>
                <a:gd name="connsiteX31" fmla="*/ 177374 w 479005"/>
                <a:gd name="connsiteY31" fmla="*/ 107747 h 661218"/>
                <a:gd name="connsiteX32" fmla="*/ 166986 w 479005"/>
                <a:gd name="connsiteY32" fmla="*/ 103060 h 661218"/>
                <a:gd name="connsiteX33" fmla="*/ 156725 w 479005"/>
                <a:gd name="connsiteY33" fmla="*/ 106861 h 661218"/>
                <a:gd name="connsiteX34" fmla="*/ 147604 w 479005"/>
                <a:gd name="connsiteY34" fmla="*/ 114082 h 661218"/>
                <a:gd name="connsiteX35" fmla="*/ 138103 w 479005"/>
                <a:gd name="connsiteY35" fmla="*/ 116109 h 661218"/>
                <a:gd name="connsiteX36" fmla="*/ 122901 w 479005"/>
                <a:gd name="connsiteY36" fmla="*/ 136251 h 661218"/>
                <a:gd name="connsiteX37" fmla="*/ 112513 w 479005"/>
                <a:gd name="connsiteY37" fmla="*/ 134224 h 661218"/>
                <a:gd name="connsiteX38" fmla="*/ 103518 w 479005"/>
                <a:gd name="connsiteY38" fmla="*/ 130044 h 661218"/>
                <a:gd name="connsiteX39" fmla="*/ 96931 w 479005"/>
                <a:gd name="connsiteY39" fmla="*/ 112308 h 661218"/>
                <a:gd name="connsiteX40" fmla="*/ 86923 w 479005"/>
                <a:gd name="connsiteY40" fmla="*/ 107874 h 661218"/>
                <a:gd name="connsiteX41" fmla="*/ 80589 w 479005"/>
                <a:gd name="connsiteY41" fmla="*/ 117629 h 661218"/>
                <a:gd name="connsiteX42" fmla="*/ 76408 w 479005"/>
                <a:gd name="connsiteY42" fmla="*/ 108634 h 661218"/>
                <a:gd name="connsiteX43" fmla="*/ 74761 w 479005"/>
                <a:gd name="connsiteY43" fmla="*/ 96599 h 661218"/>
                <a:gd name="connsiteX44" fmla="*/ 66020 w 479005"/>
                <a:gd name="connsiteY44" fmla="*/ 87732 h 661218"/>
                <a:gd name="connsiteX45" fmla="*/ 58926 w 479005"/>
                <a:gd name="connsiteY45" fmla="*/ 87352 h 661218"/>
                <a:gd name="connsiteX46" fmla="*/ 48538 w 479005"/>
                <a:gd name="connsiteY46" fmla="*/ 82158 h 661218"/>
                <a:gd name="connsiteX47" fmla="*/ 43217 w 479005"/>
                <a:gd name="connsiteY47" fmla="*/ 76204 h 661218"/>
                <a:gd name="connsiteX48" fmla="*/ 51072 w 479005"/>
                <a:gd name="connsiteY48" fmla="*/ 65816 h 661218"/>
                <a:gd name="connsiteX49" fmla="*/ 46511 w 479005"/>
                <a:gd name="connsiteY49" fmla="*/ 37692 h 661218"/>
                <a:gd name="connsiteX50" fmla="*/ 15981 w 479005"/>
                <a:gd name="connsiteY50" fmla="*/ 36425 h 661218"/>
                <a:gd name="connsiteX51" fmla="*/ 3566 w 479005"/>
                <a:gd name="connsiteY51" fmla="*/ 46180 h 661218"/>
                <a:gd name="connsiteX52" fmla="*/ 5213 w 479005"/>
                <a:gd name="connsiteY52" fmla="*/ 77724 h 661218"/>
                <a:gd name="connsiteX53" fmla="*/ 9140 w 479005"/>
                <a:gd name="connsiteY53" fmla="*/ 93559 h 661218"/>
                <a:gd name="connsiteX54" fmla="*/ 14080 w 479005"/>
                <a:gd name="connsiteY54" fmla="*/ 105847 h 661218"/>
                <a:gd name="connsiteX55" fmla="*/ 4959 w 479005"/>
                <a:gd name="connsiteY55" fmla="*/ 134098 h 661218"/>
                <a:gd name="connsiteX56" fmla="*/ 1792 w 479005"/>
                <a:gd name="connsiteY56" fmla="*/ 147272 h 661218"/>
                <a:gd name="connsiteX57" fmla="*/ 7746 w 479005"/>
                <a:gd name="connsiteY57" fmla="*/ 158547 h 661218"/>
                <a:gd name="connsiteX58" fmla="*/ 5719 w 479005"/>
                <a:gd name="connsiteY58" fmla="*/ 171722 h 661218"/>
                <a:gd name="connsiteX59" fmla="*/ 2046 w 479005"/>
                <a:gd name="connsiteY59" fmla="*/ 180970 h 661218"/>
                <a:gd name="connsiteX60" fmla="*/ 19 w 479005"/>
                <a:gd name="connsiteY60" fmla="*/ 192625 h 661218"/>
                <a:gd name="connsiteX61" fmla="*/ 2552 w 479005"/>
                <a:gd name="connsiteY61" fmla="*/ 204659 h 661218"/>
                <a:gd name="connsiteX62" fmla="*/ 3439 w 479005"/>
                <a:gd name="connsiteY62" fmla="*/ 224929 h 661218"/>
                <a:gd name="connsiteX63" fmla="*/ 2046 w 479005"/>
                <a:gd name="connsiteY63" fmla="*/ 242031 h 661218"/>
                <a:gd name="connsiteX64" fmla="*/ 3946 w 479005"/>
                <a:gd name="connsiteY64" fmla="*/ 266354 h 661218"/>
                <a:gd name="connsiteX65" fmla="*/ 7113 w 479005"/>
                <a:gd name="connsiteY65" fmla="*/ 292577 h 661218"/>
                <a:gd name="connsiteX66" fmla="*/ 9900 w 479005"/>
                <a:gd name="connsiteY66" fmla="*/ 313226 h 661218"/>
                <a:gd name="connsiteX67" fmla="*/ 11800 w 479005"/>
                <a:gd name="connsiteY67" fmla="*/ 330582 h 661218"/>
                <a:gd name="connsiteX68" fmla="*/ 17628 w 479005"/>
                <a:gd name="connsiteY68" fmla="*/ 359719 h 661218"/>
                <a:gd name="connsiteX69" fmla="*/ 24722 w 479005"/>
                <a:gd name="connsiteY69" fmla="*/ 415586 h 661218"/>
                <a:gd name="connsiteX70" fmla="*/ 25102 w 479005"/>
                <a:gd name="connsiteY70" fmla="*/ 453084 h 661218"/>
                <a:gd name="connsiteX71" fmla="*/ 21428 w 479005"/>
                <a:gd name="connsiteY71" fmla="*/ 480954 h 661218"/>
                <a:gd name="connsiteX72" fmla="*/ 18514 w 479005"/>
                <a:gd name="connsiteY72" fmla="*/ 494256 h 661218"/>
                <a:gd name="connsiteX73" fmla="*/ 15981 w 479005"/>
                <a:gd name="connsiteY73" fmla="*/ 509458 h 661218"/>
                <a:gd name="connsiteX74" fmla="*/ 16994 w 479005"/>
                <a:gd name="connsiteY74" fmla="*/ 525040 h 661218"/>
                <a:gd name="connsiteX75" fmla="*/ 15347 w 479005"/>
                <a:gd name="connsiteY75" fmla="*/ 531374 h 661218"/>
                <a:gd name="connsiteX76" fmla="*/ 16234 w 479005"/>
                <a:gd name="connsiteY76" fmla="*/ 543409 h 661218"/>
                <a:gd name="connsiteX77" fmla="*/ 21175 w 479005"/>
                <a:gd name="connsiteY77" fmla="*/ 551136 h 661218"/>
                <a:gd name="connsiteX78" fmla="*/ 35996 w 479005"/>
                <a:gd name="connsiteY78" fmla="*/ 573052 h 661218"/>
                <a:gd name="connsiteX79" fmla="*/ 56772 w 479005"/>
                <a:gd name="connsiteY79" fmla="*/ 594588 h 661218"/>
                <a:gd name="connsiteX80" fmla="*/ 76535 w 479005"/>
                <a:gd name="connsiteY80" fmla="*/ 618785 h 661218"/>
                <a:gd name="connsiteX81" fmla="*/ 88443 w 479005"/>
                <a:gd name="connsiteY81" fmla="*/ 639814 h 661218"/>
                <a:gd name="connsiteX82" fmla="*/ 94524 w 479005"/>
                <a:gd name="connsiteY82" fmla="*/ 628793 h 661218"/>
                <a:gd name="connsiteX83" fmla="*/ 114033 w 479005"/>
                <a:gd name="connsiteY83" fmla="*/ 601429 h 661218"/>
                <a:gd name="connsiteX84" fmla="*/ 124041 w 479005"/>
                <a:gd name="connsiteY84" fmla="*/ 590028 h 661218"/>
                <a:gd name="connsiteX85" fmla="*/ 137723 w 479005"/>
                <a:gd name="connsiteY85" fmla="*/ 587621 h 661218"/>
                <a:gd name="connsiteX86" fmla="*/ 168126 w 479005"/>
                <a:gd name="connsiteY86" fmla="*/ 578246 h 661218"/>
                <a:gd name="connsiteX87" fmla="*/ 194476 w 479005"/>
                <a:gd name="connsiteY87" fmla="*/ 573306 h 661218"/>
                <a:gd name="connsiteX88" fmla="*/ 200430 w 479005"/>
                <a:gd name="connsiteY88" fmla="*/ 601176 h 661218"/>
                <a:gd name="connsiteX89" fmla="*/ 202837 w 479005"/>
                <a:gd name="connsiteY89" fmla="*/ 636520 h 661218"/>
                <a:gd name="connsiteX90" fmla="*/ 213985 w 479005"/>
                <a:gd name="connsiteY90" fmla="*/ 656916 h 661218"/>
                <a:gd name="connsiteX91" fmla="*/ 237548 w 479005"/>
                <a:gd name="connsiteY91" fmla="*/ 653749 h 661218"/>
                <a:gd name="connsiteX92" fmla="*/ 266685 w 479005"/>
                <a:gd name="connsiteY92" fmla="*/ 625246 h 661218"/>
                <a:gd name="connsiteX93" fmla="*/ 290755 w 479005"/>
                <a:gd name="connsiteY93" fmla="*/ 602063 h 661218"/>
                <a:gd name="connsiteX94" fmla="*/ 290882 w 479005"/>
                <a:gd name="connsiteY94" fmla="*/ 602063 h 661218"/>
                <a:gd name="connsiteX95" fmla="*/ 302410 w 479005"/>
                <a:gd name="connsiteY95" fmla="*/ 556203 h 661218"/>
                <a:gd name="connsiteX96" fmla="*/ 341935 w 479005"/>
                <a:gd name="connsiteY96" fmla="*/ 549743 h 661218"/>
                <a:gd name="connsiteX97" fmla="*/ 371578 w 479005"/>
                <a:gd name="connsiteY97" fmla="*/ 490835 h 661218"/>
                <a:gd name="connsiteX98" fmla="*/ 371578 w 479005"/>
                <a:gd name="connsiteY98" fmla="*/ 415079 h 661218"/>
                <a:gd name="connsiteX99" fmla="*/ 402236 w 479005"/>
                <a:gd name="connsiteY99" fmla="*/ 400764 h 661218"/>
                <a:gd name="connsiteX100" fmla="*/ 462283 w 479005"/>
                <a:gd name="connsiteY100" fmla="*/ 416093 h 661218"/>
                <a:gd name="connsiteX101" fmla="*/ 458483 w 479005"/>
                <a:gd name="connsiteY101" fmla="*/ 410392 h 661218"/>
                <a:gd name="connsiteX102" fmla="*/ 469377 w 479005"/>
                <a:gd name="connsiteY102" fmla="*/ 386069 h 661218"/>
                <a:gd name="connsiteX103" fmla="*/ 479005 w 479005"/>
                <a:gd name="connsiteY103" fmla="*/ 354905 h 661218"/>
                <a:gd name="connsiteX104" fmla="*/ 436440 w 479005"/>
                <a:gd name="connsiteY104" fmla="*/ 311200 h 661218"/>
                <a:gd name="connsiteX105" fmla="*/ 267192 w 479005"/>
                <a:gd name="connsiteY105" fmla="*/ 466766 h 661218"/>
                <a:gd name="connsiteX106" fmla="*/ 253004 w 479005"/>
                <a:gd name="connsiteY106" fmla="*/ 510851 h 661218"/>
                <a:gd name="connsiteX107" fmla="*/ 213605 w 479005"/>
                <a:gd name="connsiteY107" fmla="*/ 549109 h 661218"/>
                <a:gd name="connsiteX108" fmla="*/ 193590 w 479005"/>
                <a:gd name="connsiteY108" fmla="*/ 544802 h 661218"/>
                <a:gd name="connsiteX109" fmla="*/ 193970 w 479005"/>
                <a:gd name="connsiteY109" fmla="*/ 525673 h 661218"/>
                <a:gd name="connsiteX110" fmla="*/ 202584 w 479005"/>
                <a:gd name="connsiteY110" fmla="*/ 487035 h 661218"/>
                <a:gd name="connsiteX111" fmla="*/ 169140 w 479005"/>
                <a:gd name="connsiteY111" fmla="*/ 517059 h 661218"/>
                <a:gd name="connsiteX112" fmla="*/ 129995 w 479005"/>
                <a:gd name="connsiteY112" fmla="*/ 537708 h 661218"/>
                <a:gd name="connsiteX113" fmla="*/ 94524 w 479005"/>
                <a:gd name="connsiteY113" fmla="*/ 562284 h 661218"/>
                <a:gd name="connsiteX114" fmla="*/ 73875 w 479005"/>
                <a:gd name="connsiteY114" fmla="*/ 544802 h 661218"/>
                <a:gd name="connsiteX115" fmla="*/ 74381 w 479005"/>
                <a:gd name="connsiteY115" fmla="*/ 521873 h 661218"/>
                <a:gd name="connsiteX116" fmla="*/ 71341 w 479005"/>
                <a:gd name="connsiteY116" fmla="*/ 506924 h 661218"/>
                <a:gd name="connsiteX117" fmla="*/ 78688 w 479005"/>
                <a:gd name="connsiteY117" fmla="*/ 478547 h 661218"/>
                <a:gd name="connsiteX118" fmla="*/ 122141 w 479005"/>
                <a:gd name="connsiteY118" fmla="*/ 474747 h 661218"/>
                <a:gd name="connsiteX119" fmla="*/ 157738 w 479005"/>
                <a:gd name="connsiteY119" fmla="*/ 452830 h 661218"/>
                <a:gd name="connsiteX120" fmla="*/ 190042 w 479005"/>
                <a:gd name="connsiteY120" fmla="*/ 415966 h 661218"/>
                <a:gd name="connsiteX121" fmla="*/ 157105 w 479005"/>
                <a:gd name="connsiteY121" fmla="*/ 373781 h 661218"/>
                <a:gd name="connsiteX122" fmla="*/ 131008 w 479005"/>
                <a:gd name="connsiteY122" fmla="*/ 327288 h 661218"/>
                <a:gd name="connsiteX123" fmla="*/ 114793 w 479005"/>
                <a:gd name="connsiteY123" fmla="*/ 292704 h 661218"/>
                <a:gd name="connsiteX124" fmla="*/ 116313 w 479005"/>
                <a:gd name="connsiteY124" fmla="*/ 265594 h 661218"/>
                <a:gd name="connsiteX125" fmla="*/ 125181 w 479005"/>
                <a:gd name="connsiteY125" fmla="*/ 249758 h 661218"/>
                <a:gd name="connsiteX126" fmla="*/ 138609 w 479005"/>
                <a:gd name="connsiteY126" fmla="*/ 263314 h 661218"/>
                <a:gd name="connsiteX127" fmla="*/ 155458 w 479005"/>
                <a:gd name="connsiteY127" fmla="*/ 289410 h 661218"/>
                <a:gd name="connsiteX128" fmla="*/ 182061 w 479005"/>
                <a:gd name="connsiteY128" fmla="*/ 335903 h 661218"/>
                <a:gd name="connsiteX129" fmla="*/ 224880 w 479005"/>
                <a:gd name="connsiteY129" fmla="*/ 362379 h 661218"/>
                <a:gd name="connsiteX130" fmla="*/ 256297 w 479005"/>
                <a:gd name="connsiteY130" fmla="*/ 408492 h 661218"/>
                <a:gd name="connsiteX131" fmla="*/ 267192 w 479005"/>
                <a:gd name="connsiteY131" fmla="*/ 466766 h 66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79005" h="661218">
                  <a:moveTo>
                    <a:pt x="436440" y="311200"/>
                  </a:moveTo>
                  <a:cubicBezTo>
                    <a:pt x="431246" y="291691"/>
                    <a:pt x="443027" y="272181"/>
                    <a:pt x="451262" y="255459"/>
                  </a:cubicBezTo>
                  <a:cubicBezTo>
                    <a:pt x="459749" y="238104"/>
                    <a:pt x="469631" y="218341"/>
                    <a:pt x="464310" y="198579"/>
                  </a:cubicBezTo>
                  <a:cubicBezTo>
                    <a:pt x="459243" y="180083"/>
                    <a:pt x="442901" y="168428"/>
                    <a:pt x="428586" y="157280"/>
                  </a:cubicBezTo>
                  <a:cubicBezTo>
                    <a:pt x="415411" y="146892"/>
                    <a:pt x="402869" y="136758"/>
                    <a:pt x="398942" y="119656"/>
                  </a:cubicBezTo>
                  <a:cubicBezTo>
                    <a:pt x="394635" y="100780"/>
                    <a:pt x="398308" y="80764"/>
                    <a:pt x="394888" y="61635"/>
                  </a:cubicBezTo>
                  <a:cubicBezTo>
                    <a:pt x="393368" y="60368"/>
                    <a:pt x="391721" y="59355"/>
                    <a:pt x="390074" y="58721"/>
                  </a:cubicBezTo>
                  <a:cubicBezTo>
                    <a:pt x="383487" y="56694"/>
                    <a:pt x="378546" y="61888"/>
                    <a:pt x="373225" y="64549"/>
                  </a:cubicBezTo>
                  <a:cubicBezTo>
                    <a:pt x="367271" y="67589"/>
                    <a:pt x="360177" y="71010"/>
                    <a:pt x="353336" y="67336"/>
                  </a:cubicBezTo>
                  <a:cubicBezTo>
                    <a:pt x="348522" y="64802"/>
                    <a:pt x="348269" y="58341"/>
                    <a:pt x="345355" y="54034"/>
                  </a:cubicBezTo>
                  <a:cubicBezTo>
                    <a:pt x="333954" y="36805"/>
                    <a:pt x="323059" y="16156"/>
                    <a:pt x="306337" y="3868"/>
                  </a:cubicBezTo>
                  <a:cubicBezTo>
                    <a:pt x="302790" y="1334"/>
                    <a:pt x="297089" y="-2466"/>
                    <a:pt x="293542" y="2221"/>
                  </a:cubicBezTo>
                  <a:cubicBezTo>
                    <a:pt x="289742" y="7542"/>
                    <a:pt x="292782" y="14889"/>
                    <a:pt x="292655" y="20843"/>
                  </a:cubicBezTo>
                  <a:cubicBezTo>
                    <a:pt x="292402" y="27431"/>
                    <a:pt x="287335" y="32118"/>
                    <a:pt x="282901" y="36425"/>
                  </a:cubicBezTo>
                  <a:cubicBezTo>
                    <a:pt x="280494" y="38832"/>
                    <a:pt x="277960" y="41239"/>
                    <a:pt x="275426" y="43646"/>
                  </a:cubicBezTo>
                  <a:cubicBezTo>
                    <a:pt x="273526" y="45546"/>
                    <a:pt x="271246" y="47700"/>
                    <a:pt x="270106" y="50233"/>
                  </a:cubicBezTo>
                  <a:cubicBezTo>
                    <a:pt x="268079" y="55301"/>
                    <a:pt x="274033" y="59228"/>
                    <a:pt x="277073" y="62268"/>
                  </a:cubicBezTo>
                  <a:cubicBezTo>
                    <a:pt x="281254" y="66449"/>
                    <a:pt x="282647" y="69996"/>
                    <a:pt x="281761" y="75950"/>
                  </a:cubicBezTo>
                  <a:cubicBezTo>
                    <a:pt x="280620" y="83805"/>
                    <a:pt x="278213" y="91532"/>
                    <a:pt x="276693" y="99260"/>
                  </a:cubicBezTo>
                  <a:cubicBezTo>
                    <a:pt x="274286" y="111295"/>
                    <a:pt x="278593" y="123836"/>
                    <a:pt x="273019" y="135238"/>
                  </a:cubicBezTo>
                  <a:cubicBezTo>
                    <a:pt x="268839" y="133718"/>
                    <a:pt x="266179" y="131691"/>
                    <a:pt x="264658" y="127383"/>
                  </a:cubicBezTo>
                  <a:cubicBezTo>
                    <a:pt x="263012" y="122569"/>
                    <a:pt x="261618" y="117122"/>
                    <a:pt x="261618" y="112181"/>
                  </a:cubicBezTo>
                  <a:cubicBezTo>
                    <a:pt x="261491" y="109648"/>
                    <a:pt x="261998" y="107241"/>
                    <a:pt x="262505" y="104707"/>
                  </a:cubicBezTo>
                  <a:cubicBezTo>
                    <a:pt x="262885" y="103187"/>
                    <a:pt x="263898" y="101160"/>
                    <a:pt x="263645" y="99513"/>
                  </a:cubicBezTo>
                  <a:cubicBezTo>
                    <a:pt x="263138" y="96093"/>
                    <a:pt x="257691" y="96599"/>
                    <a:pt x="255411" y="97106"/>
                  </a:cubicBezTo>
                  <a:cubicBezTo>
                    <a:pt x="250470" y="98246"/>
                    <a:pt x="246923" y="102047"/>
                    <a:pt x="242996" y="104960"/>
                  </a:cubicBezTo>
                  <a:cubicBezTo>
                    <a:pt x="238055" y="108634"/>
                    <a:pt x="232354" y="111295"/>
                    <a:pt x="226274" y="112815"/>
                  </a:cubicBezTo>
                  <a:cubicBezTo>
                    <a:pt x="222853" y="113702"/>
                    <a:pt x="216012" y="115475"/>
                    <a:pt x="213479" y="111675"/>
                  </a:cubicBezTo>
                  <a:cubicBezTo>
                    <a:pt x="211325" y="108508"/>
                    <a:pt x="213859" y="103947"/>
                    <a:pt x="212085" y="100526"/>
                  </a:cubicBezTo>
                  <a:cubicBezTo>
                    <a:pt x="209678" y="95713"/>
                    <a:pt x="204231" y="97359"/>
                    <a:pt x="201824" y="101160"/>
                  </a:cubicBezTo>
                  <a:cubicBezTo>
                    <a:pt x="199037" y="105720"/>
                    <a:pt x="196883" y="108634"/>
                    <a:pt x="191563" y="110281"/>
                  </a:cubicBezTo>
                  <a:cubicBezTo>
                    <a:pt x="186115" y="112055"/>
                    <a:pt x="182315" y="110028"/>
                    <a:pt x="177374" y="107747"/>
                  </a:cubicBezTo>
                  <a:cubicBezTo>
                    <a:pt x="173954" y="106227"/>
                    <a:pt x="170660" y="104327"/>
                    <a:pt x="166986" y="103060"/>
                  </a:cubicBezTo>
                  <a:cubicBezTo>
                    <a:pt x="161919" y="101287"/>
                    <a:pt x="159132" y="102680"/>
                    <a:pt x="156725" y="106861"/>
                  </a:cubicBezTo>
                  <a:cubicBezTo>
                    <a:pt x="154825" y="110408"/>
                    <a:pt x="152038" y="114208"/>
                    <a:pt x="147604" y="114082"/>
                  </a:cubicBezTo>
                  <a:cubicBezTo>
                    <a:pt x="143803" y="114082"/>
                    <a:pt x="141396" y="113448"/>
                    <a:pt x="138103" y="116109"/>
                  </a:cubicBezTo>
                  <a:cubicBezTo>
                    <a:pt x="131768" y="121303"/>
                    <a:pt x="130248" y="132704"/>
                    <a:pt x="122901" y="136251"/>
                  </a:cubicBezTo>
                  <a:cubicBezTo>
                    <a:pt x="118593" y="138278"/>
                    <a:pt x="115933" y="136885"/>
                    <a:pt x="112513" y="134224"/>
                  </a:cubicBezTo>
                  <a:cubicBezTo>
                    <a:pt x="109726" y="132071"/>
                    <a:pt x="106052" y="132197"/>
                    <a:pt x="103518" y="130044"/>
                  </a:cubicBezTo>
                  <a:cubicBezTo>
                    <a:pt x="98578" y="125737"/>
                    <a:pt x="100224" y="117629"/>
                    <a:pt x="96931" y="112308"/>
                  </a:cubicBezTo>
                  <a:cubicBezTo>
                    <a:pt x="95411" y="109901"/>
                    <a:pt x="89837" y="106987"/>
                    <a:pt x="86923" y="107874"/>
                  </a:cubicBezTo>
                  <a:cubicBezTo>
                    <a:pt x="82742" y="109141"/>
                    <a:pt x="84009" y="115602"/>
                    <a:pt x="80589" y="117629"/>
                  </a:cubicBezTo>
                  <a:cubicBezTo>
                    <a:pt x="74508" y="121303"/>
                    <a:pt x="75395" y="111675"/>
                    <a:pt x="76408" y="108634"/>
                  </a:cubicBezTo>
                  <a:cubicBezTo>
                    <a:pt x="77928" y="103567"/>
                    <a:pt x="76662" y="101667"/>
                    <a:pt x="74761" y="96599"/>
                  </a:cubicBezTo>
                  <a:cubicBezTo>
                    <a:pt x="73114" y="92039"/>
                    <a:pt x="71341" y="88492"/>
                    <a:pt x="66020" y="87732"/>
                  </a:cubicBezTo>
                  <a:cubicBezTo>
                    <a:pt x="63613" y="87478"/>
                    <a:pt x="61333" y="88112"/>
                    <a:pt x="58926" y="87352"/>
                  </a:cubicBezTo>
                  <a:cubicBezTo>
                    <a:pt x="55379" y="86212"/>
                    <a:pt x="51958" y="83805"/>
                    <a:pt x="48538" y="82158"/>
                  </a:cubicBezTo>
                  <a:cubicBezTo>
                    <a:pt x="45244" y="80638"/>
                    <a:pt x="41951" y="80258"/>
                    <a:pt x="43217" y="76204"/>
                  </a:cubicBezTo>
                  <a:cubicBezTo>
                    <a:pt x="44358" y="72530"/>
                    <a:pt x="48665" y="68729"/>
                    <a:pt x="51072" y="65816"/>
                  </a:cubicBezTo>
                  <a:cubicBezTo>
                    <a:pt x="59433" y="56061"/>
                    <a:pt x="60826" y="42253"/>
                    <a:pt x="46511" y="37692"/>
                  </a:cubicBezTo>
                  <a:cubicBezTo>
                    <a:pt x="37010" y="34652"/>
                    <a:pt x="25608" y="33132"/>
                    <a:pt x="15981" y="36425"/>
                  </a:cubicBezTo>
                  <a:cubicBezTo>
                    <a:pt x="11167" y="38072"/>
                    <a:pt x="6099" y="41619"/>
                    <a:pt x="3566" y="46180"/>
                  </a:cubicBezTo>
                  <a:cubicBezTo>
                    <a:pt x="-1628" y="55554"/>
                    <a:pt x="3946" y="67969"/>
                    <a:pt x="5213" y="77724"/>
                  </a:cubicBezTo>
                  <a:cubicBezTo>
                    <a:pt x="5973" y="83171"/>
                    <a:pt x="6859" y="88492"/>
                    <a:pt x="9140" y="93559"/>
                  </a:cubicBezTo>
                  <a:cubicBezTo>
                    <a:pt x="10913" y="97613"/>
                    <a:pt x="13194" y="101413"/>
                    <a:pt x="14080" y="105847"/>
                  </a:cubicBezTo>
                  <a:cubicBezTo>
                    <a:pt x="16234" y="116109"/>
                    <a:pt x="9900" y="125863"/>
                    <a:pt x="4959" y="134098"/>
                  </a:cubicBezTo>
                  <a:cubicBezTo>
                    <a:pt x="2679" y="137898"/>
                    <a:pt x="1285" y="142712"/>
                    <a:pt x="1792" y="147272"/>
                  </a:cubicBezTo>
                  <a:cubicBezTo>
                    <a:pt x="2426" y="152086"/>
                    <a:pt x="6226" y="154240"/>
                    <a:pt x="7746" y="158547"/>
                  </a:cubicBezTo>
                  <a:cubicBezTo>
                    <a:pt x="9266" y="162601"/>
                    <a:pt x="7493" y="168048"/>
                    <a:pt x="5719" y="171722"/>
                  </a:cubicBezTo>
                  <a:cubicBezTo>
                    <a:pt x="4072" y="175143"/>
                    <a:pt x="2426" y="177043"/>
                    <a:pt x="2046" y="180970"/>
                  </a:cubicBezTo>
                  <a:cubicBezTo>
                    <a:pt x="1792" y="184897"/>
                    <a:pt x="145" y="188824"/>
                    <a:pt x="19" y="192625"/>
                  </a:cubicBezTo>
                  <a:cubicBezTo>
                    <a:pt x="-235" y="196679"/>
                    <a:pt x="2172" y="200606"/>
                    <a:pt x="2552" y="204659"/>
                  </a:cubicBezTo>
                  <a:cubicBezTo>
                    <a:pt x="3312" y="211247"/>
                    <a:pt x="3946" y="218341"/>
                    <a:pt x="3439" y="224929"/>
                  </a:cubicBezTo>
                  <a:cubicBezTo>
                    <a:pt x="3059" y="230630"/>
                    <a:pt x="2679" y="236457"/>
                    <a:pt x="2046" y="242031"/>
                  </a:cubicBezTo>
                  <a:cubicBezTo>
                    <a:pt x="1032" y="250519"/>
                    <a:pt x="1666" y="258246"/>
                    <a:pt x="3946" y="266354"/>
                  </a:cubicBezTo>
                  <a:cubicBezTo>
                    <a:pt x="6353" y="274842"/>
                    <a:pt x="6986" y="283836"/>
                    <a:pt x="7113" y="292577"/>
                  </a:cubicBezTo>
                  <a:cubicBezTo>
                    <a:pt x="7240" y="299291"/>
                    <a:pt x="8886" y="306512"/>
                    <a:pt x="9900" y="313226"/>
                  </a:cubicBezTo>
                  <a:cubicBezTo>
                    <a:pt x="10660" y="319054"/>
                    <a:pt x="10913" y="324755"/>
                    <a:pt x="11800" y="330582"/>
                  </a:cubicBezTo>
                  <a:cubicBezTo>
                    <a:pt x="13320" y="340337"/>
                    <a:pt x="16741" y="349838"/>
                    <a:pt x="17628" y="359719"/>
                  </a:cubicBezTo>
                  <a:cubicBezTo>
                    <a:pt x="19148" y="378595"/>
                    <a:pt x="21301" y="396964"/>
                    <a:pt x="24722" y="415586"/>
                  </a:cubicBezTo>
                  <a:cubicBezTo>
                    <a:pt x="27002" y="427874"/>
                    <a:pt x="25482" y="440669"/>
                    <a:pt x="25102" y="453084"/>
                  </a:cubicBezTo>
                  <a:cubicBezTo>
                    <a:pt x="24848" y="462712"/>
                    <a:pt x="23075" y="471453"/>
                    <a:pt x="21428" y="480954"/>
                  </a:cubicBezTo>
                  <a:cubicBezTo>
                    <a:pt x="20668" y="485515"/>
                    <a:pt x="19274" y="489822"/>
                    <a:pt x="18514" y="494256"/>
                  </a:cubicBezTo>
                  <a:cubicBezTo>
                    <a:pt x="17628" y="499070"/>
                    <a:pt x="16234" y="504644"/>
                    <a:pt x="15981" y="509458"/>
                  </a:cubicBezTo>
                  <a:cubicBezTo>
                    <a:pt x="15727" y="514652"/>
                    <a:pt x="17754" y="519719"/>
                    <a:pt x="16994" y="525040"/>
                  </a:cubicBezTo>
                  <a:cubicBezTo>
                    <a:pt x="16741" y="527193"/>
                    <a:pt x="15727" y="529220"/>
                    <a:pt x="15347" y="531374"/>
                  </a:cubicBezTo>
                  <a:cubicBezTo>
                    <a:pt x="14840" y="534921"/>
                    <a:pt x="15347" y="539988"/>
                    <a:pt x="16234" y="543409"/>
                  </a:cubicBezTo>
                  <a:cubicBezTo>
                    <a:pt x="16994" y="546449"/>
                    <a:pt x="19401" y="548603"/>
                    <a:pt x="21175" y="551136"/>
                  </a:cubicBezTo>
                  <a:cubicBezTo>
                    <a:pt x="26369" y="558357"/>
                    <a:pt x="31183" y="565578"/>
                    <a:pt x="35996" y="573052"/>
                  </a:cubicBezTo>
                  <a:cubicBezTo>
                    <a:pt x="41570" y="581414"/>
                    <a:pt x="49298" y="588128"/>
                    <a:pt x="56772" y="594588"/>
                  </a:cubicBezTo>
                  <a:cubicBezTo>
                    <a:pt x="64753" y="601429"/>
                    <a:pt x="71214" y="609790"/>
                    <a:pt x="76535" y="618785"/>
                  </a:cubicBezTo>
                  <a:cubicBezTo>
                    <a:pt x="80462" y="625499"/>
                    <a:pt x="85023" y="632593"/>
                    <a:pt x="88443" y="639814"/>
                  </a:cubicBezTo>
                  <a:cubicBezTo>
                    <a:pt x="91483" y="634240"/>
                    <a:pt x="94270" y="629299"/>
                    <a:pt x="94524" y="628793"/>
                  </a:cubicBezTo>
                  <a:cubicBezTo>
                    <a:pt x="99971" y="619038"/>
                    <a:pt x="107699" y="610677"/>
                    <a:pt x="114033" y="601429"/>
                  </a:cubicBezTo>
                  <a:cubicBezTo>
                    <a:pt x="116820" y="597375"/>
                    <a:pt x="119734" y="592688"/>
                    <a:pt x="124041" y="590028"/>
                  </a:cubicBezTo>
                  <a:cubicBezTo>
                    <a:pt x="128095" y="587494"/>
                    <a:pt x="133035" y="587621"/>
                    <a:pt x="137723" y="587621"/>
                  </a:cubicBezTo>
                  <a:cubicBezTo>
                    <a:pt x="149757" y="587621"/>
                    <a:pt x="158245" y="585214"/>
                    <a:pt x="168126" y="578246"/>
                  </a:cubicBezTo>
                  <a:cubicBezTo>
                    <a:pt x="175347" y="573179"/>
                    <a:pt x="185989" y="566845"/>
                    <a:pt x="194476" y="573306"/>
                  </a:cubicBezTo>
                  <a:cubicBezTo>
                    <a:pt x="202457" y="579387"/>
                    <a:pt x="200557" y="592562"/>
                    <a:pt x="200430" y="601176"/>
                  </a:cubicBezTo>
                  <a:cubicBezTo>
                    <a:pt x="200177" y="612704"/>
                    <a:pt x="199290" y="625372"/>
                    <a:pt x="202837" y="636520"/>
                  </a:cubicBezTo>
                  <a:cubicBezTo>
                    <a:pt x="205118" y="643615"/>
                    <a:pt x="210058" y="650709"/>
                    <a:pt x="213985" y="656916"/>
                  </a:cubicBezTo>
                  <a:cubicBezTo>
                    <a:pt x="220066" y="666291"/>
                    <a:pt x="230581" y="658056"/>
                    <a:pt x="237548" y="653749"/>
                  </a:cubicBezTo>
                  <a:cubicBezTo>
                    <a:pt x="248823" y="646908"/>
                    <a:pt x="261238" y="637281"/>
                    <a:pt x="266685" y="625246"/>
                  </a:cubicBezTo>
                  <a:cubicBezTo>
                    <a:pt x="270992" y="615871"/>
                    <a:pt x="278720" y="601936"/>
                    <a:pt x="290755" y="602063"/>
                  </a:cubicBezTo>
                  <a:lnTo>
                    <a:pt x="290882" y="602063"/>
                  </a:lnTo>
                  <a:cubicBezTo>
                    <a:pt x="291388" y="582047"/>
                    <a:pt x="293669" y="541002"/>
                    <a:pt x="302410" y="556203"/>
                  </a:cubicBezTo>
                  <a:cubicBezTo>
                    <a:pt x="313811" y="575966"/>
                    <a:pt x="339021" y="570139"/>
                    <a:pt x="341935" y="549743"/>
                  </a:cubicBezTo>
                  <a:cubicBezTo>
                    <a:pt x="344848" y="529474"/>
                    <a:pt x="373099" y="513638"/>
                    <a:pt x="371578" y="490835"/>
                  </a:cubicBezTo>
                  <a:cubicBezTo>
                    <a:pt x="370058" y="468033"/>
                    <a:pt x="349916" y="430408"/>
                    <a:pt x="371578" y="415079"/>
                  </a:cubicBezTo>
                  <a:cubicBezTo>
                    <a:pt x="393368" y="399751"/>
                    <a:pt x="389821" y="389363"/>
                    <a:pt x="402236" y="400764"/>
                  </a:cubicBezTo>
                  <a:cubicBezTo>
                    <a:pt x="414017" y="411532"/>
                    <a:pt x="425672" y="454857"/>
                    <a:pt x="462283" y="416093"/>
                  </a:cubicBezTo>
                  <a:cubicBezTo>
                    <a:pt x="460890" y="414192"/>
                    <a:pt x="459623" y="412292"/>
                    <a:pt x="458483" y="410392"/>
                  </a:cubicBezTo>
                  <a:cubicBezTo>
                    <a:pt x="448728" y="394937"/>
                    <a:pt x="461650" y="397090"/>
                    <a:pt x="469377" y="386069"/>
                  </a:cubicBezTo>
                  <a:cubicBezTo>
                    <a:pt x="474825" y="378341"/>
                    <a:pt x="477738" y="364153"/>
                    <a:pt x="479005" y="354905"/>
                  </a:cubicBezTo>
                  <a:cubicBezTo>
                    <a:pt x="463043" y="344010"/>
                    <a:pt x="441887" y="331342"/>
                    <a:pt x="436440" y="311200"/>
                  </a:cubicBezTo>
                  <a:close/>
                  <a:moveTo>
                    <a:pt x="267192" y="466766"/>
                  </a:moveTo>
                  <a:cubicBezTo>
                    <a:pt x="265545" y="481714"/>
                    <a:pt x="258578" y="497169"/>
                    <a:pt x="253004" y="510851"/>
                  </a:cubicBezTo>
                  <a:cubicBezTo>
                    <a:pt x="245783" y="528460"/>
                    <a:pt x="233368" y="545182"/>
                    <a:pt x="213605" y="549109"/>
                  </a:cubicBezTo>
                  <a:cubicBezTo>
                    <a:pt x="207145" y="550376"/>
                    <a:pt x="198150" y="550503"/>
                    <a:pt x="193590" y="544802"/>
                  </a:cubicBezTo>
                  <a:cubicBezTo>
                    <a:pt x="189156" y="539228"/>
                    <a:pt x="191689" y="531501"/>
                    <a:pt x="193970" y="525673"/>
                  </a:cubicBezTo>
                  <a:cubicBezTo>
                    <a:pt x="196250" y="519592"/>
                    <a:pt x="213225" y="491976"/>
                    <a:pt x="202584" y="487035"/>
                  </a:cubicBezTo>
                  <a:cubicBezTo>
                    <a:pt x="191563" y="482094"/>
                    <a:pt x="174587" y="510978"/>
                    <a:pt x="169140" y="517059"/>
                  </a:cubicBezTo>
                  <a:cubicBezTo>
                    <a:pt x="157992" y="529727"/>
                    <a:pt x="144057" y="530360"/>
                    <a:pt x="129995" y="537708"/>
                  </a:cubicBezTo>
                  <a:cubicBezTo>
                    <a:pt x="117580" y="544169"/>
                    <a:pt x="108079" y="558357"/>
                    <a:pt x="94524" y="562284"/>
                  </a:cubicBezTo>
                  <a:cubicBezTo>
                    <a:pt x="82996" y="565578"/>
                    <a:pt x="75395" y="555063"/>
                    <a:pt x="73875" y="544802"/>
                  </a:cubicBezTo>
                  <a:cubicBezTo>
                    <a:pt x="72734" y="537075"/>
                    <a:pt x="75141" y="529474"/>
                    <a:pt x="74381" y="521873"/>
                  </a:cubicBezTo>
                  <a:cubicBezTo>
                    <a:pt x="73875" y="516932"/>
                    <a:pt x="71974" y="511991"/>
                    <a:pt x="71341" y="506924"/>
                  </a:cubicBezTo>
                  <a:cubicBezTo>
                    <a:pt x="70074" y="497296"/>
                    <a:pt x="69441" y="484501"/>
                    <a:pt x="78688" y="478547"/>
                  </a:cubicBezTo>
                  <a:cubicBezTo>
                    <a:pt x="90597" y="470820"/>
                    <a:pt x="108712" y="478167"/>
                    <a:pt x="122141" y="474747"/>
                  </a:cubicBezTo>
                  <a:cubicBezTo>
                    <a:pt x="135949" y="471326"/>
                    <a:pt x="145957" y="459925"/>
                    <a:pt x="157738" y="452830"/>
                  </a:cubicBezTo>
                  <a:cubicBezTo>
                    <a:pt x="172180" y="444090"/>
                    <a:pt x="188269" y="434715"/>
                    <a:pt x="190042" y="415966"/>
                  </a:cubicBezTo>
                  <a:cubicBezTo>
                    <a:pt x="192196" y="394050"/>
                    <a:pt x="172180" y="384422"/>
                    <a:pt x="157105" y="373781"/>
                  </a:cubicBezTo>
                  <a:cubicBezTo>
                    <a:pt x="140510" y="361999"/>
                    <a:pt x="137089" y="345404"/>
                    <a:pt x="131008" y="327288"/>
                  </a:cubicBezTo>
                  <a:cubicBezTo>
                    <a:pt x="126954" y="315000"/>
                    <a:pt x="116820" y="305625"/>
                    <a:pt x="114793" y="292704"/>
                  </a:cubicBezTo>
                  <a:cubicBezTo>
                    <a:pt x="113399" y="283710"/>
                    <a:pt x="114413" y="274335"/>
                    <a:pt x="116313" y="265594"/>
                  </a:cubicBezTo>
                  <a:cubicBezTo>
                    <a:pt x="117327" y="261287"/>
                    <a:pt x="119227" y="250392"/>
                    <a:pt x="125181" y="249758"/>
                  </a:cubicBezTo>
                  <a:cubicBezTo>
                    <a:pt x="131008" y="249252"/>
                    <a:pt x="136202" y="259513"/>
                    <a:pt x="138609" y="263314"/>
                  </a:cubicBezTo>
                  <a:cubicBezTo>
                    <a:pt x="144310" y="271928"/>
                    <a:pt x="149757" y="280796"/>
                    <a:pt x="155458" y="289410"/>
                  </a:cubicBezTo>
                  <a:cubicBezTo>
                    <a:pt x="165339" y="304359"/>
                    <a:pt x="172434" y="320828"/>
                    <a:pt x="182061" y="335903"/>
                  </a:cubicBezTo>
                  <a:cubicBezTo>
                    <a:pt x="192576" y="352371"/>
                    <a:pt x="207778" y="355665"/>
                    <a:pt x="224880" y="362379"/>
                  </a:cubicBezTo>
                  <a:cubicBezTo>
                    <a:pt x="244516" y="370107"/>
                    <a:pt x="250723" y="389743"/>
                    <a:pt x="256297" y="408492"/>
                  </a:cubicBezTo>
                  <a:cubicBezTo>
                    <a:pt x="261618" y="426734"/>
                    <a:pt x="269219" y="447510"/>
                    <a:pt x="267192" y="4667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0" name="Полилиния: фигура 419">
              <a:extLst>
                <a:ext uri="{FF2B5EF4-FFF2-40B4-BE49-F238E27FC236}">
                  <a16:creationId xmlns:a16="http://schemas.microsoft.com/office/drawing/2014/main" id="{80DA29C9-73F9-44A4-B08A-668B34DF4CDD}"/>
                </a:ext>
              </a:extLst>
            </p:cNvPr>
            <p:cNvSpPr/>
            <p:nvPr/>
          </p:nvSpPr>
          <p:spPr>
            <a:xfrm>
              <a:off x="1095216" y="4633314"/>
              <a:ext cx="444418" cy="653955"/>
            </a:xfrm>
            <a:custGeom>
              <a:avLst/>
              <a:gdLst>
                <a:gd name="connsiteX0" fmla="*/ 421636 w 444418"/>
                <a:gd name="connsiteY0" fmla="*/ 554890 h 653955"/>
                <a:gd name="connsiteX1" fmla="*/ 382491 w 444418"/>
                <a:gd name="connsiteY1" fmla="*/ 554383 h 653955"/>
                <a:gd name="connsiteX2" fmla="*/ 330298 w 444418"/>
                <a:gd name="connsiteY2" fmla="*/ 550582 h 653955"/>
                <a:gd name="connsiteX3" fmla="*/ 336506 w 444418"/>
                <a:gd name="connsiteY3" fmla="*/ 585167 h 653955"/>
                <a:gd name="connsiteX4" fmla="*/ 301288 w 444418"/>
                <a:gd name="connsiteY4" fmla="*/ 596568 h 653955"/>
                <a:gd name="connsiteX5" fmla="*/ 255176 w 444418"/>
                <a:gd name="connsiteY5" fmla="*/ 586307 h 653955"/>
                <a:gd name="connsiteX6" fmla="*/ 279245 w 444418"/>
                <a:gd name="connsiteY6" fmla="*/ 620511 h 653955"/>
                <a:gd name="connsiteX7" fmla="*/ 271138 w 444418"/>
                <a:gd name="connsiteY7" fmla="*/ 651422 h 653955"/>
                <a:gd name="connsiteX8" fmla="*/ 272658 w 444418"/>
                <a:gd name="connsiteY8" fmla="*/ 653955 h 653955"/>
                <a:gd name="connsiteX9" fmla="*/ 227686 w 444418"/>
                <a:gd name="connsiteY9" fmla="*/ 628492 h 653955"/>
                <a:gd name="connsiteX10" fmla="*/ 227686 w 444418"/>
                <a:gd name="connsiteY10" fmla="*/ 628492 h 653955"/>
                <a:gd name="connsiteX11" fmla="*/ 230346 w 444418"/>
                <a:gd name="connsiteY11" fmla="*/ 616331 h 653955"/>
                <a:gd name="connsiteX12" fmla="*/ 212990 w 444418"/>
                <a:gd name="connsiteY12" fmla="*/ 606703 h 653955"/>
                <a:gd name="connsiteX13" fmla="*/ 192721 w 444418"/>
                <a:gd name="connsiteY13" fmla="*/ 591881 h 653955"/>
                <a:gd name="connsiteX14" fmla="*/ 171945 w 444418"/>
                <a:gd name="connsiteY14" fmla="*/ 549189 h 653955"/>
                <a:gd name="connsiteX15" fmla="*/ 164091 w 444418"/>
                <a:gd name="connsiteY15" fmla="*/ 530567 h 653955"/>
                <a:gd name="connsiteX16" fmla="*/ 108984 w 444418"/>
                <a:gd name="connsiteY16" fmla="*/ 505610 h 653955"/>
                <a:gd name="connsiteX17" fmla="*/ 57931 w 444418"/>
                <a:gd name="connsiteY17" fmla="*/ 468999 h 653955"/>
                <a:gd name="connsiteX18" fmla="*/ 57931 w 444418"/>
                <a:gd name="connsiteY18" fmla="*/ 411232 h 653955"/>
                <a:gd name="connsiteX19" fmla="*/ 12959 w 444418"/>
                <a:gd name="connsiteY19" fmla="*/ 410598 h 653955"/>
                <a:gd name="connsiteX20" fmla="*/ 37 w 444418"/>
                <a:gd name="connsiteY20" fmla="*/ 404897 h 653955"/>
                <a:gd name="connsiteX21" fmla="*/ 10425 w 444418"/>
                <a:gd name="connsiteY21" fmla="*/ 398183 h 653955"/>
                <a:gd name="connsiteX22" fmla="*/ 20560 w 444418"/>
                <a:gd name="connsiteY22" fmla="*/ 365626 h 653955"/>
                <a:gd name="connsiteX23" fmla="*/ 57551 w 444418"/>
                <a:gd name="connsiteY23" fmla="*/ 308365 h 653955"/>
                <a:gd name="connsiteX24" fmla="*/ 42856 w 444418"/>
                <a:gd name="connsiteY24" fmla="*/ 295317 h 653955"/>
                <a:gd name="connsiteX25" fmla="*/ 28414 w 444418"/>
                <a:gd name="connsiteY25" fmla="*/ 277835 h 653955"/>
                <a:gd name="connsiteX26" fmla="*/ 14479 w 444418"/>
                <a:gd name="connsiteY26" fmla="*/ 243504 h 653955"/>
                <a:gd name="connsiteX27" fmla="*/ 8271 w 444418"/>
                <a:gd name="connsiteY27" fmla="*/ 206133 h 653955"/>
                <a:gd name="connsiteX28" fmla="*/ 19799 w 444418"/>
                <a:gd name="connsiteY28" fmla="*/ 160274 h 653955"/>
                <a:gd name="connsiteX29" fmla="*/ 59324 w 444418"/>
                <a:gd name="connsiteY29" fmla="*/ 153813 h 653955"/>
                <a:gd name="connsiteX30" fmla="*/ 88968 w 444418"/>
                <a:gd name="connsiteY30" fmla="*/ 94905 h 653955"/>
                <a:gd name="connsiteX31" fmla="*/ 88968 w 444418"/>
                <a:gd name="connsiteY31" fmla="*/ 19150 h 653955"/>
                <a:gd name="connsiteX32" fmla="*/ 119625 w 444418"/>
                <a:gd name="connsiteY32" fmla="*/ 4834 h 653955"/>
                <a:gd name="connsiteX33" fmla="*/ 179673 w 444418"/>
                <a:gd name="connsiteY33" fmla="*/ 20163 h 653955"/>
                <a:gd name="connsiteX34" fmla="*/ 199055 w 444418"/>
                <a:gd name="connsiteY34" fmla="*/ 40052 h 653955"/>
                <a:gd name="connsiteX35" fmla="*/ 219451 w 444418"/>
                <a:gd name="connsiteY35" fmla="*/ 58674 h 653955"/>
                <a:gd name="connsiteX36" fmla="*/ 220338 w 444418"/>
                <a:gd name="connsiteY36" fmla="*/ 62728 h 653955"/>
                <a:gd name="connsiteX37" fmla="*/ 222872 w 444418"/>
                <a:gd name="connsiteY37" fmla="*/ 92498 h 653955"/>
                <a:gd name="connsiteX38" fmla="*/ 275698 w 444418"/>
                <a:gd name="connsiteY38" fmla="*/ 108207 h 653955"/>
                <a:gd name="connsiteX39" fmla="*/ 264677 w 444418"/>
                <a:gd name="connsiteY39" fmla="*/ 134557 h 653955"/>
                <a:gd name="connsiteX40" fmla="*/ 282032 w 444418"/>
                <a:gd name="connsiteY40" fmla="*/ 143805 h 653955"/>
                <a:gd name="connsiteX41" fmla="*/ 311169 w 444418"/>
                <a:gd name="connsiteY41" fmla="*/ 146718 h 653955"/>
                <a:gd name="connsiteX42" fmla="*/ 316870 w 444418"/>
                <a:gd name="connsiteY42" fmla="*/ 146972 h 653955"/>
                <a:gd name="connsiteX43" fmla="*/ 335746 w 444418"/>
                <a:gd name="connsiteY43" fmla="*/ 153306 h 653955"/>
                <a:gd name="connsiteX44" fmla="*/ 352721 w 444418"/>
                <a:gd name="connsiteY44" fmla="*/ 166735 h 653955"/>
                <a:gd name="connsiteX45" fmla="*/ 348161 w 444418"/>
                <a:gd name="connsiteY45" fmla="*/ 190931 h 653955"/>
                <a:gd name="connsiteX46" fmla="*/ 355761 w 444418"/>
                <a:gd name="connsiteY46" fmla="*/ 214874 h 653955"/>
                <a:gd name="connsiteX47" fmla="*/ 383505 w 444418"/>
                <a:gd name="connsiteY47" fmla="*/ 299371 h 653955"/>
                <a:gd name="connsiteX48" fmla="*/ 394020 w 444418"/>
                <a:gd name="connsiteY48" fmla="*/ 408951 h 653955"/>
                <a:gd name="connsiteX49" fmla="*/ 421636 w 444418"/>
                <a:gd name="connsiteY49" fmla="*/ 554890 h 6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4418" h="653955">
                  <a:moveTo>
                    <a:pt x="421636" y="554890"/>
                  </a:moveTo>
                  <a:cubicBezTo>
                    <a:pt x="408968" y="552229"/>
                    <a:pt x="395286" y="555776"/>
                    <a:pt x="382491" y="554383"/>
                  </a:cubicBezTo>
                  <a:cubicBezTo>
                    <a:pt x="366149" y="552609"/>
                    <a:pt x="346387" y="542981"/>
                    <a:pt x="330298" y="550582"/>
                  </a:cubicBezTo>
                  <a:cubicBezTo>
                    <a:pt x="313070" y="558690"/>
                    <a:pt x="333465" y="574652"/>
                    <a:pt x="336506" y="585167"/>
                  </a:cubicBezTo>
                  <a:cubicBezTo>
                    <a:pt x="343093" y="607209"/>
                    <a:pt x="312183" y="602776"/>
                    <a:pt x="301288" y="596568"/>
                  </a:cubicBezTo>
                  <a:cubicBezTo>
                    <a:pt x="291914" y="591247"/>
                    <a:pt x="264043" y="567558"/>
                    <a:pt x="255176" y="586307"/>
                  </a:cubicBezTo>
                  <a:cubicBezTo>
                    <a:pt x="248081" y="601509"/>
                    <a:pt x="275572" y="608856"/>
                    <a:pt x="279245" y="620511"/>
                  </a:cubicBezTo>
                  <a:cubicBezTo>
                    <a:pt x="282919" y="631913"/>
                    <a:pt x="267337" y="641794"/>
                    <a:pt x="271138" y="651422"/>
                  </a:cubicBezTo>
                  <a:cubicBezTo>
                    <a:pt x="271518" y="652435"/>
                    <a:pt x="272024" y="653322"/>
                    <a:pt x="272658" y="653955"/>
                  </a:cubicBezTo>
                  <a:cubicBezTo>
                    <a:pt x="235033" y="651802"/>
                    <a:pt x="228066" y="629886"/>
                    <a:pt x="227686" y="628492"/>
                  </a:cubicBezTo>
                  <a:lnTo>
                    <a:pt x="227686" y="628492"/>
                  </a:lnTo>
                  <a:cubicBezTo>
                    <a:pt x="231106" y="624819"/>
                    <a:pt x="232626" y="620765"/>
                    <a:pt x="230346" y="616331"/>
                  </a:cubicBezTo>
                  <a:cubicBezTo>
                    <a:pt x="227559" y="610883"/>
                    <a:pt x="218058" y="609110"/>
                    <a:pt x="212990" y="606703"/>
                  </a:cubicBezTo>
                  <a:cubicBezTo>
                    <a:pt x="205263" y="603029"/>
                    <a:pt x="198422" y="598215"/>
                    <a:pt x="192721" y="591881"/>
                  </a:cubicBezTo>
                  <a:cubicBezTo>
                    <a:pt x="181573" y="579466"/>
                    <a:pt x="175872" y="565151"/>
                    <a:pt x="171945" y="549189"/>
                  </a:cubicBezTo>
                  <a:cubicBezTo>
                    <a:pt x="170932" y="545388"/>
                    <a:pt x="169412" y="531327"/>
                    <a:pt x="164091" y="530567"/>
                  </a:cubicBezTo>
                  <a:cubicBezTo>
                    <a:pt x="163331" y="504597"/>
                    <a:pt x="133180" y="507637"/>
                    <a:pt x="108984" y="505610"/>
                  </a:cubicBezTo>
                  <a:cubicBezTo>
                    <a:pt x="84788" y="503583"/>
                    <a:pt x="65405" y="481414"/>
                    <a:pt x="57931" y="468999"/>
                  </a:cubicBezTo>
                  <a:cubicBezTo>
                    <a:pt x="50583" y="456584"/>
                    <a:pt x="67812" y="430868"/>
                    <a:pt x="57931" y="411232"/>
                  </a:cubicBezTo>
                  <a:cubicBezTo>
                    <a:pt x="48050" y="391596"/>
                    <a:pt x="27274" y="407685"/>
                    <a:pt x="12959" y="410598"/>
                  </a:cubicBezTo>
                  <a:cubicBezTo>
                    <a:pt x="-1356" y="413639"/>
                    <a:pt x="37" y="404897"/>
                    <a:pt x="37" y="404897"/>
                  </a:cubicBezTo>
                  <a:cubicBezTo>
                    <a:pt x="4218" y="403757"/>
                    <a:pt x="7891" y="401730"/>
                    <a:pt x="10425" y="398183"/>
                  </a:cubicBezTo>
                  <a:cubicBezTo>
                    <a:pt x="17139" y="389189"/>
                    <a:pt x="15366" y="375634"/>
                    <a:pt x="20560" y="365626"/>
                  </a:cubicBezTo>
                  <a:cubicBezTo>
                    <a:pt x="28921" y="349664"/>
                    <a:pt x="76300" y="332182"/>
                    <a:pt x="57551" y="308365"/>
                  </a:cubicBezTo>
                  <a:cubicBezTo>
                    <a:pt x="53497" y="303298"/>
                    <a:pt x="47543" y="299751"/>
                    <a:pt x="42856" y="295317"/>
                  </a:cubicBezTo>
                  <a:cubicBezTo>
                    <a:pt x="37282" y="290123"/>
                    <a:pt x="32721" y="284042"/>
                    <a:pt x="28414" y="277835"/>
                  </a:cubicBezTo>
                  <a:cubicBezTo>
                    <a:pt x="20813" y="266940"/>
                    <a:pt x="13972" y="257312"/>
                    <a:pt x="14479" y="243504"/>
                  </a:cubicBezTo>
                  <a:cubicBezTo>
                    <a:pt x="14859" y="235396"/>
                    <a:pt x="22460" y="206386"/>
                    <a:pt x="8271" y="206133"/>
                  </a:cubicBezTo>
                  <a:cubicBezTo>
                    <a:pt x="8778" y="186117"/>
                    <a:pt x="11058" y="145072"/>
                    <a:pt x="19799" y="160274"/>
                  </a:cubicBezTo>
                  <a:cubicBezTo>
                    <a:pt x="31201" y="180036"/>
                    <a:pt x="56411" y="174209"/>
                    <a:pt x="59324" y="153813"/>
                  </a:cubicBezTo>
                  <a:cubicBezTo>
                    <a:pt x="62238" y="133544"/>
                    <a:pt x="90488" y="117708"/>
                    <a:pt x="88968" y="94905"/>
                  </a:cubicBezTo>
                  <a:cubicBezTo>
                    <a:pt x="87448" y="72103"/>
                    <a:pt x="67305" y="34478"/>
                    <a:pt x="88968" y="19150"/>
                  </a:cubicBezTo>
                  <a:cubicBezTo>
                    <a:pt x="110758" y="3821"/>
                    <a:pt x="107210" y="-6567"/>
                    <a:pt x="119625" y="4834"/>
                  </a:cubicBezTo>
                  <a:cubicBezTo>
                    <a:pt x="131407" y="15602"/>
                    <a:pt x="143062" y="58928"/>
                    <a:pt x="179673" y="20163"/>
                  </a:cubicBezTo>
                  <a:cubicBezTo>
                    <a:pt x="185120" y="27764"/>
                    <a:pt x="191834" y="35365"/>
                    <a:pt x="199055" y="40052"/>
                  </a:cubicBezTo>
                  <a:cubicBezTo>
                    <a:pt x="207416" y="45626"/>
                    <a:pt x="216411" y="48413"/>
                    <a:pt x="219451" y="58674"/>
                  </a:cubicBezTo>
                  <a:cubicBezTo>
                    <a:pt x="219831" y="59941"/>
                    <a:pt x="220085" y="61335"/>
                    <a:pt x="220338" y="62728"/>
                  </a:cubicBezTo>
                  <a:cubicBezTo>
                    <a:pt x="221731" y="72609"/>
                    <a:pt x="218438" y="82744"/>
                    <a:pt x="222872" y="92498"/>
                  </a:cubicBezTo>
                  <a:cubicBezTo>
                    <a:pt x="232373" y="113655"/>
                    <a:pt x="258216" y="101366"/>
                    <a:pt x="275698" y="108207"/>
                  </a:cubicBezTo>
                  <a:cubicBezTo>
                    <a:pt x="275952" y="119862"/>
                    <a:pt x="266197" y="124423"/>
                    <a:pt x="264677" y="134557"/>
                  </a:cubicBezTo>
                  <a:cubicBezTo>
                    <a:pt x="262777" y="146718"/>
                    <a:pt x="273165" y="143045"/>
                    <a:pt x="282032" y="143805"/>
                  </a:cubicBezTo>
                  <a:cubicBezTo>
                    <a:pt x="291787" y="144818"/>
                    <a:pt x="301415" y="146085"/>
                    <a:pt x="311169" y="146718"/>
                  </a:cubicBezTo>
                  <a:cubicBezTo>
                    <a:pt x="313196" y="146845"/>
                    <a:pt x="315223" y="146972"/>
                    <a:pt x="316870" y="146972"/>
                  </a:cubicBezTo>
                  <a:cubicBezTo>
                    <a:pt x="323077" y="149125"/>
                    <a:pt x="329412" y="151406"/>
                    <a:pt x="335746" y="153306"/>
                  </a:cubicBezTo>
                  <a:cubicBezTo>
                    <a:pt x="343093" y="155586"/>
                    <a:pt x="355888" y="156093"/>
                    <a:pt x="352721" y="166735"/>
                  </a:cubicBezTo>
                  <a:cubicBezTo>
                    <a:pt x="350187" y="175602"/>
                    <a:pt x="346767" y="181176"/>
                    <a:pt x="348161" y="190931"/>
                  </a:cubicBezTo>
                  <a:cubicBezTo>
                    <a:pt x="349301" y="199292"/>
                    <a:pt x="352214" y="207273"/>
                    <a:pt x="355761" y="214874"/>
                  </a:cubicBezTo>
                  <a:cubicBezTo>
                    <a:pt x="381478" y="272261"/>
                    <a:pt x="386799" y="272895"/>
                    <a:pt x="383505" y="299371"/>
                  </a:cubicBezTo>
                  <a:cubicBezTo>
                    <a:pt x="380211" y="325848"/>
                    <a:pt x="375524" y="383235"/>
                    <a:pt x="394020" y="408951"/>
                  </a:cubicBezTo>
                  <a:cubicBezTo>
                    <a:pt x="412389" y="434541"/>
                    <a:pt x="478897" y="518912"/>
                    <a:pt x="421636" y="5548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1" name="Полилиния: фигура 420">
              <a:extLst>
                <a:ext uri="{FF2B5EF4-FFF2-40B4-BE49-F238E27FC236}">
                  <a16:creationId xmlns:a16="http://schemas.microsoft.com/office/drawing/2014/main" id="{768D7BD4-90F9-4D98-93B1-AD95EBA0CFF0}"/>
                </a:ext>
              </a:extLst>
            </p:cNvPr>
            <p:cNvSpPr/>
            <p:nvPr/>
          </p:nvSpPr>
          <p:spPr>
            <a:xfrm>
              <a:off x="2100885" y="4055422"/>
              <a:ext cx="653547" cy="774929"/>
            </a:xfrm>
            <a:custGeom>
              <a:avLst/>
              <a:gdLst>
                <a:gd name="connsiteX0" fmla="*/ 652769 w 653547"/>
                <a:gd name="connsiteY0" fmla="*/ 681918 h 774929"/>
                <a:gd name="connsiteX1" fmla="*/ 648968 w 653547"/>
                <a:gd name="connsiteY1" fmla="*/ 704087 h 774929"/>
                <a:gd name="connsiteX2" fmla="*/ 626799 w 653547"/>
                <a:gd name="connsiteY2" fmla="*/ 690659 h 774929"/>
                <a:gd name="connsiteX3" fmla="*/ 594621 w 653547"/>
                <a:gd name="connsiteY3" fmla="*/ 688886 h 774929"/>
                <a:gd name="connsiteX4" fmla="*/ 574352 w 653547"/>
                <a:gd name="connsiteY4" fmla="*/ 703834 h 774929"/>
                <a:gd name="connsiteX5" fmla="*/ 523933 w 653547"/>
                <a:gd name="connsiteY5" fmla="*/ 690532 h 774929"/>
                <a:gd name="connsiteX6" fmla="*/ 489855 w 653547"/>
                <a:gd name="connsiteY6" fmla="*/ 669757 h 774929"/>
                <a:gd name="connsiteX7" fmla="*/ 455777 w 653547"/>
                <a:gd name="connsiteY7" fmla="*/ 688379 h 774929"/>
                <a:gd name="connsiteX8" fmla="*/ 401431 w 653547"/>
                <a:gd name="connsiteY8" fmla="*/ 684958 h 774929"/>
                <a:gd name="connsiteX9" fmla="*/ 342777 w 653547"/>
                <a:gd name="connsiteY9" fmla="*/ 675837 h 774929"/>
                <a:gd name="connsiteX10" fmla="*/ 324028 w 653547"/>
                <a:gd name="connsiteY10" fmla="*/ 692939 h 774929"/>
                <a:gd name="connsiteX11" fmla="*/ 323141 w 653547"/>
                <a:gd name="connsiteY11" fmla="*/ 715109 h 774929"/>
                <a:gd name="connsiteX12" fmla="*/ 296918 w 653547"/>
                <a:gd name="connsiteY12" fmla="*/ 762995 h 774929"/>
                <a:gd name="connsiteX13" fmla="*/ 280196 w 653547"/>
                <a:gd name="connsiteY13" fmla="*/ 773636 h 774929"/>
                <a:gd name="connsiteX14" fmla="*/ 250552 w 653547"/>
                <a:gd name="connsiteY14" fmla="*/ 768569 h 774929"/>
                <a:gd name="connsiteX15" fmla="*/ 242064 w 653547"/>
                <a:gd name="connsiteY15" fmla="*/ 752353 h 774929"/>
                <a:gd name="connsiteX16" fmla="*/ 245864 w 653547"/>
                <a:gd name="connsiteY16" fmla="*/ 710295 h 774929"/>
                <a:gd name="connsiteX17" fmla="*/ 236870 w 653547"/>
                <a:gd name="connsiteY17" fmla="*/ 629218 h 774929"/>
                <a:gd name="connsiteX18" fmla="*/ 191898 w 653547"/>
                <a:gd name="connsiteY18" fmla="*/ 633525 h 774929"/>
                <a:gd name="connsiteX19" fmla="*/ 190631 w 653547"/>
                <a:gd name="connsiteY19" fmla="*/ 634159 h 774929"/>
                <a:gd name="connsiteX20" fmla="*/ 201779 w 653547"/>
                <a:gd name="connsiteY20" fmla="*/ 611609 h 774929"/>
                <a:gd name="connsiteX21" fmla="*/ 214574 w 653547"/>
                <a:gd name="connsiteY21" fmla="*/ 587159 h 774929"/>
                <a:gd name="connsiteX22" fmla="*/ 192911 w 653547"/>
                <a:gd name="connsiteY22" fmla="*/ 554729 h 774929"/>
                <a:gd name="connsiteX23" fmla="*/ 191264 w 653547"/>
                <a:gd name="connsiteY23" fmla="*/ 511023 h 774929"/>
                <a:gd name="connsiteX24" fmla="*/ 163901 w 653547"/>
                <a:gd name="connsiteY24" fmla="*/ 503042 h 774929"/>
                <a:gd name="connsiteX25" fmla="*/ 143758 w 653547"/>
                <a:gd name="connsiteY25" fmla="*/ 490881 h 774929"/>
                <a:gd name="connsiteX26" fmla="*/ 143252 w 653547"/>
                <a:gd name="connsiteY26" fmla="*/ 479353 h 774929"/>
                <a:gd name="connsiteX27" fmla="*/ 140338 w 653547"/>
                <a:gd name="connsiteY27" fmla="*/ 464658 h 774929"/>
                <a:gd name="connsiteX28" fmla="*/ 125389 w 653547"/>
                <a:gd name="connsiteY28" fmla="*/ 455916 h 774929"/>
                <a:gd name="connsiteX29" fmla="*/ 111961 w 653547"/>
                <a:gd name="connsiteY29" fmla="*/ 450596 h 774929"/>
                <a:gd name="connsiteX30" fmla="*/ 109174 w 653547"/>
                <a:gd name="connsiteY30" fmla="*/ 446035 h 774929"/>
                <a:gd name="connsiteX31" fmla="*/ 102713 w 653547"/>
                <a:gd name="connsiteY31" fmla="*/ 440841 h 774929"/>
                <a:gd name="connsiteX32" fmla="*/ 94226 w 653547"/>
                <a:gd name="connsiteY32" fmla="*/ 422852 h 774929"/>
                <a:gd name="connsiteX33" fmla="*/ 92959 w 653547"/>
                <a:gd name="connsiteY33" fmla="*/ 405370 h 774929"/>
                <a:gd name="connsiteX34" fmla="*/ 103220 w 653547"/>
                <a:gd name="connsiteY34" fmla="*/ 390675 h 774929"/>
                <a:gd name="connsiteX35" fmla="*/ 115762 w 653547"/>
                <a:gd name="connsiteY35" fmla="*/ 373826 h 774929"/>
                <a:gd name="connsiteX36" fmla="*/ 127163 w 653547"/>
                <a:gd name="connsiteY36" fmla="*/ 362805 h 774929"/>
                <a:gd name="connsiteX37" fmla="*/ 136031 w 653547"/>
                <a:gd name="connsiteY37" fmla="*/ 348870 h 774929"/>
                <a:gd name="connsiteX38" fmla="*/ 147052 w 653547"/>
                <a:gd name="connsiteY38" fmla="*/ 337088 h 774929"/>
                <a:gd name="connsiteX39" fmla="*/ 150979 w 653547"/>
                <a:gd name="connsiteY39" fmla="*/ 314919 h 774929"/>
                <a:gd name="connsiteX40" fmla="*/ 130584 w 653547"/>
                <a:gd name="connsiteY40" fmla="*/ 277168 h 774929"/>
                <a:gd name="connsiteX41" fmla="*/ 109428 w 653547"/>
                <a:gd name="connsiteY41" fmla="*/ 239289 h 774929"/>
                <a:gd name="connsiteX42" fmla="*/ 90298 w 653547"/>
                <a:gd name="connsiteY42" fmla="*/ 239289 h 774929"/>
                <a:gd name="connsiteX43" fmla="*/ 74336 w 653547"/>
                <a:gd name="connsiteY43" fmla="*/ 245117 h 774929"/>
                <a:gd name="connsiteX44" fmla="*/ 64202 w 653547"/>
                <a:gd name="connsiteY44" fmla="*/ 227128 h 774929"/>
                <a:gd name="connsiteX45" fmla="*/ 60275 w 653547"/>
                <a:gd name="connsiteY45" fmla="*/ 214966 h 774929"/>
                <a:gd name="connsiteX46" fmla="*/ 53307 w 653547"/>
                <a:gd name="connsiteY46" fmla="*/ 203945 h 774929"/>
                <a:gd name="connsiteX47" fmla="*/ 33038 w 653547"/>
                <a:gd name="connsiteY47" fmla="*/ 213573 h 774929"/>
                <a:gd name="connsiteX48" fmla="*/ 15302 w 653547"/>
                <a:gd name="connsiteY48" fmla="*/ 211166 h 774929"/>
                <a:gd name="connsiteX49" fmla="*/ 21256 w 653547"/>
                <a:gd name="connsiteY49" fmla="*/ 187223 h 774929"/>
                <a:gd name="connsiteX50" fmla="*/ 20623 w 653547"/>
                <a:gd name="connsiteY50" fmla="*/ 165814 h 774929"/>
                <a:gd name="connsiteX51" fmla="*/ 6941 w 653547"/>
                <a:gd name="connsiteY51" fmla="*/ 153018 h 774929"/>
                <a:gd name="connsiteX52" fmla="*/ 227 w 653547"/>
                <a:gd name="connsiteY52" fmla="*/ 134269 h 774929"/>
                <a:gd name="connsiteX53" fmla="*/ 2381 w 653547"/>
                <a:gd name="connsiteY53" fmla="*/ 128569 h 774929"/>
                <a:gd name="connsiteX54" fmla="*/ 14922 w 653547"/>
                <a:gd name="connsiteY54" fmla="*/ 117548 h 774929"/>
                <a:gd name="connsiteX55" fmla="*/ 29491 w 653547"/>
                <a:gd name="connsiteY55" fmla="*/ 99558 h 774929"/>
                <a:gd name="connsiteX56" fmla="*/ 31011 w 653547"/>
                <a:gd name="connsiteY56" fmla="*/ 71562 h 774929"/>
                <a:gd name="connsiteX57" fmla="*/ 34305 w 653547"/>
                <a:gd name="connsiteY57" fmla="*/ 63834 h 774929"/>
                <a:gd name="connsiteX58" fmla="*/ 69016 w 653547"/>
                <a:gd name="connsiteY58" fmla="*/ 43691 h 774929"/>
                <a:gd name="connsiteX59" fmla="*/ 116015 w 653547"/>
                <a:gd name="connsiteY59" fmla="*/ 25069 h 774929"/>
                <a:gd name="connsiteX60" fmla="*/ 148699 w 653547"/>
                <a:gd name="connsiteY60" fmla="*/ 1760 h 774929"/>
                <a:gd name="connsiteX61" fmla="*/ 167955 w 653547"/>
                <a:gd name="connsiteY61" fmla="*/ 3660 h 774929"/>
                <a:gd name="connsiteX62" fmla="*/ 169348 w 653547"/>
                <a:gd name="connsiteY62" fmla="*/ 5813 h 774929"/>
                <a:gd name="connsiteX63" fmla="*/ 166308 w 653547"/>
                <a:gd name="connsiteY63" fmla="*/ 24689 h 774929"/>
                <a:gd name="connsiteX64" fmla="*/ 149839 w 653547"/>
                <a:gd name="connsiteY64" fmla="*/ 54966 h 774929"/>
                <a:gd name="connsiteX65" fmla="*/ 153766 w 653547"/>
                <a:gd name="connsiteY65" fmla="*/ 68395 h 774929"/>
                <a:gd name="connsiteX66" fmla="*/ 171122 w 653547"/>
                <a:gd name="connsiteY66" fmla="*/ 68015 h 774929"/>
                <a:gd name="connsiteX67" fmla="*/ 197345 w 653547"/>
                <a:gd name="connsiteY67" fmla="*/ 89170 h 774929"/>
                <a:gd name="connsiteX68" fmla="*/ 229776 w 653547"/>
                <a:gd name="connsiteY68" fmla="*/ 114380 h 774929"/>
                <a:gd name="connsiteX69" fmla="*/ 244471 w 653547"/>
                <a:gd name="connsiteY69" fmla="*/ 114254 h 774929"/>
                <a:gd name="connsiteX70" fmla="*/ 260560 w 653547"/>
                <a:gd name="connsiteY70" fmla="*/ 113620 h 774929"/>
                <a:gd name="connsiteX71" fmla="*/ 274495 w 653547"/>
                <a:gd name="connsiteY71" fmla="*/ 131102 h 774929"/>
                <a:gd name="connsiteX72" fmla="*/ 279942 w 653547"/>
                <a:gd name="connsiteY72" fmla="*/ 151752 h 774929"/>
                <a:gd name="connsiteX73" fmla="*/ 300211 w 653547"/>
                <a:gd name="connsiteY73" fmla="*/ 176835 h 774929"/>
                <a:gd name="connsiteX74" fmla="*/ 322254 w 653547"/>
                <a:gd name="connsiteY74" fmla="*/ 176328 h 774929"/>
                <a:gd name="connsiteX75" fmla="*/ 341510 w 653547"/>
                <a:gd name="connsiteY75" fmla="*/ 183802 h 774929"/>
                <a:gd name="connsiteX76" fmla="*/ 354558 w 653547"/>
                <a:gd name="connsiteY76" fmla="*/ 198117 h 774929"/>
                <a:gd name="connsiteX77" fmla="*/ 359245 w 653547"/>
                <a:gd name="connsiteY77" fmla="*/ 218513 h 774929"/>
                <a:gd name="connsiteX78" fmla="*/ 393450 w 653547"/>
                <a:gd name="connsiteY78" fmla="*/ 226241 h 774929"/>
                <a:gd name="connsiteX79" fmla="*/ 422713 w 653547"/>
                <a:gd name="connsiteY79" fmla="*/ 213826 h 774929"/>
                <a:gd name="connsiteX80" fmla="*/ 440956 w 653547"/>
                <a:gd name="connsiteY80" fmla="*/ 236122 h 774929"/>
                <a:gd name="connsiteX81" fmla="*/ 452737 w 653547"/>
                <a:gd name="connsiteY81" fmla="*/ 248410 h 774929"/>
                <a:gd name="connsiteX82" fmla="*/ 459451 w 653547"/>
                <a:gd name="connsiteY82" fmla="*/ 260825 h 774929"/>
                <a:gd name="connsiteX83" fmla="*/ 464519 w 653547"/>
                <a:gd name="connsiteY83" fmla="*/ 272480 h 774929"/>
                <a:gd name="connsiteX84" fmla="*/ 476047 w 653547"/>
                <a:gd name="connsiteY84" fmla="*/ 302124 h 774929"/>
                <a:gd name="connsiteX85" fmla="*/ 497456 w 653547"/>
                <a:gd name="connsiteY85" fmla="*/ 321633 h 774929"/>
                <a:gd name="connsiteX86" fmla="*/ 516332 w 653547"/>
                <a:gd name="connsiteY86" fmla="*/ 322773 h 774929"/>
                <a:gd name="connsiteX87" fmla="*/ 535207 w 653547"/>
                <a:gd name="connsiteY87" fmla="*/ 316946 h 774929"/>
                <a:gd name="connsiteX88" fmla="*/ 546102 w 653547"/>
                <a:gd name="connsiteY88" fmla="*/ 331261 h 774929"/>
                <a:gd name="connsiteX89" fmla="*/ 563331 w 653547"/>
                <a:gd name="connsiteY89" fmla="*/ 347476 h 774929"/>
                <a:gd name="connsiteX90" fmla="*/ 598295 w 653547"/>
                <a:gd name="connsiteY90" fmla="*/ 361031 h 774929"/>
                <a:gd name="connsiteX91" fmla="*/ 600195 w 653547"/>
                <a:gd name="connsiteY91" fmla="*/ 363565 h 774929"/>
                <a:gd name="connsiteX92" fmla="*/ 600956 w 653547"/>
                <a:gd name="connsiteY92" fmla="*/ 364832 h 774929"/>
                <a:gd name="connsiteX93" fmla="*/ 601589 w 653547"/>
                <a:gd name="connsiteY93" fmla="*/ 366099 h 774929"/>
                <a:gd name="connsiteX94" fmla="*/ 601969 w 653547"/>
                <a:gd name="connsiteY94" fmla="*/ 366985 h 774929"/>
                <a:gd name="connsiteX95" fmla="*/ 602856 w 653547"/>
                <a:gd name="connsiteY95" fmla="*/ 369772 h 774929"/>
                <a:gd name="connsiteX96" fmla="*/ 603236 w 653547"/>
                <a:gd name="connsiteY96" fmla="*/ 371293 h 774929"/>
                <a:gd name="connsiteX97" fmla="*/ 603996 w 653547"/>
                <a:gd name="connsiteY97" fmla="*/ 378007 h 774929"/>
                <a:gd name="connsiteX98" fmla="*/ 603996 w 653547"/>
                <a:gd name="connsiteY98" fmla="*/ 383201 h 774929"/>
                <a:gd name="connsiteX99" fmla="*/ 611597 w 653547"/>
                <a:gd name="connsiteY99" fmla="*/ 401316 h 774929"/>
                <a:gd name="connsiteX100" fmla="*/ 618184 w 653547"/>
                <a:gd name="connsiteY100" fmla="*/ 420445 h 774929"/>
                <a:gd name="connsiteX101" fmla="*/ 604756 w 653547"/>
                <a:gd name="connsiteY101" fmla="*/ 443121 h 774929"/>
                <a:gd name="connsiteX102" fmla="*/ 615017 w 653547"/>
                <a:gd name="connsiteY102" fmla="*/ 457943 h 774929"/>
                <a:gd name="connsiteX103" fmla="*/ 628192 w 653547"/>
                <a:gd name="connsiteY103" fmla="*/ 475299 h 774929"/>
                <a:gd name="connsiteX104" fmla="*/ 621731 w 653547"/>
                <a:gd name="connsiteY104" fmla="*/ 496835 h 774929"/>
                <a:gd name="connsiteX105" fmla="*/ 619325 w 653547"/>
                <a:gd name="connsiteY105" fmla="*/ 512924 h 774929"/>
                <a:gd name="connsiteX106" fmla="*/ 634780 w 653547"/>
                <a:gd name="connsiteY106" fmla="*/ 527872 h 774929"/>
                <a:gd name="connsiteX107" fmla="*/ 633513 w 653547"/>
                <a:gd name="connsiteY107" fmla="*/ 552068 h 774929"/>
                <a:gd name="connsiteX108" fmla="*/ 630726 w 653547"/>
                <a:gd name="connsiteY108" fmla="*/ 572464 h 774929"/>
                <a:gd name="connsiteX109" fmla="*/ 634527 w 653547"/>
                <a:gd name="connsiteY109" fmla="*/ 590200 h 774929"/>
                <a:gd name="connsiteX110" fmla="*/ 635033 w 653547"/>
                <a:gd name="connsiteY110" fmla="*/ 605402 h 774929"/>
                <a:gd name="connsiteX111" fmla="*/ 638834 w 653547"/>
                <a:gd name="connsiteY111" fmla="*/ 615790 h 774929"/>
                <a:gd name="connsiteX112" fmla="*/ 647828 w 653547"/>
                <a:gd name="connsiteY112" fmla="*/ 647714 h 774929"/>
                <a:gd name="connsiteX113" fmla="*/ 652769 w 653547"/>
                <a:gd name="connsiteY113" fmla="*/ 681918 h 7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3547" h="774929">
                  <a:moveTo>
                    <a:pt x="652769" y="681918"/>
                  </a:moveTo>
                  <a:cubicBezTo>
                    <a:pt x="652135" y="685338"/>
                    <a:pt x="648842" y="696106"/>
                    <a:pt x="648968" y="704087"/>
                  </a:cubicBezTo>
                  <a:cubicBezTo>
                    <a:pt x="640101" y="702187"/>
                    <a:pt x="635160" y="695726"/>
                    <a:pt x="626799" y="690659"/>
                  </a:cubicBezTo>
                  <a:cubicBezTo>
                    <a:pt x="617298" y="684958"/>
                    <a:pt x="604883" y="684832"/>
                    <a:pt x="594621" y="688886"/>
                  </a:cubicBezTo>
                  <a:cubicBezTo>
                    <a:pt x="586261" y="692053"/>
                    <a:pt x="582080" y="700287"/>
                    <a:pt x="574352" y="703834"/>
                  </a:cubicBezTo>
                  <a:cubicBezTo>
                    <a:pt x="559024" y="710928"/>
                    <a:pt x="535461" y="700667"/>
                    <a:pt x="523933" y="690532"/>
                  </a:cubicBezTo>
                  <a:cubicBezTo>
                    <a:pt x="514051" y="681791"/>
                    <a:pt x="503283" y="672797"/>
                    <a:pt x="489855" y="669757"/>
                  </a:cubicBezTo>
                  <a:cubicBezTo>
                    <a:pt x="473640" y="666083"/>
                    <a:pt x="465532" y="677864"/>
                    <a:pt x="455777" y="688379"/>
                  </a:cubicBezTo>
                  <a:cubicBezTo>
                    <a:pt x="440449" y="704974"/>
                    <a:pt x="418533" y="695473"/>
                    <a:pt x="401431" y="684958"/>
                  </a:cubicBezTo>
                  <a:cubicBezTo>
                    <a:pt x="381795" y="672924"/>
                    <a:pt x="365453" y="664182"/>
                    <a:pt x="342777" y="675837"/>
                  </a:cubicBezTo>
                  <a:cubicBezTo>
                    <a:pt x="335556" y="679511"/>
                    <a:pt x="326561" y="684705"/>
                    <a:pt x="324028" y="692939"/>
                  </a:cubicBezTo>
                  <a:cubicBezTo>
                    <a:pt x="322001" y="699780"/>
                    <a:pt x="323901" y="708141"/>
                    <a:pt x="323141" y="715109"/>
                  </a:cubicBezTo>
                  <a:cubicBezTo>
                    <a:pt x="320987" y="736011"/>
                    <a:pt x="315793" y="752480"/>
                    <a:pt x="296918" y="762995"/>
                  </a:cubicBezTo>
                  <a:cubicBezTo>
                    <a:pt x="291344" y="766162"/>
                    <a:pt x="285896" y="771103"/>
                    <a:pt x="280196" y="773636"/>
                  </a:cubicBezTo>
                  <a:cubicBezTo>
                    <a:pt x="272341" y="777183"/>
                    <a:pt x="257646" y="772749"/>
                    <a:pt x="250552" y="768569"/>
                  </a:cubicBezTo>
                  <a:cubicBezTo>
                    <a:pt x="244471" y="765022"/>
                    <a:pt x="242824" y="759194"/>
                    <a:pt x="242064" y="752353"/>
                  </a:cubicBezTo>
                  <a:cubicBezTo>
                    <a:pt x="240417" y="738165"/>
                    <a:pt x="244598" y="724357"/>
                    <a:pt x="245864" y="710295"/>
                  </a:cubicBezTo>
                  <a:cubicBezTo>
                    <a:pt x="247638" y="689012"/>
                    <a:pt x="255619" y="645813"/>
                    <a:pt x="236870" y="629218"/>
                  </a:cubicBezTo>
                  <a:cubicBezTo>
                    <a:pt x="224202" y="617817"/>
                    <a:pt x="204439" y="626685"/>
                    <a:pt x="191898" y="633525"/>
                  </a:cubicBezTo>
                  <a:cubicBezTo>
                    <a:pt x="191518" y="633779"/>
                    <a:pt x="191011" y="634032"/>
                    <a:pt x="190631" y="634159"/>
                  </a:cubicBezTo>
                  <a:cubicBezTo>
                    <a:pt x="192911" y="625924"/>
                    <a:pt x="196332" y="617817"/>
                    <a:pt x="201779" y="611609"/>
                  </a:cubicBezTo>
                  <a:cubicBezTo>
                    <a:pt x="207987" y="604642"/>
                    <a:pt x="218374" y="598054"/>
                    <a:pt x="214574" y="587159"/>
                  </a:cubicBezTo>
                  <a:cubicBezTo>
                    <a:pt x="210013" y="574238"/>
                    <a:pt x="195572" y="569297"/>
                    <a:pt x="192911" y="554729"/>
                  </a:cubicBezTo>
                  <a:cubicBezTo>
                    <a:pt x="190378" y="540287"/>
                    <a:pt x="194558" y="525339"/>
                    <a:pt x="191264" y="511023"/>
                  </a:cubicBezTo>
                  <a:cubicBezTo>
                    <a:pt x="187591" y="494808"/>
                    <a:pt x="175682" y="502915"/>
                    <a:pt x="163901" y="503042"/>
                  </a:cubicBezTo>
                  <a:cubicBezTo>
                    <a:pt x="156427" y="503169"/>
                    <a:pt x="147179" y="497848"/>
                    <a:pt x="143758" y="490881"/>
                  </a:cubicBezTo>
                  <a:cubicBezTo>
                    <a:pt x="142111" y="487460"/>
                    <a:pt x="143252" y="483027"/>
                    <a:pt x="143252" y="479353"/>
                  </a:cubicBezTo>
                  <a:cubicBezTo>
                    <a:pt x="143125" y="474412"/>
                    <a:pt x="142238" y="469218"/>
                    <a:pt x="140338" y="464658"/>
                  </a:cubicBezTo>
                  <a:cubicBezTo>
                    <a:pt x="137298" y="457817"/>
                    <a:pt x="131724" y="458070"/>
                    <a:pt x="125389" y="455916"/>
                  </a:cubicBezTo>
                  <a:cubicBezTo>
                    <a:pt x="121462" y="454523"/>
                    <a:pt x="115001" y="453383"/>
                    <a:pt x="111961" y="450596"/>
                  </a:cubicBezTo>
                  <a:cubicBezTo>
                    <a:pt x="110568" y="449329"/>
                    <a:pt x="110188" y="447428"/>
                    <a:pt x="109174" y="446035"/>
                  </a:cubicBezTo>
                  <a:cubicBezTo>
                    <a:pt x="107401" y="443628"/>
                    <a:pt x="105120" y="442361"/>
                    <a:pt x="102713" y="440841"/>
                  </a:cubicBezTo>
                  <a:cubicBezTo>
                    <a:pt x="95746" y="436027"/>
                    <a:pt x="94099" y="431087"/>
                    <a:pt x="94226" y="422852"/>
                  </a:cubicBezTo>
                  <a:cubicBezTo>
                    <a:pt x="94352" y="417152"/>
                    <a:pt x="91819" y="410817"/>
                    <a:pt x="92959" y="405370"/>
                  </a:cubicBezTo>
                  <a:cubicBezTo>
                    <a:pt x="94226" y="399289"/>
                    <a:pt x="99926" y="395489"/>
                    <a:pt x="103220" y="390675"/>
                  </a:cubicBezTo>
                  <a:cubicBezTo>
                    <a:pt x="107274" y="384721"/>
                    <a:pt x="110948" y="379147"/>
                    <a:pt x="115762" y="373826"/>
                  </a:cubicBezTo>
                  <a:cubicBezTo>
                    <a:pt x="119435" y="369899"/>
                    <a:pt x="123363" y="366479"/>
                    <a:pt x="127163" y="362805"/>
                  </a:cubicBezTo>
                  <a:cubicBezTo>
                    <a:pt x="131344" y="358751"/>
                    <a:pt x="132991" y="353557"/>
                    <a:pt x="136031" y="348870"/>
                  </a:cubicBezTo>
                  <a:cubicBezTo>
                    <a:pt x="139071" y="344309"/>
                    <a:pt x="143758" y="341395"/>
                    <a:pt x="147052" y="337088"/>
                  </a:cubicBezTo>
                  <a:cubicBezTo>
                    <a:pt x="151739" y="330754"/>
                    <a:pt x="152120" y="322393"/>
                    <a:pt x="150979" y="314919"/>
                  </a:cubicBezTo>
                  <a:cubicBezTo>
                    <a:pt x="148446" y="299083"/>
                    <a:pt x="136284" y="291102"/>
                    <a:pt x="130584" y="277168"/>
                  </a:cubicBezTo>
                  <a:cubicBezTo>
                    <a:pt x="125770" y="265006"/>
                    <a:pt x="122096" y="246383"/>
                    <a:pt x="109428" y="239289"/>
                  </a:cubicBezTo>
                  <a:cubicBezTo>
                    <a:pt x="103347" y="235869"/>
                    <a:pt x="96759" y="238782"/>
                    <a:pt x="90298" y="239289"/>
                  </a:cubicBezTo>
                  <a:cubicBezTo>
                    <a:pt x="82951" y="239796"/>
                    <a:pt x="80291" y="241063"/>
                    <a:pt x="74336" y="245117"/>
                  </a:cubicBezTo>
                  <a:cubicBezTo>
                    <a:pt x="65595" y="250944"/>
                    <a:pt x="65215" y="231055"/>
                    <a:pt x="64202" y="227128"/>
                  </a:cubicBezTo>
                  <a:cubicBezTo>
                    <a:pt x="63062" y="223074"/>
                    <a:pt x="61288" y="219147"/>
                    <a:pt x="60275" y="214966"/>
                  </a:cubicBezTo>
                  <a:cubicBezTo>
                    <a:pt x="59261" y="211166"/>
                    <a:pt x="57994" y="204832"/>
                    <a:pt x="53307" y="203945"/>
                  </a:cubicBezTo>
                  <a:cubicBezTo>
                    <a:pt x="47353" y="202805"/>
                    <a:pt x="38232" y="211419"/>
                    <a:pt x="33038" y="213573"/>
                  </a:cubicBezTo>
                  <a:cubicBezTo>
                    <a:pt x="27717" y="215853"/>
                    <a:pt x="17836" y="218767"/>
                    <a:pt x="15302" y="211166"/>
                  </a:cubicBezTo>
                  <a:cubicBezTo>
                    <a:pt x="13022" y="203945"/>
                    <a:pt x="19103" y="193937"/>
                    <a:pt x="21256" y="187223"/>
                  </a:cubicBezTo>
                  <a:cubicBezTo>
                    <a:pt x="23537" y="180129"/>
                    <a:pt x="24930" y="172401"/>
                    <a:pt x="20623" y="165814"/>
                  </a:cubicBezTo>
                  <a:cubicBezTo>
                    <a:pt x="17203" y="160620"/>
                    <a:pt x="11249" y="157579"/>
                    <a:pt x="6941" y="153018"/>
                  </a:cubicBezTo>
                  <a:cubicBezTo>
                    <a:pt x="2381" y="148078"/>
                    <a:pt x="-913" y="141110"/>
                    <a:pt x="227" y="134269"/>
                  </a:cubicBezTo>
                  <a:cubicBezTo>
                    <a:pt x="607" y="132116"/>
                    <a:pt x="1367" y="130216"/>
                    <a:pt x="2381" y="128569"/>
                  </a:cubicBezTo>
                  <a:cubicBezTo>
                    <a:pt x="5168" y="123882"/>
                    <a:pt x="10235" y="120588"/>
                    <a:pt x="14922" y="117548"/>
                  </a:cubicBezTo>
                  <a:cubicBezTo>
                    <a:pt x="22017" y="112987"/>
                    <a:pt x="27971" y="108300"/>
                    <a:pt x="29491" y="99558"/>
                  </a:cubicBezTo>
                  <a:cubicBezTo>
                    <a:pt x="31011" y="90311"/>
                    <a:pt x="28604" y="80810"/>
                    <a:pt x="31011" y="71562"/>
                  </a:cubicBezTo>
                  <a:cubicBezTo>
                    <a:pt x="31771" y="68775"/>
                    <a:pt x="32911" y="66241"/>
                    <a:pt x="34305" y="63834"/>
                  </a:cubicBezTo>
                  <a:cubicBezTo>
                    <a:pt x="41399" y="52179"/>
                    <a:pt x="56094" y="46605"/>
                    <a:pt x="69016" y="43691"/>
                  </a:cubicBezTo>
                  <a:cubicBezTo>
                    <a:pt x="85738" y="39891"/>
                    <a:pt x="102333" y="35964"/>
                    <a:pt x="116015" y="25069"/>
                  </a:cubicBezTo>
                  <a:cubicBezTo>
                    <a:pt x="126910" y="16455"/>
                    <a:pt x="135017" y="6320"/>
                    <a:pt x="148699" y="1760"/>
                  </a:cubicBezTo>
                  <a:cubicBezTo>
                    <a:pt x="154653" y="-141"/>
                    <a:pt x="163268" y="-1661"/>
                    <a:pt x="167955" y="3660"/>
                  </a:cubicBezTo>
                  <a:cubicBezTo>
                    <a:pt x="168588" y="4293"/>
                    <a:pt x="168968" y="5053"/>
                    <a:pt x="169348" y="5813"/>
                  </a:cubicBezTo>
                  <a:cubicBezTo>
                    <a:pt x="172262" y="11641"/>
                    <a:pt x="168968" y="19495"/>
                    <a:pt x="166308" y="24689"/>
                  </a:cubicBezTo>
                  <a:cubicBezTo>
                    <a:pt x="161114" y="35077"/>
                    <a:pt x="153513" y="43691"/>
                    <a:pt x="149839" y="54966"/>
                  </a:cubicBezTo>
                  <a:cubicBezTo>
                    <a:pt x="148319" y="59907"/>
                    <a:pt x="148319" y="65861"/>
                    <a:pt x="153766" y="68395"/>
                  </a:cubicBezTo>
                  <a:cubicBezTo>
                    <a:pt x="159340" y="71055"/>
                    <a:pt x="165294" y="66368"/>
                    <a:pt x="171122" y="68015"/>
                  </a:cubicBezTo>
                  <a:cubicBezTo>
                    <a:pt x="181257" y="70928"/>
                    <a:pt x="189491" y="82836"/>
                    <a:pt x="197345" y="89170"/>
                  </a:cubicBezTo>
                  <a:cubicBezTo>
                    <a:pt x="208367" y="98038"/>
                    <a:pt x="216474" y="108426"/>
                    <a:pt x="229776" y="114380"/>
                  </a:cubicBezTo>
                  <a:cubicBezTo>
                    <a:pt x="235350" y="116787"/>
                    <a:pt x="239150" y="116661"/>
                    <a:pt x="244471" y="114254"/>
                  </a:cubicBezTo>
                  <a:cubicBezTo>
                    <a:pt x="249792" y="111847"/>
                    <a:pt x="255492" y="110453"/>
                    <a:pt x="260560" y="113620"/>
                  </a:cubicBezTo>
                  <a:cubicBezTo>
                    <a:pt x="266260" y="117167"/>
                    <a:pt x="270948" y="125529"/>
                    <a:pt x="274495" y="131102"/>
                  </a:cubicBezTo>
                  <a:cubicBezTo>
                    <a:pt x="278169" y="137056"/>
                    <a:pt x="279562" y="144911"/>
                    <a:pt x="279942" y="151752"/>
                  </a:cubicBezTo>
                  <a:cubicBezTo>
                    <a:pt x="280576" y="162773"/>
                    <a:pt x="287923" y="175948"/>
                    <a:pt x="300211" y="176835"/>
                  </a:cubicBezTo>
                  <a:cubicBezTo>
                    <a:pt x="307559" y="177342"/>
                    <a:pt x="315033" y="175188"/>
                    <a:pt x="322254" y="176328"/>
                  </a:cubicBezTo>
                  <a:cubicBezTo>
                    <a:pt x="328842" y="177342"/>
                    <a:pt x="335683" y="180509"/>
                    <a:pt x="341510" y="183802"/>
                  </a:cubicBezTo>
                  <a:cubicBezTo>
                    <a:pt x="347210" y="187096"/>
                    <a:pt x="352531" y="191657"/>
                    <a:pt x="354558" y="198117"/>
                  </a:cubicBezTo>
                  <a:cubicBezTo>
                    <a:pt x="356712" y="204705"/>
                    <a:pt x="356965" y="212053"/>
                    <a:pt x="359245" y="218513"/>
                  </a:cubicBezTo>
                  <a:cubicBezTo>
                    <a:pt x="363426" y="230802"/>
                    <a:pt x="384075" y="232322"/>
                    <a:pt x="393450" y="226241"/>
                  </a:cubicBezTo>
                  <a:cubicBezTo>
                    <a:pt x="400037" y="222061"/>
                    <a:pt x="414732" y="209266"/>
                    <a:pt x="422713" y="213826"/>
                  </a:cubicBezTo>
                  <a:cubicBezTo>
                    <a:pt x="431074" y="218513"/>
                    <a:pt x="435128" y="229028"/>
                    <a:pt x="440956" y="236122"/>
                  </a:cubicBezTo>
                  <a:cubicBezTo>
                    <a:pt x="444629" y="240556"/>
                    <a:pt x="449443" y="243723"/>
                    <a:pt x="452737" y="248410"/>
                  </a:cubicBezTo>
                  <a:cubicBezTo>
                    <a:pt x="455524" y="252211"/>
                    <a:pt x="457551" y="256645"/>
                    <a:pt x="459451" y="260825"/>
                  </a:cubicBezTo>
                  <a:cubicBezTo>
                    <a:pt x="461225" y="264626"/>
                    <a:pt x="462998" y="268426"/>
                    <a:pt x="464519" y="272480"/>
                  </a:cubicBezTo>
                  <a:cubicBezTo>
                    <a:pt x="468446" y="282235"/>
                    <a:pt x="471486" y="292749"/>
                    <a:pt x="476047" y="302124"/>
                  </a:cubicBezTo>
                  <a:cubicBezTo>
                    <a:pt x="480481" y="311118"/>
                    <a:pt x="488715" y="317072"/>
                    <a:pt x="497456" y="321633"/>
                  </a:cubicBezTo>
                  <a:cubicBezTo>
                    <a:pt x="503917" y="325054"/>
                    <a:pt x="509618" y="325687"/>
                    <a:pt x="516332" y="322773"/>
                  </a:cubicBezTo>
                  <a:cubicBezTo>
                    <a:pt x="522032" y="320240"/>
                    <a:pt x="528620" y="315172"/>
                    <a:pt x="535207" y="316946"/>
                  </a:cubicBezTo>
                  <a:cubicBezTo>
                    <a:pt x="541668" y="318593"/>
                    <a:pt x="543315" y="326067"/>
                    <a:pt x="546102" y="331261"/>
                  </a:cubicBezTo>
                  <a:cubicBezTo>
                    <a:pt x="549903" y="338608"/>
                    <a:pt x="555857" y="343802"/>
                    <a:pt x="563331" y="347476"/>
                  </a:cubicBezTo>
                  <a:cubicBezTo>
                    <a:pt x="574352" y="352923"/>
                    <a:pt x="589681" y="351530"/>
                    <a:pt x="598295" y="361031"/>
                  </a:cubicBezTo>
                  <a:cubicBezTo>
                    <a:pt x="599055" y="361918"/>
                    <a:pt x="599689" y="362678"/>
                    <a:pt x="600195" y="363565"/>
                  </a:cubicBezTo>
                  <a:cubicBezTo>
                    <a:pt x="600449" y="363945"/>
                    <a:pt x="600702" y="364452"/>
                    <a:pt x="600956" y="364832"/>
                  </a:cubicBezTo>
                  <a:cubicBezTo>
                    <a:pt x="601209" y="365212"/>
                    <a:pt x="601462" y="365719"/>
                    <a:pt x="601589" y="366099"/>
                  </a:cubicBezTo>
                  <a:cubicBezTo>
                    <a:pt x="601716" y="366352"/>
                    <a:pt x="601842" y="366605"/>
                    <a:pt x="601969" y="366985"/>
                  </a:cubicBezTo>
                  <a:cubicBezTo>
                    <a:pt x="602349" y="367872"/>
                    <a:pt x="602729" y="368759"/>
                    <a:pt x="602856" y="369772"/>
                  </a:cubicBezTo>
                  <a:cubicBezTo>
                    <a:pt x="602983" y="370279"/>
                    <a:pt x="603109" y="370786"/>
                    <a:pt x="603236" y="371293"/>
                  </a:cubicBezTo>
                  <a:cubicBezTo>
                    <a:pt x="603743" y="373446"/>
                    <a:pt x="603869" y="375727"/>
                    <a:pt x="603996" y="378007"/>
                  </a:cubicBezTo>
                  <a:cubicBezTo>
                    <a:pt x="604123" y="379654"/>
                    <a:pt x="603996" y="381554"/>
                    <a:pt x="603996" y="383201"/>
                  </a:cubicBezTo>
                  <a:cubicBezTo>
                    <a:pt x="603869" y="391182"/>
                    <a:pt x="605896" y="395742"/>
                    <a:pt x="611597" y="401316"/>
                  </a:cubicBezTo>
                  <a:cubicBezTo>
                    <a:pt x="617298" y="407017"/>
                    <a:pt x="621478" y="412211"/>
                    <a:pt x="618184" y="420445"/>
                  </a:cubicBezTo>
                  <a:cubicBezTo>
                    <a:pt x="615017" y="428426"/>
                    <a:pt x="606530" y="434634"/>
                    <a:pt x="604756" y="443121"/>
                  </a:cubicBezTo>
                  <a:cubicBezTo>
                    <a:pt x="603236" y="450469"/>
                    <a:pt x="609950" y="454143"/>
                    <a:pt x="615017" y="457943"/>
                  </a:cubicBezTo>
                  <a:cubicBezTo>
                    <a:pt x="621098" y="462377"/>
                    <a:pt x="626926" y="467445"/>
                    <a:pt x="628192" y="475299"/>
                  </a:cubicBezTo>
                  <a:cubicBezTo>
                    <a:pt x="629459" y="483153"/>
                    <a:pt x="625532" y="490247"/>
                    <a:pt x="621731" y="496835"/>
                  </a:cubicBezTo>
                  <a:cubicBezTo>
                    <a:pt x="618691" y="502029"/>
                    <a:pt x="615271" y="507223"/>
                    <a:pt x="619325" y="512924"/>
                  </a:cubicBezTo>
                  <a:cubicBezTo>
                    <a:pt x="623632" y="518751"/>
                    <a:pt x="631106" y="521411"/>
                    <a:pt x="634780" y="527872"/>
                  </a:cubicBezTo>
                  <a:cubicBezTo>
                    <a:pt x="639087" y="535473"/>
                    <a:pt x="635920" y="544341"/>
                    <a:pt x="633513" y="552068"/>
                  </a:cubicBezTo>
                  <a:cubicBezTo>
                    <a:pt x="631359" y="558783"/>
                    <a:pt x="628826" y="565497"/>
                    <a:pt x="630726" y="572464"/>
                  </a:cubicBezTo>
                  <a:cubicBezTo>
                    <a:pt x="632246" y="578165"/>
                    <a:pt x="634653" y="584246"/>
                    <a:pt x="634527" y="590200"/>
                  </a:cubicBezTo>
                  <a:cubicBezTo>
                    <a:pt x="634400" y="595394"/>
                    <a:pt x="633766" y="600208"/>
                    <a:pt x="635033" y="605402"/>
                  </a:cubicBezTo>
                  <a:cubicBezTo>
                    <a:pt x="635920" y="609075"/>
                    <a:pt x="637820" y="612243"/>
                    <a:pt x="638834" y="615790"/>
                  </a:cubicBezTo>
                  <a:cubicBezTo>
                    <a:pt x="642127" y="626558"/>
                    <a:pt x="643648" y="637326"/>
                    <a:pt x="647828" y="647714"/>
                  </a:cubicBezTo>
                  <a:cubicBezTo>
                    <a:pt x="652769" y="658355"/>
                    <a:pt x="654796" y="670137"/>
                    <a:pt x="652769" y="68191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2" name="Полилиния: фигура 421">
              <a:extLst>
                <a:ext uri="{FF2B5EF4-FFF2-40B4-BE49-F238E27FC236}">
                  <a16:creationId xmlns:a16="http://schemas.microsoft.com/office/drawing/2014/main" id="{BEC403EF-2399-4EBE-BBF8-5682D0565380}"/>
                </a:ext>
              </a:extLst>
            </p:cNvPr>
            <p:cNvSpPr/>
            <p:nvPr/>
          </p:nvSpPr>
          <p:spPr>
            <a:xfrm>
              <a:off x="1611068" y="4096781"/>
              <a:ext cx="705261" cy="732784"/>
            </a:xfrm>
            <a:custGeom>
              <a:avLst/>
              <a:gdLst>
                <a:gd name="connsiteX0" fmla="*/ 691722 w 705261"/>
                <a:gd name="connsiteY0" fmla="*/ 570124 h 732784"/>
                <a:gd name="connsiteX1" fmla="*/ 680574 w 705261"/>
                <a:gd name="connsiteY1" fmla="*/ 592674 h 732784"/>
                <a:gd name="connsiteX2" fmla="*/ 616346 w 705261"/>
                <a:gd name="connsiteY2" fmla="*/ 609649 h 732784"/>
                <a:gd name="connsiteX3" fmla="*/ 556552 w 705261"/>
                <a:gd name="connsiteY3" fmla="*/ 601922 h 732784"/>
                <a:gd name="connsiteX4" fmla="*/ 549331 w 705261"/>
                <a:gd name="connsiteY4" fmla="*/ 665009 h 732784"/>
                <a:gd name="connsiteX5" fmla="*/ 493844 w 705261"/>
                <a:gd name="connsiteY5" fmla="*/ 714922 h 732784"/>
                <a:gd name="connsiteX6" fmla="*/ 460653 w 705261"/>
                <a:gd name="connsiteY6" fmla="*/ 732785 h 732784"/>
                <a:gd name="connsiteX7" fmla="*/ 452039 w 705261"/>
                <a:gd name="connsiteY7" fmla="*/ 723157 h 732784"/>
                <a:gd name="connsiteX8" fmla="*/ 431390 w 705261"/>
                <a:gd name="connsiteY8" fmla="*/ 718343 h 732784"/>
                <a:gd name="connsiteX9" fmla="*/ 425562 w 705261"/>
                <a:gd name="connsiteY9" fmla="*/ 686039 h 732784"/>
                <a:gd name="connsiteX10" fmla="*/ 413528 w 705261"/>
                <a:gd name="connsiteY10" fmla="*/ 657029 h 732784"/>
                <a:gd name="connsiteX11" fmla="*/ 383884 w 705261"/>
                <a:gd name="connsiteY11" fmla="*/ 654495 h 732784"/>
                <a:gd name="connsiteX12" fmla="*/ 372482 w 705261"/>
                <a:gd name="connsiteY12" fmla="*/ 635366 h 732784"/>
                <a:gd name="connsiteX13" fmla="*/ 375903 w 705261"/>
                <a:gd name="connsiteY13" fmla="*/ 604075 h 732784"/>
                <a:gd name="connsiteX14" fmla="*/ 349046 w 705261"/>
                <a:gd name="connsiteY14" fmla="*/ 613703 h 732784"/>
                <a:gd name="connsiteX15" fmla="*/ 321809 w 705261"/>
                <a:gd name="connsiteY15" fmla="*/ 614970 h 732784"/>
                <a:gd name="connsiteX16" fmla="*/ 295586 w 705261"/>
                <a:gd name="connsiteY16" fmla="*/ 601035 h 732784"/>
                <a:gd name="connsiteX17" fmla="*/ 266956 w 705261"/>
                <a:gd name="connsiteY17" fmla="*/ 609649 h 732784"/>
                <a:gd name="connsiteX18" fmla="*/ 264929 w 705261"/>
                <a:gd name="connsiteY18" fmla="*/ 612943 h 732784"/>
                <a:gd name="connsiteX19" fmla="*/ 210709 w 705261"/>
                <a:gd name="connsiteY19" fmla="*/ 623838 h 732784"/>
                <a:gd name="connsiteX20" fmla="*/ 195380 w 705261"/>
                <a:gd name="connsiteY20" fmla="*/ 582286 h 732784"/>
                <a:gd name="connsiteX21" fmla="*/ 169157 w 705261"/>
                <a:gd name="connsiteY21" fmla="*/ 604582 h 732784"/>
                <a:gd name="connsiteX22" fmla="*/ 137486 w 705261"/>
                <a:gd name="connsiteY22" fmla="*/ 598628 h 732784"/>
                <a:gd name="connsiteX23" fmla="*/ 82506 w 705261"/>
                <a:gd name="connsiteY23" fmla="*/ 580386 h 732784"/>
                <a:gd name="connsiteX24" fmla="*/ 40701 w 705261"/>
                <a:gd name="connsiteY24" fmla="*/ 609269 h 732784"/>
                <a:gd name="connsiteX25" fmla="*/ 37787 w 705261"/>
                <a:gd name="connsiteY25" fmla="*/ 581779 h 732784"/>
                <a:gd name="connsiteX26" fmla="*/ 4216 w 705261"/>
                <a:gd name="connsiteY26" fmla="*/ 552389 h 732784"/>
                <a:gd name="connsiteX27" fmla="*/ 9157 w 705261"/>
                <a:gd name="connsiteY27" fmla="*/ 508430 h 732784"/>
                <a:gd name="connsiteX28" fmla="*/ 29173 w 705261"/>
                <a:gd name="connsiteY28" fmla="*/ 458644 h 732784"/>
                <a:gd name="connsiteX29" fmla="*/ 15618 w 705261"/>
                <a:gd name="connsiteY29" fmla="*/ 412658 h 732784"/>
                <a:gd name="connsiteX30" fmla="*/ 76172 w 705261"/>
                <a:gd name="connsiteY30" fmla="*/ 360085 h 732784"/>
                <a:gd name="connsiteX31" fmla="*/ 124692 w 705261"/>
                <a:gd name="connsiteY31" fmla="*/ 357171 h 732784"/>
                <a:gd name="connsiteX32" fmla="*/ 155222 w 705261"/>
                <a:gd name="connsiteY32" fmla="*/ 317013 h 732784"/>
                <a:gd name="connsiteX33" fmla="*/ 179292 w 705261"/>
                <a:gd name="connsiteY33" fmla="*/ 244930 h 732784"/>
                <a:gd name="connsiteX34" fmla="*/ 215143 w 705261"/>
                <a:gd name="connsiteY34" fmla="*/ 223141 h 732784"/>
                <a:gd name="connsiteX35" fmla="*/ 240353 w 705261"/>
                <a:gd name="connsiteY35" fmla="*/ 180829 h 732784"/>
                <a:gd name="connsiteX36" fmla="*/ 232372 w 705261"/>
                <a:gd name="connsiteY36" fmla="*/ 69095 h 732784"/>
                <a:gd name="connsiteX37" fmla="*/ 297486 w 705261"/>
                <a:gd name="connsiteY37" fmla="*/ 50726 h 732784"/>
                <a:gd name="connsiteX38" fmla="*/ 342966 w 705261"/>
                <a:gd name="connsiteY38" fmla="*/ 5754 h 732784"/>
                <a:gd name="connsiteX39" fmla="*/ 412261 w 705261"/>
                <a:gd name="connsiteY39" fmla="*/ 61621 h 732784"/>
                <a:gd name="connsiteX40" fmla="*/ 492197 w 705261"/>
                <a:gd name="connsiteY40" fmla="*/ 86577 h 732784"/>
                <a:gd name="connsiteX41" fmla="*/ 490044 w 705261"/>
                <a:gd name="connsiteY41" fmla="*/ 92278 h 732784"/>
                <a:gd name="connsiteX42" fmla="*/ 496758 w 705261"/>
                <a:gd name="connsiteY42" fmla="*/ 111027 h 732784"/>
                <a:gd name="connsiteX43" fmla="*/ 510440 w 705261"/>
                <a:gd name="connsiteY43" fmla="*/ 123822 h 732784"/>
                <a:gd name="connsiteX44" fmla="*/ 511073 w 705261"/>
                <a:gd name="connsiteY44" fmla="*/ 145231 h 732784"/>
                <a:gd name="connsiteX45" fmla="*/ 505119 w 705261"/>
                <a:gd name="connsiteY45" fmla="*/ 169174 h 732784"/>
                <a:gd name="connsiteX46" fmla="*/ 522855 w 705261"/>
                <a:gd name="connsiteY46" fmla="*/ 171581 h 732784"/>
                <a:gd name="connsiteX47" fmla="*/ 543124 w 705261"/>
                <a:gd name="connsiteY47" fmla="*/ 161953 h 732784"/>
                <a:gd name="connsiteX48" fmla="*/ 550091 w 705261"/>
                <a:gd name="connsiteY48" fmla="*/ 172975 h 732784"/>
                <a:gd name="connsiteX49" fmla="*/ 554019 w 705261"/>
                <a:gd name="connsiteY49" fmla="*/ 185136 h 732784"/>
                <a:gd name="connsiteX50" fmla="*/ 564153 w 705261"/>
                <a:gd name="connsiteY50" fmla="*/ 203125 h 732784"/>
                <a:gd name="connsiteX51" fmla="*/ 580115 w 705261"/>
                <a:gd name="connsiteY51" fmla="*/ 197298 h 732784"/>
                <a:gd name="connsiteX52" fmla="*/ 599244 w 705261"/>
                <a:gd name="connsiteY52" fmla="*/ 197298 h 732784"/>
                <a:gd name="connsiteX53" fmla="*/ 620400 w 705261"/>
                <a:gd name="connsiteY53" fmla="*/ 235176 h 732784"/>
                <a:gd name="connsiteX54" fmla="*/ 640796 w 705261"/>
                <a:gd name="connsiteY54" fmla="*/ 272927 h 732784"/>
                <a:gd name="connsiteX55" fmla="*/ 636869 w 705261"/>
                <a:gd name="connsiteY55" fmla="*/ 295097 h 732784"/>
                <a:gd name="connsiteX56" fmla="*/ 625847 w 705261"/>
                <a:gd name="connsiteY56" fmla="*/ 306878 h 732784"/>
                <a:gd name="connsiteX57" fmla="*/ 616980 w 705261"/>
                <a:gd name="connsiteY57" fmla="*/ 320813 h 732784"/>
                <a:gd name="connsiteX58" fmla="*/ 605578 w 705261"/>
                <a:gd name="connsiteY58" fmla="*/ 331835 h 732784"/>
                <a:gd name="connsiteX59" fmla="*/ 593037 w 705261"/>
                <a:gd name="connsiteY59" fmla="*/ 348683 h 732784"/>
                <a:gd name="connsiteX60" fmla="*/ 582776 w 705261"/>
                <a:gd name="connsiteY60" fmla="*/ 363378 h 732784"/>
                <a:gd name="connsiteX61" fmla="*/ 584042 w 705261"/>
                <a:gd name="connsiteY61" fmla="*/ 380861 h 732784"/>
                <a:gd name="connsiteX62" fmla="*/ 592530 w 705261"/>
                <a:gd name="connsiteY62" fmla="*/ 398850 h 732784"/>
                <a:gd name="connsiteX63" fmla="*/ 598991 w 705261"/>
                <a:gd name="connsiteY63" fmla="*/ 404044 h 732784"/>
                <a:gd name="connsiteX64" fmla="*/ 601778 w 705261"/>
                <a:gd name="connsiteY64" fmla="*/ 408604 h 732784"/>
                <a:gd name="connsiteX65" fmla="*/ 615206 w 705261"/>
                <a:gd name="connsiteY65" fmla="*/ 413925 h 732784"/>
                <a:gd name="connsiteX66" fmla="*/ 630155 w 705261"/>
                <a:gd name="connsiteY66" fmla="*/ 422666 h 732784"/>
                <a:gd name="connsiteX67" fmla="*/ 633068 w 705261"/>
                <a:gd name="connsiteY67" fmla="*/ 437361 h 732784"/>
                <a:gd name="connsiteX68" fmla="*/ 633575 w 705261"/>
                <a:gd name="connsiteY68" fmla="*/ 448889 h 732784"/>
                <a:gd name="connsiteX69" fmla="*/ 653718 w 705261"/>
                <a:gd name="connsiteY69" fmla="*/ 461051 h 732784"/>
                <a:gd name="connsiteX70" fmla="*/ 681081 w 705261"/>
                <a:gd name="connsiteY70" fmla="*/ 469032 h 732784"/>
                <a:gd name="connsiteX71" fmla="*/ 682728 w 705261"/>
                <a:gd name="connsiteY71" fmla="*/ 512737 h 732784"/>
                <a:gd name="connsiteX72" fmla="*/ 704391 w 705261"/>
                <a:gd name="connsiteY72" fmla="*/ 545168 h 732784"/>
                <a:gd name="connsiteX73" fmla="*/ 691722 w 705261"/>
                <a:gd name="connsiteY73" fmla="*/ 570124 h 73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5261" h="732784">
                  <a:moveTo>
                    <a:pt x="691722" y="570124"/>
                  </a:moveTo>
                  <a:cubicBezTo>
                    <a:pt x="686275" y="576332"/>
                    <a:pt x="682981" y="584313"/>
                    <a:pt x="680574" y="592674"/>
                  </a:cubicBezTo>
                  <a:cubicBezTo>
                    <a:pt x="659799" y="603695"/>
                    <a:pt x="640669" y="612183"/>
                    <a:pt x="616346" y="609649"/>
                  </a:cubicBezTo>
                  <a:cubicBezTo>
                    <a:pt x="600131" y="608002"/>
                    <a:pt x="571881" y="592547"/>
                    <a:pt x="556552" y="601922"/>
                  </a:cubicBezTo>
                  <a:cubicBezTo>
                    <a:pt x="538310" y="612943"/>
                    <a:pt x="549711" y="648414"/>
                    <a:pt x="549331" y="665009"/>
                  </a:cubicBezTo>
                  <a:cubicBezTo>
                    <a:pt x="548444" y="696680"/>
                    <a:pt x="518801" y="704915"/>
                    <a:pt x="493844" y="714922"/>
                  </a:cubicBezTo>
                  <a:cubicBezTo>
                    <a:pt x="482063" y="719736"/>
                    <a:pt x="471422" y="726324"/>
                    <a:pt x="460653" y="732785"/>
                  </a:cubicBezTo>
                  <a:cubicBezTo>
                    <a:pt x="457993" y="729364"/>
                    <a:pt x="455586" y="725690"/>
                    <a:pt x="452039" y="723157"/>
                  </a:cubicBezTo>
                  <a:cubicBezTo>
                    <a:pt x="446338" y="718976"/>
                    <a:pt x="437851" y="722143"/>
                    <a:pt x="431390" y="718343"/>
                  </a:cubicBezTo>
                  <a:cubicBezTo>
                    <a:pt x="421129" y="712262"/>
                    <a:pt x="425943" y="696047"/>
                    <a:pt x="425562" y="686039"/>
                  </a:cubicBezTo>
                  <a:cubicBezTo>
                    <a:pt x="425182" y="675904"/>
                    <a:pt x="423662" y="662222"/>
                    <a:pt x="413528" y="657029"/>
                  </a:cubicBezTo>
                  <a:cubicBezTo>
                    <a:pt x="404533" y="652341"/>
                    <a:pt x="393512" y="655382"/>
                    <a:pt x="383884" y="654495"/>
                  </a:cubicBezTo>
                  <a:cubicBezTo>
                    <a:pt x="372482" y="653481"/>
                    <a:pt x="370962" y="645501"/>
                    <a:pt x="372482" y="635366"/>
                  </a:cubicBezTo>
                  <a:cubicBezTo>
                    <a:pt x="373496" y="628905"/>
                    <a:pt x="381604" y="609523"/>
                    <a:pt x="375903" y="604075"/>
                  </a:cubicBezTo>
                  <a:cubicBezTo>
                    <a:pt x="370202" y="598628"/>
                    <a:pt x="354114" y="611296"/>
                    <a:pt x="349046" y="613703"/>
                  </a:cubicBezTo>
                  <a:cubicBezTo>
                    <a:pt x="339798" y="618390"/>
                    <a:pt x="331057" y="621051"/>
                    <a:pt x="321809" y="614970"/>
                  </a:cubicBezTo>
                  <a:cubicBezTo>
                    <a:pt x="313195" y="609269"/>
                    <a:pt x="306228" y="602808"/>
                    <a:pt x="295586" y="601035"/>
                  </a:cubicBezTo>
                  <a:cubicBezTo>
                    <a:pt x="285705" y="599388"/>
                    <a:pt x="273417" y="601162"/>
                    <a:pt x="266956" y="609649"/>
                  </a:cubicBezTo>
                  <a:cubicBezTo>
                    <a:pt x="266196" y="610663"/>
                    <a:pt x="265436" y="611803"/>
                    <a:pt x="264929" y="612943"/>
                  </a:cubicBezTo>
                  <a:cubicBezTo>
                    <a:pt x="257835" y="611423"/>
                    <a:pt x="219070" y="625865"/>
                    <a:pt x="210709" y="623838"/>
                  </a:cubicBezTo>
                  <a:cubicBezTo>
                    <a:pt x="202348" y="621811"/>
                    <a:pt x="203741" y="595208"/>
                    <a:pt x="195380" y="582286"/>
                  </a:cubicBezTo>
                  <a:cubicBezTo>
                    <a:pt x="187019" y="569364"/>
                    <a:pt x="173591" y="587227"/>
                    <a:pt x="169157" y="604582"/>
                  </a:cubicBezTo>
                  <a:cubicBezTo>
                    <a:pt x="164723" y="621937"/>
                    <a:pt x="152815" y="607622"/>
                    <a:pt x="137486" y="598628"/>
                  </a:cubicBezTo>
                  <a:cubicBezTo>
                    <a:pt x="122158" y="589760"/>
                    <a:pt x="94921" y="582286"/>
                    <a:pt x="82506" y="580386"/>
                  </a:cubicBezTo>
                  <a:cubicBezTo>
                    <a:pt x="70091" y="578359"/>
                    <a:pt x="40701" y="609269"/>
                    <a:pt x="40701" y="609269"/>
                  </a:cubicBezTo>
                  <a:cubicBezTo>
                    <a:pt x="42095" y="599768"/>
                    <a:pt x="43361" y="589887"/>
                    <a:pt x="37787" y="581779"/>
                  </a:cubicBezTo>
                  <a:cubicBezTo>
                    <a:pt x="29046" y="568984"/>
                    <a:pt x="11944" y="567084"/>
                    <a:pt x="4216" y="552389"/>
                  </a:cubicBezTo>
                  <a:cubicBezTo>
                    <a:pt x="-3765" y="537060"/>
                    <a:pt x="543" y="522112"/>
                    <a:pt x="9157" y="508430"/>
                  </a:cubicBezTo>
                  <a:cubicBezTo>
                    <a:pt x="19038" y="492721"/>
                    <a:pt x="29933" y="478153"/>
                    <a:pt x="29173" y="458644"/>
                  </a:cubicBezTo>
                  <a:cubicBezTo>
                    <a:pt x="28540" y="442048"/>
                    <a:pt x="17138" y="428747"/>
                    <a:pt x="15618" y="412658"/>
                  </a:cubicBezTo>
                  <a:cubicBezTo>
                    <a:pt x="12451" y="379087"/>
                    <a:pt x="46022" y="355017"/>
                    <a:pt x="76172" y="360085"/>
                  </a:cubicBezTo>
                  <a:cubicBezTo>
                    <a:pt x="93274" y="362872"/>
                    <a:pt x="109490" y="368699"/>
                    <a:pt x="124692" y="357171"/>
                  </a:cubicBezTo>
                  <a:cubicBezTo>
                    <a:pt x="137233" y="347670"/>
                    <a:pt x="148001" y="330948"/>
                    <a:pt x="155222" y="317013"/>
                  </a:cubicBezTo>
                  <a:cubicBezTo>
                    <a:pt x="166877" y="294337"/>
                    <a:pt x="164723" y="266213"/>
                    <a:pt x="179292" y="244930"/>
                  </a:cubicBezTo>
                  <a:cubicBezTo>
                    <a:pt x="189046" y="230742"/>
                    <a:pt x="201208" y="230362"/>
                    <a:pt x="215143" y="223141"/>
                  </a:cubicBezTo>
                  <a:cubicBezTo>
                    <a:pt x="230851" y="215160"/>
                    <a:pt x="237819" y="197424"/>
                    <a:pt x="240353" y="180829"/>
                  </a:cubicBezTo>
                  <a:cubicBezTo>
                    <a:pt x="241873" y="170948"/>
                    <a:pt x="232878" y="69095"/>
                    <a:pt x="232372" y="69095"/>
                  </a:cubicBezTo>
                  <a:cubicBezTo>
                    <a:pt x="232372" y="69095"/>
                    <a:pt x="285578" y="73529"/>
                    <a:pt x="297486" y="50726"/>
                  </a:cubicBezTo>
                  <a:cubicBezTo>
                    <a:pt x="309395" y="27923"/>
                    <a:pt x="305467" y="-15655"/>
                    <a:pt x="342966" y="5754"/>
                  </a:cubicBezTo>
                  <a:cubicBezTo>
                    <a:pt x="380590" y="27037"/>
                    <a:pt x="393385" y="55667"/>
                    <a:pt x="412261" y="61621"/>
                  </a:cubicBezTo>
                  <a:cubicBezTo>
                    <a:pt x="431010" y="67575"/>
                    <a:pt x="452546" y="92658"/>
                    <a:pt x="492197" y="86577"/>
                  </a:cubicBezTo>
                  <a:cubicBezTo>
                    <a:pt x="491184" y="88224"/>
                    <a:pt x="490424" y="90251"/>
                    <a:pt x="490044" y="92278"/>
                  </a:cubicBezTo>
                  <a:cubicBezTo>
                    <a:pt x="488904" y="99119"/>
                    <a:pt x="492324" y="105960"/>
                    <a:pt x="496758" y="111027"/>
                  </a:cubicBezTo>
                  <a:cubicBezTo>
                    <a:pt x="500939" y="115587"/>
                    <a:pt x="506893" y="118628"/>
                    <a:pt x="510440" y="123822"/>
                  </a:cubicBezTo>
                  <a:cubicBezTo>
                    <a:pt x="514747" y="130409"/>
                    <a:pt x="513353" y="138137"/>
                    <a:pt x="511073" y="145231"/>
                  </a:cubicBezTo>
                  <a:cubicBezTo>
                    <a:pt x="508920" y="151945"/>
                    <a:pt x="502839" y="161953"/>
                    <a:pt x="505119" y="169174"/>
                  </a:cubicBezTo>
                  <a:cubicBezTo>
                    <a:pt x="507653" y="176775"/>
                    <a:pt x="517534" y="173861"/>
                    <a:pt x="522855" y="171581"/>
                  </a:cubicBezTo>
                  <a:cubicBezTo>
                    <a:pt x="528175" y="169428"/>
                    <a:pt x="537170" y="160813"/>
                    <a:pt x="543124" y="161953"/>
                  </a:cubicBezTo>
                  <a:cubicBezTo>
                    <a:pt x="547811" y="162840"/>
                    <a:pt x="549078" y="169174"/>
                    <a:pt x="550091" y="172975"/>
                  </a:cubicBezTo>
                  <a:cubicBezTo>
                    <a:pt x="551105" y="177155"/>
                    <a:pt x="552878" y="180956"/>
                    <a:pt x="554019" y="185136"/>
                  </a:cubicBezTo>
                  <a:cubicBezTo>
                    <a:pt x="555159" y="189064"/>
                    <a:pt x="555539" y="208952"/>
                    <a:pt x="564153" y="203125"/>
                  </a:cubicBezTo>
                  <a:cubicBezTo>
                    <a:pt x="570107" y="199071"/>
                    <a:pt x="572767" y="197931"/>
                    <a:pt x="580115" y="197298"/>
                  </a:cubicBezTo>
                  <a:cubicBezTo>
                    <a:pt x="586576" y="196791"/>
                    <a:pt x="593163" y="194004"/>
                    <a:pt x="599244" y="197298"/>
                  </a:cubicBezTo>
                  <a:cubicBezTo>
                    <a:pt x="611913" y="204265"/>
                    <a:pt x="615460" y="223014"/>
                    <a:pt x="620400" y="235176"/>
                  </a:cubicBezTo>
                  <a:cubicBezTo>
                    <a:pt x="625974" y="248984"/>
                    <a:pt x="638136" y="257092"/>
                    <a:pt x="640796" y="272927"/>
                  </a:cubicBezTo>
                  <a:cubicBezTo>
                    <a:pt x="642063" y="280528"/>
                    <a:pt x="641556" y="288763"/>
                    <a:pt x="636869" y="295097"/>
                  </a:cubicBezTo>
                  <a:cubicBezTo>
                    <a:pt x="633575" y="299404"/>
                    <a:pt x="628888" y="302318"/>
                    <a:pt x="625847" y="306878"/>
                  </a:cubicBezTo>
                  <a:cubicBezTo>
                    <a:pt x="622807" y="311565"/>
                    <a:pt x="621160" y="316886"/>
                    <a:pt x="616980" y="320813"/>
                  </a:cubicBezTo>
                  <a:cubicBezTo>
                    <a:pt x="613179" y="324487"/>
                    <a:pt x="609252" y="327907"/>
                    <a:pt x="605578" y="331835"/>
                  </a:cubicBezTo>
                  <a:cubicBezTo>
                    <a:pt x="600764" y="337155"/>
                    <a:pt x="596964" y="342729"/>
                    <a:pt x="593037" y="348683"/>
                  </a:cubicBezTo>
                  <a:cubicBezTo>
                    <a:pt x="589743" y="353624"/>
                    <a:pt x="583916" y="357424"/>
                    <a:pt x="582776" y="363378"/>
                  </a:cubicBezTo>
                  <a:cubicBezTo>
                    <a:pt x="581635" y="368952"/>
                    <a:pt x="584169" y="375287"/>
                    <a:pt x="584042" y="380861"/>
                  </a:cubicBezTo>
                  <a:cubicBezTo>
                    <a:pt x="583916" y="389095"/>
                    <a:pt x="585436" y="394163"/>
                    <a:pt x="592530" y="398850"/>
                  </a:cubicBezTo>
                  <a:cubicBezTo>
                    <a:pt x="594937" y="400497"/>
                    <a:pt x="597217" y="401763"/>
                    <a:pt x="598991" y="404044"/>
                  </a:cubicBezTo>
                  <a:cubicBezTo>
                    <a:pt x="600004" y="405437"/>
                    <a:pt x="600511" y="407464"/>
                    <a:pt x="601778" y="408604"/>
                  </a:cubicBezTo>
                  <a:cubicBezTo>
                    <a:pt x="604818" y="411391"/>
                    <a:pt x="611406" y="412658"/>
                    <a:pt x="615206" y="413925"/>
                  </a:cubicBezTo>
                  <a:cubicBezTo>
                    <a:pt x="621540" y="416078"/>
                    <a:pt x="627114" y="415825"/>
                    <a:pt x="630155" y="422666"/>
                  </a:cubicBezTo>
                  <a:cubicBezTo>
                    <a:pt x="632182" y="427226"/>
                    <a:pt x="632942" y="432421"/>
                    <a:pt x="633068" y="437361"/>
                  </a:cubicBezTo>
                  <a:cubicBezTo>
                    <a:pt x="633195" y="441035"/>
                    <a:pt x="631928" y="445469"/>
                    <a:pt x="633575" y="448889"/>
                  </a:cubicBezTo>
                  <a:cubicBezTo>
                    <a:pt x="636996" y="455730"/>
                    <a:pt x="646243" y="461051"/>
                    <a:pt x="653718" y="461051"/>
                  </a:cubicBezTo>
                  <a:cubicBezTo>
                    <a:pt x="665499" y="460924"/>
                    <a:pt x="677407" y="452816"/>
                    <a:pt x="681081" y="469032"/>
                  </a:cubicBezTo>
                  <a:cubicBezTo>
                    <a:pt x="684375" y="483347"/>
                    <a:pt x="680068" y="498295"/>
                    <a:pt x="682728" y="512737"/>
                  </a:cubicBezTo>
                  <a:cubicBezTo>
                    <a:pt x="685388" y="527306"/>
                    <a:pt x="699830" y="532246"/>
                    <a:pt x="704391" y="545168"/>
                  </a:cubicBezTo>
                  <a:cubicBezTo>
                    <a:pt x="708318" y="556569"/>
                    <a:pt x="698056" y="563030"/>
                    <a:pt x="691722" y="570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3" name="Полилиния: фигура 422">
              <a:extLst>
                <a:ext uri="{FF2B5EF4-FFF2-40B4-BE49-F238E27FC236}">
                  <a16:creationId xmlns:a16="http://schemas.microsoft.com/office/drawing/2014/main" id="{FB546CB3-E98F-4395-89EA-AB8B96ECD0CF}"/>
                </a:ext>
              </a:extLst>
            </p:cNvPr>
            <p:cNvSpPr/>
            <p:nvPr/>
          </p:nvSpPr>
          <p:spPr>
            <a:xfrm>
              <a:off x="1706041" y="4697513"/>
              <a:ext cx="365680" cy="641221"/>
            </a:xfrm>
            <a:custGeom>
              <a:avLst/>
              <a:gdLst>
                <a:gd name="connsiteX0" fmla="*/ 357827 w 365680"/>
                <a:gd name="connsiteY0" fmla="*/ 355773 h 641221"/>
                <a:gd name="connsiteX1" fmla="*/ 348579 w 365680"/>
                <a:gd name="connsiteY1" fmla="*/ 400492 h 641221"/>
                <a:gd name="connsiteX2" fmla="*/ 333504 w 365680"/>
                <a:gd name="connsiteY2" fmla="*/ 432289 h 641221"/>
                <a:gd name="connsiteX3" fmla="*/ 327676 w 365680"/>
                <a:gd name="connsiteY3" fmla="*/ 467380 h 641221"/>
                <a:gd name="connsiteX4" fmla="*/ 324382 w 365680"/>
                <a:gd name="connsiteY4" fmla="*/ 497658 h 641221"/>
                <a:gd name="connsiteX5" fmla="*/ 313741 w 365680"/>
                <a:gd name="connsiteY5" fmla="*/ 516913 h 641221"/>
                <a:gd name="connsiteX6" fmla="*/ 286631 w 365680"/>
                <a:gd name="connsiteY6" fmla="*/ 507285 h 641221"/>
                <a:gd name="connsiteX7" fmla="*/ 273709 w 365680"/>
                <a:gd name="connsiteY7" fmla="*/ 523501 h 641221"/>
                <a:gd name="connsiteX8" fmla="*/ 293599 w 365680"/>
                <a:gd name="connsiteY8" fmla="*/ 572780 h 641221"/>
                <a:gd name="connsiteX9" fmla="*/ 316148 w 365680"/>
                <a:gd name="connsiteY9" fmla="*/ 605464 h 641221"/>
                <a:gd name="connsiteX10" fmla="*/ 324256 w 365680"/>
                <a:gd name="connsiteY10" fmla="*/ 621806 h 641221"/>
                <a:gd name="connsiteX11" fmla="*/ 321469 w 365680"/>
                <a:gd name="connsiteY11" fmla="*/ 625353 h 641221"/>
                <a:gd name="connsiteX12" fmla="*/ 322102 w 365680"/>
                <a:gd name="connsiteY12" fmla="*/ 629661 h 641221"/>
                <a:gd name="connsiteX13" fmla="*/ 293345 w 365680"/>
                <a:gd name="connsiteY13" fmla="*/ 639542 h 641221"/>
                <a:gd name="connsiteX14" fmla="*/ 262815 w 365680"/>
                <a:gd name="connsiteY14" fmla="*/ 634348 h 641221"/>
                <a:gd name="connsiteX15" fmla="*/ 248753 w 365680"/>
                <a:gd name="connsiteY15" fmla="*/ 628141 h 641221"/>
                <a:gd name="connsiteX16" fmla="*/ 234311 w 365680"/>
                <a:gd name="connsiteY16" fmla="*/ 635868 h 641221"/>
                <a:gd name="connsiteX17" fmla="*/ 196940 w 365680"/>
                <a:gd name="connsiteY17" fmla="*/ 626494 h 641221"/>
                <a:gd name="connsiteX18" fmla="*/ 154628 w 365680"/>
                <a:gd name="connsiteY18" fmla="*/ 612685 h 641221"/>
                <a:gd name="connsiteX19" fmla="*/ 100281 w 365680"/>
                <a:gd name="connsiteY19" fmla="*/ 596850 h 641221"/>
                <a:gd name="connsiteX20" fmla="*/ 76718 w 365680"/>
                <a:gd name="connsiteY20" fmla="*/ 601157 h 641221"/>
                <a:gd name="connsiteX21" fmla="*/ 65317 w 365680"/>
                <a:gd name="connsiteY21" fmla="*/ 595330 h 641221"/>
                <a:gd name="connsiteX22" fmla="*/ 51255 w 365680"/>
                <a:gd name="connsiteY22" fmla="*/ 586082 h 641221"/>
                <a:gd name="connsiteX23" fmla="*/ 54422 w 365680"/>
                <a:gd name="connsiteY23" fmla="*/ 557072 h 641221"/>
                <a:gd name="connsiteX24" fmla="*/ 39727 w 365680"/>
                <a:gd name="connsiteY24" fmla="*/ 534142 h 641221"/>
                <a:gd name="connsiteX25" fmla="*/ 1975 w 365680"/>
                <a:gd name="connsiteY25" fmla="*/ 494997 h 641221"/>
                <a:gd name="connsiteX26" fmla="*/ 38207 w 365680"/>
                <a:gd name="connsiteY26" fmla="*/ 470547 h 641221"/>
                <a:gd name="connsiteX27" fmla="*/ 60123 w 365680"/>
                <a:gd name="connsiteY27" fmla="*/ 459146 h 641221"/>
                <a:gd name="connsiteX28" fmla="*/ 47961 w 365680"/>
                <a:gd name="connsiteY28" fmla="*/ 446225 h 641221"/>
                <a:gd name="connsiteX29" fmla="*/ 48088 w 365680"/>
                <a:gd name="connsiteY29" fmla="*/ 405939 h 641221"/>
                <a:gd name="connsiteX30" fmla="*/ 35040 w 365680"/>
                <a:gd name="connsiteY30" fmla="*/ 381490 h 641221"/>
                <a:gd name="connsiteX31" fmla="*/ 49481 w 365680"/>
                <a:gd name="connsiteY31" fmla="*/ 372622 h 641221"/>
                <a:gd name="connsiteX32" fmla="*/ 69751 w 365680"/>
                <a:gd name="connsiteY32" fmla="*/ 396058 h 641221"/>
                <a:gd name="connsiteX33" fmla="*/ 94707 w 365680"/>
                <a:gd name="connsiteY33" fmla="*/ 401252 h 641221"/>
                <a:gd name="connsiteX34" fmla="*/ 122957 w 365680"/>
                <a:gd name="connsiteY34" fmla="*/ 401379 h 641221"/>
                <a:gd name="connsiteX35" fmla="*/ 147660 w 365680"/>
                <a:gd name="connsiteY35" fmla="*/ 398592 h 641221"/>
                <a:gd name="connsiteX36" fmla="*/ 147280 w 365680"/>
                <a:gd name="connsiteY36" fmla="*/ 372242 h 641221"/>
                <a:gd name="connsiteX37" fmla="*/ 155261 w 365680"/>
                <a:gd name="connsiteY37" fmla="*/ 348552 h 641221"/>
                <a:gd name="connsiteX38" fmla="*/ 153234 w 365680"/>
                <a:gd name="connsiteY38" fmla="*/ 320302 h 641221"/>
                <a:gd name="connsiteX39" fmla="*/ 166156 w 365680"/>
                <a:gd name="connsiteY39" fmla="*/ 298133 h 641221"/>
                <a:gd name="connsiteX40" fmla="*/ 157922 w 365680"/>
                <a:gd name="connsiteY40" fmla="*/ 282297 h 641221"/>
                <a:gd name="connsiteX41" fmla="*/ 151461 w 365680"/>
                <a:gd name="connsiteY41" fmla="*/ 263295 h 641221"/>
                <a:gd name="connsiteX42" fmla="*/ 169956 w 365680"/>
                <a:gd name="connsiteY42" fmla="*/ 243279 h 641221"/>
                <a:gd name="connsiteX43" fmla="*/ 227977 w 365680"/>
                <a:gd name="connsiteY43" fmla="*/ 233778 h 641221"/>
                <a:gd name="connsiteX44" fmla="*/ 213409 w 365680"/>
                <a:gd name="connsiteY44" fmla="*/ 217436 h 641221"/>
                <a:gd name="connsiteX45" fmla="*/ 196306 w 365680"/>
                <a:gd name="connsiteY45" fmla="*/ 216549 h 641221"/>
                <a:gd name="connsiteX46" fmla="*/ 180724 w 365680"/>
                <a:gd name="connsiteY46" fmla="*/ 213889 h 641221"/>
                <a:gd name="connsiteX47" fmla="*/ 168563 w 365680"/>
                <a:gd name="connsiteY47" fmla="*/ 205654 h 641221"/>
                <a:gd name="connsiteX48" fmla="*/ 163496 w 365680"/>
                <a:gd name="connsiteY48" fmla="*/ 218576 h 641221"/>
                <a:gd name="connsiteX49" fmla="*/ 157542 w 365680"/>
                <a:gd name="connsiteY49" fmla="*/ 197547 h 641221"/>
                <a:gd name="connsiteX50" fmla="*/ 144240 w 365680"/>
                <a:gd name="connsiteY50" fmla="*/ 183738 h 641221"/>
                <a:gd name="connsiteX51" fmla="*/ 151588 w 365680"/>
                <a:gd name="connsiteY51" fmla="*/ 160049 h 641221"/>
                <a:gd name="connsiteX52" fmla="*/ 182245 w 365680"/>
                <a:gd name="connsiteY52" fmla="*/ 147760 h 641221"/>
                <a:gd name="connsiteX53" fmla="*/ 184905 w 365680"/>
                <a:gd name="connsiteY53" fmla="*/ 136993 h 641221"/>
                <a:gd name="connsiteX54" fmla="*/ 161089 w 365680"/>
                <a:gd name="connsiteY54" fmla="*/ 132179 h 641221"/>
                <a:gd name="connsiteX55" fmla="*/ 159949 w 365680"/>
                <a:gd name="connsiteY55" fmla="*/ 116470 h 641221"/>
                <a:gd name="connsiteX56" fmla="*/ 203654 w 365680"/>
                <a:gd name="connsiteY56" fmla="*/ 107602 h 641221"/>
                <a:gd name="connsiteX57" fmla="*/ 179331 w 365680"/>
                <a:gd name="connsiteY57" fmla="*/ 96581 h 641221"/>
                <a:gd name="connsiteX58" fmla="*/ 154501 w 365680"/>
                <a:gd name="connsiteY58" fmla="*/ 76692 h 641221"/>
                <a:gd name="connsiteX59" fmla="*/ 165903 w 365680"/>
                <a:gd name="connsiteY59" fmla="*/ 61870 h 641221"/>
                <a:gd name="connsiteX60" fmla="*/ 169070 w 365680"/>
                <a:gd name="connsiteY60" fmla="*/ 40080 h 641221"/>
                <a:gd name="connsiteX61" fmla="*/ 169956 w 365680"/>
                <a:gd name="connsiteY61" fmla="*/ 12463 h 641221"/>
                <a:gd name="connsiteX62" fmla="*/ 171983 w 365680"/>
                <a:gd name="connsiteY62" fmla="*/ 9170 h 641221"/>
                <a:gd name="connsiteX63" fmla="*/ 200614 w 365680"/>
                <a:gd name="connsiteY63" fmla="*/ 555 h 641221"/>
                <a:gd name="connsiteX64" fmla="*/ 226837 w 365680"/>
                <a:gd name="connsiteY64" fmla="*/ 14490 h 641221"/>
                <a:gd name="connsiteX65" fmla="*/ 254074 w 365680"/>
                <a:gd name="connsiteY65" fmla="*/ 13224 h 641221"/>
                <a:gd name="connsiteX66" fmla="*/ 280930 w 365680"/>
                <a:gd name="connsiteY66" fmla="*/ 3596 h 641221"/>
                <a:gd name="connsiteX67" fmla="*/ 277510 w 365680"/>
                <a:gd name="connsiteY67" fmla="*/ 34887 h 641221"/>
                <a:gd name="connsiteX68" fmla="*/ 288911 w 365680"/>
                <a:gd name="connsiteY68" fmla="*/ 54015 h 641221"/>
                <a:gd name="connsiteX69" fmla="*/ 318555 w 365680"/>
                <a:gd name="connsiteY69" fmla="*/ 56549 h 641221"/>
                <a:gd name="connsiteX70" fmla="*/ 330590 w 365680"/>
                <a:gd name="connsiteY70" fmla="*/ 85560 h 641221"/>
                <a:gd name="connsiteX71" fmla="*/ 336417 w 365680"/>
                <a:gd name="connsiteY71" fmla="*/ 117863 h 641221"/>
                <a:gd name="connsiteX72" fmla="*/ 357066 w 365680"/>
                <a:gd name="connsiteY72" fmla="*/ 122677 h 641221"/>
                <a:gd name="connsiteX73" fmla="*/ 365681 w 365680"/>
                <a:gd name="connsiteY73" fmla="*/ 132305 h 641221"/>
                <a:gd name="connsiteX74" fmla="*/ 343511 w 365680"/>
                <a:gd name="connsiteY74" fmla="*/ 143960 h 641221"/>
                <a:gd name="connsiteX75" fmla="*/ 308420 w 365680"/>
                <a:gd name="connsiteY75" fmla="*/ 183992 h 641221"/>
                <a:gd name="connsiteX76" fmla="*/ 319315 w 365680"/>
                <a:gd name="connsiteY76" fmla="*/ 213509 h 641221"/>
                <a:gd name="connsiteX77" fmla="*/ 295625 w 365680"/>
                <a:gd name="connsiteY77" fmla="*/ 242772 h 641221"/>
                <a:gd name="connsiteX78" fmla="*/ 275990 w 365680"/>
                <a:gd name="connsiteY78" fmla="*/ 266715 h 641221"/>
                <a:gd name="connsiteX79" fmla="*/ 294359 w 365680"/>
                <a:gd name="connsiteY79" fmla="*/ 287871 h 641221"/>
                <a:gd name="connsiteX80" fmla="*/ 317542 w 365680"/>
                <a:gd name="connsiteY80" fmla="*/ 301553 h 641221"/>
                <a:gd name="connsiteX81" fmla="*/ 330210 w 365680"/>
                <a:gd name="connsiteY81" fmla="*/ 325496 h 641221"/>
                <a:gd name="connsiteX82" fmla="*/ 357827 w 365680"/>
                <a:gd name="connsiteY82" fmla="*/ 355773 h 64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65680" h="641221">
                  <a:moveTo>
                    <a:pt x="357827" y="355773"/>
                  </a:moveTo>
                  <a:cubicBezTo>
                    <a:pt x="361247" y="372242"/>
                    <a:pt x="355293" y="386177"/>
                    <a:pt x="348579" y="400492"/>
                  </a:cubicBezTo>
                  <a:cubicBezTo>
                    <a:pt x="343765" y="410753"/>
                    <a:pt x="336291" y="421395"/>
                    <a:pt x="333504" y="432289"/>
                  </a:cubicBezTo>
                  <a:cubicBezTo>
                    <a:pt x="330590" y="443564"/>
                    <a:pt x="329070" y="455852"/>
                    <a:pt x="327676" y="467380"/>
                  </a:cubicBezTo>
                  <a:cubicBezTo>
                    <a:pt x="326409" y="477515"/>
                    <a:pt x="326916" y="487650"/>
                    <a:pt x="324382" y="497658"/>
                  </a:cubicBezTo>
                  <a:cubicBezTo>
                    <a:pt x="323116" y="502978"/>
                    <a:pt x="319568" y="515266"/>
                    <a:pt x="313741" y="516913"/>
                  </a:cubicBezTo>
                  <a:cubicBezTo>
                    <a:pt x="305887" y="519067"/>
                    <a:pt x="294485" y="507919"/>
                    <a:pt x="286631" y="507285"/>
                  </a:cubicBezTo>
                  <a:cubicBezTo>
                    <a:pt x="276750" y="506525"/>
                    <a:pt x="274343" y="515266"/>
                    <a:pt x="273709" y="523501"/>
                  </a:cubicBezTo>
                  <a:cubicBezTo>
                    <a:pt x="272443" y="540476"/>
                    <a:pt x="283717" y="559859"/>
                    <a:pt x="293599" y="572780"/>
                  </a:cubicBezTo>
                  <a:cubicBezTo>
                    <a:pt x="301706" y="583422"/>
                    <a:pt x="306013" y="596597"/>
                    <a:pt x="316148" y="605464"/>
                  </a:cubicBezTo>
                  <a:cubicBezTo>
                    <a:pt x="320962" y="609771"/>
                    <a:pt x="324889" y="614712"/>
                    <a:pt x="324256" y="621806"/>
                  </a:cubicBezTo>
                  <a:cubicBezTo>
                    <a:pt x="324129" y="623200"/>
                    <a:pt x="321722" y="623833"/>
                    <a:pt x="321469" y="625353"/>
                  </a:cubicBezTo>
                  <a:cubicBezTo>
                    <a:pt x="321342" y="626367"/>
                    <a:pt x="322355" y="629154"/>
                    <a:pt x="322102" y="629661"/>
                  </a:cubicBezTo>
                  <a:cubicBezTo>
                    <a:pt x="318682" y="636755"/>
                    <a:pt x="300693" y="638275"/>
                    <a:pt x="293345" y="639542"/>
                  </a:cubicBezTo>
                  <a:cubicBezTo>
                    <a:pt x="282197" y="641569"/>
                    <a:pt x="271302" y="643469"/>
                    <a:pt x="262815" y="634348"/>
                  </a:cubicBezTo>
                  <a:cubicBezTo>
                    <a:pt x="258761" y="629914"/>
                    <a:pt x="255340" y="624720"/>
                    <a:pt x="248753" y="628141"/>
                  </a:cubicBezTo>
                  <a:cubicBezTo>
                    <a:pt x="242292" y="631434"/>
                    <a:pt x="242799" y="634855"/>
                    <a:pt x="234311" y="635868"/>
                  </a:cubicBezTo>
                  <a:cubicBezTo>
                    <a:pt x="221643" y="637262"/>
                    <a:pt x="207834" y="632701"/>
                    <a:pt x="196940" y="626494"/>
                  </a:cubicBezTo>
                  <a:cubicBezTo>
                    <a:pt x="183638" y="618893"/>
                    <a:pt x="170970" y="609645"/>
                    <a:pt x="154628" y="612685"/>
                  </a:cubicBezTo>
                  <a:cubicBezTo>
                    <a:pt x="133599" y="616612"/>
                    <a:pt x="120550" y="598624"/>
                    <a:pt x="100281" y="596850"/>
                  </a:cubicBezTo>
                  <a:cubicBezTo>
                    <a:pt x="91413" y="595963"/>
                    <a:pt x="84952" y="600144"/>
                    <a:pt x="76718" y="601157"/>
                  </a:cubicBezTo>
                  <a:cubicBezTo>
                    <a:pt x="70637" y="601917"/>
                    <a:pt x="69497" y="599510"/>
                    <a:pt x="65317" y="595330"/>
                  </a:cubicBezTo>
                  <a:cubicBezTo>
                    <a:pt x="60756" y="590896"/>
                    <a:pt x="56069" y="587856"/>
                    <a:pt x="51255" y="586082"/>
                  </a:cubicBezTo>
                  <a:cubicBezTo>
                    <a:pt x="53535" y="576961"/>
                    <a:pt x="56576" y="566446"/>
                    <a:pt x="54422" y="557072"/>
                  </a:cubicBezTo>
                  <a:cubicBezTo>
                    <a:pt x="52395" y="548204"/>
                    <a:pt x="45808" y="540476"/>
                    <a:pt x="39727" y="534142"/>
                  </a:cubicBezTo>
                  <a:cubicBezTo>
                    <a:pt x="27312" y="521094"/>
                    <a:pt x="9196" y="512353"/>
                    <a:pt x="1975" y="494997"/>
                  </a:cubicBezTo>
                  <a:cubicBezTo>
                    <a:pt x="-8159" y="470294"/>
                    <a:pt x="23258" y="471561"/>
                    <a:pt x="38207" y="470547"/>
                  </a:cubicBezTo>
                  <a:cubicBezTo>
                    <a:pt x="45934" y="470041"/>
                    <a:pt x="55815" y="465987"/>
                    <a:pt x="60123" y="459146"/>
                  </a:cubicBezTo>
                  <a:cubicBezTo>
                    <a:pt x="65697" y="450278"/>
                    <a:pt x="54422" y="448378"/>
                    <a:pt x="47961" y="446225"/>
                  </a:cubicBezTo>
                  <a:cubicBezTo>
                    <a:pt x="23765" y="438117"/>
                    <a:pt x="55942" y="421775"/>
                    <a:pt x="48088" y="405939"/>
                  </a:cubicBezTo>
                  <a:cubicBezTo>
                    <a:pt x="43907" y="397578"/>
                    <a:pt x="35673" y="391751"/>
                    <a:pt x="35040" y="381490"/>
                  </a:cubicBezTo>
                  <a:cubicBezTo>
                    <a:pt x="34406" y="372115"/>
                    <a:pt x="41500" y="368061"/>
                    <a:pt x="49481" y="372622"/>
                  </a:cubicBezTo>
                  <a:cubicBezTo>
                    <a:pt x="58856" y="377816"/>
                    <a:pt x="62530" y="388711"/>
                    <a:pt x="69751" y="396058"/>
                  </a:cubicBezTo>
                  <a:cubicBezTo>
                    <a:pt x="76718" y="403279"/>
                    <a:pt x="85459" y="402392"/>
                    <a:pt x="94707" y="401252"/>
                  </a:cubicBezTo>
                  <a:cubicBezTo>
                    <a:pt x="104462" y="399985"/>
                    <a:pt x="113203" y="399352"/>
                    <a:pt x="122957" y="401379"/>
                  </a:cubicBezTo>
                  <a:cubicBezTo>
                    <a:pt x="130431" y="402899"/>
                    <a:pt x="142466" y="406573"/>
                    <a:pt x="147660" y="398592"/>
                  </a:cubicBezTo>
                  <a:cubicBezTo>
                    <a:pt x="152601" y="390991"/>
                    <a:pt x="148294" y="380223"/>
                    <a:pt x="147280" y="372242"/>
                  </a:cubicBezTo>
                  <a:cubicBezTo>
                    <a:pt x="146013" y="362487"/>
                    <a:pt x="150067" y="356153"/>
                    <a:pt x="155261" y="348552"/>
                  </a:cubicBezTo>
                  <a:cubicBezTo>
                    <a:pt x="162356" y="338164"/>
                    <a:pt x="153234" y="331197"/>
                    <a:pt x="153234" y="320302"/>
                  </a:cubicBezTo>
                  <a:cubicBezTo>
                    <a:pt x="153234" y="309661"/>
                    <a:pt x="166789" y="308267"/>
                    <a:pt x="166156" y="298133"/>
                  </a:cubicBezTo>
                  <a:cubicBezTo>
                    <a:pt x="165776" y="292305"/>
                    <a:pt x="160709" y="287111"/>
                    <a:pt x="157922" y="282297"/>
                  </a:cubicBezTo>
                  <a:cubicBezTo>
                    <a:pt x="154501" y="276470"/>
                    <a:pt x="151588" y="270136"/>
                    <a:pt x="151461" y="263295"/>
                  </a:cubicBezTo>
                  <a:cubicBezTo>
                    <a:pt x="151207" y="251893"/>
                    <a:pt x="158682" y="243786"/>
                    <a:pt x="169956" y="243279"/>
                  </a:cubicBezTo>
                  <a:cubicBezTo>
                    <a:pt x="179838" y="242899"/>
                    <a:pt x="233298" y="255187"/>
                    <a:pt x="227977" y="233778"/>
                  </a:cubicBezTo>
                  <a:cubicBezTo>
                    <a:pt x="226330" y="227317"/>
                    <a:pt x="218856" y="220856"/>
                    <a:pt x="213409" y="217436"/>
                  </a:cubicBezTo>
                  <a:cubicBezTo>
                    <a:pt x="207328" y="213635"/>
                    <a:pt x="202894" y="214649"/>
                    <a:pt x="196306" y="216549"/>
                  </a:cubicBezTo>
                  <a:cubicBezTo>
                    <a:pt x="189719" y="218323"/>
                    <a:pt x="185538" y="219083"/>
                    <a:pt x="180724" y="213889"/>
                  </a:cubicBezTo>
                  <a:cubicBezTo>
                    <a:pt x="176671" y="209581"/>
                    <a:pt x="175150" y="206034"/>
                    <a:pt x="168563" y="205654"/>
                  </a:cubicBezTo>
                  <a:cubicBezTo>
                    <a:pt x="168436" y="209581"/>
                    <a:pt x="171223" y="223390"/>
                    <a:pt x="163496" y="218576"/>
                  </a:cubicBezTo>
                  <a:cubicBezTo>
                    <a:pt x="156655" y="214395"/>
                    <a:pt x="159695" y="203374"/>
                    <a:pt x="157542" y="197547"/>
                  </a:cubicBezTo>
                  <a:cubicBezTo>
                    <a:pt x="155261" y="191086"/>
                    <a:pt x="147534" y="189566"/>
                    <a:pt x="144240" y="183738"/>
                  </a:cubicBezTo>
                  <a:cubicBezTo>
                    <a:pt x="140693" y="177278"/>
                    <a:pt x="146393" y="164736"/>
                    <a:pt x="151588" y="160049"/>
                  </a:cubicBezTo>
                  <a:cubicBezTo>
                    <a:pt x="160329" y="151941"/>
                    <a:pt x="172870" y="155488"/>
                    <a:pt x="182245" y="147760"/>
                  </a:cubicBezTo>
                  <a:cubicBezTo>
                    <a:pt x="185792" y="144847"/>
                    <a:pt x="191366" y="139273"/>
                    <a:pt x="184905" y="136993"/>
                  </a:cubicBezTo>
                  <a:cubicBezTo>
                    <a:pt x="177051" y="134332"/>
                    <a:pt x="168690" y="137246"/>
                    <a:pt x="161089" y="132179"/>
                  </a:cubicBezTo>
                  <a:cubicBezTo>
                    <a:pt x="155261" y="128251"/>
                    <a:pt x="153234" y="120650"/>
                    <a:pt x="159949" y="116470"/>
                  </a:cubicBezTo>
                  <a:cubicBezTo>
                    <a:pt x="166029" y="112669"/>
                    <a:pt x="204667" y="117990"/>
                    <a:pt x="203654" y="107602"/>
                  </a:cubicBezTo>
                  <a:cubicBezTo>
                    <a:pt x="203147" y="101775"/>
                    <a:pt x="183385" y="98228"/>
                    <a:pt x="179331" y="96581"/>
                  </a:cubicBezTo>
                  <a:cubicBezTo>
                    <a:pt x="170843" y="93287"/>
                    <a:pt x="155768" y="87333"/>
                    <a:pt x="154501" y="76692"/>
                  </a:cubicBezTo>
                  <a:cubicBezTo>
                    <a:pt x="153614" y="68964"/>
                    <a:pt x="161342" y="66304"/>
                    <a:pt x="165903" y="61870"/>
                  </a:cubicBezTo>
                  <a:cubicBezTo>
                    <a:pt x="172110" y="56042"/>
                    <a:pt x="170210" y="47681"/>
                    <a:pt x="169070" y="40080"/>
                  </a:cubicBezTo>
                  <a:cubicBezTo>
                    <a:pt x="167803" y="31339"/>
                    <a:pt x="165903" y="20825"/>
                    <a:pt x="169956" y="12463"/>
                  </a:cubicBezTo>
                  <a:cubicBezTo>
                    <a:pt x="170590" y="11323"/>
                    <a:pt x="171223" y="10183"/>
                    <a:pt x="171983" y="9170"/>
                  </a:cubicBezTo>
                  <a:cubicBezTo>
                    <a:pt x="178444" y="682"/>
                    <a:pt x="190732" y="-1092"/>
                    <a:pt x="200614" y="555"/>
                  </a:cubicBezTo>
                  <a:cubicBezTo>
                    <a:pt x="211255" y="2329"/>
                    <a:pt x="218222" y="8790"/>
                    <a:pt x="226837" y="14490"/>
                  </a:cubicBezTo>
                  <a:cubicBezTo>
                    <a:pt x="236085" y="20445"/>
                    <a:pt x="244826" y="17911"/>
                    <a:pt x="254074" y="13224"/>
                  </a:cubicBezTo>
                  <a:cubicBezTo>
                    <a:pt x="259014" y="10817"/>
                    <a:pt x="275230" y="-1852"/>
                    <a:pt x="280930" y="3596"/>
                  </a:cubicBezTo>
                  <a:cubicBezTo>
                    <a:pt x="286631" y="9043"/>
                    <a:pt x="278523" y="28426"/>
                    <a:pt x="277510" y="34887"/>
                  </a:cubicBezTo>
                  <a:cubicBezTo>
                    <a:pt x="275863" y="45021"/>
                    <a:pt x="277383" y="53002"/>
                    <a:pt x="288911" y="54015"/>
                  </a:cubicBezTo>
                  <a:cubicBezTo>
                    <a:pt x="298539" y="54902"/>
                    <a:pt x="309561" y="51988"/>
                    <a:pt x="318555" y="56549"/>
                  </a:cubicBezTo>
                  <a:cubicBezTo>
                    <a:pt x="328690" y="61870"/>
                    <a:pt x="330210" y="75425"/>
                    <a:pt x="330590" y="85560"/>
                  </a:cubicBezTo>
                  <a:cubicBezTo>
                    <a:pt x="330970" y="95694"/>
                    <a:pt x="326156" y="111909"/>
                    <a:pt x="336417" y="117863"/>
                  </a:cubicBezTo>
                  <a:cubicBezTo>
                    <a:pt x="342878" y="121664"/>
                    <a:pt x="351366" y="118623"/>
                    <a:pt x="357066" y="122677"/>
                  </a:cubicBezTo>
                  <a:cubicBezTo>
                    <a:pt x="360614" y="125211"/>
                    <a:pt x="363147" y="128885"/>
                    <a:pt x="365681" y="132305"/>
                  </a:cubicBezTo>
                  <a:cubicBezTo>
                    <a:pt x="358460" y="136613"/>
                    <a:pt x="351239" y="140666"/>
                    <a:pt x="343511" y="143960"/>
                  </a:cubicBezTo>
                  <a:cubicBezTo>
                    <a:pt x="326029" y="151561"/>
                    <a:pt x="296259" y="159668"/>
                    <a:pt x="308420" y="183992"/>
                  </a:cubicBezTo>
                  <a:cubicBezTo>
                    <a:pt x="313108" y="193366"/>
                    <a:pt x="321215" y="202234"/>
                    <a:pt x="319315" y="213509"/>
                  </a:cubicBezTo>
                  <a:cubicBezTo>
                    <a:pt x="317162" y="226810"/>
                    <a:pt x="305000" y="234538"/>
                    <a:pt x="295625" y="242772"/>
                  </a:cubicBezTo>
                  <a:cubicBezTo>
                    <a:pt x="288278" y="249106"/>
                    <a:pt x="273836" y="254807"/>
                    <a:pt x="275990" y="266715"/>
                  </a:cubicBezTo>
                  <a:cubicBezTo>
                    <a:pt x="277890" y="276343"/>
                    <a:pt x="285998" y="284071"/>
                    <a:pt x="294359" y="287871"/>
                  </a:cubicBezTo>
                  <a:cubicBezTo>
                    <a:pt x="302846" y="291799"/>
                    <a:pt x="310954" y="294206"/>
                    <a:pt x="317542" y="301553"/>
                  </a:cubicBezTo>
                  <a:cubicBezTo>
                    <a:pt x="323749" y="308267"/>
                    <a:pt x="326156" y="317515"/>
                    <a:pt x="330210" y="325496"/>
                  </a:cubicBezTo>
                  <a:cubicBezTo>
                    <a:pt x="337684" y="339431"/>
                    <a:pt x="354533" y="339811"/>
                    <a:pt x="357827" y="35577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4" name="Полилиния: фигура 423">
              <a:extLst>
                <a:ext uri="{FF2B5EF4-FFF2-40B4-BE49-F238E27FC236}">
                  <a16:creationId xmlns:a16="http://schemas.microsoft.com/office/drawing/2014/main" id="{0929F8AB-D215-4AAF-ADA8-F3E554DF28D0}"/>
                </a:ext>
              </a:extLst>
            </p:cNvPr>
            <p:cNvSpPr/>
            <p:nvPr/>
          </p:nvSpPr>
          <p:spPr>
            <a:xfrm>
              <a:off x="1315680" y="4674449"/>
              <a:ext cx="618835" cy="646897"/>
            </a:xfrm>
            <a:custGeom>
              <a:avLst/>
              <a:gdLst>
                <a:gd name="connsiteX0" fmla="*/ 560443 w 618835"/>
                <a:gd name="connsiteY0" fmla="*/ 266090 h 646897"/>
                <a:gd name="connsiteX1" fmla="*/ 541948 w 618835"/>
                <a:gd name="connsiteY1" fmla="*/ 286106 h 646897"/>
                <a:gd name="connsiteX2" fmla="*/ 548409 w 618835"/>
                <a:gd name="connsiteY2" fmla="*/ 305108 h 646897"/>
                <a:gd name="connsiteX3" fmla="*/ 556643 w 618835"/>
                <a:gd name="connsiteY3" fmla="*/ 320944 h 646897"/>
                <a:gd name="connsiteX4" fmla="*/ 543721 w 618835"/>
                <a:gd name="connsiteY4" fmla="*/ 343113 h 646897"/>
                <a:gd name="connsiteX5" fmla="*/ 545748 w 618835"/>
                <a:gd name="connsiteY5" fmla="*/ 371363 h 646897"/>
                <a:gd name="connsiteX6" fmla="*/ 537767 w 618835"/>
                <a:gd name="connsiteY6" fmla="*/ 395053 h 646897"/>
                <a:gd name="connsiteX7" fmla="*/ 538147 w 618835"/>
                <a:gd name="connsiteY7" fmla="*/ 421403 h 646897"/>
                <a:gd name="connsiteX8" fmla="*/ 513444 w 618835"/>
                <a:gd name="connsiteY8" fmla="*/ 424190 h 646897"/>
                <a:gd name="connsiteX9" fmla="*/ 485194 w 618835"/>
                <a:gd name="connsiteY9" fmla="*/ 424063 h 646897"/>
                <a:gd name="connsiteX10" fmla="*/ 460238 w 618835"/>
                <a:gd name="connsiteY10" fmla="*/ 418869 h 646897"/>
                <a:gd name="connsiteX11" fmla="*/ 439968 w 618835"/>
                <a:gd name="connsiteY11" fmla="*/ 395433 h 646897"/>
                <a:gd name="connsiteX12" fmla="*/ 425527 w 618835"/>
                <a:gd name="connsiteY12" fmla="*/ 404301 h 646897"/>
                <a:gd name="connsiteX13" fmla="*/ 438575 w 618835"/>
                <a:gd name="connsiteY13" fmla="*/ 428751 h 646897"/>
                <a:gd name="connsiteX14" fmla="*/ 438448 w 618835"/>
                <a:gd name="connsiteY14" fmla="*/ 469036 h 646897"/>
                <a:gd name="connsiteX15" fmla="*/ 450610 w 618835"/>
                <a:gd name="connsiteY15" fmla="*/ 481957 h 646897"/>
                <a:gd name="connsiteX16" fmla="*/ 428694 w 618835"/>
                <a:gd name="connsiteY16" fmla="*/ 493359 h 646897"/>
                <a:gd name="connsiteX17" fmla="*/ 392462 w 618835"/>
                <a:gd name="connsiteY17" fmla="*/ 517808 h 646897"/>
                <a:gd name="connsiteX18" fmla="*/ 430214 w 618835"/>
                <a:gd name="connsiteY18" fmla="*/ 556953 h 646897"/>
                <a:gd name="connsiteX19" fmla="*/ 444909 w 618835"/>
                <a:gd name="connsiteY19" fmla="*/ 579883 h 646897"/>
                <a:gd name="connsiteX20" fmla="*/ 441742 w 618835"/>
                <a:gd name="connsiteY20" fmla="*/ 608893 h 646897"/>
                <a:gd name="connsiteX21" fmla="*/ 404751 w 618835"/>
                <a:gd name="connsiteY21" fmla="*/ 611173 h 646897"/>
                <a:gd name="connsiteX22" fmla="*/ 365479 w 618835"/>
                <a:gd name="connsiteY22" fmla="*/ 627896 h 646897"/>
                <a:gd name="connsiteX23" fmla="*/ 313159 w 618835"/>
                <a:gd name="connsiteY23" fmla="*/ 646391 h 646897"/>
                <a:gd name="connsiteX24" fmla="*/ 296691 w 618835"/>
                <a:gd name="connsiteY24" fmla="*/ 646898 h 646897"/>
                <a:gd name="connsiteX25" fmla="*/ 278828 w 618835"/>
                <a:gd name="connsiteY25" fmla="*/ 600279 h 646897"/>
                <a:gd name="connsiteX26" fmla="*/ 247411 w 618835"/>
                <a:gd name="connsiteY26" fmla="*/ 554039 h 646897"/>
                <a:gd name="connsiteX27" fmla="*/ 207379 w 618835"/>
                <a:gd name="connsiteY27" fmla="*/ 515401 h 646897"/>
                <a:gd name="connsiteX28" fmla="*/ 201299 w 618835"/>
                <a:gd name="connsiteY28" fmla="*/ 513628 h 646897"/>
                <a:gd name="connsiteX29" fmla="*/ 173682 w 618835"/>
                <a:gd name="connsiteY29" fmla="*/ 367436 h 646897"/>
                <a:gd name="connsiteX30" fmla="*/ 163167 w 618835"/>
                <a:gd name="connsiteY30" fmla="*/ 257856 h 646897"/>
                <a:gd name="connsiteX31" fmla="*/ 135424 w 618835"/>
                <a:gd name="connsiteY31" fmla="*/ 173359 h 646897"/>
                <a:gd name="connsiteX32" fmla="*/ 127823 w 618835"/>
                <a:gd name="connsiteY32" fmla="*/ 149416 h 646897"/>
                <a:gd name="connsiteX33" fmla="*/ 132383 w 618835"/>
                <a:gd name="connsiteY33" fmla="*/ 125219 h 646897"/>
                <a:gd name="connsiteX34" fmla="*/ 115408 w 618835"/>
                <a:gd name="connsiteY34" fmla="*/ 111791 h 646897"/>
                <a:gd name="connsiteX35" fmla="*/ 96532 w 618835"/>
                <a:gd name="connsiteY35" fmla="*/ 105457 h 646897"/>
                <a:gd name="connsiteX36" fmla="*/ 90831 w 618835"/>
                <a:gd name="connsiteY36" fmla="*/ 105203 h 646897"/>
                <a:gd name="connsiteX37" fmla="*/ 61694 w 618835"/>
                <a:gd name="connsiteY37" fmla="*/ 102290 h 646897"/>
                <a:gd name="connsiteX38" fmla="*/ 44339 w 618835"/>
                <a:gd name="connsiteY38" fmla="*/ 93042 h 646897"/>
                <a:gd name="connsiteX39" fmla="*/ 55360 w 618835"/>
                <a:gd name="connsiteY39" fmla="*/ 66692 h 646897"/>
                <a:gd name="connsiteX40" fmla="*/ 2534 w 618835"/>
                <a:gd name="connsiteY40" fmla="*/ 50983 h 646897"/>
                <a:gd name="connsiteX41" fmla="*/ 0 w 618835"/>
                <a:gd name="connsiteY41" fmla="*/ 21213 h 646897"/>
                <a:gd name="connsiteX42" fmla="*/ 21156 w 618835"/>
                <a:gd name="connsiteY42" fmla="*/ 15006 h 646897"/>
                <a:gd name="connsiteX43" fmla="*/ 54854 w 618835"/>
                <a:gd name="connsiteY43" fmla="*/ 24887 h 646897"/>
                <a:gd name="connsiteX44" fmla="*/ 81204 w 618835"/>
                <a:gd name="connsiteY44" fmla="*/ 20453 h 646897"/>
                <a:gd name="connsiteX45" fmla="*/ 118195 w 618835"/>
                <a:gd name="connsiteY45" fmla="*/ 26154 h 646897"/>
                <a:gd name="connsiteX46" fmla="*/ 118955 w 618835"/>
                <a:gd name="connsiteY46" fmla="*/ 71253 h 646897"/>
                <a:gd name="connsiteX47" fmla="*/ 119968 w 618835"/>
                <a:gd name="connsiteY47" fmla="*/ 70113 h 646897"/>
                <a:gd name="connsiteX48" fmla="*/ 147205 w 618835"/>
                <a:gd name="connsiteY48" fmla="*/ 71886 h 646897"/>
                <a:gd name="connsiteX49" fmla="*/ 158987 w 618835"/>
                <a:gd name="connsiteY49" fmla="*/ 77714 h 646897"/>
                <a:gd name="connsiteX50" fmla="*/ 163167 w 618835"/>
                <a:gd name="connsiteY50" fmla="*/ 94689 h 646897"/>
                <a:gd name="connsiteX51" fmla="*/ 163420 w 618835"/>
                <a:gd name="connsiteY51" fmla="*/ 127500 h 646897"/>
                <a:gd name="connsiteX52" fmla="*/ 194331 w 618835"/>
                <a:gd name="connsiteY52" fmla="*/ 155370 h 646897"/>
                <a:gd name="connsiteX53" fmla="*/ 230309 w 618835"/>
                <a:gd name="connsiteY53" fmla="*/ 175006 h 646897"/>
                <a:gd name="connsiteX54" fmla="*/ 282755 w 618835"/>
                <a:gd name="connsiteY54" fmla="*/ 145742 h 646897"/>
                <a:gd name="connsiteX55" fmla="*/ 328614 w 618835"/>
                <a:gd name="connsiteY55" fmla="*/ 135734 h 646897"/>
                <a:gd name="connsiteX56" fmla="*/ 381821 w 618835"/>
                <a:gd name="connsiteY56" fmla="*/ 56177 h 646897"/>
                <a:gd name="connsiteX57" fmla="*/ 337989 w 618835"/>
                <a:gd name="connsiteY57" fmla="*/ 56177 h 646897"/>
                <a:gd name="connsiteX58" fmla="*/ 336215 w 618835"/>
                <a:gd name="connsiteY58" fmla="*/ 31348 h 646897"/>
                <a:gd name="connsiteX59" fmla="*/ 378021 w 618835"/>
                <a:gd name="connsiteY59" fmla="*/ 2464 h 646897"/>
                <a:gd name="connsiteX60" fmla="*/ 433001 w 618835"/>
                <a:gd name="connsiteY60" fmla="*/ 20706 h 646897"/>
                <a:gd name="connsiteX61" fmla="*/ 464671 w 618835"/>
                <a:gd name="connsiteY61" fmla="*/ 26661 h 646897"/>
                <a:gd name="connsiteX62" fmla="*/ 490895 w 618835"/>
                <a:gd name="connsiteY62" fmla="*/ 4364 h 646897"/>
                <a:gd name="connsiteX63" fmla="*/ 506223 w 618835"/>
                <a:gd name="connsiteY63" fmla="*/ 45916 h 646897"/>
                <a:gd name="connsiteX64" fmla="*/ 560443 w 618835"/>
                <a:gd name="connsiteY64" fmla="*/ 35022 h 646897"/>
                <a:gd name="connsiteX65" fmla="*/ 559557 w 618835"/>
                <a:gd name="connsiteY65" fmla="*/ 62638 h 646897"/>
                <a:gd name="connsiteX66" fmla="*/ 556390 w 618835"/>
                <a:gd name="connsiteY66" fmla="*/ 84428 h 646897"/>
                <a:gd name="connsiteX67" fmla="*/ 544988 w 618835"/>
                <a:gd name="connsiteY67" fmla="*/ 99249 h 646897"/>
                <a:gd name="connsiteX68" fmla="*/ 569818 w 618835"/>
                <a:gd name="connsiteY68" fmla="*/ 119139 h 646897"/>
                <a:gd name="connsiteX69" fmla="*/ 594141 w 618835"/>
                <a:gd name="connsiteY69" fmla="*/ 130160 h 646897"/>
                <a:gd name="connsiteX70" fmla="*/ 550436 w 618835"/>
                <a:gd name="connsiteY70" fmla="*/ 139028 h 646897"/>
                <a:gd name="connsiteX71" fmla="*/ 551576 w 618835"/>
                <a:gd name="connsiteY71" fmla="*/ 154736 h 646897"/>
                <a:gd name="connsiteX72" fmla="*/ 575392 w 618835"/>
                <a:gd name="connsiteY72" fmla="*/ 159550 h 646897"/>
                <a:gd name="connsiteX73" fmla="*/ 572732 w 618835"/>
                <a:gd name="connsiteY73" fmla="*/ 170318 h 646897"/>
                <a:gd name="connsiteX74" fmla="*/ 542074 w 618835"/>
                <a:gd name="connsiteY74" fmla="*/ 182607 h 646897"/>
                <a:gd name="connsiteX75" fmla="*/ 534727 w 618835"/>
                <a:gd name="connsiteY75" fmla="*/ 206296 h 646897"/>
                <a:gd name="connsiteX76" fmla="*/ 548029 w 618835"/>
                <a:gd name="connsiteY76" fmla="*/ 220105 h 646897"/>
                <a:gd name="connsiteX77" fmla="*/ 553983 w 618835"/>
                <a:gd name="connsiteY77" fmla="*/ 241134 h 646897"/>
                <a:gd name="connsiteX78" fmla="*/ 559050 w 618835"/>
                <a:gd name="connsiteY78" fmla="*/ 228212 h 646897"/>
                <a:gd name="connsiteX79" fmla="*/ 571211 w 618835"/>
                <a:gd name="connsiteY79" fmla="*/ 236447 h 646897"/>
                <a:gd name="connsiteX80" fmla="*/ 586793 w 618835"/>
                <a:gd name="connsiteY80" fmla="*/ 239107 h 646897"/>
                <a:gd name="connsiteX81" fmla="*/ 603896 w 618835"/>
                <a:gd name="connsiteY81" fmla="*/ 239994 h 646897"/>
                <a:gd name="connsiteX82" fmla="*/ 618464 w 618835"/>
                <a:gd name="connsiteY82" fmla="*/ 256336 h 646897"/>
                <a:gd name="connsiteX83" fmla="*/ 560443 w 618835"/>
                <a:gd name="connsiteY83" fmla="*/ 266090 h 64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8835" h="646897">
                  <a:moveTo>
                    <a:pt x="560443" y="266090"/>
                  </a:moveTo>
                  <a:cubicBezTo>
                    <a:pt x="549169" y="266597"/>
                    <a:pt x="541568" y="274705"/>
                    <a:pt x="541948" y="286106"/>
                  </a:cubicBezTo>
                  <a:cubicBezTo>
                    <a:pt x="542201" y="292947"/>
                    <a:pt x="544988" y="299281"/>
                    <a:pt x="548409" y="305108"/>
                  </a:cubicBezTo>
                  <a:cubicBezTo>
                    <a:pt x="551196" y="309796"/>
                    <a:pt x="556263" y="315116"/>
                    <a:pt x="556643" y="320944"/>
                  </a:cubicBezTo>
                  <a:cubicBezTo>
                    <a:pt x="557276" y="331079"/>
                    <a:pt x="543721" y="332472"/>
                    <a:pt x="543721" y="343113"/>
                  </a:cubicBezTo>
                  <a:cubicBezTo>
                    <a:pt x="543721" y="354008"/>
                    <a:pt x="552843" y="360975"/>
                    <a:pt x="545748" y="371363"/>
                  </a:cubicBezTo>
                  <a:cubicBezTo>
                    <a:pt x="540554" y="378965"/>
                    <a:pt x="536501" y="385299"/>
                    <a:pt x="537767" y="395053"/>
                  </a:cubicBezTo>
                  <a:cubicBezTo>
                    <a:pt x="538781" y="403034"/>
                    <a:pt x="543088" y="413802"/>
                    <a:pt x="538147" y="421403"/>
                  </a:cubicBezTo>
                  <a:cubicBezTo>
                    <a:pt x="532953" y="429257"/>
                    <a:pt x="520919" y="425710"/>
                    <a:pt x="513444" y="424190"/>
                  </a:cubicBezTo>
                  <a:cubicBezTo>
                    <a:pt x="503690" y="422163"/>
                    <a:pt x="495075" y="422797"/>
                    <a:pt x="485194" y="424063"/>
                  </a:cubicBezTo>
                  <a:cubicBezTo>
                    <a:pt x="475946" y="425330"/>
                    <a:pt x="467205" y="426090"/>
                    <a:pt x="460238" y="418869"/>
                  </a:cubicBezTo>
                  <a:cubicBezTo>
                    <a:pt x="453017" y="411395"/>
                    <a:pt x="449470" y="400627"/>
                    <a:pt x="439968" y="395433"/>
                  </a:cubicBezTo>
                  <a:cubicBezTo>
                    <a:pt x="431861" y="390873"/>
                    <a:pt x="424893" y="394926"/>
                    <a:pt x="425527" y="404301"/>
                  </a:cubicBezTo>
                  <a:cubicBezTo>
                    <a:pt x="426160" y="414435"/>
                    <a:pt x="434394" y="420263"/>
                    <a:pt x="438575" y="428751"/>
                  </a:cubicBezTo>
                  <a:cubicBezTo>
                    <a:pt x="446429" y="444586"/>
                    <a:pt x="414125" y="460928"/>
                    <a:pt x="438448" y="469036"/>
                  </a:cubicBezTo>
                  <a:cubicBezTo>
                    <a:pt x="444909" y="471189"/>
                    <a:pt x="456310" y="473090"/>
                    <a:pt x="450610" y="481957"/>
                  </a:cubicBezTo>
                  <a:cubicBezTo>
                    <a:pt x="446176" y="488798"/>
                    <a:pt x="436421" y="492852"/>
                    <a:pt x="428694" y="493359"/>
                  </a:cubicBezTo>
                  <a:cubicBezTo>
                    <a:pt x="413618" y="494372"/>
                    <a:pt x="382328" y="493105"/>
                    <a:pt x="392462" y="517808"/>
                  </a:cubicBezTo>
                  <a:cubicBezTo>
                    <a:pt x="399557" y="535291"/>
                    <a:pt x="417799" y="543905"/>
                    <a:pt x="430214" y="556953"/>
                  </a:cubicBezTo>
                  <a:cubicBezTo>
                    <a:pt x="436295" y="563414"/>
                    <a:pt x="442882" y="571015"/>
                    <a:pt x="444909" y="579883"/>
                  </a:cubicBezTo>
                  <a:cubicBezTo>
                    <a:pt x="447063" y="589258"/>
                    <a:pt x="444022" y="599772"/>
                    <a:pt x="441742" y="608893"/>
                  </a:cubicBezTo>
                  <a:cubicBezTo>
                    <a:pt x="430340" y="604712"/>
                    <a:pt x="417926" y="606993"/>
                    <a:pt x="404751" y="611173"/>
                  </a:cubicBezTo>
                  <a:cubicBezTo>
                    <a:pt x="390562" y="615734"/>
                    <a:pt x="377767" y="619281"/>
                    <a:pt x="365479" y="627896"/>
                  </a:cubicBezTo>
                  <a:cubicBezTo>
                    <a:pt x="349517" y="639044"/>
                    <a:pt x="332668" y="645251"/>
                    <a:pt x="313159" y="646391"/>
                  </a:cubicBezTo>
                  <a:cubicBezTo>
                    <a:pt x="307712" y="646771"/>
                    <a:pt x="302138" y="646771"/>
                    <a:pt x="296691" y="646898"/>
                  </a:cubicBezTo>
                  <a:cubicBezTo>
                    <a:pt x="293650" y="630176"/>
                    <a:pt x="289976" y="612947"/>
                    <a:pt x="278828" y="600279"/>
                  </a:cubicBezTo>
                  <a:cubicBezTo>
                    <a:pt x="266287" y="585837"/>
                    <a:pt x="257546" y="570128"/>
                    <a:pt x="247411" y="554039"/>
                  </a:cubicBezTo>
                  <a:cubicBezTo>
                    <a:pt x="237783" y="538965"/>
                    <a:pt x="224481" y="522369"/>
                    <a:pt x="207379" y="515401"/>
                  </a:cubicBezTo>
                  <a:cubicBezTo>
                    <a:pt x="205352" y="514641"/>
                    <a:pt x="203325" y="514008"/>
                    <a:pt x="201299" y="513628"/>
                  </a:cubicBezTo>
                  <a:cubicBezTo>
                    <a:pt x="258686" y="477650"/>
                    <a:pt x="192177" y="393280"/>
                    <a:pt x="173682" y="367436"/>
                  </a:cubicBezTo>
                  <a:cubicBezTo>
                    <a:pt x="155186" y="341720"/>
                    <a:pt x="159873" y="284333"/>
                    <a:pt x="163167" y="257856"/>
                  </a:cubicBezTo>
                  <a:cubicBezTo>
                    <a:pt x="166461" y="231506"/>
                    <a:pt x="161140" y="230873"/>
                    <a:pt x="135424" y="173359"/>
                  </a:cubicBezTo>
                  <a:cubicBezTo>
                    <a:pt x="132003" y="165758"/>
                    <a:pt x="129090" y="157777"/>
                    <a:pt x="127823" y="149416"/>
                  </a:cubicBezTo>
                  <a:cubicBezTo>
                    <a:pt x="126429" y="139661"/>
                    <a:pt x="129850" y="134087"/>
                    <a:pt x="132383" y="125219"/>
                  </a:cubicBezTo>
                  <a:cubicBezTo>
                    <a:pt x="135550" y="114578"/>
                    <a:pt x="122755" y="114071"/>
                    <a:pt x="115408" y="111791"/>
                  </a:cubicBezTo>
                  <a:cubicBezTo>
                    <a:pt x="109074" y="109764"/>
                    <a:pt x="102740" y="107610"/>
                    <a:pt x="96532" y="105457"/>
                  </a:cubicBezTo>
                  <a:cubicBezTo>
                    <a:pt x="94885" y="105457"/>
                    <a:pt x="92858" y="105457"/>
                    <a:pt x="90831" y="105203"/>
                  </a:cubicBezTo>
                  <a:cubicBezTo>
                    <a:pt x="81077" y="104570"/>
                    <a:pt x="71449" y="103176"/>
                    <a:pt x="61694" y="102290"/>
                  </a:cubicBezTo>
                  <a:cubicBezTo>
                    <a:pt x="52827" y="101403"/>
                    <a:pt x="42439" y="105203"/>
                    <a:pt x="44339" y="93042"/>
                  </a:cubicBezTo>
                  <a:cubicBezTo>
                    <a:pt x="45859" y="83034"/>
                    <a:pt x="55614" y="78474"/>
                    <a:pt x="55360" y="66692"/>
                  </a:cubicBezTo>
                  <a:cubicBezTo>
                    <a:pt x="38005" y="59851"/>
                    <a:pt x="12035" y="72139"/>
                    <a:pt x="2534" y="50983"/>
                  </a:cubicBezTo>
                  <a:cubicBezTo>
                    <a:pt x="-1900" y="41229"/>
                    <a:pt x="1394" y="31094"/>
                    <a:pt x="0" y="21213"/>
                  </a:cubicBezTo>
                  <a:cubicBezTo>
                    <a:pt x="0" y="21213"/>
                    <a:pt x="11275" y="12979"/>
                    <a:pt x="21156" y="15006"/>
                  </a:cubicBezTo>
                  <a:cubicBezTo>
                    <a:pt x="31037" y="17033"/>
                    <a:pt x="44972" y="30208"/>
                    <a:pt x="54854" y="24887"/>
                  </a:cubicBezTo>
                  <a:cubicBezTo>
                    <a:pt x="64735" y="19566"/>
                    <a:pt x="73349" y="20580"/>
                    <a:pt x="81204" y="20453"/>
                  </a:cubicBezTo>
                  <a:cubicBezTo>
                    <a:pt x="89184" y="20326"/>
                    <a:pt x="114901" y="4998"/>
                    <a:pt x="118195" y="26154"/>
                  </a:cubicBezTo>
                  <a:cubicBezTo>
                    <a:pt x="120475" y="40849"/>
                    <a:pt x="114648" y="54024"/>
                    <a:pt x="118955" y="71253"/>
                  </a:cubicBezTo>
                  <a:cubicBezTo>
                    <a:pt x="119208" y="70873"/>
                    <a:pt x="119588" y="70493"/>
                    <a:pt x="119968" y="70113"/>
                  </a:cubicBezTo>
                  <a:cubicBezTo>
                    <a:pt x="126556" y="64158"/>
                    <a:pt x="140238" y="69859"/>
                    <a:pt x="147205" y="71886"/>
                  </a:cubicBezTo>
                  <a:cubicBezTo>
                    <a:pt x="151892" y="73153"/>
                    <a:pt x="156200" y="73153"/>
                    <a:pt x="158987" y="77714"/>
                  </a:cubicBezTo>
                  <a:cubicBezTo>
                    <a:pt x="161900" y="82654"/>
                    <a:pt x="162660" y="89115"/>
                    <a:pt x="163167" y="94689"/>
                  </a:cubicBezTo>
                  <a:cubicBezTo>
                    <a:pt x="164054" y="105583"/>
                    <a:pt x="162787" y="116605"/>
                    <a:pt x="163420" y="127500"/>
                  </a:cubicBezTo>
                  <a:cubicBezTo>
                    <a:pt x="164687" y="149036"/>
                    <a:pt x="177736" y="147515"/>
                    <a:pt x="194331" y="155370"/>
                  </a:cubicBezTo>
                  <a:cubicBezTo>
                    <a:pt x="206619" y="161197"/>
                    <a:pt x="215867" y="177159"/>
                    <a:pt x="230309" y="175006"/>
                  </a:cubicBezTo>
                  <a:cubicBezTo>
                    <a:pt x="249185" y="172219"/>
                    <a:pt x="264766" y="152329"/>
                    <a:pt x="282755" y="145742"/>
                  </a:cubicBezTo>
                  <a:cubicBezTo>
                    <a:pt x="297704" y="140295"/>
                    <a:pt x="313919" y="142195"/>
                    <a:pt x="328614" y="135734"/>
                  </a:cubicBezTo>
                  <a:cubicBezTo>
                    <a:pt x="343816" y="129020"/>
                    <a:pt x="410578" y="67959"/>
                    <a:pt x="381821" y="56177"/>
                  </a:cubicBezTo>
                  <a:cubicBezTo>
                    <a:pt x="369153" y="50983"/>
                    <a:pt x="346730" y="70239"/>
                    <a:pt x="337989" y="56177"/>
                  </a:cubicBezTo>
                  <a:cubicBezTo>
                    <a:pt x="333682" y="49210"/>
                    <a:pt x="334949" y="40469"/>
                    <a:pt x="336215" y="31348"/>
                  </a:cubicBezTo>
                  <a:cubicBezTo>
                    <a:pt x="336215" y="31348"/>
                    <a:pt x="365732" y="564"/>
                    <a:pt x="378021" y="2464"/>
                  </a:cubicBezTo>
                  <a:cubicBezTo>
                    <a:pt x="390436" y="4491"/>
                    <a:pt x="417546" y="11838"/>
                    <a:pt x="433001" y="20706"/>
                  </a:cubicBezTo>
                  <a:cubicBezTo>
                    <a:pt x="448329" y="29701"/>
                    <a:pt x="460238" y="44016"/>
                    <a:pt x="464671" y="26661"/>
                  </a:cubicBezTo>
                  <a:cubicBezTo>
                    <a:pt x="469105" y="9305"/>
                    <a:pt x="482534" y="-8431"/>
                    <a:pt x="490895" y="4364"/>
                  </a:cubicBezTo>
                  <a:cubicBezTo>
                    <a:pt x="499383" y="17286"/>
                    <a:pt x="497862" y="43889"/>
                    <a:pt x="506223" y="45916"/>
                  </a:cubicBezTo>
                  <a:cubicBezTo>
                    <a:pt x="514584" y="47943"/>
                    <a:pt x="553476" y="33501"/>
                    <a:pt x="560443" y="35022"/>
                  </a:cubicBezTo>
                  <a:cubicBezTo>
                    <a:pt x="556390" y="43382"/>
                    <a:pt x="558290" y="53897"/>
                    <a:pt x="559557" y="62638"/>
                  </a:cubicBezTo>
                  <a:cubicBezTo>
                    <a:pt x="560697" y="70239"/>
                    <a:pt x="562724" y="78600"/>
                    <a:pt x="556390" y="84428"/>
                  </a:cubicBezTo>
                  <a:cubicBezTo>
                    <a:pt x="551702" y="88735"/>
                    <a:pt x="543975" y="91395"/>
                    <a:pt x="544988" y="99249"/>
                  </a:cubicBezTo>
                  <a:cubicBezTo>
                    <a:pt x="546255" y="109891"/>
                    <a:pt x="561330" y="115845"/>
                    <a:pt x="569818" y="119139"/>
                  </a:cubicBezTo>
                  <a:cubicBezTo>
                    <a:pt x="573872" y="120659"/>
                    <a:pt x="593634" y="124206"/>
                    <a:pt x="594141" y="130160"/>
                  </a:cubicBezTo>
                  <a:cubicBezTo>
                    <a:pt x="595154" y="140548"/>
                    <a:pt x="556390" y="135227"/>
                    <a:pt x="550436" y="139028"/>
                  </a:cubicBezTo>
                  <a:cubicBezTo>
                    <a:pt x="543721" y="143208"/>
                    <a:pt x="545748" y="150809"/>
                    <a:pt x="551576" y="154736"/>
                  </a:cubicBezTo>
                  <a:cubicBezTo>
                    <a:pt x="559050" y="159804"/>
                    <a:pt x="567538" y="156890"/>
                    <a:pt x="575392" y="159550"/>
                  </a:cubicBezTo>
                  <a:cubicBezTo>
                    <a:pt x="581979" y="161831"/>
                    <a:pt x="576279" y="167405"/>
                    <a:pt x="572732" y="170318"/>
                  </a:cubicBezTo>
                  <a:cubicBezTo>
                    <a:pt x="563484" y="178046"/>
                    <a:pt x="550816" y="174499"/>
                    <a:pt x="542074" y="182607"/>
                  </a:cubicBezTo>
                  <a:cubicBezTo>
                    <a:pt x="536881" y="187421"/>
                    <a:pt x="531053" y="199962"/>
                    <a:pt x="534727" y="206296"/>
                  </a:cubicBezTo>
                  <a:cubicBezTo>
                    <a:pt x="538021" y="212123"/>
                    <a:pt x="545748" y="213644"/>
                    <a:pt x="548029" y="220105"/>
                  </a:cubicBezTo>
                  <a:cubicBezTo>
                    <a:pt x="550182" y="226059"/>
                    <a:pt x="547142" y="236953"/>
                    <a:pt x="553983" y="241134"/>
                  </a:cubicBezTo>
                  <a:cubicBezTo>
                    <a:pt x="561710" y="245948"/>
                    <a:pt x="558923" y="232140"/>
                    <a:pt x="559050" y="228212"/>
                  </a:cubicBezTo>
                  <a:cubicBezTo>
                    <a:pt x="565637" y="228592"/>
                    <a:pt x="567158" y="232140"/>
                    <a:pt x="571211" y="236447"/>
                  </a:cubicBezTo>
                  <a:cubicBezTo>
                    <a:pt x="576025" y="241641"/>
                    <a:pt x="580206" y="240881"/>
                    <a:pt x="586793" y="239107"/>
                  </a:cubicBezTo>
                  <a:cubicBezTo>
                    <a:pt x="593381" y="237207"/>
                    <a:pt x="597815" y="236193"/>
                    <a:pt x="603896" y="239994"/>
                  </a:cubicBezTo>
                  <a:cubicBezTo>
                    <a:pt x="609343" y="243414"/>
                    <a:pt x="616817" y="249875"/>
                    <a:pt x="618464" y="256336"/>
                  </a:cubicBezTo>
                  <a:cubicBezTo>
                    <a:pt x="623785" y="277999"/>
                    <a:pt x="570325" y="265837"/>
                    <a:pt x="560443" y="26609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5" name="Полилиния: фигура 424">
              <a:extLst>
                <a:ext uri="{FF2B5EF4-FFF2-40B4-BE49-F238E27FC236}">
                  <a16:creationId xmlns:a16="http://schemas.microsoft.com/office/drawing/2014/main" id="{12E53EB2-B3CA-4888-8679-160F2713AD70}"/>
                </a:ext>
              </a:extLst>
            </p:cNvPr>
            <p:cNvSpPr/>
            <p:nvPr/>
          </p:nvSpPr>
          <p:spPr>
            <a:xfrm>
              <a:off x="1207240" y="4136485"/>
              <a:ext cx="644226" cy="713420"/>
            </a:xfrm>
            <a:custGeom>
              <a:avLst/>
              <a:gdLst>
                <a:gd name="connsiteX0" fmla="*/ 644054 w 644226"/>
                <a:gd name="connsiteY0" fmla="*/ 141124 h 713420"/>
                <a:gd name="connsiteX1" fmla="*/ 618844 w 644226"/>
                <a:gd name="connsiteY1" fmla="*/ 183436 h 713420"/>
                <a:gd name="connsiteX2" fmla="*/ 582993 w 644226"/>
                <a:gd name="connsiteY2" fmla="*/ 205225 h 713420"/>
                <a:gd name="connsiteX3" fmla="*/ 558923 w 644226"/>
                <a:gd name="connsiteY3" fmla="*/ 277308 h 713420"/>
                <a:gd name="connsiteX4" fmla="*/ 528393 w 644226"/>
                <a:gd name="connsiteY4" fmla="*/ 317466 h 713420"/>
                <a:gd name="connsiteX5" fmla="*/ 479873 w 644226"/>
                <a:gd name="connsiteY5" fmla="*/ 320380 h 713420"/>
                <a:gd name="connsiteX6" fmla="*/ 419319 w 644226"/>
                <a:gd name="connsiteY6" fmla="*/ 372953 h 713420"/>
                <a:gd name="connsiteX7" fmla="*/ 432874 w 644226"/>
                <a:gd name="connsiteY7" fmla="*/ 418939 h 713420"/>
                <a:gd name="connsiteX8" fmla="*/ 412858 w 644226"/>
                <a:gd name="connsiteY8" fmla="*/ 468725 h 713420"/>
                <a:gd name="connsiteX9" fmla="*/ 407918 w 644226"/>
                <a:gd name="connsiteY9" fmla="*/ 512684 h 713420"/>
                <a:gd name="connsiteX10" fmla="*/ 441489 w 644226"/>
                <a:gd name="connsiteY10" fmla="*/ 542075 h 713420"/>
                <a:gd name="connsiteX11" fmla="*/ 444402 w 644226"/>
                <a:gd name="connsiteY11" fmla="*/ 569564 h 713420"/>
                <a:gd name="connsiteX12" fmla="*/ 446176 w 644226"/>
                <a:gd name="connsiteY12" fmla="*/ 594394 h 713420"/>
                <a:gd name="connsiteX13" fmla="*/ 490008 w 644226"/>
                <a:gd name="connsiteY13" fmla="*/ 594394 h 713420"/>
                <a:gd name="connsiteX14" fmla="*/ 436801 w 644226"/>
                <a:gd name="connsiteY14" fmla="*/ 673951 h 713420"/>
                <a:gd name="connsiteX15" fmla="*/ 390942 w 644226"/>
                <a:gd name="connsiteY15" fmla="*/ 683959 h 713420"/>
                <a:gd name="connsiteX16" fmla="*/ 338496 w 644226"/>
                <a:gd name="connsiteY16" fmla="*/ 713222 h 713420"/>
                <a:gd name="connsiteX17" fmla="*/ 302518 w 644226"/>
                <a:gd name="connsiteY17" fmla="*/ 693587 h 713420"/>
                <a:gd name="connsiteX18" fmla="*/ 271607 w 644226"/>
                <a:gd name="connsiteY18" fmla="*/ 665716 h 713420"/>
                <a:gd name="connsiteX19" fmla="*/ 271354 w 644226"/>
                <a:gd name="connsiteY19" fmla="*/ 632906 h 713420"/>
                <a:gd name="connsiteX20" fmla="*/ 267173 w 644226"/>
                <a:gd name="connsiteY20" fmla="*/ 615930 h 713420"/>
                <a:gd name="connsiteX21" fmla="*/ 255392 w 644226"/>
                <a:gd name="connsiteY21" fmla="*/ 610103 h 713420"/>
                <a:gd name="connsiteX22" fmla="*/ 228155 w 644226"/>
                <a:gd name="connsiteY22" fmla="*/ 608329 h 713420"/>
                <a:gd name="connsiteX23" fmla="*/ 227142 w 644226"/>
                <a:gd name="connsiteY23" fmla="*/ 609469 h 713420"/>
                <a:gd name="connsiteX24" fmla="*/ 226382 w 644226"/>
                <a:gd name="connsiteY24" fmla="*/ 564370 h 713420"/>
                <a:gd name="connsiteX25" fmla="*/ 189390 w 644226"/>
                <a:gd name="connsiteY25" fmla="*/ 558670 h 713420"/>
                <a:gd name="connsiteX26" fmla="*/ 163040 w 644226"/>
                <a:gd name="connsiteY26" fmla="*/ 563103 h 713420"/>
                <a:gd name="connsiteX27" fmla="*/ 129343 w 644226"/>
                <a:gd name="connsiteY27" fmla="*/ 553222 h 713420"/>
                <a:gd name="connsiteX28" fmla="*/ 108187 w 644226"/>
                <a:gd name="connsiteY28" fmla="*/ 559430 h 713420"/>
                <a:gd name="connsiteX29" fmla="*/ 107300 w 644226"/>
                <a:gd name="connsiteY29" fmla="*/ 555376 h 713420"/>
                <a:gd name="connsiteX30" fmla="*/ 86904 w 644226"/>
                <a:gd name="connsiteY30" fmla="*/ 536754 h 713420"/>
                <a:gd name="connsiteX31" fmla="*/ 67522 w 644226"/>
                <a:gd name="connsiteY31" fmla="*/ 516864 h 713420"/>
                <a:gd name="connsiteX32" fmla="*/ 63721 w 644226"/>
                <a:gd name="connsiteY32" fmla="*/ 511164 h 713420"/>
                <a:gd name="connsiteX33" fmla="*/ 74616 w 644226"/>
                <a:gd name="connsiteY33" fmla="*/ 486841 h 713420"/>
                <a:gd name="connsiteX34" fmla="*/ 84244 w 644226"/>
                <a:gd name="connsiteY34" fmla="*/ 455677 h 713420"/>
                <a:gd name="connsiteX35" fmla="*/ 41552 w 644226"/>
                <a:gd name="connsiteY35" fmla="*/ 411845 h 713420"/>
                <a:gd name="connsiteX36" fmla="*/ 56374 w 644226"/>
                <a:gd name="connsiteY36" fmla="*/ 356104 h 713420"/>
                <a:gd name="connsiteX37" fmla="*/ 69422 w 644226"/>
                <a:gd name="connsiteY37" fmla="*/ 299224 h 713420"/>
                <a:gd name="connsiteX38" fmla="*/ 33698 w 644226"/>
                <a:gd name="connsiteY38" fmla="*/ 257925 h 713420"/>
                <a:gd name="connsiteX39" fmla="*/ 4054 w 644226"/>
                <a:gd name="connsiteY39" fmla="*/ 220301 h 713420"/>
                <a:gd name="connsiteX40" fmla="*/ 0 w 644226"/>
                <a:gd name="connsiteY40" fmla="*/ 162280 h 713420"/>
                <a:gd name="connsiteX41" fmla="*/ 10515 w 644226"/>
                <a:gd name="connsiteY41" fmla="*/ 175329 h 713420"/>
                <a:gd name="connsiteX42" fmla="*/ 25590 w 644226"/>
                <a:gd name="connsiteY42" fmla="*/ 183690 h 713420"/>
                <a:gd name="connsiteX43" fmla="*/ 65115 w 644226"/>
                <a:gd name="connsiteY43" fmla="*/ 194838 h 713420"/>
                <a:gd name="connsiteX44" fmla="*/ 60428 w 644226"/>
                <a:gd name="connsiteY44" fmla="*/ 154552 h 713420"/>
                <a:gd name="connsiteX45" fmla="*/ 19256 w 644226"/>
                <a:gd name="connsiteY45" fmla="*/ 100586 h 713420"/>
                <a:gd name="connsiteX46" fmla="*/ 62581 w 644226"/>
                <a:gd name="connsiteY46" fmla="*/ 70942 h 713420"/>
                <a:gd name="connsiteX47" fmla="*/ 94759 w 644226"/>
                <a:gd name="connsiteY47" fmla="*/ 92858 h 713420"/>
                <a:gd name="connsiteX48" fmla="*/ 125289 w 644226"/>
                <a:gd name="connsiteY48" fmla="*/ 94759 h 713420"/>
                <a:gd name="connsiteX49" fmla="*/ 173808 w 644226"/>
                <a:gd name="connsiteY49" fmla="*/ 123135 h 713420"/>
                <a:gd name="connsiteX50" fmla="*/ 193318 w 644226"/>
                <a:gd name="connsiteY50" fmla="*/ 146698 h 713420"/>
                <a:gd name="connsiteX51" fmla="*/ 218147 w 644226"/>
                <a:gd name="connsiteY51" fmla="*/ 135677 h 713420"/>
                <a:gd name="connsiteX52" fmla="*/ 241584 w 644226"/>
                <a:gd name="connsiteY52" fmla="*/ 134030 h 713420"/>
                <a:gd name="connsiteX53" fmla="*/ 262739 w 644226"/>
                <a:gd name="connsiteY53" fmla="*/ 134284 h 713420"/>
                <a:gd name="connsiteX54" fmla="*/ 268060 w 644226"/>
                <a:gd name="connsiteY54" fmla="*/ 100206 h 713420"/>
                <a:gd name="connsiteX55" fmla="*/ 288963 w 644226"/>
                <a:gd name="connsiteY55" fmla="*/ 77150 h 713420"/>
                <a:gd name="connsiteX56" fmla="*/ 309612 w 644226"/>
                <a:gd name="connsiteY56" fmla="*/ 57260 h 713420"/>
                <a:gd name="connsiteX57" fmla="*/ 335962 w 644226"/>
                <a:gd name="connsiteY57" fmla="*/ 74489 h 713420"/>
                <a:gd name="connsiteX58" fmla="*/ 367633 w 644226"/>
                <a:gd name="connsiteY58" fmla="*/ 48139 h 713420"/>
                <a:gd name="connsiteX59" fmla="*/ 419826 w 644226"/>
                <a:gd name="connsiteY59" fmla="*/ 10261 h 713420"/>
                <a:gd name="connsiteX60" fmla="*/ 430847 w 644226"/>
                <a:gd name="connsiteY60" fmla="*/ 0 h 713420"/>
                <a:gd name="connsiteX61" fmla="*/ 469485 w 644226"/>
                <a:gd name="connsiteY61" fmla="*/ 23690 h 713420"/>
                <a:gd name="connsiteX62" fmla="*/ 511924 w 644226"/>
                <a:gd name="connsiteY62" fmla="*/ 49786 h 713420"/>
                <a:gd name="connsiteX63" fmla="*/ 636073 w 644226"/>
                <a:gd name="connsiteY63" fmla="*/ 29390 h 713420"/>
                <a:gd name="connsiteX64" fmla="*/ 644054 w 644226"/>
                <a:gd name="connsiteY64" fmla="*/ 141124 h 71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4226" h="713420">
                  <a:moveTo>
                    <a:pt x="644054" y="141124"/>
                  </a:moveTo>
                  <a:cubicBezTo>
                    <a:pt x="641520" y="157719"/>
                    <a:pt x="634553" y="175329"/>
                    <a:pt x="618844" y="183436"/>
                  </a:cubicBezTo>
                  <a:cubicBezTo>
                    <a:pt x="604782" y="190531"/>
                    <a:pt x="592747" y="190911"/>
                    <a:pt x="582993" y="205225"/>
                  </a:cubicBezTo>
                  <a:cubicBezTo>
                    <a:pt x="568424" y="226508"/>
                    <a:pt x="570578" y="254632"/>
                    <a:pt x="558923" y="277308"/>
                  </a:cubicBezTo>
                  <a:cubicBezTo>
                    <a:pt x="551829" y="291117"/>
                    <a:pt x="540934" y="307965"/>
                    <a:pt x="528393" y="317466"/>
                  </a:cubicBezTo>
                  <a:cubicBezTo>
                    <a:pt x="513191" y="328994"/>
                    <a:pt x="496976" y="323167"/>
                    <a:pt x="479873" y="320380"/>
                  </a:cubicBezTo>
                  <a:cubicBezTo>
                    <a:pt x="449850" y="315313"/>
                    <a:pt x="416152" y="339383"/>
                    <a:pt x="419319" y="372953"/>
                  </a:cubicBezTo>
                  <a:cubicBezTo>
                    <a:pt x="420839" y="389169"/>
                    <a:pt x="432241" y="402344"/>
                    <a:pt x="432874" y="418939"/>
                  </a:cubicBezTo>
                  <a:cubicBezTo>
                    <a:pt x="433634" y="438575"/>
                    <a:pt x="422613" y="453017"/>
                    <a:pt x="412858" y="468725"/>
                  </a:cubicBezTo>
                  <a:cubicBezTo>
                    <a:pt x="404244" y="482407"/>
                    <a:pt x="399937" y="497356"/>
                    <a:pt x="407918" y="512684"/>
                  </a:cubicBezTo>
                  <a:cubicBezTo>
                    <a:pt x="415519" y="527379"/>
                    <a:pt x="432747" y="529406"/>
                    <a:pt x="441489" y="542075"/>
                  </a:cubicBezTo>
                  <a:cubicBezTo>
                    <a:pt x="447063" y="550182"/>
                    <a:pt x="445796" y="560063"/>
                    <a:pt x="444402" y="569564"/>
                  </a:cubicBezTo>
                  <a:cubicBezTo>
                    <a:pt x="443135" y="578686"/>
                    <a:pt x="441869" y="587427"/>
                    <a:pt x="446176" y="594394"/>
                  </a:cubicBezTo>
                  <a:cubicBezTo>
                    <a:pt x="454917" y="608456"/>
                    <a:pt x="477340" y="589200"/>
                    <a:pt x="490008" y="594394"/>
                  </a:cubicBezTo>
                  <a:cubicBezTo>
                    <a:pt x="518638" y="606176"/>
                    <a:pt x="452003" y="667237"/>
                    <a:pt x="436801" y="673951"/>
                  </a:cubicBezTo>
                  <a:cubicBezTo>
                    <a:pt x="422106" y="680412"/>
                    <a:pt x="405891" y="678511"/>
                    <a:pt x="390942" y="683959"/>
                  </a:cubicBezTo>
                  <a:cubicBezTo>
                    <a:pt x="372953" y="690420"/>
                    <a:pt x="357498" y="710309"/>
                    <a:pt x="338496" y="713222"/>
                  </a:cubicBezTo>
                  <a:cubicBezTo>
                    <a:pt x="324054" y="715376"/>
                    <a:pt x="314806" y="699414"/>
                    <a:pt x="302518" y="693587"/>
                  </a:cubicBezTo>
                  <a:cubicBezTo>
                    <a:pt x="285922" y="685732"/>
                    <a:pt x="272874" y="687253"/>
                    <a:pt x="271607" y="665716"/>
                  </a:cubicBezTo>
                  <a:cubicBezTo>
                    <a:pt x="270974" y="654822"/>
                    <a:pt x="272241" y="643801"/>
                    <a:pt x="271354" y="632906"/>
                  </a:cubicBezTo>
                  <a:cubicBezTo>
                    <a:pt x="270847" y="627332"/>
                    <a:pt x="270087" y="620871"/>
                    <a:pt x="267173" y="615930"/>
                  </a:cubicBezTo>
                  <a:cubicBezTo>
                    <a:pt x="264386" y="611496"/>
                    <a:pt x="260079" y="611496"/>
                    <a:pt x="255392" y="610103"/>
                  </a:cubicBezTo>
                  <a:cubicBezTo>
                    <a:pt x="248424" y="608203"/>
                    <a:pt x="234869" y="602375"/>
                    <a:pt x="228155" y="608329"/>
                  </a:cubicBezTo>
                  <a:cubicBezTo>
                    <a:pt x="227775" y="608709"/>
                    <a:pt x="227395" y="609089"/>
                    <a:pt x="227142" y="609469"/>
                  </a:cubicBezTo>
                  <a:cubicBezTo>
                    <a:pt x="222835" y="592241"/>
                    <a:pt x="228662" y="579066"/>
                    <a:pt x="226382" y="564370"/>
                  </a:cubicBezTo>
                  <a:cubicBezTo>
                    <a:pt x="223088" y="543215"/>
                    <a:pt x="197371" y="558543"/>
                    <a:pt x="189390" y="558670"/>
                  </a:cubicBezTo>
                  <a:cubicBezTo>
                    <a:pt x="181536" y="558796"/>
                    <a:pt x="172922" y="557783"/>
                    <a:pt x="163040" y="563103"/>
                  </a:cubicBezTo>
                  <a:cubicBezTo>
                    <a:pt x="153159" y="568424"/>
                    <a:pt x="139224" y="555249"/>
                    <a:pt x="129343" y="553222"/>
                  </a:cubicBezTo>
                  <a:cubicBezTo>
                    <a:pt x="119462" y="551196"/>
                    <a:pt x="108187" y="559430"/>
                    <a:pt x="108187" y="559430"/>
                  </a:cubicBezTo>
                  <a:cubicBezTo>
                    <a:pt x="108060" y="558036"/>
                    <a:pt x="107807" y="556769"/>
                    <a:pt x="107300" y="555376"/>
                  </a:cubicBezTo>
                  <a:cubicBezTo>
                    <a:pt x="104260" y="545115"/>
                    <a:pt x="95265" y="542328"/>
                    <a:pt x="86904" y="536754"/>
                  </a:cubicBezTo>
                  <a:cubicBezTo>
                    <a:pt x="79810" y="532067"/>
                    <a:pt x="72969" y="524465"/>
                    <a:pt x="67522" y="516864"/>
                  </a:cubicBezTo>
                  <a:cubicBezTo>
                    <a:pt x="66128" y="514964"/>
                    <a:pt x="64861" y="513064"/>
                    <a:pt x="63721" y="511164"/>
                  </a:cubicBezTo>
                  <a:cubicBezTo>
                    <a:pt x="53967" y="495709"/>
                    <a:pt x="66888" y="497862"/>
                    <a:pt x="74616" y="486841"/>
                  </a:cubicBezTo>
                  <a:cubicBezTo>
                    <a:pt x="80063" y="479113"/>
                    <a:pt x="82977" y="464925"/>
                    <a:pt x="84244" y="455677"/>
                  </a:cubicBezTo>
                  <a:cubicBezTo>
                    <a:pt x="68029" y="444782"/>
                    <a:pt x="46873" y="432114"/>
                    <a:pt x="41552" y="411845"/>
                  </a:cubicBezTo>
                  <a:cubicBezTo>
                    <a:pt x="36358" y="392336"/>
                    <a:pt x="48139" y="372827"/>
                    <a:pt x="56374" y="356104"/>
                  </a:cubicBezTo>
                  <a:cubicBezTo>
                    <a:pt x="64861" y="338749"/>
                    <a:pt x="74743" y="318986"/>
                    <a:pt x="69422" y="299224"/>
                  </a:cubicBezTo>
                  <a:cubicBezTo>
                    <a:pt x="64355" y="280728"/>
                    <a:pt x="48013" y="269074"/>
                    <a:pt x="33698" y="257925"/>
                  </a:cubicBezTo>
                  <a:cubicBezTo>
                    <a:pt x="20523" y="247538"/>
                    <a:pt x="7981" y="237403"/>
                    <a:pt x="4054" y="220301"/>
                  </a:cubicBezTo>
                  <a:cubicBezTo>
                    <a:pt x="-253" y="201425"/>
                    <a:pt x="3420" y="181409"/>
                    <a:pt x="0" y="162280"/>
                  </a:cubicBezTo>
                  <a:cubicBezTo>
                    <a:pt x="4181" y="165827"/>
                    <a:pt x="7728" y="171528"/>
                    <a:pt x="10515" y="175329"/>
                  </a:cubicBezTo>
                  <a:cubicBezTo>
                    <a:pt x="15455" y="181663"/>
                    <a:pt x="18369" y="181283"/>
                    <a:pt x="25590" y="183690"/>
                  </a:cubicBezTo>
                  <a:cubicBezTo>
                    <a:pt x="40032" y="188630"/>
                    <a:pt x="49026" y="215487"/>
                    <a:pt x="65115" y="194838"/>
                  </a:cubicBezTo>
                  <a:cubicBezTo>
                    <a:pt x="74363" y="183056"/>
                    <a:pt x="69042" y="164940"/>
                    <a:pt x="60428" y="154552"/>
                  </a:cubicBezTo>
                  <a:cubicBezTo>
                    <a:pt x="46746" y="137957"/>
                    <a:pt x="19129" y="125289"/>
                    <a:pt x="19256" y="100586"/>
                  </a:cubicBezTo>
                  <a:cubicBezTo>
                    <a:pt x="19256" y="79557"/>
                    <a:pt x="43579" y="63468"/>
                    <a:pt x="62581" y="70942"/>
                  </a:cubicBezTo>
                  <a:cubicBezTo>
                    <a:pt x="74869" y="75756"/>
                    <a:pt x="82850" y="87538"/>
                    <a:pt x="94759" y="92858"/>
                  </a:cubicBezTo>
                  <a:cubicBezTo>
                    <a:pt x="104640" y="97292"/>
                    <a:pt x="114901" y="95392"/>
                    <a:pt x="125289" y="94759"/>
                  </a:cubicBezTo>
                  <a:cubicBezTo>
                    <a:pt x="151512" y="92985"/>
                    <a:pt x="158860" y="103119"/>
                    <a:pt x="173808" y="123135"/>
                  </a:cubicBezTo>
                  <a:cubicBezTo>
                    <a:pt x="179002" y="130103"/>
                    <a:pt x="185210" y="142518"/>
                    <a:pt x="193318" y="146698"/>
                  </a:cubicBezTo>
                  <a:cubicBezTo>
                    <a:pt x="204719" y="152399"/>
                    <a:pt x="210673" y="143025"/>
                    <a:pt x="218147" y="135677"/>
                  </a:cubicBezTo>
                  <a:cubicBezTo>
                    <a:pt x="227902" y="126049"/>
                    <a:pt x="230562" y="126556"/>
                    <a:pt x="241584" y="134030"/>
                  </a:cubicBezTo>
                  <a:cubicBezTo>
                    <a:pt x="250071" y="139731"/>
                    <a:pt x="257672" y="146572"/>
                    <a:pt x="262739" y="134284"/>
                  </a:cubicBezTo>
                  <a:cubicBezTo>
                    <a:pt x="267173" y="123515"/>
                    <a:pt x="261599" y="111227"/>
                    <a:pt x="268060" y="100206"/>
                  </a:cubicBezTo>
                  <a:cubicBezTo>
                    <a:pt x="273127" y="91338"/>
                    <a:pt x="282755" y="85384"/>
                    <a:pt x="288963" y="77150"/>
                  </a:cubicBezTo>
                  <a:cubicBezTo>
                    <a:pt x="294537" y="69802"/>
                    <a:pt x="298971" y="57894"/>
                    <a:pt x="309612" y="57260"/>
                  </a:cubicBezTo>
                  <a:cubicBezTo>
                    <a:pt x="321647" y="56500"/>
                    <a:pt x="326461" y="70309"/>
                    <a:pt x="335962" y="74489"/>
                  </a:cubicBezTo>
                  <a:cubicBezTo>
                    <a:pt x="353444" y="82217"/>
                    <a:pt x="357751" y="57260"/>
                    <a:pt x="367633" y="48139"/>
                  </a:cubicBezTo>
                  <a:cubicBezTo>
                    <a:pt x="383341" y="33571"/>
                    <a:pt x="402470" y="22676"/>
                    <a:pt x="419826" y="10261"/>
                  </a:cubicBezTo>
                  <a:cubicBezTo>
                    <a:pt x="424640" y="6841"/>
                    <a:pt x="428187" y="3420"/>
                    <a:pt x="430847" y="0"/>
                  </a:cubicBezTo>
                  <a:cubicBezTo>
                    <a:pt x="443009" y="8994"/>
                    <a:pt x="456564" y="15962"/>
                    <a:pt x="469485" y="23690"/>
                  </a:cubicBezTo>
                  <a:cubicBezTo>
                    <a:pt x="483547" y="32177"/>
                    <a:pt x="496722" y="43325"/>
                    <a:pt x="511924" y="49786"/>
                  </a:cubicBezTo>
                  <a:cubicBezTo>
                    <a:pt x="553603" y="67522"/>
                    <a:pt x="595028" y="35851"/>
                    <a:pt x="636073" y="29390"/>
                  </a:cubicBezTo>
                  <a:cubicBezTo>
                    <a:pt x="636580" y="29264"/>
                    <a:pt x="645574" y="131243"/>
                    <a:pt x="644054" y="1411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6" name="Полилиния: фигура 425">
              <a:extLst>
                <a:ext uri="{FF2B5EF4-FFF2-40B4-BE49-F238E27FC236}">
                  <a16:creationId xmlns:a16="http://schemas.microsoft.com/office/drawing/2014/main" id="{278A5FC9-3FB9-4A1C-A8DD-AE7EFC69FBF6}"/>
                </a:ext>
              </a:extLst>
            </p:cNvPr>
            <p:cNvSpPr/>
            <p:nvPr/>
          </p:nvSpPr>
          <p:spPr>
            <a:xfrm>
              <a:off x="901302" y="4807949"/>
              <a:ext cx="255966" cy="273333"/>
            </a:xfrm>
            <a:custGeom>
              <a:avLst/>
              <a:gdLst>
                <a:gd name="connsiteX0" fmla="*/ 214473 w 255966"/>
                <a:gd name="connsiteY0" fmla="*/ 190864 h 273333"/>
                <a:gd name="connsiteX1" fmla="*/ 204339 w 255966"/>
                <a:gd name="connsiteY1" fmla="*/ 223421 h 273333"/>
                <a:gd name="connsiteX2" fmla="*/ 193951 w 255966"/>
                <a:gd name="connsiteY2" fmla="*/ 230135 h 273333"/>
                <a:gd name="connsiteX3" fmla="*/ 173048 w 255966"/>
                <a:gd name="connsiteY3" fmla="*/ 231909 h 273333"/>
                <a:gd name="connsiteX4" fmla="*/ 132510 w 255966"/>
                <a:gd name="connsiteY4" fmla="*/ 244704 h 273333"/>
                <a:gd name="connsiteX5" fmla="*/ 101599 w 255966"/>
                <a:gd name="connsiteY5" fmla="*/ 273334 h 273333"/>
                <a:gd name="connsiteX6" fmla="*/ 91085 w 255966"/>
                <a:gd name="connsiteY6" fmla="*/ 260792 h 273333"/>
                <a:gd name="connsiteX7" fmla="*/ 67015 w 255966"/>
                <a:gd name="connsiteY7" fmla="*/ 227221 h 273333"/>
                <a:gd name="connsiteX8" fmla="*/ 47759 w 255966"/>
                <a:gd name="connsiteY8" fmla="*/ 202392 h 273333"/>
                <a:gd name="connsiteX9" fmla="*/ 35471 w 255966"/>
                <a:gd name="connsiteY9" fmla="*/ 184910 h 273333"/>
                <a:gd name="connsiteX10" fmla="*/ 19256 w 255966"/>
                <a:gd name="connsiteY10" fmla="*/ 142218 h 273333"/>
                <a:gd name="connsiteX11" fmla="*/ 2407 w 255966"/>
                <a:gd name="connsiteY11" fmla="*/ 74696 h 273333"/>
                <a:gd name="connsiteX12" fmla="*/ 0 w 255966"/>
                <a:gd name="connsiteY12" fmla="*/ 69248 h 273333"/>
                <a:gd name="connsiteX13" fmla="*/ 6081 w 255966"/>
                <a:gd name="connsiteY13" fmla="*/ 58227 h 273333"/>
                <a:gd name="connsiteX14" fmla="*/ 25590 w 255966"/>
                <a:gd name="connsiteY14" fmla="*/ 30864 h 273333"/>
                <a:gd name="connsiteX15" fmla="*/ 35598 w 255966"/>
                <a:gd name="connsiteY15" fmla="*/ 19462 h 273333"/>
                <a:gd name="connsiteX16" fmla="*/ 49279 w 255966"/>
                <a:gd name="connsiteY16" fmla="*/ 17055 h 273333"/>
                <a:gd name="connsiteX17" fmla="*/ 79683 w 255966"/>
                <a:gd name="connsiteY17" fmla="*/ 7680 h 273333"/>
                <a:gd name="connsiteX18" fmla="*/ 106033 w 255966"/>
                <a:gd name="connsiteY18" fmla="*/ 2740 h 273333"/>
                <a:gd name="connsiteX19" fmla="*/ 111987 w 255966"/>
                <a:gd name="connsiteY19" fmla="*/ 30610 h 273333"/>
                <a:gd name="connsiteX20" fmla="*/ 114394 w 255966"/>
                <a:gd name="connsiteY20" fmla="*/ 65955 h 273333"/>
                <a:gd name="connsiteX21" fmla="*/ 125542 w 255966"/>
                <a:gd name="connsiteY21" fmla="*/ 86351 h 273333"/>
                <a:gd name="connsiteX22" fmla="*/ 149105 w 255966"/>
                <a:gd name="connsiteY22" fmla="*/ 83184 h 273333"/>
                <a:gd name="connsiteX23" fmla="*/ 178242 w 255966"/>
                <a:gd name="connsiteY23" fmla="*/ 54680 h 273333"/>
                <a:gd name="connsiteX24" fmla="*/ 202312 w 255966"/>
                <a:gd name="connsiteY24" fmla="*/ 31497 h 273333"/>
                <a:gd name="connsiteX25" fmla="*/ 202439 w 255966"/>
                <a:gd name="connsiteY25" fmla="*/ 31497 h 273333"/>
                <a:gd name="connsiteX26" fmla="*/ 208646 w 255966"/>
                <a:gd name="connsiteY26" fmla="*/ 68868 h 273333"/>
                <a:gd name="connsiteX27" fmla="*/ 222581 w 255966"/>
                <a:gd name="connsiteY27" fmla="*/ 103199 h 273333"/>
                <a:gd name="connsiteX28" fmla="*/ 237023 w 255966"/>
                <a:gd name="connsiteY28" fmla="*/ 120681 h 273333"/>
                <a:gd name="connsiteX29" fmla="*/ 251718 w 255966"/>
                <a:gd name="connsiteY29" fmla="*/ 133730 h 273333"/>
                <a:gd name="connsiteX30" fmla="*/ 214473 w 255966"/>
                <a:gd name="connsiteY30" fmla="*/ 190864 h 27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5966" h="273333">
                  <a:moveTo>
                    <a:pt x="214473" y="190864"/>
                  </a:moveTo>
                  <a:cubicBezTo>
                    <a:pt x="209280" y="200871"/>
                    <a:pt x="211053" y="214426"/>
                    <a:pt x="204339" y="223421"/>
                  </a:cubicBezTo>
                  <a:cubicBezTo>
                    <a:pt x="201679" y="226841"/>
                    <a:pt x="198005" y="228868"/>
                    <a:pt x="193951" y="230135"/>
                  </a:cubicBezTo>
                  <a:cubicBezTo>
                    <a:pt x="187237" y="232035"/>
                    <a:pt x="179256" y="231909"/>
                    <a:pt x="173048" y="231909"/>
                  </a:cubicBezTo>
                  <a:cubicBezTo>
                    <a:pt x="157340" y="232162"/>
                    <a:pt x="145432" y="235456"/>
                    <a:pt x="132510" y="244704"/>
                  </a:cubicBezTo>
                  <a:cubicBezTo>
                    <a:pt x="121108" y="252938"/>
                    <a:pt x="110847" y="262692"/>
                    <a:pt x="101599" y="273334"/>
                  </a:cubicBezTo>
                  <a:cubicBezTo>
                    <a:pt x="98179" y="269027"/>
                    <a:pt x="94505" y="264846"/>
                    <a:pt x="91085" y="260792"/>
                  </a:cubicBezTo>
                  <a:cubicBezTo>
                    <a:pt x="82217" y="250404"/>
                    <a:pt x="74363" y="238623"/>
                    <a:pt x="67015" y="227221"/>
                  </a:cubicBezTo>
                  <a:cubicBezTo>
                    <a:pt x="61061" y="217974"/>
                    <a:pt x="55614" y="210246"/>
                    <a:pt x="47759" y="202392"/>
                  </a:cubicBezTo>
                  <a:cubicBezTo>
                    <a:pt x="42565" y="197198"/>
                    <a:pt x="39018" y="191244"/>
                    <a:pt x="35471" y="184910"/>
                  </a:cubicBezTo>
                  <a:cubicBezTo>
                    <a:pt x="28123" y="171481"/>
                    <a:pt x="22676" y="157292"/>
                    <a:pt x="19256" y="142218"/>
                  </a:cubicBezTo>
                  <a:cubicBezTo>
                    <a:pt x="14188" y="119541"/>
                    <a:pt x="11275" y="96232"/>
                    <a:pt x="2407" y="74696"/>
                  </a:cubicBezTo>
                  <a:cubicBezTo>
                    <a:pt x="1647" y="72922"/>
                    <a:pt x="887" y="71149"/>
                    <a:pt x="0" y="69248"/>
                  </a:cubicBezTo>
                  <a:cubicBezTo>
                    <a:pt x="3040" y="63674"/>
                    <a:pt x="5827" y="58734"/>
                    <a:pt x="6081" y="58227"/>
                  </a:cubicBezTo>
                  <a:cubicBezTo>
                    <a:pt x="11528" y="48472"/>
                    <a:pt x="19256" y="40111"/>
                    <a:pt x="25590" y="30864"/>
                  </a:cubicBezTo>
                  <a:cubicBezTo>
                    <a:pt x="28377" y="26810"/>
                    <a:pt x="31291" y="22122"/>
                    <a:pt x="35598" y="19462"/>
                  </a:cubicBezTo>
                  <a:cubicBezTo>
                    <a:pt x="39652" y="16928"/>
                    <a:pt x="44592" y="17055"/>
                    <a:pt x="49279" y="17055"/>
                  </a:cubicBezTo>
                  <a:cubicBezTo>
                    <a:pt x="61314" y="17055"/>
                    <a:pt x="69802" y="14648"/>
                    <a:pt x="79683" y="7680"/>
                  </a:cubicBezTo>
                  <a:cubicBezTo>
                    <a:pt x="86904" y="2613"/>
                    <a:pt x="97546" y="-3721"/>
                    <a:pt x="106033" y="2740"/>
                  </a:cubicBezTo>
                  <a:cubicBezTo>
                    <a:pt x="114014" y="8821"/>
                    <a:pt x="112114" y="21996"/>
                    <a:pt x="111987" y="30610"/>
                  </a:cubicBezTo>
                  <a:cubicBezTo>
                    <a:pt x="111734" y="42138"/>
                    <a:pt x="110847" y="54806"/>
                    <a:pt x="114394" y="65955"/>
                  </a:cubicBezTo>
                  <a:cubicBezTo>
                    <a:pt x="116675" y="73049"/>
                    <a:pt x="121615" y="80143"/>
                    <a:pt x="125542" y="86351"/>
                  </a:cubicBezTo>
                  <a:cubicBezTo>
                    <a:pt x="131623" y="95725"/>
                    <a:pt x="142138" y="87491"/>
                    <a:pt x="149105" y="83184"/>
                  </a:cubicBezTo>
                  <a:cubicBezTo>
                    <a:pt x="160380" y="76343"/>
                    <a:pt x="172795" y="66715"/>
                    <a:pt x="178242" y="54680"/>
                  </a:cubicBezTo>
                  <a:cubicBezTo>
                    <a:pt x="182549" y="45305"/>
                    <a:pt x="190277" y="31370"/>
                    <a:pt x="202312" y="31497"/>
                  </a:cubicBezTo>
                  <a:lnTo>
                    <a:pt x="202439" y="31497"/>
                  </a:lnTo>
                  <a:cubicBezTo>
                    <a:pt x="216627" y="31750"/>
                    <a:pt x="209026" y="60634"/>
                    <a:pt x="208646" y="68868"/>
                  </a:cubicBezTo>
                  <a:cubicBezTo>
                    <a:pt x="208013" y="82677"/>
                    <a:pt x="214980" y="92305"/>
                    <a:pt x="222581" y="103199"/>
                  </a:cubicBezTo>
                  <a:cubicBezTo>
                    <a:pt x="226888" y="109407"/>
                    <a:pt x="231576" y="115487"/>
                    <a:pt x="237023" y="120681"/>
                  </a:cubicBezTo>
                  <a:cubicBezTo>
                    <a:pt x="241710" y="125115"/>
                    <a:pt x="247791" y="128662"/>
                    <a:pt x="251718" y="133730"/>
                  </a:cubicBezTo>
                  <a:cubicBezTo>
                    <a:pt x="270214" y="157419"/>
                    <a:pt x="222835" y="174902"/>
                    <a:pt x="214473" y="1908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7" name="Полилиния: фигура 426">
              <a:extLst>
                <a:ext uri="{FF2B5EF4-FFF2-40B4-BE49-F238E27FC236}">
                  <a16:creationId xmlns:a16="http://schemas.microsoft.com/office/drawing/2014/main" id="{673B5F4D-BC22-4B40-966C-CE2A99A35636}"/>
                </a:ext>
              </a:extLst>
            </p:cNvPr>
            <p:cNvSpPr/>
            <p:nvPr/>
          </p:nvSpPr>
          <p:spPr>
            <a:xfrm>
              <a:off x="1002901" y="5035071"/>
              <a:ext cx="256405" cy="196933"/>
            </a:xfrm>
            <a:custGeom>
              <a:avLst/>
              <a:gdLst>
                <a:gd name="connsiteX0" fmla="*/ 256405 w 256405"/>
                <a:gd name="connsiteY0" fmla="*/ 128809 h 196933"/>
                <a:gd name="connsiteX1" fmla="*/ 244877 w 256405"/>
                <a:gd name="connsiteY1" fmla="*/ 143758 h 196933"/>
                <a:gd name="connsiteX2" fmla="*/ 229169 w 256405"/>
                <a:gd name="connsiteY2" fmla="*/ 165674 h 196933"/>
                <a:gd name="connsiteX3" fmla="*/ 200792 w 256405"/>
                <a:gd name="connsiteY3" fmla="*/ 191391 h 196933"/>
                <a:gd name="connsiteX4" fmla="*/ 173555 w 256405"/>
                <a:gd name="connsiteY4" fmla="*/ 193544 h 196933"/>
                <a:gd name="connsiteX5" fmla="*/ 131496 w 256405"/>
                <a:gd name="connsiteY5" fmla="*/ 173022 h 196933"/>
                <a:gd name="connsiteX6" fmla="*/ 101093 w 256405"/>
                <a:gd name="connsiteY6" fmla="*/ 178469 h 196933"/>
                <a:gd name="connsiteX7" fmla="*/ 70942 w 256405"/>
                <a:gd name="connsiteY7" fmla="*/ 181383 h 196933"/>
                <a:gd name="connsiteX8" fmla="*/ 36104 w 256405"/>
                <a:gd name="connsiteY8" fmla="*/ 179356 h 196933"/>
                <a:gd name="connsiteX9" fmla="*/ 32304 w 256405"/>
                <a:gd name="connsiteY9" fmla="*/ 179356 h 196933"/>
                <a:gd name="connsiteX10" fmla="*/ 31797 w 256405"/>
                <a:gd name="connsiteY10" fmla="*/ 177709 h 196933"/>
                <a:gd name="connsiteX11" fmla="*/ 27110 w 256405"/>
                <a:gd name="connsiteY11" fmla="*/ 142998 h 196933"/>
                <a:gd name="connsiteX12" fmla="*/ 22423 w 256405"/>
                <a:gd name="connsiteY12" fmla="*/ 119435 h 196933"/>
                <a:gd name="connsiteX13" fmla="*/ 23183 w 256405"/>
                <a:gd name="connsiteY13" fmla="*/ 103219 h 196933"/>
                <a:gd name="connsiteX14" fmla="*/ 13175 w 256405"/>
                <a:gd name="connsiteY14" fmla="*/ 65215 h 196933"/>
                <a:gd name="connsiteX15" fmla="*/ 0 w 256405"/>
                <a:gd name="connsiteY15" fmla="*/ 46592 h 196933"/>
                <a:gd name="connsiteX16" fmla="*/ 0 w 256405"/>
                <a:gd name="connsiteY16" fmla="*/ 46466 h 196933"/>
                <a:gd name="connsiteX17" fmla="*/ 30911 w 256405"/>
                <a:gd name="connsiteY17" fmla="*/ 17835 h 196933"/>
                <a:gd name="connsiteX18" fmla="*/ 71449 w 256405"/>
                <a:gd name="connsiteY18" fmla="*/ 5040 h 196933"/>
                <a:gd name="connsiteX19" fmla="*/ 92352 w 256405"/>
                <a:gd name="connsiteY19" fmla="*/ 3267 h 196933"/>
                <a:gd name="connsiteX20" fmla="*/ 105273 w 256405"/>
                <a:gd name="connsiteY20" fmla="*/ 8968 h 196933"/>
                <a:gd name="connsiteX21" fmla="*/ 150245 w 256405"/>
                <a:gd name="connsiteY21" fmla="*/ 9601 h 196933"/>
                <a:gd name="connsiteX22" fmla="*/ 150245 w 256405"/>
                <a:gd name="connsiteY22" fmla="*/ 67368 h 196933"/>
                <a:gd name="connsiteX23" fmla="*/ 201298 w 256405"/>
                <a:gd name="connsiteY23" fmla="*/ 103979 h 196933"/>
                <a:gd name="connsiteX24" fmla="*/ 256405 w 256405"/>
                <a:gd name="connsiteY24" fmla="*/ 128809 h 19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6405" h="196933">
                  <a:moveTo>
                    <a:pt x="256405" y="128809"/>
                  </a:moveTo>
                  <a:cubicBezTo>
                    <a:pt x="250451" y="127923"/>
                    <a:pt x="246524" y="139704"/>
                    <a:pt x="244877" y="143758"/>
                  </a:cubicBezTo>
                  <a:cubicBezTo>
                    <a:pt x="241457" y="152119"/>
                    <a:pt x="236643" y="160100"/>
                    <a:pt x="229169" y="165674"/>
                  </a:cubicBezTo>
                  <a:cubicBezTo>
                    <a:pt x="218907" y="173148"/>
                    <a:pt x="209913" y="182269"/>
                    <a:pt x="200792" y="191391"/>
                  </a:cubicBezTo>
                  <a:cubicBezTo>
                    <a:pt x="192684" y="199371"/>
                    <a:pt x="183690" y="197471"/>
                    <a:pt x="173555" y="193544"/>
                  </a:cubicBezTo>
                  <a:cubicBezTo>
                    <a:pt x="158860" y="187844"/>
                    <a:pt x="145812" y="179482"/>
                    <a:pt x="131496" y="173022"/>
                  </a:cubicBezTo>
                  <a:cubicBezTo>
                    <a:pt x="118828" y="167321"/>
                    <a:pt x="111354" y="170615"/>
                    <a:pt x="101093" y="178469"/>
                  </a:cubicBezTo>
                  <a:cubicBezTo>
                    <a:pt x="91338" y="185817"/>
                    <a:pt x="82217" y="184296"/>
                    <a:pt x="70942" y="181383"/>
                  </a:cubicBezTo>
                  <a:cubicBezTo>
                    <a:pt x="58527" y="178216"/>
                    <a:pt x="48646" y="178976"/>
                    <a:pt x="36104" y="179356"/>
                  </a:cubicBezTo>
                  <a:cubicBezTo>
                    <a:pt x="34838" y="179356"/>
                    <a:pt x="33571" y="179356"/>
                    <a:pt x="32304" y="179356"/>
                  </a:cubicBezTo>
                  <a:cubicBezTo>
                    <a:pt x="32177" y="178849"/>
                    <a:pt x="32051" y="178216"/>
                    <a:pt x="31797" y="177709"/>
                  </a:cubicBezTo>
                  <a:cubicBezTo>
                    <a:pt x="28250" y="166307"/>
                    <a:pt x="29390" y="154652"/>
                    <a:pt x="27110" y="142998"/>
                  </a:cubicBezTo>
                  <a:cubicBezTo>
                    <a:pt x="25590" y="135144"/>
                    <a:pt x="23183" y="127416"/>
                    <a:pt x="22423" y="119435"/>
                  </a:cubicBezTo>
                  <a:cubicBezTo>
                    <a:pt x="21916" y="113861"/>
                    <a:pt x="23310" y="108667"/>
                    <a:pt x="23183" y="103219"/>
                  </a:cubicBezTo>
                  <a:cubicBezTo>
                    <a:pt x="22803" y="91311"/>
                    <a:pt x="19002" y="75603"/>
                    <a:pt x="13175" y="65215"/>
                  </a:cubicBezTo>
                  <a:cubicBezTo>
                    <a:pt x="9501" y="58754"/>
                    <a:pt x="4814" y="52546"/>
                    <a:pt x="0" y="46592"/>
                  </a:cubicBezTo>
                  <a:lnTo>
                    <a:pt x="0" y="46466"/>
                  </a:lnTo>
                  <a:cubicBezTo>
                    <a:pt x="9248" y="35825"/>
                    <a:pt x="19509" y="26070"/>
                    <a:pt x="30911" y="17835"/>
                  </a:cubicBezTo>
                  <a:cubicBezTo>
                    <a:pt x="43832" y="8587"/>
                    <a:pt x="55867" y="5294"/>
                    <a:pt x="71449" y="5040"/>
                  </a:cubicBezTo>
                  <a:cubicBezTo>
                    <a:pt x="77656" y="4914"/>
                    <a:pt x="85637" y="5167"/>
                    <a:pt x="92352" y="3267"/>
                  </a:cubicBezTo>
                  <a:cubicBezTo>
                    <a:pt x="92352" y="3267"/>
                    <a:pt x="90958" y="12008"/>
                    <a:pt x="105273" y="8968"/>
                  </a:cubicBezTo>
                  <a:cubicBezTo>
                    <a:pt x="119588" y="6054"/>
                    <a:pt x="140364" y="-10035"/>
                    <a:pt x="150245" y="9601"/>
                  </a:cubicBezTo>
                  <a:cubicBezTo>
                    <a:pt x="160127" y="29237"/>
                    <a:pt x="142898" y="55080"/>
                    <a:pt x="150245" y="67368"/>
                  </a:cubicBezTo>
                  <a:cubicBezTo>
                    <a:pt x="157720" y="79783"/>
                    <a:pt x="176975" y="101953"/>
                    <a:pt x="201298" y="103979"/>
                  </a:cubicBezTo>
                  <a:cubicBezTo>
                    <a:pt x="225368" y="105753"/>
                    <a:pt x="255645" y="102713"/>
                    <a:pt x="256405" y="1288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8" name="Полилиния: фигура 427">
              <a:extLst>
                <a:ext uri="{FF2B5EF4-FFF2-40B4-BE49-F238E27FC236}">
                  <a16:creationId xmlns:a16="http://schemas.microsoft.com/office/drawing/2014/main" id="{C9F231E6-ADD9-4B26-89CF-A4AC518AC57B}"/>
                </a:ext>
              </a:extLst>
            </p:cNvPr>
            <p:cNvSpPr/>
            <p:nvPr/>
          </p:nvSpPr>
          <p:spPr>
            <a:xfrm>
              <a:off x="1034952" y="5163706"/>
              <a:ext cx="291590" cy="197823"/>
            </a:xfrm>
            <a:custGeom>
              <a:avLst/>
              <a:gdLst>
                <a:gd name="connsiteX0" fmla="*/ 287949 w 291590"/>
                <a:gd name="connsiteY0" fmla="*/ 98100 h 197823"/>
                <a:gd name="connsiteX1" fmla="*/ 287949 w 291590"/>
                <a:gd name="connsiteY1" fmla="*/ 98100 h 197823"/>
                <a:gd name="connsiteX2" fmla="*/ 263753 w 291590"/>
                <a:gd name="connsiteY2" fmla="*/ 110641 h 197823"/>
                <a:gd name="connsiteX3" fmla="*/ 240570 w 291590"/>
                <a:gd name="connsiteY3" fmla="*/ 109121 h 197823"/>
                <a:gd name="connsiteX4" fmla="*/ 240570 w 291590"/>
                <a:gd name="connsiteY4" fmla="*/ 109121 h 197823"/>
                <a:gd name="connsiteX5" fmla="*/ 227648 w 291590"/>
                <a:gd name="connsiteY5" fmla="*/ 101520 h 197823"/>
                <a:gd name="connsiteX6" fmla="*/ 186983 w 291590"/>
                <a:gd name="connsiteY6" fmla="*/ 82771 h 197823"/>
                <a:gd name="connsiteX7" fmla="*/ 171148 w 291590"/>
                <a:gd name="connsiteY7" fmla="*/ 121663 h 197823"/>
                <a:gd name="connsiteX8" fmla="*/ 171275 w 291590"/>
                <a:gd name="connsiteY8" fmla="*/ 170562 h 197823"/>
                <a:gd name="connsiteX9" fmla="*/ 141251 w 291590"/>
                <a:gd name="connsiteY9" fmla="*/ 197799 h 197823"/>
                <a:gd name="connsiteX10" fmla="*/ 111987 w 291590"/>
                <a:gd name="connsiteY10" fmla="*/ 194252 h 197823"/>
                <a:gd name="connsiteX11" fmla="*/ 104260 w 291590"/>
                <a:gd name="connsiteY11" fmla="*/ 179810 h 197823"/>
                <a:gd name="connsiteX12" fmla="*/ 87411 w 291590"/>
                <a:gd name="connsiteY12" fmla="*/ 173096 h 197823"/>
                <a:gd name="connsiteX13" fmla="*/ 67015 w 291590"/>
                <a:gd name="connsiteY13" fmla="*/ 167522 h 197823"/>
                <a:gd name="connsiteX14" fmla="*/ 29770 w 291590"/>
                <a:gd name="connsiteY14" fmla="*/ 145859 h 197823"/>
                <a:gd name="connsiteX15" fmla="*/ 8994 w 291590"/>
                <a:gd name="connsiteY15" fmla="*/ 98733 h 197823"/>
                <a:gd name="connsiteX16" fmla="*/ 0 w 291590"/>
                <a:gd name="connsiteY16" fmla="*/ 50594 h 197823"/>
                <a:gd name="connsiteX17" fmla="*/ 3800 w 291590"/>
                <a:gd name="connsiteY17" fmla="*/ 50594 h 197823"/>
                <a:gd name="connsiteX18" fmla="*/ 38638 w 291590"/>
                <a:gd name="connsiteY18" fmla="*/ 52621 h 197823"/>
                <a:gd name="connsiteX19" fmla="*/ 68789 w 291590"/>
                <a:gd name="connsiteY19" fmla="*/ 49707 h 197823"/>
                <a:gd name="connsiteX20" fmla="*/ 99192 w 291590"/>
                <a:gd name="connsiteY20" fmla="*/ 44260 h 197823"/>
                <a:gd name="connsiteX21" fmla="*/ 141251 w 291590"/>
                <a:gd name="connsiteY21" fmla="*/ 64782 h 197823"/>
                <a:gd name="connsiteX22" fmla="*/ 168488 w 291590"/>
                <a:gd name="connsiteY22" fmla="*/ 62629 h 197823"/>
                <a:gd name="connsiteX23" fmla="*/ 196865 w 291590"/>
                <a:gd name="connsiteY23" fmla="*/ 36912 h 197823"/>
                <a:gd name="connsiteX24" fmla="*/ 212573 w 291590"/>
                <a:gd name="connsiteY24" fmla="*/ 14996 h 197823"/>
                <a:gd name="connsiteX25" fmla="*/ 224101 w 291590"/>
                <a:gd name="connsiteY25" fmla="*/ 47 h 197823"/>
                <a:gd name="connsiteX26" fmla="*/ 231956 w 291590"/>
                <a:gd name="connsiteY26" fmla="*/ 18670 h 197823"/>
                <a:gd name="connsiteX27" fmla="*/ 252732 w 291590"/>
                <a:gd name="connsiteY27" fmla="*/ 61362 h 197823"/>
                <a:gd name="connsiteX28" fmla="*/ 273001 w 291590"/>
                <a:gd name="connsiteY28" fmla="*/ 76184 h 197823"/>
                <a:gd name="connsiteX29" fmla="*/ 290356 w 291590"/>
                <a:gd name="connsiteY29" fmla="*/ 85811 h 197823"/>
                <a:gd name="connsiteX30" fmla="*/ 287949 w 291590"/>
                <a:gd name="connsiteY30" fmla="*/ 98100 h 19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1590" h="197823">
                  <a:moveTo>
                    <a:pt x="287949" y="98100"/>
                  </a:moveTo>
                  <a:lnTo>
                    <a:pt x="287949" y="98100"/>
                  </a:lnTo>
                  <a:cubicBezTo>
                    <a:pt x="281742" y="104814"/>
                    <a:pt x="269200" y="109628"/>
                    <a:pt x="263753" y="110641"/>
                  </a:cubicBezTo>
                  <a:cubicBezTo>
                    <a:pt x="255899" y="112162"/>
                    <a:pt x="247918" y="111655"/>
                    <a:pt x="240570" y="109121"/>
                  </a:cubicBezTo>
                  <a:cubicBezTo>
                    <a:pt x="240570" y="109121"/>
                    <a:pt x="240570" y="109121"/>
                    <a:pt x="240570" y="109121"/>
                  </a:cubicBezTo>
                  <a:cubicBezTo>
                    <a:pt x="235883" y="107474"/>
                    <a:pt x="231576" y="104941"/>
                    <a:pt x="227648" y="101520"/>
                  </a:cubicBezTo>
                  <a:cubicBezTo>
                    <a:pt x="215360" y="90625"/>
                    <a:pt x="206112" y="74283"/>
                    <a:pt x="186983" y="82771"/>
                  </a:cubicBezTo>
                  <a:cubicBezTo>
                    <a:pt x="169755" y="90499"/>
                    <a:pt x="168234" y="105321"/>
                    <a:pt x="171148" y="121663"/>
                  </a:cubicBezTo>
                  <a:cubicBezTo>
                    <a:pt x="174062" y="137624"/>
                    <a:pt x="173808" y="154473"/>
                    <a:pt x="171275" y="170562"/>
                  </a:cubicBezTo>
                  <a:cubicBezTo>
                    <a:pt x="168741" y="187031"/>
                    <a:pt x="158860" y="198432"/>
                    <a:pt x="141251" y="197799"/>
                  </a:cubicBezTo>
                  <a:cubicBezTo>
                    <a:pt x="131370" y="197419"/>
                    <a:pt x="121869" y="193998"/>
                    <a:pt x="111987" y="194252"/>
                  </a:cubicBezTo>
                  <a:cubicBezTo>
                    <a:pt x="109834" y="188804"/>
                    <a:pt x="107427" y="183357"/>
                    <a:pt x="104260" y="179810"/>
                  </a:cubicBezTo>
                  <a:cubicBezTo>
                    <a:pt x="100333" y="175123"/>
                    <a:pt x="92858" y="175249"/>
                    <a:pt x="87411" y="173096"/>
                  </a:cubicBezTo>
                  <a:cubicBezTo>
                    <a:pt x="80443" y="170309"/>
                    <a:pt x="74363" y="169042"/>
                    <a:pt x="67015" y="167522"/>
                  </a:cubicBezTo>
                  <a:cubicBezTo>
                    <a:pt x="51560" y="164482"/>
                    <a:pt x="38892" y="159034"/>
                    <a:pt x="29770" y="145859"/>
                  </a:cubicBezTo>
                  <a:cubicBezTo>
                    <a:pt x="20143" y="131797"/>
                    <a:pt x="13808" y="115075"/>
                    <a:pt x="8994" y="98733"/>
                  </a:cubicBezTo>
                  <a:cubicBezTo>
                    <a:pt x="4307" y="83024"/>
                    <a:pt x="4561" y="66303"/>
                    <a:pt x="0" y="50594"/>
                  </a:cubicBezTo>
                  <a:cubicBezTo>
                    <a:pt x="1267" y="50594"/>
                    <a:pt x="2534" y="50594"/>
                    <a:pt x="3800" y="50594"/>
                  </a:cubicBezTo>
                  <a:cubicBezTo>
                    <a:pt x="16342" y="50214"/>
                    <a:pt x="26223" y="49327"/>
                    <a:pt x="38638" y="52621"/>
                  </a:cubicBezTo>
                  <a:cubicBezTo>
                    <a:pt x="49913" y="55661"/>
                    <a:pt x="59161" y="57181"/>
                    <a:pt x="68789" y="49707"/>
                  </a:cubicBezTo>
                  <a:cubicBezTo>
                    <a:pt x="79050" y="41979"/>
                    <a:pt x="86524" y="38559"/>
                    <a:pt x="99192" y="44260"/>
                  </a:cubicBezTo>
                  <a:cubicBezTo>
                    <a:pt x="113508" y="50720"/>
                    <a:pt x="126556" y="59082"/>
                    <a:pt x="141251" y="64782"/>
                  </a:cubicBezTo>
                  <a:cubicBezTo>
                    <a:pt x="151386" y="68710"/>
                    <a:pt x="160253" y="70610"/>
                    <a:pt x="168488" y="62629"/>
                  </a:cubicBezTo>
                  <a:cubicBezTo>
                    <a:pt x="177609" y="53634"/>
                    <a:pt x="186603" y="44386"/>
                    <a:pt x="196865" y="36912"/>
                  </a:cubicBezTo>
                  <a:cubicBezTo>
                    <a:pt x="204339" y="31338"/>
                    <a:pt x="209153" y="23357"/>
                    <a:pt x="212573" y="14996"/>
                  </a:cubicBezTo>
                  <a:cubicBezTo>
                    <a:pt x="214220" y="10942"/>
                    <a:pt x="218274" y="-839"/>
                    <a:pt x="224101" y="47"/>
                  </a:cubicBezTo>
                  <a:cubicBezTo>
                    <a:pt x="229422" y="808"/>
                    <a:pt x="230942" y="14870"/>
                    <a:pt x="231956" y="18670"/>
                  </a:cubicBezTo>
                  <a:cubicBezTo>
                    <a:pt x="235883" y="34758"/>
                    <a:pt x="241457" y="48947"/>
                    <a:pt x="252732" y="61362"/>
                  </a:cubicBezTo>
                  <a:cubicBezTo>
                    <a:pt x="258432" y="67696"/>
                    <a:pt x="265273" y="72510"/>
                    <a:pt x="273001" y="76184"/>
                  </a:cubicBezTo>
                  <a:cubicBezTo>
                    <a:pt x="278068" y="78464"/>
                    <a:pt x="287569" y="80364"/>
                    <a:pt x="290356" y="85811"/>
                  </a:cubicBezTo>
                  <a:cubicBezTo>
                    <a:pt x="292890" y="90245"/>
                    <a:pt x="291243" y="94426"/>
                    <a:pt x="287949" y="981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29" name="Полилиния: фигура 428">
              <a:extLst>
                <a:ext uri="{FF2B5EF4-FFF2-40B4-BE49-F238E27FC236}">
                  <a16:creationId xmlns:a16="http://schemas.microsoft.com/office/drawing/2014/main" id="{3DE9143D-CAB7-4FB5-819C-628583303E80}"/>
                </a:ext>
              </a:extLst>
            </p:cNvPr>
            <p:cNvSpPr/>
            <p:nvPr/>
          </p:nvSpPr>
          <p:spPr>
            <a:xfrm>
              <a:off x="1147066" y="5243982"/>
              <a:ext cx="145005" cy="172250"/>
            </a:xfrm>
            <a:custGeom>
              <a:avLst/>
              <a:gdLst>
                <a:gd name="connsiteX0" fmla="*/ 24703 w 145005"/>
                <a:gd name="connsiteY0" fmla="*/ 172250 h 172250"/>
                <a:gd name="connsiteX1" fmla="*/ 14062 w 145005"/>
                <a:gd name="connsiteY1" fmla="*/ 155275 h 172250"/>
                <a:gd name="connsiteX2" fmla="*/ 4181 w 145005"/>
                <a:gd name="connsiteY2" fmla="*/ 125251 h 172250"/>
                <a:gd name="connsiteX3" fmla="*/ 0 w 145005"/>
                <a:gd name="connsiteY3" fmla="*/ 113850 h 172250"/>
                <a:gd name="connsiteX4" fmla="*/ 29264 w 145005"/>
                <a:gd name="connsiteY4" fmla="*/ 117397 h 172250"/>
                <a:gd name="connsiteX5" fmla="*/ 59287 w 145005"/>
                <a:gd name="connsiteY5" fmla="*/ 90160 h 172250"/>
                <a:gd name="connsiteX6" fmla="*/ 59161 w 145005"/>
                <a:gd name="connsiteY6" fmla="*/ 41261 h 172250"/>
                <a:gd name="connsiteX7" fmla="*/ 74996 w 145005"/>
                <a:gd name="connsiteY7" fmla="*/ 2369 h 172250"/>
                <a:gd name="connsiteX8" fmla="*/ 115661 w 145005"/>
                <a:gd name="connsiteY8" fmla="*/ 21118 h 172250"/>
                <a:gd name="connsiteX9" fmla="*/ 128583 w 145005"/>
                <a:gd name="connsiteY9" fmla="*/ 28719 h 172250"/>
                <a:gd name="connsiteX10" fmla="*/ 128583 w 145005"/>
                <a:gd name="connsiteY10" fmla="*/ 28719 h 172250"/>
                <a:gd name="connsiteX11" fmla="*/ 24703 w 145005"/>
                <a:gd name="connsiteY11" fmla="*/ 172250 h 1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005" h="172250">
                  <a:moveTo>
                    <a:pt x="24703" y="172250"/>
                  </a:moveTo>
                  <a:cubicBezTo>
                    <a:pt x="20903" y="166803"/>
                    <a:pt x="16975" y="161356"/>
                    <a:pt x="14062" y="155275"/>
                  </a:cubicBezTo>
                  <a:cubicBezTo>
                    <a:pt x="9501" y="145774"/>
                    <a:pt x="8108" y="135132"/>
                    <a:pt x="4181" y="125251"/>
                  </a:cubicBezTo>
                  <a:cubicBezTo>
                    <a:pt x="2914" y="121957"/>
                    <a:pt x="1520" y="117904"/>
                    <a:pt x="0" y="113850"/>
                  </a:cubicBezTo>
                  <a:cubicBezTo>
                    <a:pt x="9881" y="113596"/>
                    <a:pt x="19382" y="117017"/>
                    <a:pt x="29264" y="117397"/>
                  </a:cubicBezTo>
                  <a:cubicBezTo>
                    <a:pt x="46746" y="118030"/>
                    <a:pt x="56754" y="106629"/>
                    <a:pt x="59287" y="90160"/>
                  </a:cubicBezTo>
                  <a:cubicBezTo>
                    <a:pt x="61694" y="74198"/>
                    <a:pt x="62074" y="57223"/>
                    <a:pt x="59161" y="41261"/>
                  </a:cubicBezTo>
                  <a:cubicBezTo>
                    <a:pt x="56247" y="24918"/>
                    <a:pt x="57767" y="10097"/>
                    <a:pt x="74996" y="2369"/>
                  </a:cubicBezTo>
                  <a:cubicBezTo>
                    <a:pt x="93998" y="-6119"/>
                    <a:pt x="103246" y="10097"/>
                    <a:pt x="115661" y="21118"/>
                  </a:cubicBezTo>
                  <a:cubicBezTo>
                    <a:pt x="119462" y="24538"/>
                    <a:pt x="123896" y="27072"/>
                    <a:pt x="128583" y="28719"/>
                  </a:cubicBezTo>
                  <a:cubicBezTo>
                    <a:pt x="128583" y="28719"/>
                    <a:pt x="128583" y="28719"/>
                    <a:pt x="128583" y="28719"/>
                  </a:cubicBezTo>
                  <a:cubicBezTo>
                    <a:pt x="130610" y="30746"/>
                    <a:pt x="203579" y="99915"/>
                    <a:pt x="24703" y="17225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0" name="Полилиния: фигура 429">
              <a:extLst>
                <a:ext uri="{FF2B5EF4-FFF2-40B4-BE49-F238E27FC236}">
                  <a16:creationId xmlns:a16="http://schemas.microsoft.com/office/drawing/2014/main" id="{7DFAB01B-A3BC-412C-9658-0ED380428646}"/>
                </a:ext>
              </a:extLst>
            </p:cNvPr>
            <p:cNvSpPr/>
            <p:nvPr/>
          </p:nvSpPr>
          <p:spPr>
            <a:xfrm>
              <a:off x="1171769" y="5261806"/>
              <a:ext cx="288005" cy="240076"/>
            </a:xfrm>
            <a:custGeom>
              <a:avLst/>
              <a:gdLst>
                <a:gd name="connsiteX0" fmla="*/ 285162 w 288005"/>
                <a:gd name="connsiteY0" fmla="*/ 124022 h 240076"/>
                <a:gd name="connsiteX1" fmla="*/ 269074 w 288005"/>
                <a:gd name="connsiteY1" fmla="*/ 143785 h 240076"/>
                <a:gd name="connsiteX2" fmla="*/ 230182 w 288005"/>
                <a:gd name="connsiteY2" fmla="*/ 148345 h 240076"/>
                <a:gd name="connsiteX3" fmla="*/ 195344 w 288005"/>
                <a:gd name="connsiteY3" fmla="*/ 170261 h 240076"/>
                <a:gd name="connsiteX4" fmla="*/ 173048 w 288005"/>
                <a:gd name="connsiteY4" fmla="*/ 215107 h 240076"/>
                <a:gd name="connsiteX5" fmla="*/ 137197 w 288005"/>
                <a:gd name="connsiteY5" fmla="*/ 235376 h 240076"/>
                <a:gd name="connsiteX6" fmla="*/ 91718 w 288005"/>
                <a:gd name="connsiteY6" fmla="*/ 218021 h 240076"/>
                <a:gd name="connsiteX7" fmla="*/ 72082 w 288005"/>
                <a:gd name="connsiteY7" fmla="*/ 225241 h 240076"/>
                <a:gd name="connsiteX8" fmla="*/ 50673 w 288005"/>
                <a:gd name="connsiteY8" fmla="*/ 218021 h 240076"/>
                <a:gd name="connsiteX9" fmla="*/ 13048 w 288005"/>
                <a:gd name="connsiteY9" fmla="*/ 216247 h 240076"/>
                <a:gd name="connsiteX10" fmla="*/ 13428 w 288005"/>
                <a:gd name="connsiteY10" fmla="*/ 191164 h 240076"/>
                <a:gd name="connsiteX11" fmla="*/ 8234 w 288005"/>
                <a:gd name="connsiteY11" fmla="*/ 168108 h 240076"/>
                <a:gd name="connsiteX12" fmla="*/ 0 w 288005"/>
                <a:gd name="connsiteY12" fmla="*/ 154553 h 240076"/>
                <a:gd name="connsiteX13" fmla="*/ 103753 w 288005"/>
                <a:gd name="connsiteY13" fmla="*/ 11021 h 240076"/>
                <a:gd name="connsiteX14" fmla="*/ 126936 w 288005"/>
                <a:gd name="connsiteY14" fmla="*/ 12542 h 240076"/>
                <a:gd name="connsiteX15" fmla="*/ 151132 w 288005"/>
                <a:gd name="connsiteY15" fmla="*/ 0 h 240076"/>
                <a:gd name="connsiteX16" fmla="*/ 196105 w 288005"/>
                <a:gd name="connsiteY16" fmla="*/ 25463 h 240076"/>
                <a:gd name="connsiteX17" fmla="*/ 217641 w 288005"/>
                <a:gd name="connsiteY17" fmla="*/ 39018 h 240076"/>
                <a:gd name="connsiteX18" fmla="*/ 227142 w 288005"/>
                <a:gd name="connsiteY18" fmla="*/ 54220 h 240076"/>
                <a:gd name="connsiteX19" fmla="*/ 231576 w 288005"/>
                <a:gd name="connsiteY19" fmla="*/ 66382 h 240076"/>
                <a:gd name="connsiteX20" fmla="*/ 225748 w 288005"/>
                <a:gd name="connsiteY20" fmla="*/ 79557 h 240076"/>
                <a:gd name="connsiteX21" fmla="*/ 250831 w 288005"/>
                <a:gd name="connsiteY21" fmla="*/ 89818 h 240076"/>
                <a:gd name="connsiteX22" fmla="*/ 283135 w 288005"/>
                <a:gd name="connsiteY22" fmla="*/ 95772 h 240076"/>
                <a:gd name="connsiteX23" fmla="*/ 285162 w 288005"/>
                <a:gd name="connsiteY23" fmla="*/ 124022 h 24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005" h="240076">
                  <a:moveTo>
                    <a:pt x="285162" y="124022"/>
                  </a:moveTo>
                  <a:cubicBezTo>
                    <a:pt x="283262" y="132890"/>
                    <a:pt x="278702" y="141631"/>
                    <a:pt x="269074" y="143785"/>
                  </a:cubicBezTo>
                  <a:cubicBezTo>
                    <a:pt x="255645" y="146699"/>
                    <a:pt x="243484" y="142518"/>
                    <a:pt x="230182" y="148345"/>
                  </a:cubicBezTo>
                  <a:cubicBezTo>
                    <a:pt x="218021" y="153666"/>
                    <a:pt x="204085" y="160000"/>
                    <a:pt x="195344" y="170261"/>
                  </a:cubicBezTo>
                  <a:cubicBezTo>
                    <a:pt x="184450" y="182930"/>
                    <a:pt x="180523" y="200539"/>
                    <a:pt x="173048" y="215107"/>
                  </a:cubicBezTo>
                  <a:cubicBezTo>
                    <a:pt x="165827" y="229169"/>
                    <a:pt x="154046" y="249311"/>
                    <a:pt x="137197" y="235376"/>
                  </a:cubicBezTo>
                  <a:cubicBezTo>
                    <a:pt x="122502" y="223215"/>
                    <a:pt x="112494" y="207760"/>
                    <a:pt x="91718" y="218021"/>
                  </a:cubicBezTo>
                  <a:cubicBezTo>
                    <a:pt x="85384" y="221061"/>
                    <a:pt x="79430" y="225622"/>
                    <a:pt x="72082" y="225241"/>
                  </a:cubicBezTo>
                  <a:cubicBezTo>
                    <a:pt x="64608" y="224861"/>
                    <a:pt x="57641" y="220174"/>
                    <a:pt x="50673" y="218021"/>
                  </a:cubicBezTo>
                  <a:cubicBezTo>
                    <a:pt x="38131" y="214094"/>
                    <a:pt x="25590" y="215614"/>
                    <a:pt x="13048" y="216247"/>
                  </a:cubicBezTo>
                  <a:cubicBezTo>
                    <a:pt x="14442" y="207760"/>
                    <a:pt x="14949" y="198765"/>
                    <a:pt x="13428" y="191164"/>
                  </a:cubicBezTo>
                  <a:cubicBezTo>
                    <a:pt x="12035" y="183690"/>
                    <a:pt x="11401" y="175075"/>
                    <a:pt x="8234" y="168108"/>
                  </a:cubicBezTo>
                  <a:cubicBezTo>
                    <a:pt x="5954" y="163294"/>
                    <a:pt x="3040" y="158860"/>
                    <a:pt x="0" y="154553"/>
                  </a:cubicBezTo>
                  <a:cubicBezTo>
                    <a:pt x="178876" y="82217"/>
                    <a:pt x="105780" y="13048"/>
                    <a:pt x="103753" y="11021"/>
                  </a:cubicBezTo>
                  <a:cubicBezTo>
                    <a:pt x="111101" y="13555"/>
                    <a:pt x="119082" y="14062"/>
                    <a:pt x="126936" y="12542"/>
                  </a:cubicBezTo>
                  <a:cubicBezTo>
                    <a:pt x="132510" y="11528"/>
                    <a:pt x="144925" y="6714"/>
                    <a:pt x="151132" y="0"/>
                  </a:cubicBezTo>
                  <a:cubicBezTo>
                    <a:pt x="151512" y="1394"/>
                    <a:pt x="158607" y="23310"/>
                    <a:pt x="196105" y="25463"/>
                  </a:cubicBezTo>
                  <a:cubicBezTo>
                    <a:pt x="201045" y="31671"/>
                    <a:pt x="212827" y="32684"/>
                    <a:pt x="217641" y="39018"/>
                  </a:cubicBezTo>
                  <a:cubicBezTo>
                    <a:pt x="221314" y="43832"/>
                    <a:pt x="223848" y="49280"/>
                    <a:pt x="227142" y="54220"/>
                  </a:cubicBezTo>
                  <a:cubicBezTo>
                    <a:pt x="230182" y="58781"/>
                    <a:pt x="233603" y="60301"/>
                    <a:pt x="231576" y="66382"/>
                  </a:cubicBezTo>
                  <a:cubicBezTo>
                    <a:pt x="229802" y="71576"/>
                    <a:pt x="226128" y="73856"/>
                    <a:pt x="225748" y="79557"/>
                  </a:cubicBezTo>
                  <a:cubicBezTo>
                    <a:pt x="224608" y="94885"/>
                    <a:pt x="240570" y="90071"/>
                    <a:pt x="250831" y="89818"/>
                  </a:cubicBezTo>
                  <a:cubicBezTo>
                    <a:pt x="261219" y="89565"/>
                    <a:pt x="274521" y="88678"/>
                    <a:pt x="283135" y="95772"/>
                  </a:cubicBezTo>
                  <a:cubicBezTo>
                    <a:pt x="291496" y="102360"/>
                    <a:pt x="286936" y="115154"/>
                    <a:pt x="285162" y="12402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1" name="Полилиния: фигура 430">
              <a:extLst>
                <a:ext uri="{FF2B5EF4-FFF2-40B4-BE49-F238E27FC236}">
                  <a16:creationId xmlns:a16="http://schemas.microsoft.com/office/drawing/2014/main" id="{DB517944-A860-4587-8228-396E7A0F2FCE}"/>
                </a:ext>
              </a:extLst>
            </p:cNvPr>
            <p:cNvSpPr/>
            <p:nvPr/>
          </p:nvSpPr>
          <p:spPr>
            <a:xfrm>
              <a:off x="1159563" y="5181139"/>
              <a:ext cx="452428" cy="671513"/>
            </a:xfrm>
            <a:custGeom>
              <a:avLst/>
              <a:gdLst>
                <a:gd name="connsiteX0" fmla="*/ 385413 w 452428"/>
                <a:gd name="connsiteY0" fmla="*/ 150342 h 671513"/>
                <a:gd name="connsiteX1" fmla="*/ 387820 w 452428"/>
                <a:gd name="connsiteY1" fmla="*/ 181126 h 671513"/>
                <a:gd name="connsiteX2" fmla="*/ 393014 w 452428"/>
                <a:gd name="connsiteY2" fmla="*/ 211150 h 671513"/>
                <a:gd name="connsiteX3" fmla="*/ 395928 w 452428"/>
                <a:gd name="connsiteY3" fmla="*/ 240033 h 671513"/>
                <a:gd name="connsiteX4" fmla="*/ 385920 w 452428"/>
                <a:gd name="connsiteY4" fmla="*/ 276518 h 671513"/>
                <a:gd name="connsiteX5" fmla="*/ 377052 w 452428"/>
                <a:gd name="connsiteY5" fmla="*/ 301854 h 671513"/>
                <a:gd name="connsiteX6" fmla="*/ 348675 w 452428"/>
                <a:gd name="connsiteY6" fmla="*/ 307682 h 671513"/>
                <a:gd name="connsiteX7" fmla="*/ 334107 w 452428"/>
                <a:gd name="connsiteY7" fmla="*/ 327444 h 671513"/>
                <a:gd name="connsiteX8" fmla="*/ 363117 w 452428"/>
                <a:gd name="connsiteY8" fmla="*/ 331878 h 671513"/>
                <a:gd name="connsiteX9" fmla="*/ 385540 w 452428"/>
                <a:gd name="connsiteY9" fmla="*/ 321870 h 671513"/>
                <a:gd name="connsiteX10" fmla="*/ 389467 w 452428"/>
                <a:gd name="connsiteY10" fmla="*/ 337705 h 671513"/>
                <a:gd name="connsiteX11" fmla="*/ 367171 w 452428"/>
                <a:gd name="connsiteY11" fmla="*/ 341126 h 671513"/>
                <a:gd name="connsiteX12" fmla="*/ 342214 w 452428"/>
                <a:gd name="connsiteY12" fmla="*/ 357341 h 671513"/>
                <a:gd name="connsiteX13" fmla="*/ 326886 w 452428"/>
                <a:gd name="connsiteY13" fmla="*/ 376597 h 671513"/>
                <a:gd name="connsiteX14" fmla="*/ 310037 w 452428"/>
                <a:gd name="connsiteY14" fmla="*/ 399273 h 671513"/>
                <a:gd name="connsiteX15" fmla="*/ 294962 w 452428"/>
                <a:gd name="connsiteY15" fmla="*/ 405354 h 671513"/>
                <a:gd name="connsiteX16" fmla="*/ 280393 w 452428"/>
                <a:gd name="connsiteY16" fmla="*/ 402947 h 671513"/>
                <a:gd name="connsiteX17" fmla="*/ 268358 w 452428"/>
                <a:gd name="connsiteY17" fmla="*/ 420429 h 671513"/>
                <a:gd name="connsiteX18" fmla="*/ 272286 w 452428"/>
                <a:gd name="connsiteY18" fmla="*/ 431957 h 671513"/>
                <a:gd name="connsiteX19" fmla="*/ 281153 w 452428"/>
                <a:gd name="connsiteY19" fmla="*/ 436011 h 671513"/>
                <a:gd name="connsiteX20" fmla="*/ 271779 w 452428"/>
                <a:gd name="connsiteY20" fmla="*/ 446652 h 671513"/>
                <a:gd name="connsiteX21" fmla="*/ 266585 w 452428"/>
                <a:gd name="connsiteY21" fmla="*/ 464768 h 671513"/>
                <a:gd name="connsiteX22" fmla="*/ 259744 w 452428"/>
                <a:gd name="connsiteY22" fmla="*/ 490991 h 671513"/>
                <a:gd name="connsiteX23" fmla="*/ 257084 w 452428"/>
                <a:gd name="connsiteY23" fmla="*/ 521648 h 671513"/>
                <a:gd name="connsiteX24" fmla="*/ 252650 w 452428"/>
                <a:gd name="connsiteY24" fmla="*/ 570168 h 671513"/>
                <a:gd name="connsiteX25" fmla="*/ 245049 w 452428"/>
                <a:gd name="connsiteY25" fmla="*/ 614887 h 671513"/>
                <a:gd name="connsiteX26" fmla="*/ 243782 w 452428"/>
                <a:gd name="connsiteY26" fmla="*/ 630089 h 671513"/>
                <a:gd name="connsiteX27" fmla="*/ 239601 w 452428"/>
                <a:gd name="connsiteY27" fmla="*/ 649725 h 671513"/>
                <a:gd name="connsiteX28" fmla="*/ 237701 w 452428"/>
                <a:gd name="connsiteY28" fmla="*/ 671514 h 671513"/>
                <a:gd name="connsiteX29" fmla="*/ 214138 w 452428"/>
                <a:gd name="connsiteY29" fmla="*/ 666953 h 671513"/>
                <a:gd name="connsiteX30" fmla="*/ 178921 w 452428"/>
                <a:gd name="connsiteY30" fmla="*/ 663406 h 671513"/>
                <a:gd name="connsiteX31" fmla="*/ 99364 w 452428"/>
                <a:gd name="connsiteY31" fmla="*/ 660239 h 671513"/>
                <a:gd name="connsiteX32" fmla="*/ 52111 w 452428"/>
                <a:gd name="connsiteY32" fmla="*/ 624135 h 671513"/>
                <a:gd name="connsiteX33" fmla="*/ 47677 w 452428"/>
                <a:gd name="connsiteY33" fmla="*/ 581696 h 671513"/>
                <a:gd name="connsiteX34" fmla="*/ 45270 w 452428"/>
                <a:gd name="connsiteY34" fmla="*/ 545592 h 671513"/>
                <a:gd name="connsiteX35" fmla="*/ 43244 w 452428"/>
                <a:gd name="connsiteY35" fmla="*/ 481743 h 671513"/>
                <a:gd name="connsiteX36" fmla="*/ 41850 w 452428"/>
                <a:gd name="connsiteY36" fmla="*/ 457041 h 671513"/>
                <a:gd name="connsiteX37" fmla="*/ 32729 w 452428"/>
                <a:gd name="connsiteY37" fmla="*/ 429043 h 671513"/>
                <a:gd name="connsiteX38" fmla="*/ 7139 w 452428"/>
                <a:gd name="connsiteY38" fmla="*/ 381031 h 671513"/>
                <a:gd name="connsiteX39" fmla="*/ 3212 w 452428"/>
                <a:gd name="connsiteY39" fmla="*/ 345053 h 671513"/>
                <a:gd name="connsiteX40" fmla="*/ 21581 w 452428"/>
                <a:gd name="connsiteY40" fmla="*/ 312369 h 671513"/>
                <a:gd name="connsiteX41" fmla="*/ 25001 w 452428"/>
                <a:gd name="connsiteY41" fmla="*/ 297167 h 671513"/>
                <a:gd name="connsiteX42" fmla="*/ 62626 w 452428"/>
                <a:gd name="connsiteY42" fmla="*/ 298941 h 671513"/>
                <a:gd name="connsiteX43" fmla="*/ 84035 w 452428"/>
                <a:gd name="connsiteY43" fmla="*/ 306162 h 671513"/>
                <a:gd name="connsiteX44" fmla="*/ 103671 w 452428"/>
                <a:gd name="connsiteY44" fmla="*/ 298941 h 671513"/>
                <a:gd name="connsiteX45" fmla="*/ 149150 w 452428"/>
                <a:gd name="connsiteY45" fmla="*/ 316296 h 671513"/>
                <a:gd name="connsiteX46" fmla="*/ 185001 w 452428"/>
                <a:gd name="connsiteY46" fmla="*/ 296027 h 671513"/>
                <a:gd name="connsiteX47" fmla="*/ 207297 w 452428"/>
                <a:gd name="connsiteY47" fmla="*/ 251181 h 671513"/>
                <a:gd name="connsiteX48" fmla="*/ 242135 w 452428"/>
                <a:gd name="connsiteY48" fmla="*/ 229265 h 671513"/>
                <a:gd name="connsiteX49" fmla="*/ 281027 w 452428"/>
                <a:gd name="connsiteY49" fmla="*/ 224705 h 671513"/>
                <a:gd name="connsiteX50" fmla="*/ 297115 w 452428"/>
                <a:gd name="connsiteY50" fmla="*/ 204942 h 671513"/>
                <a:gd name="connsiteX51" fmla="*/ 295088 w 452428"/>
                <a:gd name="connsiteY51" fmla="*/ 176565 h 671513"/>
                <a:gd name="connsiteX52" fmla="*/ 262784 w 452428"/>
                <a:gd name="connsiteY52" fmla="*/ 170611 h 671513"/>
                <a:gd name="connsiteX53" fmla="*/ 237701 w 452428"/>
                <a:gd name="connsiteY53" fmla="*/ 160350 h 671513"/>
                <a:gd name="connsiteX54" fmla="*/ 243529 w 452428"/>
                <a:gd name="connsiteY54" fmla="*/ 147175 h 671513"/>
                <a:gd name="connsiteX55" fmla="*/ 239095 w 452428"/>
                <a:gd name="connsiteY55" fmla="*/ 135013 h 671513"/>
                <a:gd name="connsiteX56" fmla="*/ 229594 w 452428"/>
                <a:gd name="connsiteY56" fmla="*/ 119811 h 671513"/>
                <a:gd name="connsiteX57" fmla="*/ 208058 w 452428"/>
                <a:gd name="connsiteY57" fmla="*/ 106257 h 671513"/>
                <a:gd name="connsiteX58" fmla="*/ 206537 w 452428"/>
                <a:gd name="connsiteY58" fmla="*/ 103723 h 671513"/>
                <a:gd name="connsiteX59" fmla="*/ 214645 w 452428"/>
                <a:gd name="connsiteY59" fmla="*/ 72812 h 671513"/>
                <a:gd name="connsiteX60" fmla="*/ 190575 w 452428"/>
                <a:gd name="connsiteY60" fmla="*/ 38608 h 671513"/>
                <a:gd name="connsiteX61" fmla="*/ 236688 w 452428"/>
                <a:gd name="connsiteY61" fmla="*/ 48870 h 671513"/>
                <a:gd name="connsiteX62" fmla="*/ 271906 w 452428"/>
                <a:gd name="connsiteY62" fmla="*/ 37468 h 671513"/>
                <a:gd name="connsiteX63" fmla="*/ 265698 w 452428"/>
                <a:gd name="connsiteY63" fmla="*/ 2884 h 671513"/>
                <a:gd name="connsiteX64" fmla="*/ 317891 w 452428"/>
                <a:gd name="connsiteY64" fmla="*/ 6684 h 671513"/>
                <a:gd name="connsiteX65" fmla="*/ 357036 w 452428"/>
                <a:gd name="connsiteY65" fmla="*/ 7191 h 671513"/>
                <a:gd name="connsiteX66" fmla="*/ 363117 w 452428"/>
                <a:gd name="connsiteY66" fmla="*/ 8964 h 671513"/>
                <a:gd name="connsiteX67" fmla="*/ 403149 w 452428"/>
                <a:gd name="connsiteY67" fmla="*/ 47603 h 671513"/>
                <a:gd name="connsiteX68" fmla="*/ 434566 w 452428"/>
                <a:gd name="connsiteY68" fmla="*/ 93842 h 671513"/>
                <a:gd name="connsiteX69" fmla="*/ 452428 w 452428"/>
                <a:gd name="connsiteY69" fmla="*/ 140461 h 671513"/>
                <a:gd name="connsiteX70" fmla="*/ 425318 w 452428"/>
                <a:gd name="connsiteY70" fmla="*/ 140968 h 671513"/>
                <a:gd name="connsiteX71" fmla="*/ 385413 w 452428"/>
                <a:gd name="connsiteY71" fmla="*/ 150342 h 6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52428" h="671513">
                  <a:moveTo>
                    <a:pt x="385413" y="150342"/>
                  </a:moveTo>
                  <a:cubicBezTo>
                    <a:pt x="376799" y="159717"/>
                    <a:pt x="383893" y="171498"/>
                    <a:pt x="387820" y="181126"/>
                  </a:cubicBezTo>
                  <a:cubicBezTo>
                    <a:pt x="391747" y="190627"/>
                    <a:pt x="392254" y="200889"/>
                    <a:pt x="393014" y="211150"/>
                  </a:cubicBezTo>
                  <a:cubicBezTo>
                    <a:pt x="393647" y="220777"/>
                    <a:pt x="396561" y="230405"/>
                    <a:pt x="395928" y="240033"/>
                  </a:cubicBezTo>
                  <a:cubicBezTo>
                    <a:pt x="395168" y="251942"/>
                    <a:pt x="389847" y="265370"/>
                    <a:pt x="385920" y="276518"/>
                  </a:cubicBezTo>
                  <a:cubicBezTo>
                    <a:pt x="383006" y="284752"/>
                    <a:pt x="381739" y="294380"/>
                    <a:pt x="377052" y="301854"/>
                  </a:cubicBezTo>
                  <a:cubicBezTo>
                    <a:pt x="370591" y="312116"/>
                    <a:pt x="358810" y="307048"/>
                    <a:pt x="348675" y="307682"/>
                  </a:cubicBezTo>
                  <a:cubicBezTo>
                    <a:pt x="341327" y="308189"/>
                    <a:pt x="326252" y="318703"/>
                    <a:pt x="334107" y="327444"/>
                  </a:cubicBezTo>
                  <a:cubicBezTo>
                    <a:pt x="338794" y="332638"/>
                    <a:pt x="356783" y="333525"/>
                    <a:pt x="363117" y="331878"/>
                  </a:cubicBezTo>
                  <a:cubicBezTo>
                    <a:pt x="370338" y="329978"/>
                    <a:pt x="377939" y="320857"/>
                    <a:pt x="385540" y="321870"/>
                  </a:cubicBezTo>
                  <a:cubicBezTo>
                    <a:pt x="393521" y="322757"/>
                    <a:pt x="395168" y="333272"/>
                    <a:pt x="389467" y="337705"/>
                  </a:cubicBezTo>
                  <a:cubicBezTo>
                    <a:pt x="383133" y="342646"/>
                    <a:pt x="374392" y="339352"/>
                    <a:pt x="367171" y="341126"/>
                  </a:cubicBezTo>
                  <a:cubicBezTo>
                    <a:pt x="358050" y="343406"/>
                    <a:pt x="349689" y="351641"/>
                    <a:pt x="342214" y="357341"/>
                  </a:cubicBezTo>
                  <a:cubicBezTo>
                    <a:pt x="335500" y="362409"/>
                    <a:pt x="331066" y="369503"/>
                    <a:pt x="326886" y="376597"/>
                  </a:cubicBezTo>
                  <a:cubicBezTo>
                    <a:pt x="321692" y="385338"/>
                    <a:pt x="318778" y="393192"/>
                    <a:pt x="310037" y="399273"/>
                  </a:cubicBezTo>
                  <a:cubicBezTo>
                    <a:pt x="305603" y="402440"/>
                    <a:pt x="300536" y="405354"/>
                    <a:pt x="294962" y="405354"/>
                  </a:cubicBezTo>
                  <a:cubicBezTo>
                    <a:pt x="290021" y="405354"/>
                    <a:pt x="285334" y="402820"/>
                    <a:pt x="280393" y="402947"/>
                  </a:cubicBezTo>
                  <a:cubicBezTo>
                    <a:pt x="269499" y="403074"/>
                    <a:pt x="268485" y="411308"/>
                    <a:pt x="268358" y="420429"/>
                  </a:cubicBezTo>
                  <a:cubicBezTo>
                    <a:pt x="268358" y="424863"/>
                    <a:pt x="268485" y="429170"/>
                    <a:pt x="272286" y="431957"/>
                  </a:cubicBezTo>
                  <a:cubicBezTo>
                    <a:pt x="274312" y="433477"/>
                    <a:pt x="280267" y="433604"/>
                    <a:pt x="281153" y="436011"/>
                  </a:cubicBezTo>
                  <a:cubicBezTo>
                    <a:pt x="282674" y="439685"/>
                    <a:pt x="273932" y="444119"/>
                    <a:pt x="271779" y="446652"/>
                  </a:cubicBezTo>
                  <a:cubicBezTo>
                    <a:pt x="266838" y="452733"/>
                    <a:pt x="266331" y="457167"/>
                    <a:pt x="266585" y="464768"/>
                  </a:cubicBezTo>
                  <a:cubicBezTo>
                    <a:pt x="266965" y="475156"/>
                    <a:pt x="262658" y="481363"/>
                    <a:pt x="259744" y="490991"/>
                  </a:cubicBezTo>
                  <a:cubicBezTo>
                    <a:pt x="256704" y="500746"/>
                    <a:pt x="257210" y="511514"/>
                    <a:pt x="257084" y="521648"/>
                  </a:cubicBezTo>
                  <a:cubicBezTo>
                    <a:pt x="256957" y="537864"/>
                    <a:pt x="256197" y="554206"/>
                    <a:pt x="252650" y="570168"/>
                  </a:cubicBezTo>
                  <a:cubicBezTo>
                    <a:pt x="249483" y="584863"/>
                    <a:pt x="248849" y="599938"/>
                    <a:pt x="245049" y="614887"/>
                  </a:cubicBezTo>
                  <a:cubicBezTo>
                    <a:pt x="243782" y="620081"/>
                    <a:pt x="244542" y="624895"/>
                    <a:pt x="243782" y="630089"/>
                  </a:cubicBezTo>
                  <a:cubicBezTo>
                    <a:pt x="242895" y="636549"/>
                    <a:pt x="240742" y="643137"/>
                    <a:pt x="239601" y="649725"/>
                  </a:cubicBezTo>
                  <a:cubicBezTo>
                    <a:pt x="238461" y="656819"/>
                    <a:pt x="238715" y="664293"/>
                    <a:pt x="237701" y="671514"/>
                  </a:cubicBezTo>
                  <a:cubicBezTo>
                    <a:pt x="229467" y="671260"/>
                    <a:pt x="222119" y="668347"/>
                    <a:pt x="214138" y="666953"/>
                  </a:cubicBezTo>
                  <a:cubicBezTo>
                    <a:pt x="202483" y="664926"/>
                    <a:pt x="190575" y="664926"/>
                    <a:pt x="178921" y="663406"/>
                  </a:cubicBezTo>
                  <a:cubicBezTo>
                    <a:pt x="152444" y="659859"/>
                    <a:pt x="125714" y="662393"/>
                    <a:pt x="99364" y="660239"/>
                  </a:cubicBezTo>
                  <a:cubicBezTo>
                    <a:pt x="77955" y="658592"/>
                    <a:pt x="58952" y="644277"/>
                    <a:pt x="52111" y="624135"/>
                  </a:cubicBezTo>
                  <a:cubicBezTo>
                    <a:pt x="47424" y="610200"/>
                    <a:pt x="49071" y="596011"/>
                    <a:pt x="47677" y="581696"/>
                  </a:cubicBezTo>
                  <a:cubicBezTo>
                    <a:pt x="46537" y="569408"/>
                    <a:pt x="44637" y="557880"/>
                    <a:pt x="45270" y="545592"/>
                  </a:cubicBezTo>
                  <a:cubicBezTo>
                    <a:pt x="46284" y="524309"/>
                    <a:pt x="45524" y="502900"/>
                    <a:pt x="43244" y="481743"/>
                  </a:cubicBezTo>
                  <a:cubicBezTo>
                    <a:pt x="42357" y="473509"/>
                    <a:pt x="43497" y="465148"/>
                    <a:pt x="41850" y="457041"/>
                  </a:cubicBezTo>
                  <a:cubicBezTo>
                    <a:pt x="39823" y="447413"/>
                    <a:pt x="36403" y="438165"/>
                    <a:pt x="32729" y="429043"/>
                  </a:cubicBezTo>
                  <a:cubicBezTo>
                    <a:pt x="26015" y="412068"/>
                    <a:pt x="20947" y="393446"/>
                    <a:pt x="7139" y="381031"/>
                  </a:cubicBezTo>
                  <a:cubicBezTo>
                    <a:pt x="-2362" y="372543"/>
                    <a:pt x="-969" y="356075"/>
                    <a:pt x="3212" y="345053"/>
                  </a:cubicBezTo>
                  <a:cubicBezTo>
                    <a:pt x="7899" y="332765"/>
                    <a:pt x="18034" y="325037"/>
                    <a:pt x="21581" y="312369"/>
                  </a:cubicBezTo>
                  <a:cubicBezTo>
                    <a:pt x="22974" y="307682"/>
                    <a:pt x="24114" y="302488"/>
                    <a:pt x="25001" y="297167"/>
                  </a:cubicBezTo>
                  <a:cubicBezTo>
                    <a:pt x="37543" y="296534"/>
                    <a:pt x="50084" y="295014"/>
                    <a:pt x="62626" y="298941"/>
                  </a:cubicBezTo>
                  <a:cubicBezTo>
                    <a:pt x="69593" y="301094"/>
                    <a:pt x="76561" y="305782"/>
                    <a:pt x="84035" y="306162"/>
                  </a:cubicBezTo>
                  <a:cubicBezTo>
                    <a:pt x="91383" y="306542"/>
                    <a:pt x="97337" y="302108"/>
                    <a:pt x="103671" y="298941"/>
                  </a:cubicBezTo>
                  <a:cubicBezTo>
                    <a:pt x="124320" y="288806"/>
                    <a:pt x="134455" y="304135"/>
                    <a:pt x="149150" y="316296"/>
                  </a:cubicBezTo>
                  <a:cubicBezTo>
                    <a:pt x="165999" y="330231"/>
                    <a:pt x="177780" y="310089"/>
                    <a:pt x="185001" y="296027"/>
                  </a:cubicBezTo>
                  <a:cubicBezTo>
                    <a:pt x="192602" y="281458"/>
                    <a:pt x="196403" y="263723"/>
                    <a:pt x="207297" y="251181"/>
                  </a:cubicBezTo>
                  <a:cubicBezTo>
                    <a:pt x="216038" y="240920"/>
                    <a:pt x="229974" y="234586"/>
                    <a:pt x="242135" y="229265"/>
                  </a:cubicBezTo>
                  <a:cubicBezTo>
                    <a:pt x="255437" y="223311"/>
                    <a:pt x="267598" y="227618"/>
                    <a:pt x="281027" y="224705"/>
                  </a:cubicBezTo>
                  <a:cubicBezTo>
                    <a:pt x="290654" y="222551"/>
                    <a:pt x="295215" y="213810"/>
                    <a:pt x="297115" y="204942"/>
                  </a:cubicBezTo>
                  <a:cubicBezTo>
                    <a:pt x="299016" y="196201"/>
                    <a:pt x="303449" y="183406"/>
                    <a:pt x="295088" y="176565"/>
                  </a:cubicBezTo>
                  <a:cubicBezTo>
                    <a:pt x="286474" y="169471"/>
                    <a:pt x="273172" y="170358"/>
                    <a:pt x="262784" y="170611"/>
                  </a:cubicBezTo>
                  <a:cubicBezTo>
                    <a:pt x="252523" y="170864"/>
                    <a:pt x="236561" y="175678"/>
                    <a:pt x="237701" y="160350"/>
                  </a:cubicBezTo>
                  <a:cubicBezTo>
                    <a:pt x="238081" y="154649"/>
                    <a:pt x="241755" y="152369"/>
                    <a:pt x="243529" y="147175"/>
                  </a:cubicBezTo>
                  <a:cubicBezTo>
                    <a:pt x="245556" y="141094"/>
                    <a:pt x="242135" y="139574"/>
                    <a:pt x="239095" y="135013"/>
                  </a:cubicBezTo>
                  <a:cubicBezTo>
                    <a:pt x="235801" y="130073"/>
                    <a:pt x="233267" y="124752"/>
                    <a:pt x="229594" y="119811"/>
                  </a:cubicBezTo>
                  <a:cubicBezTo>
                    <a:pt x="224780" y="113477"/>
                    <a:pt x="212998" y="112464"/>
                    <a:pt x="208058" y="106257"/>
                  </a:cubicBezTo>
                  <a:cubicBezTo>
                    <a:pt x="207424" y="105497"/>
                    <a:pt x="206917" y="104610"/>
                    <a:pt x="206537" y="103723"/>
                  </a:cubicBezTo>
                  <a:cubicBezTo>
                    <a:pt x="202737" y="94095"/>
                    <a:pt x="218319" y="84214"/>
                    <a:pt x="214645" y="72812"/>
                  </a:cubicBezTo>
                  <a:cubicBezTo>
                    <a:pt x="210971" y="61158"/>
                    <a:pt x="183354" y="53810"/>
                    <a:pt x="190575" y="38608"/>
                  </a:cubicBezTo>
                  <a:cubicBezTo>
                    <a:pt x="199443" y="19859"/>
                    <a:pt x="227187" y="43549"/>
                    <a:pt x="236688" y="48870"/>
                  </a:cubicBezTo>
                  <a:cubicBezTo>
                    <a:pt x="247582" y="55077"/>
                    <a:pt x="278366" y="59511"/>
                    <a:pt x="271906" y="37468"/>
                  </a:cubicBezTo>
                  <a:cubicBezTo>
                    <a:pt x="268865" y="26953"/>
                    <a:pt x="248469" y="10991"/>
                    <a:pt x="265698" y="2884"/>
                  </a:cubicBezTo>
                  <a:cubicBezTo>
                    <a:pt x="281787" y="-4717"/>
                    <a:pt x="301549" y="4911"/>
                    <a:pt x="317891" y="6684"/>
                  </a:cubicBezTo>
                  <a:cubicBezTo>
                    <a:pt x="330813" y="8078"/>
                    <a:pt x="344368" y="4531"/>
                    <a:pt x="357036" y="7191"/>
                  </a:cubicBezTo>
                  <a:cubicBezTo>
                    <a:pt x="359063" y="7571"/>
                    <a:pt x="361217" y="8204"/>
                    <a:pt x="363117" y="8964"/>
                  </a:cubicBezTo>
                  <a:cubicBezTo>
                    <a:pt x="380219" y="15932"/>
                    <a:pt x="393521" y="32527"/>
                    <a:pt x="403149" y="47603"/>
                  </a:cubicBezTo>
                  <a:cubicBezTo>
                    <a:pt x="413410" y="63565"/>
                    <a:pt x="422024" y="79400"/>
                    <a:pt x="434566" y="93842"/>
                  </a:cubicBezTo>
                  <a:cubicBezTo>
                    <a:pt x="445714" y="106510"/>
                    <a:pt x="449261" y="123739"/>
                    <a:pt x="452428" y="140461"/>
                  </a:cubicBezTo>
                  <a:cubicBezTo>
                    <a:pt x="443434" y="140461"/>
                    <a:pt x="434312" y="140461"/>
                    <a:pt x="425318" y="140968"/>
                  </a:cubicBezTo>
                  <a:cubicBezTo>
                    <a:pt x="413790" y="141601"/>
                    <a:pt x="394281" y="140714"/>
                    <a:pt x="385413" y="15034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32" name="Рисунок 388">
              <a:extLst>
                <a:ext uri="{FF2B5EF4-FFF2-40B4-BE49-F238E27FC236}">
                  <a16:creationId xmlns:a16="http://schemas.microsoft.com/office/drawing/2014/main" id="{1DA397FD-DC6E-439E-BB40-D0F80476817D}"/>
                </a:ext>
              </a:extLst>
            </p:cNvPr>
            <p:cNvGrpSpPr/>
            <p:nvPr/>
          </p:nvGrpSpPr>
          <p:grpSpPr>
            <a:xfrm>
              <a:off x="10418844" y="3594587"/>
              <a:ext cx="1604928" cy="2910987"/>
              <a:chOff x="10418844" y="3594587"/>
              <a:chExt cx="1604928" cy="2910987"/>
            </a:xfrm>
            <a:solidFill>
              <a:srgbClr val="E3E8EC"/>
            </a:solidFill>
          </p:grpSpPr>
          <p:sp>
            <p:nvSpPr>
              <p:cNvPr id="433" name="Полилиния: фигура 432">
                <a:extLst>
                  <a:ext uri="{FF2B5EF4-FFF2-40B4-BE49-F238E27FC236}">
                    <a16:creationId xmlns:a16="http://schemas.microsoft.com/office/drawing/2014/main" id="{B0671FAB-EC31-48C0-B778-9266BF5C8EF1}"/>
                  </a:ext>
                </a:extLst>
              </p:cNvPr>
              <p:cNvSpPr/>
              <p:nvPr/>
            </p:nvSpPr>
            <p:spPr>
              <a:xfrm>
                <a:off x="10418844" y="3594587"/>
                <a:ext cx="1604928" cy="2910987"/>
              </a:xfrm>
              <a:custGeom>
                <a:avLst/>
                <a:gdLst>
                  <a:gd name="connsiteX0" fmla="*/ 1604928 w 1604928"/>
                  <a:gd name="connsiteY0" fmla="*/ 2462785 h 2910987"/>
                  <a:gd name="connsiteX1" fmla="*/ 1603281 w 1604928"/>
                  <a:gd name="connsiteY1" fmla="*/ 2464938 h 2910987"/>
                  <a:gd name="connsiteX2" fmla="*/ 1566671 w 1604928"/>
                  <a:gd name="connsiteY2" fmla="*/ 2484321 h 2910987"/>
                  <a:gd name="connsiteX3" fmla="*/ 1540321 w 1604928"/>
                  <a:gd name="connsiteY3" fmla="*/ 2500916 h 2910987"/>
                  <a:gd name="connsiteX4" fmla="*/ 1517137 w 1604928"/>
                  <a:gd name="connsiteY4" fmla="*/ 2471272 h 2910987"/>
                  <a:gd name="connsiteX5" fmla="*/ 1501809 w 1604928"/>
                  <a:gd name="connsiteY5" fmla="*/ 2432254 h 2910987"/>
                  <a:gd name="connsiteX6" fmla="*/ 1480020 w 1604928"/>
                  <a:gd name="connsiteY6" fmla="*/ 2406411 h 2910987"/>
                  <a:gd name="connsiteX7" fmla="*/ 1456457 w 1604928"/>
                  <a:gd name="connsiteY7" fmla="*/ 2380441 h 2910987"/>
                  <a:gd name="connsiteX8" fmla="*/ 1419845 w 1604928"/>
                  <a:gd name="connsiteY8" fmla="*/ 2373854 h 2910987"/>
                  <a:gd name="connsiteX9" fmla="*/ 1399069 w 1604928"/>
                  <a:gd name="connsiteY9" fmla="*/ 2397163 h 2910987"/>
                  <a:gd name="connsiteX10" fmla="*/ 1389188 w 1604928"/>
                  <a:gd name="connsiteY10" fmla="*/ 2426680 h 2910987"/>
                  <a:gd name="connsiteX11" fmla="*/ 1361825 w 1604928"/>
                  <a:gd name="connsiteY11" fmla="*/ 2448597 h 2910987"/>
                  <a:gd name="connsiteX12" fmla="*/ 1362332 w 1604928"/>
                  <a:gd name="connsiteY12" fmla="*/ 2475706 h 2910987"/>
                  <a:gd name="connsiteX13" fmla="*/ 1380700 w 1604928"/>
                  <a:gd name="connsiteY13" fmla="*/ 2508391 h 2910987"/>
                  <a:gd name="connsiteX14" fmla="*/ 1402996 w 1604928"/>
                  <a:gd name="connsiteY14" fmla="*/ 2522452 h 2910987"/>
                  <a:gd name="connsiteX15" fmla="*/ 1431627 w 1604928"/>
                  <a:gd name="connsiteY15" fmla="*/ 2506744 h 2910987"/>
                  <a:gd name="connsiteX16" fmla="*/ 1445942 w 1604928"/>
                  <a:gd name="connsiteY16" fmla="*/ 2547789 h 2910987"/>
                  <a:gd name="connsiteX17" fmla="*/ 1431247 w 1604928"/>
                  <a:gd name="connsiteY17" fmla="*/ 2587440 h 2910987"/>
                  <a:gd name="connsiteX18" fmla="*/ 1395396 w 1604928"/>
                  <a:gd name="connsiteY18" fmla="*/ 2613917 h 2910987"/>
                  <a:gd name="connsiteX19" fmla="*/ 1373480 w 1604928"/>
                  <a:gd name="connsiteY19" fmla="*/ 2630132 h 2910987"/>
                  <a:gd name="connsiteX20" fmla="*/ 1388808 w 1604928"/>
                  <a:gd name="connsiteY20" fmla="*/ 2652175 h 2910987"/>
                  <a:gd name="connsiteX21" fmla="*/ 1403123 w 1604928"/>
                  <a:gd name="connsiteY21" fmla="*/ 2663196 h 2910987"/>
                  <a:gd name="connsiteX22" fmla="*/ 1411358 w 1604928"/>
                  <a:gd name="connsiteY22" fmla="*/ 2678145 h 2910987"/>
                  <a:gd name="connsiteX23" fmla="*/ 1388555 w 1604928"/>
                  <a:gd name="connsiteY23" fmla="*/ 2713363 h 2910987"/>
                  <a:gd name="connsiteX24" fmla="*/ 1373226 w 1604928"/>
                  <a:gd name="connsiteY24" fmla="*/ 2728945 h 2910987"/>
                  <a:gd name="connsiteX25" fmla="*/ 1362332 w 1604928"/>
                  <a:gd name="connsiteY25" fmla="*/ 2732492 h 2910987"/>
                  <a:gd name="connsiteX26" fmla="*/ 1354604 w 1604928"/>
                  <a:gd name="connsiteY26" fmla="*/ 2736546 h 2910987"/>
                  <a:gd name="connsiteX27" fmla="*/ 1343329 w 1604928"/>
                  <a:gd name="connsiteY27" fmla="*/ 2738066 h 2910987"/>
                  <a:gd name="connsiteX28" fmla="*/ 1326860 w 1604928"/>
                  <a:gd name="connsiteY28" fmla="*/ 2735912 h 2910987"/>
                  <a:gd name="connsiteX29" fmla="*/ 1319513 w 1604928"/>
                  <a:gd name="connsiteY29" fmla="*/ 2754788 h 2910987"/>
                  <a:gd name="connsiteX30" fmla="*/ 1311405 w 1604928"/>
                  <a:gd name="connsiteY30" fmla="*/ 2766063 h 2910987"/>
                  <a:gd name="connsiteX31" fmla="*/ 1287462 w 1604928"/>
                  <a:gd name="connsiteY31" fmla="*/ 2761375 h 2910987"/>
                  <a:gd name="connsiteX32" fmla="*/ 1267320 w 1604928"/>
                  <a:gd name="connsiteY32" fmla="*/ 2765303 h 2910987"/>
                  <a:gd name="connsiteX33" fmla="*/ 1254271 w 1604928"/>
                  <a:gd name="connsiteY33" fmla="*/ 2782151 h 2910987"/>
                  <a:gd name="connsiteX34" fmla="*/ 1232229 w 1604928"/>
                  <a:gd name="connsiteY34" fmla="*/ 2754661 h 2910987"/>
                  <a:gd name="connsiteX35" fmla="*/ 1194604 w 1604928"/>
                  <a:gd name="connsiteY35" fmla="*/ 2753901 h 2910987"/>
                  <a:gd name="connsiteX36" fmla="*/ 1188777 w 1604928"/>
                  <a:gd name="connsiteY36" fmla="*/ 2771637 h 2910987"/>
                  <a:gd name="connsiteX37" fmla="*/ 1177502 w 1604928"/>
                  <a:gd name="connsiteY37" fmla="*/ 2785192 h 2910987"/>
                  <a:gd name="connsiteX38" fmla="*/ 1160653 w 1604928"/>
                  <a:gd name="connsiteY38" fmla="*/ 2825223 h 2910987"/>
                  <a:gd name="connsiteX39" fmla="*/ 1171674 w 1604928"/>
                  <a:gd name="connsiteY39" fmla="*/ 2840679 h 2910987"/>
                  <a:gd name="connsiteX40" fmla="*/ 1179782 w 1604928"/>
                  <a:gd name="connsiteY40" fmla="*/ 2862595 h 2910987"/>
                  <a:gd name="connsiteX41" fmla="*/ 1163060 w 1604928"/>
                  <a:gd name="connsiteY41" fmla="*/ 2897179 h 2910987"/>
                  <a:gd name="connsiteX42" fmla="*/ 1143678 w 1604928"/>
                  <a:gd name="connsiteY42" fmla="*/ 2910988 h 2910987"/>
                  <a:gd name="connsiteX43" fmla="*/ 1143297 w 1604928"/>
                  <a:gd name="connsiteY43" fmla="*/ 2909847 h 2910987"/>
                  <a:gd name="connsiteX44" fmla="*/ 1133290 w 1604928"/>
                  <a:gd name="connsiteY44" fmla="*/ 2854867 h 2910987"/>
                  <a:gd name="connsiteX45" fmla="*/ 1110360 w 1604928"/>
                  <a:gd name="connsiteY45" fmla="*/ 2805461 h 2910987"/>
                  <a:gd name="connsiteX46" fmla="*/ 1130123 w 1604928"/>
                  <a:gd name="connsiteY46" fmla="*/ 2741740 h 2910987"/>
                  <a:gd name="connsiteX47" fmla="*/ 1110107 w 1604928"/>
                  <a:gd name="connsiteY47" fmla="*/ 2690180 h 2910987"/>
                  <a:gd name="connsiteX48" fmla="*/ 1083377 w 1604928"/>
                  <a:gd name="connsiteY48" fmla="*/ 2617971 h 2910987"/>
                  <a:gd name="connsiteX49" fmla="*/ 1085403 w 1604928"/>
                  <a:gd name="connsiteY49" fmla="*/ 2587567 h 2910987"/>
                  <a:gd name="connsiteX50" fmla="*/ 1097692 w 1604928"/>
                  <a:gd name="connsiteY50" fmla="*/ 2562611 h 2910987"/>
                  <a:gd name="connsiteX51" fmla="*/ 1109473 w 1604928"/>
                  <a:gd name="connsiteY51" fmla="*/ 2528026 h 2910987"/>
                  <a:gd name="connsiteX52" fmla="*/ 1092245 w 1604928"/>
                  <a:gd name="connsiteY52" fmla="*/ 2520932 h 2910987"/>
                  <a:gd name="connsiteX53" fmla="*/ 1052339 w 1604928"/>
                  <a:gd name="connsiteY53" fmla="*/ 2536007 h 2910987"/>
                  <a:gd name="connsiteX54" fmla="*/ 1012054 w 1604928"/>
                  <a:gd name="connsiteY54" fmla="*/ 2557923 h 2910987"/>
                  <a:gd name="connsiteX55" fmla="*/ 988238 w 1604928"/>
                  <a:gd name="connsiteY55" fmla="*/ 2596182 h 2910987"/>
                  <a:gd name="connsiteX56" fmla="*/ 936045 w 1604928"/>
                  <a:gd name="connsiteY56" fmla="*/ 2606570 h 2910987"/>
                  <a:gd name="connsiteX57" fmla="*/ 863709 w 1604928"/>
                  <a:gd name="connsiteY57" fmla="*/ 2572872 h 2910987"/>
                  <a:gd name="connsiteX58" fmla="*/ 832672 w 1604928"/>
                  <a:gd name="connsiteY58" fmla="*/ 2566918 h 2910987"/>
                  <a:gd name="connsiteX59" fmla="*/ 799988 w 1604928"/>
                  <a:gd name="connsiteY59" fmla="*/ 2588707 h 2910987"/>
                  <a:gd name="connsiteX60" fmla="*/ 767684 w 1604928"/>
                  <a:gd name="connsiteY60" fmla="*/ 2582246 h 2910987"/>
                  <a:gd name="connsiteX61" fmla="*/ 741967 w 1604928"/>
                  <a:gd name="connsiteY61" fmla="*/ 2579713 h 2910987"/>
                  <a:gd name="connsiteX62" fmla="*/ 707383 w 1604928"/>
                  <a:gd name="connsiteY62" fmla="*/ 2626078 h 2910987"/>
                  <a:gd name="connsiteX63" fmla="*/ 677359 w 1604928"/>
                  <a:gd name="connsiteY63" fmla="*/ 2623038 h 2910987"/>
                  <a:gd name="connsiteX64" fmla="*/ 661904 w 1604928"/>
                  <a:gd name="connsiteY64" fmla="*/ 2619364 h 2910987"/>
                  <a:gd name="connsiteX65" fmla="*/ 628333 w 1604928"/>
                  <a:gd name="connsiteY65" fmla="*/ 2529673 h 2910987"/>
                  <a:gd name="connsiteX66" fmla="*/ 556124 w 1604928"/>
                  <a:gd name="connsiteY66" fmla="*/ 2489135 h 2910987"/>
                  <a:gd name="connsiteX67" fmla="*/ 512545 w 1604928"/>
                  <a:gd name="connsiteY67" fmla="*/ 2472286 h 2910987"/>
                  <a:gd name="connsiteX68" fmla="*/ 463519 w 1604928"/>
                  <a:gd name="connsiteY68" fmla="*/ 2446570 h 2910987"/>
                  <a:gd name="connsiteX69" fmla="*/ 501144 w 1604928"/>
                  <a:gd name="connsiteY69" fmla="*/ 2331795 h 2910987"/>
                  <a:gd name="connsiteX70" fmla="*/ 469473 w 1604928"/>
                  <a:gd name="connsiteY70" fmla="*/ 2270354 h 2910987"/>
                  <a:gd name="connsiteX71" fmla="*/ 531801 w 1604928"/>
                  <a:gd name="connsiteY71" fmla="*/ 2236657 h 2910987"/>
                  <a:gd name="connsiteX72" fmla="*/ 549157 w 1604928"/>
                  <a:gd name="connsiteY72" fmla="*/ 2181676 h 2910987"/>
                  <a:gd name="connsiteX73" fmla="*/ 617438 w 1604928"/>
                  <a:gd name="connsiteY73" fmla="*/ 2095152 h 2910987"/>
                  <a:gd name="connsiteX74" fmla="*/ 581840 w 1604928"/>
                  <a:gd name="connsiteY74" fmla="*/ 2058541 h 2910987"/>
                  <a:gd name="connsiteX75" fmla="*/ 566005 w 1604928"/>
                  <a:gd name="connsiteY75" fmla="*/ 2025350 h 2910987"/>
                  <a:gd name="connsiteX76" fmla="*/ 620479 w 1604928"/>
                  <a:gd name="connsiteY76" fmla="*/ 2011542 h 2910987"/>
                  <a:gd name="connsiteX77" fmla="*/ 662537 w 1604928"/>
                  <a:gd name="connsiteY77" fmla="*/ 1996213 h 2910987"/>
                  <a:gd name="connsiteX78" fmla="*/ 708016 w 1604928"/>
                  <a:gd name="connsiteY78" fmla="*/ 1968976 h 2910987"/>
                  <a:gd name="connsiteX79" fmla="*/ 674952 w 1604928"/>
                  <a:gd name="connsiteY79" fmla="*/ 1922864 h 2910987"/>
                  <a:gd name="connsiteX80" fmla="*/ 661144 w 1604928"/>
                  <a:gd name="connsiteY80" fmla="*/ 1866490 h 2910987"/>
                  <a:gd name="connsiteX81" fmla="*/ 617058 w 1604928"/>
                  <a:gd name="connsiteY81" fmla="*/ 1815437 h 2910987"/>
                  <a:gd name="connsiteX82" fmla="*/ 566132 w 1604928"/>
                  <a:gd name="connsiteY82" fmla="*/ 1867884 h 2910987"/>
                  <a:gd name="connsiteX83" fmla="*/ 516599 w 1604928"/>
                  <a:gd name="connsiteY83" fmla="*/ 1867884 h 2910987"/>
                  <a:gd name="connsiteX84" fmla="*/ 474034 w 1604928"/>
                  <a:gd name="connsiteY84" fmla="*/ 1948581 h 2910987"/>
                  <a:gd name="connsiteX85" fmla="*/ 425515 w 1604928"/>
                  <a:gd name="connsiteY85" fmla="*/ 1969356 h 2910987"/>
                  <a:gd name="connsiteX86" fmla="*/ 403725 w 1604928"/>
                  <a:gd name="connsiteY86" fmla="*/ 2016862 h 2910987"/>
                  <a:gd name="connsiteX87" fmla="*/ 364200 w 1604928"/>
                  <a:gd name="connsiteY87" fmla="*/ 2038652 h 2910987"/>
                  <a:gd name="connsiteX88" fmla="*/ 344945 w 1604928"/>
                  <a:gd name="connsiteY88" fmla="*/ 1972777 h 2910987"/>
                  <a:gd name="connsiteX89" fmla="*/ 238025 w 1604928"/>
                  <a:gd name="connsiteY89" fmla="*/ 1953521 h 2910987"/>
                  <a:gd name="connsiteX90" fmla="*/ 198373 w 1604928"/>
                  <a:gd name="connsiteY90" fmla="*/ 1934772 h 2910987"/>
                  <a:gd name="connsiteX91" fmla="*/ 226623 w 1604928"/>
                  <a:gd name="connsiteY91" fmla="*/ 1878398 h 2910987"/>
                  <a:gd name="connsiteX92" fmla="*/ 227636 w 1604928"/>
                  <a:gd name="connsiteY92" fmla="*/ 1799602 h 2910987"/>
                  <a:gd name="connsiteX93" fmla="*/ 257787 w 1604928"/>
                  <a:gd name="connsiteY93" fmla="*/ 1756530 h 2910987"/>
                  <a:gd name="connsiteX94" fmla="*/ 276029 w 1604928"/>
                  <a:gd name="connsiteY94" fmla="*/ 1708517 h 2910987"/>
                  <a:gd name="connsiteX95" fmla="*/ 305293 w 1604928"/>
                  <a:gd name="connsiteY95" fmla="*/ 1678874 h 2910987"/>
                  <a:gd name="connsiteX96" fmla="*/ 306306 w 1604928"/>
                  <a:gd name="connsiteY96" fmla="*/ 1654170 h 2910987"/>
                  <a:gd name="connsiteX97" fmla="*/ 314160 w 1604928"/>
                  <a:gd name="connsiteY97" fmla="*/ 1631748 h 2910987"/>
                  <a:gd name="connsiteX98" fmla="*/ 273622 w 1604928"/>
                  <a:gd name="connsiteY98" fmla="*/ 1606664 h 2910987"/>
                  <a:gd name="connsiteX99" fmla="*/ 181524 w 1604928"/>
                  <a:gd name="connsiteY99" fmla="*/ 1641756 h 2910987"/>
                  <a:gd name="connsiteX100" fmla="*/ 128950 w 1604928"/>
                  <a:gd name="connsiteY100" fmla="*/ 1657337 h 2910987"/>
                  <a:gd name="connsiteX101" fmla="*/ 132498 w 1604928"/>
                  <a:gd name="connsiteY101" fmla="*/ 1643783 h 2910987"/>
                  <a:gd name="connsiteX102" fmla="*/ 118183 w 1604928"/>
                  <a:gd name="connsiteY102" fmla="*/ 1594756 h 2910987"/>
                  <a:gd name="connsiteX103" fmla="*/ 91959 w 1604928"/>
                  <a:gd name="connsiteY103" fmla="*/ 1550671 h 2910987"/>
                  <a:gd name="connsiteX104" fmla="*/ 113242 w 1604928"/>
                  <a:gd name="connsiteY104" fmla="*/ 1510512 h 2910987"/>
                  <a:gd name="connsiteX105" fmla="*/ 109315 w 1604928"/>
                  <a:gd name="connsiteY105" fmla="*/ 1494170 h 2910987"/>
                  <a:gd name="connsiteX106" fmla="*/ 103867 w 1604928"/>
                  <a:gd name="connsiteY106" fmla="*/ 1454139 h 2910987"/>
                  <a:gd name="connsiteX107" fmla="*/ 70170 w 1604928"/>
                  <a:gd name="connsiteY107" fmla="*/ 1440330 h 2910987"/>
                  <a:gd name="connsiteX108" fmla="*/ 51928 w 1604928"/>
                  <a:gd name="connsiteY108" fmla="*/ 1414614 h 2910987"/>
                  <a:gd name="connsiteX109" fmla="*/ 73717 w 1604928"/>
                  <a:gd name="connsiteY109" fmla="*/ 1370022 h 2910987"/>
                  <a:gd name="connsiteX110" fmla="*/ 44074 w 1604928"/>
                  <a:gd name="connsiteY110" fmla="*/ 1322516 h 2910987"/>
                  <a:gd name="connsiteX111" fmla="*/ 54461 w 1604928"/>
                  <a:gd name="connsiteY111" fmla="*/ 1281977 h 2910987"/>
                  <a:gd name="connsiteX112" fmla="*/ 2521 w 1604928"/>
                  <a:gd name="connsiteY112" fmla="*/ 1248786 h 2910987"/>
                  <a:gd name="connsiteX113" fmla="*/ 9869 w 1604928"/>
                  <a:gd name="connsiteY113" fmla="*/ 1231431 h 2910987"/>
                  <a:gd name="connsiteX114" fmla="*/ 37613 w 1604928"/>
                  <a:gd name="connsiteY114" fmla="*/ 1228517 h 2910987"/>
                  <a:gd name="connsiteX115" fmla="*/ 25197 w 1604928"/>
                  <a:gd name="connsiteY115" fmla="*/ 1204194 h 2910987"/>
                  <a:gd name="connsiteX116" fmla="*/ 8856 w 1604928"/>
                  <a:gd name="connsiteY116" fmla="*/ 1189372 h 2910987"/>
                  <a:gd name="connsiteX117" fmla="*/ 13796 w 1604928"/>
                  <a:gd name="connsiteY117" fmla="*/ 1149340 h 2910987"/>
                  <a:gd name="connsiteX118" fmla="*/ 8856 w 1604928"/>
                  <a:gd name="connsiteY118" fmla="*/ 1094360 h 2910987"/>
                  <a:gd name="connsiteX119" fmla="*/ 31152 w 1604928"/>
                  <a:gd name="connsiteY119" fmla="*/ 1065604 h 2910987"/>
                  <a:gd name="connsiteX120" fmla="*/ 9362 w 1604928"/>
                  <a:gd name="connsiteY120" fmla="*/ 1042294 h 2910987"/>
                  <a:gd name="connsiteX121" fmla="*/ 33052 w 1604928"/>
                  <a:gd name="connsiteY121" fmla="*/ 1002135 h 2910987"/>
                  <a:gd name="connsiteX122" fmla="*/ 65736 w 1604928"/>
                  <a:gd name="connsiteY122" fmla="*/ 1008090 h 2910987"/>
                  <a:gd name="connsiteX123" fmla="*/ 89552 w 1604928"/>
                  <a:gd name="connsiteY123" fmla="*/ 978953 h 2910987"/>
                  <a:gd name="connsiteX124" fmla="*/ 126670 w 1604928"/>
                  <a:gd name="connsiteY124" fmla="*/ 976419 h 2910987"/>
                  <a:gd name="connsiteX125" fmla="*/ 151880 w 1604928"/>
                  <a:gd name="connsiteY125" fmla="*/ 949309 h 2910987"/>
                  <a:gd name="connsiteX126" fmla="*/ 190519 w 1604928"/>
                  <a:gd name="connsiteY126" fmla="*/ 962611 h 2910987"/>
                  <a:gd name="connsiteX127" fmla="*/ 208761 w 1604928"/>
                  <a:gd name="connsiteY127" fmla="*/ 947155 h 2910987"/>
                  <a:gd name="connsiteX128" fmla="*/ 205340 w 1604928"/>
                  <a:gd name="connsiteY128" fmla="*/ 902690 h 2910987"/>
                  <a:gd name="connsiteX129" fmla="*/ 217248 w 1604928"/>
                  <a:gd name="connsiteY129" fmla="*/ 879000 h 2910987"/>
                  <a:gd name="connsiteX130" fmla="*/ 300352 w 1604928"/>
                  <a:gd name="connsiteY130" fmla="*/ 833395 h 2910987"/>
                  <a:gd name="connsiteX131" fmla="*/ 318214 w 1604928"/>
                  <a:gd name="connsiteY131" fmla="*/ 780948 h 2910987"/>
                  <a:gd name="connsiteX132" fmla="*/ 332023 w 1604928"/>
                  <a:gd name="connsiteY132" fmla="*/ 747757 h 2910987"/>
                  <a:gd name="connsiteX133" fmla="*/ 369647 w 1604928"/>
                  <a:gd name="connsiteY133" fmla="*/ 707725 h 2910987"/>
                  <a:gd name="connsiteX134" fmla="*/ 305420 w 1604928"/>
                  <a:gd name="connsiteY134" fmla="*/ 620061 h 2910987"/>
                  <a:gd name="connsiteX135" fmla="*/ 286543 w 1604928"/>
                  <a:gd name="connsiteY135" fmla="*/ 562674 h 2910987"/>
                  <a:gd name="connsiteX136" fmla="*/ 250439 w 1604928"/>
                  <a:gd name="connsiteY136" fmla="*/ 531003 h 2910987"/>
                  <a:gd name="connsiteX137" fmla="*/ 251959 w 1604928"/>
                  <a:gd name="connsiteY137" fmla="*/ 471083 h 2910987"/>
                  <a:gd name="connsiteX138" fmla="*/ 267795 w 1604928"/>
                  <a:gd name="connsiteY138" fmla="*/ 430544 h 2910987"/>
                  <a:gd name="connsiteX139" fmla="*/ 271722 w 1604928"/>
                  <a:gd name="connsiteY139" fmla="*/ 397353 h 2910987"/>
                  <a:gd name="connsiteX140" fmla="*/ 286037 w 1604928"/>
                  <a:gd name="connsiteY140" fmla="*/ 373157 h 2910987"/>
                  <a:gd name="connsiteX141" fmla="*/ 282110 w 1604928"/>
                  <a:gd name="connsiteY141" fmla="*/ 263703 h 2910987"/>
                  <a:gd name="connsiteX142" fmla="*/ 277676 w 1604928"/>
                  <a:gd name="connsiteY142" fmla="*/ 185540 h 2910987"/>
                  <a:gd name="connsiteX143" fmla="*/ 363693 w 1604928"/>
                  <a:gd name="connsiteY143" fmla="*/ 185540 h 2910987"/>
                  <a:gd name="connsiteX144" fmla="*/ 459212 w 1604928"/>
                  <a:gd name="connsiteY144" fmla="*/ 175152 h 2910987"/>
                  <a:gd name="connsiteX145" fmla="*/ 473020 w 1604928"/>
                  <a:gd name="connsiteY145" fmla="*/ 111304 h 2910987"/>
                  <a:gd name="connsiteX146" fmla="*/ 521540 w 1604928"/>
                  <a:gd name="connsiteY146" fmla="*/ 108771 h 2910987"/>
                  <a:gd name="connsiteX147" fmla="*/ 530407 w 1604928"/>
                  <a:gd name="connsiteY147" fmla="*/ 98383 h 2910987"/>
                  <a:gd name="connsiteX148" fmla="*/ 569046 w 1604928"/>
                  <a:gd name="connsiteY148" fmla="*/ 126126 h 2910987"/>
                  <a:gd name="connsiteX149" fmla="*/ 574493 w 1604928"/>
                  <a:gd name="connsiteY149" fmla="*/ 83561 h 2910987"/>
                  <a:gd name="connsiteX150" fmla="*/ 554350 w 1604928"/>
                  <a:gd name="connsiteY150" fmla="*/ 61138 h 2910987"/>
                  <a:gd name="connsiteX151" fmla="*/ 595269 w 1604928"/>
                  <a:gd name="connsiteY151" fmla="*/ 45176 h 2910987"/>
                  <a:gd name="connsiteX152" fmla="*/ 611864 w 1604928"/>
                  <a:gd name="connsiteY152" fmla="*/ 20853 h 2910987"/>
                  <a:gd name="connsiteX153" fmla="*/ 650503 w 1604928"/>
                  <a:gd name="connsiteY153" fmla="*/ 204 h 2910987"/>
                  <a:gd name="connsiteX154" fmla="*/ 708650 w 1604928"/>
                  <a:gd name="connsiteY154" fmla="*/ 8565 h 2910987"/>
                  <a:gd name="connsiteX155" fmla="*/ 793907 w 1604928"/>
                  <a:gd name="connsiteY155" fmla="*/ 64305 h 2910987"/>
                  <a:gd name="connsiteX156" fmla="*/ 806955 w 1604928"/>
                  <a:gd name="connsiteY156" fmla="*/ 107630 h 2910987"/>
                  <a:gd name="connsiteX157" fmla="*/ 812656 w 1604928"/>
                  <a:gd name="connsiteY157" fmla="*/ 154630 h 2910987"/>
                  <a:gd name="connsiteX158" fmla="*/ 804169 w 1604928"/>
                  <a:gd name="connsiteY158" fmla="*/ 208216 h 2910987"/>
                  <a:gd name="connsiteX159" fmla="*/ 823424 w 1604928"/>
                  <a:gd name="connsiteY159" fmla="*/ 257623 h 2910987"/>
                  <a:gd name="connsiteX160" fmla="*/ 848254 w 1604928"/>
                  <a:gd name="connsiteY160" fmla="*/ 248755 h 2910987"/>
                  <a:gd name="connsiteX161" fmla="*/ 876377 w 1604928"/>
                  <a:gd name="connsiteY161" fmla="*/ 239633 h 2910987"/>
                  <a:gd name="connsiteX162" fmla="*/ 920336 w 1604928"/>
                  <a:gd name="connsiteY162" fmla="*/ 236720 h 2910987"/>
                  <a:gd name="connsiteX163" fmla="*/ 989125 w 1604928"/>
                  <a:gd name="connsiteY163" fmla="*/ 263070 h 2910987"/>
                  <a:gd name="connsiteX164" fmla="*/ 1006734 w 1604928"/>
                  <a:gd name="connsiteY164" fmla="*/ 304242 h 2910987"/>
                  <a:gd name="connsiteX165" fmla="*/ 1010788 w 1604928"/>
                  <a:gd name="connsiteY165" fmla="*/ 311083 h 2910987"/>
                  <a:gd name="connsiteX166" fmla="*/ 982791 w 1604928"/>
                  <a:gd name="connsiteY166" fmla="*/ 339459 h 2910987"/>
                  <a:gd name="connsiteX167" fmla="*/ 998753 w 1604928"/>
                  <a:gd name="connsiteY167" fmla="*/ 377464 h 2910987"/>
                  <a:gd name="connsiteX168" fmla="*/ 974936 w 1604928"/>
                  <a:gd name="connsiteY168" fmla="*/ 406981 h 2910987"/>
                  <a:gd name="connsiteX169" fmla="*/ 952894 w 1604928"/>
                  <a:gd name="connsiteY169" fmla="*/ 369863 h 2910987"/>
                  <a:gd name="connsiteX170" fmla="*/ 911215 w 1604928"/>
                  <a:gd name="connsiteY170" fmla="*/ 384052 h 2910987"/>
                  <a:gd name="connsiteX171" fmla="*/ 875744 w 1604928"/>
                  <a:gd name="connsiteY171" fmla="*/ 423197 h 2910987"/>
                  <a:gd name="connsiteX172" fmla="*/ 835079 w 1604928"/>
                  <a:gd name="connsiteY172" fmla="*/ 450687 h 2910987"/>
                  <a:gd name="connsiteX173" fmla="*/ 790993 w 1604928"/>
                  <a:gd name="connsiteY173" fmla="*/ 498446 h 2910987"/>
                  <a:gd name="connsiteX174" fmla="*/ 771484 w 1604928"/>
                  <a:gd name="connsiteY174" fmla="*/ 521122 h 2910987"/>
                  <a:gd name="connsiteX175" fmla="*/ 754002 w 1604928"/>
                  <a:gd name="connsiteY175" fmla="*/ 547472 h 2910987"/>
                  <a:gd name="connsiteX176" fmla="*/ 740447 w 1604928"/>
                  <a:gd name="connsiteY176" fmla="*/ 576609 h 2910987"/>
                  <a:gd name="connsiteX177" fmla="*/ 726132 w 1604928"/>
                  <a:gd name="connsiteY177" fmla="*/ 605619 h 2910987"/>
                  <a:gd name="connsiteX178" fmla="*/ 733099 w 1604928"/>
                  <a:gd name="connsiteY178" fmla="*/ 746997 h 2910987"/>
                  <a:gd name="connsiteX179" fmla="*/ 710550 w 1604928"/>
                  <a:gd name="connsiteY179" fmla="*/ 773094 h 2910987"/>
                  <a:gd name="connsiteX180" fmla="*/ 708776 w 1604928"/>
                  <a:gd name="connsiteY180" fmla="*/ 802610 h 2910987"/>
                  <a:gd name="connsiteX181" fmla="*/ 716377 w 1604928"/>
                  <a:gd name="connsiteY181" fmla="*/ 868232 h 2910987"/>
                  <a:gd name="connsiteX182" fmla="*/ 716251 w 1604928"/>
                  <a:gd name="connsiteY182" fmla="*/ 896102 h 2910987"/>
                  <a:gd name="connsiteX183" fmla="*/ 703583 w 1604928"/>
                  <a:gd name="connsiteY183" fmla="*/ 918652 h 2910987"/>
                  <a:gd name="connsiteX184" fmla="*/ 703583 w 1604928"/>
                  <a:gd name="connsiteY184" fmla="*/ 948169 h 2910987"/>
                  <a:gd name="connsiteX185" fmla="*/ 690407 w 1604928"/>
                  <a:gd name="connsiteY185" fmla="*/ 985667 h 2910987"/>
                  <a:gd name="connsiteX186" fmla="*/ 684580 w 1604928"/>
                  <a:gd name="connsiteY186" fmla="*/ 1021138 h 2910987"/>
                  <a:gd name="connsiteX187" fmla="*/ 673305 w 1604928"/>
                  <a:gd name="connsiteY187" fmla="*/ 1047994 h 2910987"/>
                  <a:gd name="connsiteX188" fmla="*/ 668491 w 1604928"/>
                  <a:gd name="connsiteY188" fmla="*/ 1087773 h 2910987"/>
                  <a:gd name="connsiteX189" fmla="*/ 671912 w 1604928"/>
                  <a:gd name="connsiteY189" fmla="*/ 1120964 h 2910987"/>
                  <a:gd name="connsiteX190" fmla="*/ 663424 w 1604928"/>
                  <a:gd name="connsiteY190" fmla="*/ 1150481 h 2910987"/>
                  <a:gd name="connsiteX191" fmla="*/ 663298 w 1604928"/>
                  <a:gd name="connsiteY191" fmla="*/ 1192666 h 2910987"/>
                  <a:gd name="connsiteX192" fmla="*/ 673052 w 1604928"/>
                  <a:gd name="connsiteY192" fmla="*/ 1230291 h 2910987"/>
                  <a:gd name="connsiteX193" fmla="*/ 667225 w 1604928"/>
                  <a:gd name="connsiteY193" fmla="*/ 1265002 h 2910987"/>
                  <a:gd name="connsiteX194" fmla="*/ 666718 w 1604928"/>
                  <a:gd name="connsiteY194" fmla="*/ 1292365 h 2910987"/>
                  <a:gd name="connsiteX195" fmla="*/ 658103 w 1604928"/>
                  <a:gd name="connsiteY195" fmla="*/ 1311747 h 2910987"/>
                  <a:gd name="connsiteX196" fmla="*/ 636440 w 1604928"/>
                  <a:gd name="connsiteY196" fmla="*/ 1359507 h 2910987"/>
                  <a:gd name="connsiteX197" fmla="*/ 633273 w 1604928"/>
                  <a:gd name="connsiteY197" fmla="*/ 1390291 h 2910987"/>
                  <a:gd name="connsiteX198" fmla="*/ 617312 w 1604928"/>
                  <a:gd name="connsiteY198" fmla="*/ 1413347 h 2910987"/>
                  <a:gd name="connsiteX199" fmla="*/ 619972 w 1604928"/>
                  <a:gd name="connsiteY199" fmla="*/ 1491130 h 2910987"/>
                  <a:gd name="connsiteX200" fmla="*/ 572593 w 1604928"/>
                  <a:gd name="connsiteY200" fmla="*/ 1552444 h 2910987"/>
                  <a:gd name="connsiteX201" fmla="*/ 586275 w 1604928"/>
                  <a:gd name="connsiteY201" fmla="*/ 1613885 h 2910987"/>
                  <a:gd name="connsiteX202" fmla="*/ 618959 w 1604928"/>
                  <a:gd name="connsiteY202" fmla="*/ 1602737 h 2910987"/>
                  <a:gd name="connsiteX203" fmla="*/ 632260 w 1604928"/>
                  <a:gd name="connsiteY203" fmla="*/ 1612492 h 2910987"/>
                  <a:gd name="connsiteX204" fmla="*/ 677612 w 1604928"/>
                  <a:gd name="connsiteY204" fmla="*/ 1586902 h 2910987"/>
                  <a:gd name="connsiteX205" fmla="*/ 703329 w 1604928"/>
                  <a:gd name="connsiteY205" fmla="*/ 1579048 h 2910987"/>
                  <a:gd name="connsiteX206" fmla="*/ 725118 w 1604928"/>
                  <a:gd name="connsiteY206" fmla="*/ 1561059 h 2910987"/>
                  <a:gd name="connsiteX207" fmla="*/ 749948 w 1604928"/>
                  <a:gd name="connsiteY207" fmla="*/ 1596403 h 2910987"/>
                  <a:gd name="connsiteX208" fmla="*/ 770978 w 1604928"/>
                  <a:gd name="connsiteY208" fmla="*/ 1617686 h 2910987"/>
                  <a:gd name="connsiteX209" fmla="*/ 785419 w 1604928"/>
                  <a:gd name="connsiteY209" fmla="*/ 1647963 h 2910987"/>
                  <a:gd name="connsiteX210" fmla="*/ 795428 w 1604928"/>
                  <a:gd name="connsiteY210" fmla="*/ 1664812 h 2910987"/>
                  <a:gd name="connsiteX211" fmla="*/ 822664 w 1604928"/>
                  <a:gd name="connsiteY211" fmla="*/ 1656704 h 2910987"/>
                  <a:gd name="connsiteX212" fmla="*/ 803409 w 1604928"/>
                  <a:gd name="connsiteY212" fmla="*/ 1614519 h 2910987"/>
                  <a:gd name="connsiteX213" fmla="*/ 814683 w 1604928"/>
                  <a:gd name="connsiteY213" fmla="*/ 1562705 h 2910987"/>
                  <a:gd name="connsiteX214" fmla="*/ 839640 w 1604928"/>
                  <a:gd name="connsiteY214" fmla="*/ 1561185 h 2910987"/>
                  <a:gd name="connsiteX215" fmla="*/ 834319 w 1604928"/>
                  <a:gd name="connsiteY215" fmla="*/ 1586522 h 2910987"/>
                  <a:gd name="connsiteX216" fmla="*/ 834826 w 1604928"/>
                  <a:gd name="connsiteY216" fmla="*/ 1608184 h 2910987"/>
                  <a:gd name="connsiteX217" fmla="*/ 861555 w 1604928"/>
                  <a:gd name="connsiteY217" fmla="*/ 1599697 h 2910987"/>
                  <a:gd name="connsiteX218" fmla="*/ 873590 w 1604928"/>
                  <a:gd name="connsiteY218" fmla="*/ 1631621 h 2910987"/>
                  <a:gd name="connsiteX219" fmla="*/ 877518 w 1604928"/>
                  <a:gd name="connsiteY219" fmla="*/ 1654677 h 2910987"/>
                  <a:gd name="connsiteX220" fmla="*/ 865863 w 1604928"/>
                  <a:gd name="connsiteY220" fmla="*/ 1681281 h 2910987"/>
                  <a:gd name="connsiteX221" fmla="*/ 892972 w 1604928"/>
                  <a:gd name="connsiteY221" fmla="*/ 1668865 h 2910987"/>
                  <a:gd name="connsiteX222" fmla="*/ 921476 w 1604928"/>
                  <a:gd name="connsiteY222" fmla="*/ 1654677 h 2910987"/>
                  <a:gd name="connsiteX223" fmla="*/ 925784 w 1604928"/>
                  <a:gd name="connsiteY223" fmla="*/ 1627187 h 2910987"/>
                  <a:gd name="connsiteX224" fmla="*/ 937945 w 1604928"/>
                  <a:gd name="connsiteY224" fmla="*/ 1605144 h 2910987"/>
                  <a:gd name="connsiteX225" fmla="*/ 950360 w 1604928"/>
                  <a:gd name="connsiteY225" fmla="*/ 1582722 h 2910987"/>
                  <a:gd name="connsiteX226" fmla="*/ 960115 w 1604928"/>
                  <a:gd name="connsiteY226" fmla="*/ 1604637 h 2910987"/>
                  <a:gd name="connsiteX227" fmla="*/ 978864 w 1604928"/>
                  <a:gd name="connsiteY227" fmla="*/ 1576134 h 2910987"/>
                  <a:gd name="connsiteX228" fmla="*/ 945926 w 1604928"/>
                  <a:gd name="connsiteY228" fmla="*/ 1531795 h 2910987"/>
                  <a:gd name="connsiteX229" fmla="*/ 937311 w 1604928"/>
                  <a:gd name="connsiteY229" fmla="*/ 1486443 h 2910987"/>
                  <a:gd name="connsiteX230" fmla="*/ 990899 w 1604928"/>
                  <a:gd name="connsiteY230" fmla="*/ 1474788 h 2910987"/>
                  <a:gd name="connsiteX231" fmla="*/ 1038405 w 1604928"/>
                  <a:gd name="connsiteY231" fmla="*/ 1454519 h 2910987"/>
                  <a:gd name="connsiteX232" fmla="*/ 1066401 w 1604928"/>
                  <a:gd name="connsiteY232" fmla="*/ 1455659 h 2910987"/>
                  <a:gd name="connsiteX233" fmla="*/ 1086923 w 1604928"/>
                  <a:gd name="connsiteY233" fmla="*/ 1465920 h 2910987"/>
                  <a:gd name="connsiteX234" fmla="*/ 1112260 w 1604928"/>
                  <a:gd name="connsiteY234" fmla="*/ 1464907 h 2910987"/>
                  <a:gd name="connsiteX235" fmla="*/ 1124168 w 1604928"/>
                  <a:gd name="connsiteY235" fmla="*/ 1476308 h 2910987"/>
                  <a:gd name="connsiteX236" fmla="*/ 1148492 w 1604928"/>
                  <a:gd name="connsiteY236" fmla="*/ 1496324 h 2910987"/>
                  <a:gd name="connsiteX237" fmla="*/ 1167747 w 1604928"/>
                  <a:gd name="connsiteY237" fmla="*/ 1494804 h 2910987"/>
                  <a:gd name="connsiteX238" fmla="*/ 1216140 w 1604928"/>
                  <a:gd name="connsiteY238" fmla="*/ 1501518 h 2910987"/>
                  <a:gd name="connsiteX239" fmla="*/ 1253892 w 1604928"/>
                  <a:gd name="connsiteY239" fmla="*/ 1516973 h 2910987"/>
                  <a:gd name="connsiteX240" fmla="*/ 1272767 w 1604928"/>
                  <a:gd name="connsiteY240" fmla="*/ 1551811 h 2910987"/>
                  <a:gd name="connsiteX241" fmla="*/ 1307985 w 1604928"/>
                  <a:gd name="connsiteY241" fmla="*/ 1625413 h 2910987"/>
                  <a:gd name="connsiteX242" fmla="*/ 1346749 w 1604928"/>
                  <a:gd name="connsiteY242" fmla="*/ 1634788 h 2910987"/>
                  <a:gd name="connsiteX243" fmla="*/ 1365752 w 1604928"/>
                  <a:gd name="connsiteY243" fmla="*/ 1665065 h 2910987"/>
                  <a:gd name="connsiteX244" fmla="*/ 1379054 w 1604928"/>
                  <a:gd name="connsiteY244" fmla="*/ 1676720 h 2910987"/>
                  <a:gd name="connsiteX245" fmla="*/ 1374240 w 1604928"/>
                  <a:gd name="connsiteY245" fmla="*/ 1691922 h 2910987"/>
                  <a:gd name="connsiteX246" fmla="*/ 1378800 w 1604928"/>
                  <a:gd name="connsiteY246" fmla="*/ 1710671 h 2910987"/>
                  <a:gd name="connsiteX247" fmla="*/ 1378927 w 1604928"/>
                  <a:gd name="connsiteY247" fmla="*/ 1754123 h 2910987"/>
                  <a:gd name="connsiteX248" fmla="*/ 1369426 w 1604928"/>
                  <a:gd name="connsiteY248" fmla="*/ 1787947 h 2910987"/>
                  <a:gd name="connsiteX249" fmla="*/ 1389695 w 1604928"/>
                  <a:gd name="connsiteY249" fmla="*/ 1802009 h 2910987"/>
                  <a:gd name="connsiteX250" fmla="*/ 1384121 w 1604928"/>
                  <a:gd name="connsiteY250" fmla="*/ 1823925 h 2910987"/>
                  <a:gd name="connsiteX251" fmla="*/ 1395015 w 1604928"/>
                  <a:gd name="connsiteY251" fmla="*/ 1875485 h 2910987"/>
                  <a:gd name="connsiteX252" fmla="*/ 1420605 w 1604928"/>
                  <a:gd name="connsiteY252" fmla="*/ 1918303 h 2910987"/>
                  <a:gd name="connsiteX253" fmla="*/ 1446322 w 1604928"/>
                  <a:gd name="connsiteY253" fmla="*/ 1967329 h 2910987"/>
                  <a:gd name="connsiteX254" fmla="*/ 1471278 w 1604928"/>
                  <a:gd name="connsiteY254" fmla="*/ 1991906 h 2910987"/>
                  <a:gd name="connsiteX255" fmla="*/ 1490281 w 1604928"/>
                  <a:gd name="connsiteY255" fmla="*/ 2009008 h 2910987"/>
                  <a:gd name="connsiteX256" fmla="*/ 1500923 w 1604928"/>
                  <a:gd name="connsiteY256" fmla="*/ 2043339 h 2910987"/>
                  <a:gd name="connsiteX257" fmla="*/ 1513210 w 1604928"/>
                  <a:gd name="connsiteY257" fmla="*/ 2071969 h 2910987"/>
                  <a:gd name="connsiteX258" fmla="*/ 1538167 w 1604928"/>
                  <a:gd name="connsiteY258" fmla="*/ 2094392 h 2910987"/>
                  <a:gd name="connsiteX259" fmla="*/ 1547921 w 1604928"/>
                  <a:gd name="connsiteY259" fmla="*/ 2127456 h 2910987"/>
                  <a:gd name="connsiteX260" fmla="*/ 1572878 w 1604928"/>
                  <a:gd name="connsiteY260" fmla="*/ 2162547 h 2910987"/>
                  <a:gd name="connsiteX261" fmla="*/ 1580985 w 1604928"/>
                  <a:gd name="connsiteY261" fmla="*/ 2199792 h 2910987"/>
                  <a:gd name="connsiteX262" fmla="*/ 1591627 w 1604928"/>
                  <a:gd name="connsiteY262" fmla="*/ 2226902 h 2910987"/>
                  <a:gd name="connsiteX263" fmla="*/ 1594921 w 1604928"/>
                  <a:gd name="connsiteY263" fmla="*/ 2309246 h 2910987"/>
                  <a:gd name="connsiteX264" fmla="*/ 1589220 w 1604928"/>
                  <a:gd name="connsiteY264" fmla="*/ 2358652 h 2910987"/>
                  <a:gd name="connsiteX265" fmla="*/ 1586940 w 1604928"/>
                  <a:gd name="connsiteY265" fmla="*/ 2417052 h 2910987"/>
                  <a:gd name="connsiteX266" fmla="*/ 1600368 w 1604928"/>
                  <a:gd name="connsiteY266" fmla="*/ 2448343 h 2910987"/>
                  <a:gd name="connsiteX267" fmla="*/ 1604928 w 1604928"/>
                  <a:gd name="connsiteY267" fmla="*/ 2462785 h 29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604928" h="2910987">
                    <a:moveTo>
                      <a:pt x="1604928" y="2462785"/>
                    </a:moveTo>
                    <a:cubicBezTo>
                      <a:pt x="1604422" y="2463545"/>
                      <a:pt x="1603789" y="2464178"/>
                      <a:pt x="1603281" y="2464938"/>
                    </a:cubicBezTo>
                    <a:cubicBezTo>
                      <a:pt x="1593147" y="2476466"/>
                      <a:pt x="1580225" y="2478873"/>
                      <a:pt x="1566671" y="2484321"/>
                    </a:cubicBezTo>
                    <a:cubicBezTo>
                      <a:pt x="1556916" y="2488248"/>
                      <a:pt x="1550709" y="2498383"/>
                      <a:pt x="1540321" y="2500916"/>
                    </a:cubicBezTo>
                    <a:cubicBezTo>
                      <a:pt x="1523218" y="2505224"/>
                      <a:pt x="1518658" y="2483434"/>
                      <a:pt x="1517137" y="2471272"/>
                    </a:cubicBezTo>
                    <a:cubicBezTo>
                      <a:pt x="1515238" y="2456324"/>
                      <a:pt x="1515871" y="2440869"/>
                      <a:pt x="1501809" y="2432254"/>
                    </a:cubicBezTo>
                    <a:cubicBezTo>
                      <a:pt x="1490281" y="2425033"/>
                      <a:pt x="1483693" y="2420093"/>
                      <a:pt x="1480020" y="2406411"/>
                    </a:cubicBezTo>
                    <a:cubicBezTo>
                      <a:pt x="1476346" y="2392603"/>
                      <a:pt x="1470392" y="2385128"/>
                      <a:pt x="1456457" y="2380441"/>
                    </a:cubicBezTo>
                    <a:cubicBezTo>
                      <a:pt x="1446069" y="2377021"/>
                      <a:pt x="1430994" y="2371447"/>
                      <a:pt x="1419845" y="2373854"/>
                    </a:cubicBezTo>
                    <a:cubicBezTo>
                      <a:pt x="1409331" y="2376134"/>
                      <a:pt x="1402870" y="2388042"/>
                      <a:pt x="1399069" y="2397163"/>
                    </a:cubicBezTo>
                    <a:cubicBezTo>
                      <a:pt x="1395269" y="2406664"/>
                      <a:pt x="1395269" y="2418319"/>
                      <a:pt x="1389188" y="2426680"/>
                    </a:cubicBezTo>
                    <a:cubicBezTo>
                      <a:pt x="1382094" y="2436435"/>
                      <a:pt x="1369806" y="2440109"/>
                      <a:pt x="1361825" y="2448597"/>
                    </a:cubicBezTo>
                    <a:cubicBezTo>
                      <a:pt x="1353844" y="2457084"/>
                      <a:pt x="1357391" y="2466712"/>
                      <a:pt x="1362332" y="2475706"/>
                    </a:cubicBezTo>
                    <a:cubicBezTo>
                      <a:pt x="1368159" y="2486728"/>
                      <a:pt x="1374366" y="2497623"/>
                      <a:pt x="1380700" y="2508391"/>
                    </a:cubicBezTo>
                    <a:cubicBezTo>
                      <a:pt x="1385388" y="2516245"/>
                      <a:pt x="1392356" y="2528913"/>
                      <a:pt x="1402996" y="2522452"/>
                    </a:cubicBezTo>
                    <a:cubicBezTo>
                      <a:pt x="1411231" y="2517511"/>
                      <a:pt x="1420226" y="2501423"/>
                      <a:pt x="1431627" y="2506744"/>
                    </a:cubicBezTo>
                    <a:cubicBezTo>
                      <a:pt x="1444422" y="2512698"/>
                      <a:pt x="1446322" y="2535881"/>
                      <a:pt x="1445942" y="2547789"/>
                    </a:cubicBezTo>
                    <a:cubicBezTo>
                      <a:pt x="1445436" y="2562357"/>
                      <a:pt x="1439228" y="2575532"/>
                      <a:pt x="1431247" y="2587440"/>
                    </a:cubicBezTo>
                    <a:cubicBezTo>
                      <a:pt x="1422506" y="2600362"/>
                      <a:pt x="1411231" y="2611130"/>
                      <a:pt x="1395396" y="2613917"/>
                    </a:cubicBezTo>
                    <a:cubicBezTo>
                      <a:pt x="1384248" y="2615817"/>
                      <a:pt x="1374620" y="2616577"/>
                      <a:pt x="1373480" y="2630132"/>
                    </a:cubicBezTo>
                    <a:cubicBezTo>
                      <a:pt x="1372593" y="2641534"/>
                      <a:pt x="1377787" y="2649642"/>
                      <a:pt x="1388808" y="2652175"/>
                    </a:cubicBezTo>
                    <a:cubicBezTo>
                      <a:pt x="1395775" y="2653695"/>
                      <a:pt x="1399450" y="2657243"/>
                      <a:pt x="1403123" y="2663196"/>
                    </a:cubicBezTo>
                    <a:cubicBezTo>
                      <a:pt x="1405911" y="2667630"/>
                      <a:pt x="1410851" y="2672824"/>
                      <a:pt x="1411358" y="2678145"/>
                    </a:cubicBezTo>
                    <a:cubicBezTo>
                      <a:pt x="1412498" y="2691447"/>
                      <a:pt x="1397170" y="2705129"/>
                      <a:pt x="1388555" y="2713363"/>
                    </a:cubicBezTo>
                    <a:cubicBezTo>
                      <a:pt x="1383234" y="2718430"/>
                      <a:pt x="1379560" y="2725017"/>
                      <a:pt x="1373226" y="2728945"/>
                    </a:cubicBezTo>
                    <a:cubicBezTo>
                      <a:pt x="1369679" y="2731098"/>
                      <a:pt x="1366005" y="2730845"/>
                      <a:pt x="1362332" y="2732492"/>
                    </a:cubicBezTo>
                    <a:cubicBezTo>
                      <a:pt x="1359418" y="2733759"/>
                      <a:pt x="1357645" y="2735786"/>
                      <a:pt x="1354604" y="2736546"/>
                    </a:cubicBezTo>
                    <a:cubicBezTo>
                      <a:pt x="1351311" y="2737432"/>
                      <a:pt x="1346749" y="2738066"/>
                      <a:pt x="1343329" y="2738066"/>
                    </a:cubicBezTo>
                    <a:cubicBezTo>
                      <a:pt x="1338262" y="2738066"/>
                      <a:pt x="1331548" y="2733505"/>
                      <a:pt x="1326860" y="2735912"/>
                    </a:cubicBezTo>
                    <a:cubicBezTo>
                      <a:pt x="1321033" y="2738826"/>
                      <a:pt x="1320400" y="2749341"/>
                      <a:pt x="1319513" y="2754788"/>
                    </a:cubicBezTo>
                    <a:cubicBezTo>
                      <a:pt x="1318626" y="2760362"/>
                      <a:pt x="1317739" y="2764796"/>
                      <a:pt x="1311405" y="2766063"/>
                    </a:cubicBezTo>
                    <a:cubicBezTo>
                      <a:pt x="1303297" y="2767583"/>
                      <a:pt x="1294937" y="2763909"/>
                      <a:pt x="1287462" y="2761375"/>
                    </a:cubicBezTo>
                    <a:cubicBezTo>
                      <a:pt x="1279481" y="2758715"/>
                      <a:pt x="1272767" y="2757828"/>
                      <a:pt x="1267320" y="2765303"/>
                    </a:cubicBezTo>
                    <a:cubicBezTo>
                      <a:pt x="1263646" y="2770370"/>
                      <a:pt x="1261239" y="2780631"/>
                      <a:pt x="1254271" y="2782151"/>
                    </a:cubicBezTo>
                    <a:cubicBezTo>
                      <a:pt x="1239323" y="2785318"/>
                      <a:pt x="1238816" y="2761756"/>
                      <a:pt x="1232229" y="2754661"/>
                    </a:cubicBezTo>
                    <a:cubicBezTo>
                      <a:pt x="1224121" y="2745794"/>
                      <a:pt x="1202332" y="2743133"/>
                      <a:pt x="1194604" y="2753901"/>
                    </a:cubicBezTo>
                    <a:cubicBezTo>
                      <a:pt x="1190930" y="2759095"/>
                      <a:pt x="1190676" y="2765683"/>
                      <a:pt x="1188777" y="2771637"/>
                    </a:cubicBezTo>
                    <a:cubicBezTo>
                      <a:pt x="1186749" y="2777844"/>
                      <a:pt x="1182316" y="2781138"/>
                      <a:pt x="1177502" y="2785192"/>
                    </a:cubicBezTo>
                    <a:cubicBezTo>
                      <a:pt x="1166987" y="2794313"/>
                      <a:pt x="1155713" y="2810528"/>
                      <a:pt x="1160653" y="2825223"/>
                    </a:cubicBezTo>
                    <a:cubicBezTo>
                      <a:pt x="1162680" y="2831431"/>
                      <a:pt x="1168001" y="2835485"/>
                      <a:pt x="1171674" y="2840679"/>
                    </a:cubicBezTo>
                    <a:cubicBezTo>
                      <a:pt x="1176362" y="2847140"/>
                      <a:pt x="1178515" y="2854867"/>
                      <a:pt x="1179782" y="2862595"/>
                    </a:cubicBezTo>
                    <a:cubicBezTo>
                      <a:pt x="1182316" y="2878810"/>
                      <a:pt x="1174841" y="2887044"/>
                      <a:pt x="1163060" y="2897179"/>
                    </a:cubicBezTo>
                    <a:cubicBezTo>
                      <a:pt x="1157106" y="2902373"/>
                      <a:pt x="1150265" y="2906427"/>
                      <a:pt x="1143678" y="2910988"/>
                    </a:cubicBezTo>
                    <a:cubicBezTo>
                      <a:pt x="1143551" y="2910608"/>
                      <a:pt x="1143424" y="2910227"/>
                      <a:pt x="1143297" y="2909847"/>
                    </a:cubicBezTo>
                    <a:cubicBezTo>
                      <a:pt x="1138610" y="2891732"/>
                      <a:pt x="1140511" y="2872222"/>
                      <a:pt x="1133290" y="2854867"/>
                    </a:cubicBezTo>
                    <a:cubicBezTo>
                      <a:pt x="1126195" y="2837765"/>
                      <a:pt x="1112007" y="2824590"/>
                      <a:pt x="1110360" y="2805461"/>
                    </a:cubicBezTo>
                    <a:cubicBezTo>
                      <a:pt x="1108207" y="2782025"/>
                      <a:pt x="1123408" y="2763022"/>
                      <a:pt x="1130123" y="2741740"/>
                    </a:cubicBezTo>
                    <a:cubicBezTo>
                      <a:pt x="1137344" y="2718937"/>
                      <a:pt x="1124295" y="2706269"/>
                      <a:pt x="1110107" y="2690180"/>
                    </a:cubicBezTo>
                    <a:cubicBezTo>
                      <a:pt x="1091485" y="2668897"/>
                      <a:pt x="1082490" y="2646348"/>
                      <a:pt x="1083377" y="2617971"/>
                    </a:cubicBezTo>
                    <a:cubicBezTo>
                      <a:pt x="1083630" y="2611130"/>
                      <a:pt x="1086544" y="2597575"/>
                      <a:pt x="1085403" y="2587567"/>
                    </a:cubicBezTo>
                    <a:cubicBezTo>
                      <a:pt x="1089711" y="2579333"/>
                      <a:pt x="1093892" y="2571098"/>
                      <a:pt x="1097692" y="2562611"/>
                    </a:cubicBezTo>
                    <a:cubicBezTo>
                      <a:pt x="1102633" y="2551843"/>
                      <a:pt x="1108333" y="2539935"/>
                      <a:pt x="1109473" y="2528026"/>
                    </a:cubicBezTo>
                    <a:cubicBezTo>
                      <a:pt x="1110740" y="2514598"/>
                      <a:pt x="1101619" y="2516625"/>
                      <a:pt x="1092245" y="2520932"/>
                    </a:cubicBezTo>
                    <a:cubicBezTo>
                      <a:pt x="1079069" y="2527139"/>
                      <a:pt x="1066781" y="2533094"/>
                      <a:pt x="1052339" y="2536007"/>
                    </a:cubicBezTo>
                    <a:cubicBezTo>
                      <a:pt x="1035364" y="2539301"/>
                      <a:pt x="1024976" y="2547282"/>
                      <a:pt x="1012054" y="2557923"/>
                    </a:cubicBezTo>
                    <a:cubicBezTo>
                      <a:pt x="1000019" y="2567678"/>
                      <a:pt x="995459" y="2583006"/>
                      <a:pt x="988238" y="2596182"/>
                    </a:cubicBezTo>
                    <a:cubicBezTo>
                      <a:pt x="977090" y="2616577"/>
                      <a:pt x="954794" y="2615184"/>
                      <a:pt x="936045" y="2606570"/>
                    </a:cubicBezTo>
                    <a:cubicBezTo>
                      <a:pt x="911975" y="2595422"/>
                      <a:pt x="887398" y="2584780"/>
                      <a:pt x="863709" y="2572872"/>
                    </a:cubicBezTo>
                    <a:cubicBezTo>
                      <a:pt x="853828" y="2567931"/>
                      <a:pt x="843567" y="2561850"/>
                      <a:pt x="832672" y="2566918"/>
                    </a:cubicBezTo>
                    <a:cubicBezTo>
                      <a:pt x="820637" y="2572365"/>
                      <a:pt x="812276" y="2583640"/>
                      <a:pt x="799988" y="2588707"/>
                    </a:cubicBezTo>
                    <a:cubicBezTo>
                      <a:pt x="787573" y="2593775"/>
                      <a:pt x="778072" y="2589087"/>
                      <a:pt x="767684" y="2582246"/>
                    </a:cubicBezTo>
                    <a:cubicBezTo>
                      <a:pt x="759196" y="2576672"/>
                      <a:pt x="750835" y="2572238"/>
                      <a:pt x="741967" y="2579713"/>
                    </a:cubicBezTo>
                    <a:cubicBezTo>
                      <a:pt x="726385" y="2592761"/>
                      <a:pt x="729045" y="2619364"/>
                      <a:pt x="707383" y="2626078"/>
                    </a:cubicBezTo>
                    <a:cubicBezTo>
                      <a:pt x="697249" y="2629246"/>
                      <a:pt x="686861" y="2627219"/>
                      <a:pt x="677359" y="2623038"/>
                    </a:cubicBezTo>
                    <a:cubicBezTo>
                      <a:pt x="671785" y="2620631"/>
                      <a:pt x="666845" y="2617844"/>
                      <a:pt x="661904" y="2619364"/>
                    </a:cubicBezTo>
                    <a:cubicBezTo>
                      <a:pt x="623646" y="2582753"/>
                      <a:pt x="631374" y="2571352"/>
                      <a:pt x="628333" y="2529673"/>
                    </a:cubicBezTo>
                    <a:cubicBezTo>
                      <a:pt x="625419" y="2488121"/>
                      <a:pt x="573353" y="2494962"/>
                      <a:pt x="556124" y="2489135"/>
                    </a:cubicBezTo>
                    <a:cubicBezTo>
                      <a:pt x="538769" y="2483181"/>
                      <a:pt x="522426" y="2480774"/>
                      <a:pt x="512545" y="2472286"/>
                    </a:cubicBezTo>
                    <a:cubicBezTo>
                      <a:pt x="502664" y="2463925"/>
                      <a:pt x="492276" y="2476213"/>
                      <a:pt x="463519" y="2446570"/>
                    </a:cubicBezTo>
                    <a:cubicBezTo>
                      <a:pt x="434762" y="2416799"/>
                      <a:pt x="490249" y="2342057"/>
                      <a:pt x="501144" y="2331795"/>
                    </a:cubicBezTo>
                    <a:cubicBezTo>
                      <a:pt x="512039" y="2321407"/>
                      <a:pt x="467446" y="2281249"/>
                      <a:pt x="469473" y="2270354"/>
                    </a:cubicBezTo>
                    <a:cubicBezTo>
                      <a:pt x="471500" y="2259459"/>
                      <a:pt x="517486" y="2241597"/>
                      <a:pt x="531801" y="2236657"/>
                    </a:cubicBezTo>
                    <a:cubicBezTo>
                      <a:pt x="546117" y="2231716"/>
                      <a:pt x="547637" y="2198525"/>
                      <a:pt x="549157" y="2181676"/>
                    </a:cubicBezTo>
                    <a:cubicBezTo>
                      <a:pt x="550677" y="2164827"/>
                      <a:pt x="604137" y="2105540"/>
                      <a:pt x="617438" y="2095152"/>
                    </a:cubicBezTo>
                    <a:cubicBezTo>
                      <a:pt x="630740" y="2084764"/>
                      <a:pt x="592228" y="2062975"/>
                      <a:pt x="581840" y="2058541"/>
                    </a:cubicBezTo>
                    <a:cubicBezTo>
                      <a:pt x="571453" y="2054107"/>
                      <a:pt x="561065" y="2040299"/>
                      <a:pt x="566005" y="2025350"/>
                    </a:cubicBezTo>
                    <a:cubicBezTo>
                      <a:pt x="570946" y="2010528"/>
                      <a:pt x="606164" y="2012555"/>
                      <a:pt x="620479" y="2011542"/>
                    </a:cubicBezTo>
                    <a:cubicBezTo>
                      <a:pt x="634794" y="2010528"/>
                      <a:pt x="641254" y="1996720"/>
                      <a:pt x="662537" y="1996213"/>
                    </a:cubicBezTo>
                    <a:cubicBezTo>
                      <a:pt x="683820" y="1995707"/>
                      <a:pt x="701176" y="1991653"/>
                      <a:pt x="708016" y="1968976"/>
                    </a:cubicBezTo>
                    <a:cubicBezTo>
                      <a:pt x="714984" y="1946174"/>
                      <a:pt x="690661" y="1930338"/>
                      <a:pt x="674952" y="1922864"/>
                    </a:cubicBezTo>
                    <a:cubicBezTo>
                      <a:pt x="659117" y="1915516"/>
                      <a:pt x="666084" y="1899554"/>
                      <a:pt x="661144" y="1866490"/>
                    </a:cubicBezTo>
                    <a:cubicBezTo>
                      <a:pt x="656203" y="1833300"/>
                      <a:pt x="634920" y="1817464"/>
                      <a:pt x="617058" y="1815437"/>
                    </a:cubicBezTo>
                    <a:cubicBezTo>
                      <a:pt x="599196" y="1813410"/>
                      <a:pt x="573986" y="1853569"/>
                      <a:pt x="566132" y="1867884"/>
                    </a:cubicBezTo>
                    <a:cubicBezTo>
                      <a:pt x="558151" y="1882199"/>
                      <a:pt x="539908" y="1870291"/>
                      <a:pt x="516599" y="1867884"/>
                    </a:cubicBezTo>
                    <a:cubicBezTo>
                      <a:pt x="493416" y="1865350"/>
                      <a:pt x="485942" y="1923371"/>
                      <a:pt x="474034" y="1948581"/>
                    </a:cubicBezTo>
                    <a:cubicBezTo>
                      <a:pt x="462126" y="1973790"/>
                      <a:pt x="444390" y="1969356"/>
                      <a:pt x="425515" y="1969356"/>
                    </a:cubicBezTo>
                    <a:cubicBezTo>
                      <a:pt x="406766" y="1969356"/>
                      <a:pt x="403725" y="1996593"/>
                      <a:pt x="403725" y="2016862"/>
                    </a:cubicBezTo>
                    <a:cubicBezTo>
                      <a:pt x="403725" y="2037132"/>
                      <a:pt x="385863" y="2031684"/>
                      <a:pt x="364200" y="2038652"/>
                    </a:cubicBezTo>
                    <a:cubicBezTo>
                      <a:pt x="342411" y="2045619"/>
                      <a:pt x="344945" y="2018382"/>
                      <a:pt x="344945" y="1972777"/>
                    </a:cubicBezTo>
                    <a:cubicBezTo>
                      <a:pt x="344945" y="1927298"/>
                      <a:pt x="258800" y="1947567"/>
                      <a:pt x="238025" y="1953521"/>
                    </a:cubicBezTo>
                    <a:cubicBezTo>
                      <a:pt x="217248" y="1959475"/>
                      <a:pt x="211801" y="1952001"/>
                      <a:pt x="198373" y="1934772"/>
                    </a:cubicBezTo>
                    <a:cubicBezTo>
                      <a:pt x="184945" y="1917543"/>
                      <a:pt x="215602" y="1885239"/>
                      <a:pt x="226623" y="1878398"/>
                    </a:cubicBezTo>
                    <a:cubicBezTo>
                      <a:pt x="237517" y="1871431"/>
                      <a:pt x="229536" y="1815944"/>
                      <a:pt x="227636" y="1799602"/>
                    </a:cubicBezTo>
                    <a:cubicBezTo>
                      <a:pt x="225609" y="1783260"/>
                      <a:pt x="246385" y="1763497"/>
                      <a:pt x="257787" y="1756530"/>
                    </a:cubicBezTo>
                    <a:cubicBezTo>
                      <a:pt x="269188" y="1749562"/>
                      <a:pt x="270582" y="1727393"/>
                      <a:pt x="276029" y="1708517"/>
                    </a:cubicBezTo>
                    <a:cubicBezTo>
                      <a:pt x="281477" y="1689768"/>
                      <a:pt x="291357" y="1683814"/>
                      <a:pt x="305293" y="1678874"/>
                    </a:cubicBezTo>
                    <a:cubicBezTo>
                      <a:pt x="319101" y="1673933"/>
                      <a:pt x="309220" y="1665065"/>
                      <a:pt x="306306" y="1654170"/>
                    </a:cubicBezTo>
                    <a:cubicBezTo>
                      <a:pt x="303392" y="1643276"/>
                      <a:pt x="306813" y="1637322"/>
                      <a:pt x="314160" y="1631748"/>
                    </a:cubicBezTo>
                    <a:cubicBezTo>
                      <a:pt x="321635" y="1626174"/>
                      <a:pt x="300352" y="1611478"/>
                      <a:pt x="273622" y="1606664"/>
                    </a:cubicBezTo>
                    <a:cubicBezTo>
                      <a:pt x="246892" y="1601724"/>
                      <a:pt x="190898" y="1633268"/>
                      <a:pt x="181524" y="1641756"/>
                    </a:cubicBezTo>
                    <a:cubicBezTo>
                      <a:pt x="172150" y="1650117"/>
                      <a:pt x="128950" y="1657337"/>
                      <a:pt x="128950" y="1657337"/>
                    </a:cubicBezTo>
                    <a:cubicBezTo>
                      <a:pt x="131104" y="1654297"/>
                      <a:pt x="132371" y="1649863"/>
                      <a:pt x="132498" y="1643783"/>
                    </a:cubicBezTo>
                    <a:cubicBezTo>
                      <a:pt x="133004" y="1618573"/>
                      <a:pt x="129964" y="1604131"/>
                      <a:pt x="118183" y="1594756"/>
                    </a:cubicBezTo>
                    <a:cubicBezTo>
                      <a:pt x="106274" y="1585382"/>
                      <a:pt x="90439" y="1569926"/>
                      <a:pt x="91959" y="1550671"/>
                    </a:cubicBezTo>
                    <a:cubicBezTo>
                      <a:pt x="93479" y="1531415"/>
                      <a:pt x="117676" y="1516973"/>
                      <a:pt x="113242" y="1510512"/>
                    </a:cubicBezTo>
                    <a:cubicBezTo>
                      <a:pt x="108808" y="1504051"/>
                      <a:pt x="103867" y="1504051"/>
                      <a:pt x="109315" y="1494170"/>
                    </a:cubicBezTo>
                    <a:cubicBezTo>
                      <a:pt x="114762" y="1484289"/>
                      <a:pt x="122616" y="1460979"/>
                      <a:pt x="103867" y="1454139"/>
                    </a:cubicBezTo>
                    <a:cubicBezTo>
                      <a:pt x="85119" y="1447171"/>
                      <a:pt x="82585" y="1441217"/>
                      <a:pt x="70170" y="1440330"/>
                    </a:cubicBezTo>
                    <a:cubicBezTo>
                      <a:pt x="57882" y="1439317"/>
                      <a:pt x="36979" y="1433870"/>
                      <a:pt x="51928" y="1414614"/>
                    </a:cubicBezTo>
                    <a:cubicBezTo>
                      <a:pt x="66750" y="1395358"/>
                      <a:pt x="92973" y="1395358"/>
                      <a:pt x="73717" y="1370022"/>
                    </a:cubicBezTo>
                    <a:cubicBezTo>
                      <a:pt x="54335" y="1344812"/>
                      <a:pt x="31658" y="1333917"/>
                      <a:pt x="44074" y="1322516"/>
                    </a:cubicBezTo>
                    <a:cubicBezTo>
                      <a:pt x="56488" y="1311114"/>
                      <a:pt x="71817" y="1290845"/>
                      <a:pt x="54461" y="1281977"/>
                    </a:cubicBezTo>
                    <a:cubicBezTo>
                      <a:pt x="37106" y="1272983"/>
                      <a:pt x="5942" y="1259681"/>
                      <a:pt x="2521" y="1248786"/>
                    </a:cubicBezTo>
                    <a:cubicBezTo>
                      <a:pt x="-1025" y="1237892"/>
                      <a:pt x="-2546" y="1229024"/>
                      <a:pt x="9869" y="1231431"/>
                    </a:cubicBezTo>
                    <a:cubicBezTo>
                      <a:pt x="22284" y="1233965"/>
                      <a:pt x="42554" y="1240805"/>
                      <a:pt x="37613" y="1228517"/>
                    </a:cubicBezTo>
                    <a:cubicBezTo>
                      <a:pt x="32672" y="1216102"/>
                      <a:pt x="34699" y="1206728"/>
                      <a:pt x="25197" y="1204194"/>
                    </a:cubicBezTo>
                    <a:cubicBezTo>
                      <a:pt x="15823" y="1201660"/>
                      <a:pt x="7335" y="1208121"/>
                      <a:pt x="8856" y="1189372"/>
                    </a:cubicBezTo>
                    <a:cubicBezTo>
                      <a:pt x="10376" y="1170623"/>
                      <a:pt x="17217" y="1168596"/>
                      <a:pt x="13796" y="1149340"/>
                    </a:cubicBezTo>
                    <a:cubicBezTo>
                      <a:pt x="10376" y="1129958"/>
                      <a:pt x="-2039" y="1108675"/>
                      <a:pt x="8856" y="1094360"/>
                    </a:cubicBezTo>
                    <a:cubicBezTo>
                      <a:pt x="19750" y="1080045"/>
                      <a:pt x="41540" y="1071051"/>
                      <a:pt x="31152" y="1065604"/>
                    </a:cubicBezTo>
                    <a:cubicBezTo>
                      <a:pt x="20764" y="1060156"/>
                      <a:pt x="8856" y="1056736"/>
                      <a:pt x="9362" y="1042294"/>
                    </a:cubicBezTo>
                    <a:cubicBezTo>
                      <a:pt x="9869" y="1027979"/>
                      <a:pt x="25705" y="1000235"/>
                      <a:pt x="33052" y="1002135"/>
                    </a:cubicBezTo>
                    <a:cubicBezTo>
                      <a:pt x="40526" y="1004162"/>
                      <a:pt x="64216" y="1021898"/>
                      <a:pt x="65736" y="1008090"/>
                    </a:cubicBezTo>
                    <a:cubicBezTo>
                      <a:pt x="67256" y="994281"/>
                      <a:pt x="79545" y="977939"/>
                      <a:pt x="89552" y="978953"/>
                    </a:cubicBezTo>
                    <a:cubicBezTo>
                      <a:pt x="99434" y="979840"/>
                      <a:pt x="116789" y="993268"/>
                      <a:pt x="126670" y="976419"/>
                    </a:cubicBezTo>
                    <a:cubicBezTo>
                      <a:pt x="136552" y="959697"/>
                      <a:pt x="138072" y="940821"/>
                      <a:pt x="151880" y="949309"/>
                    </a:cubicBezTo>
                    <a:cubicBezTo>
                      <a:pt x="165689" y="957670"/>
                      <a:pt x="184058" y="968565"/>
                      <a:pt x="190519" y="962611"/>
                    </a:cubicBezTo>
                    <a:cubicBezTo>
                      <a:pt x="196979" y="956656"/>
                      <a:pt x="207874" y="966918"/>
                      <a:pt x="208761" y="947155"/>
                    </a:cubicBezTo>
                    <a:cubicBezTo>
                      <a:pt x="209774" y="927520"/>
                      <a:pt x="207747" y="912064"/>
                      <a:pt x="205340" y="902690"/>
                    </a:cubicBezTo>
                    <a:cubicBezTo>
                      <a:pt x="202933" y="893315"/>
                      <a:pt x="199386" y="881407"/>
                      <a:pt x="217248" y="879000"/>
                    </a:cubicBezTo>
                    <a:cubicBezTo>
                      <a:pt x="235110" y="876467"/>
                      <a:pt x="279070" y="868612"/>
                      <a:pt x="300352" y="833395"/>
                    </a:cubicBezTo>
                    <a:cubicBezTo>
                      <a:pt x="321635" y="798303"/>
                      <a:pt x="316187" y="791336"/>
                      <a:pt x="318214" y="780948"/>
                    </a:cubicBezTo>
                    <a:cubicBezTo>
                      <a:pt x="320241" y="770560"/>
                      <a:pt x="316187" y="751811"/>
                      <a:pt x="332023" y="747757"/>
                    </a:cubicBezTo>
                    <a:cubicBezTo>
                      <a:pt x="347858" y="743830"/>
                      <a:pt x="384596" y="726981"/>
                      <a:pt x="369647" y="707725"/>
                    </a:cubicBezTo>
                    <a:cubicBezTo>
                      <a:pt x="354825" y="688470"/>
                      <a:pt x="309347" y="638937"/>
                      <a:pt x="305420" y="620061"/>
                    </a:cubicBezTo>
                    <a:cubicBezTo>
                      <a:pt x="301492" y="601312"/>
                      <a:pt x="306433" y="571542"/>
                      <a:pt x="286543" y="562674"/>
                    </a:cubicBezTo>
                    <a:cubicBezTo>
                      <a:pt x="266781" y="553806"/>
                      <a:pt x="250946" y="545825"/>
                      <a:pt x="250439" y="531003"/>
                    </a:cubicBezTo>
                    <a:cubicBezTo>
                      <a:pt x="249933" y="516182"/>
                      <a:pt x="243472" y="483497"/>
                      <a:pt x="251959" y="471083"/>
                    </a:cubicBezTo>
                    <a:cubicBezTo>
                      <a:pt x="260320" y="458794"/>
                      <a:pt x="268301" y="441439"/>
                      <a:pt x="267795" y="430544"/>
                    </a:cubicBezTo>
                    <a:cubicBezTo>
                      <a:pt x="267288" y="419650"/>
                      <a:pt x="265768" y="402294"/>
                      <a:pt x="271722" y="397353"/>
                    </a:cubicBezTo>
                    <a:cubicBezTo>
                      <a:pt x="277676" y="392412"/>
                      <a:pt x="283630" y="387979"/>
                      <a:pt x="286037" y="373157"/>
                    </a:cubicBezTo>
                    <a:cubicBezTo>
                      <a:pt x="288444" y="358208"/>
                      <a:pt x="287557" y="289546"/>
                      <a:pt x="282110" y="263703"/>
                    </a:cubicBezTo>
                    <a:cubicBezTo>
                      <a:pt x="276663" y="237987"/>
                      <a:pt x="258800" y="190481"/>
                      <a:pt x="277676" y="185540"/>
                    </a:cubicBezTo>
                    <a:cubicBezTo>
                      <a:pt x="296425" y="180600"/>
                      <a:pt x="350392" y="182120"/>
                      <a:pt x="363693" y="185540"/>
                    </a:cubicBezTo>
                    <a:cubicBezTo>
                      <a:pt x="377122" y="189087"/>
                      <a:pt x="461239" y="203782"/>
                      <a:pt x="459212" y="175152"/>
                    </a:cubicBezTo>
                    <a:cubicBezTo>
                      <a:pt x="457185" y="146395"/>
                      <a:pt x="453258" y="110798"/>
                      <a:pt x="473020" y="111304"/>
                    </a:cubicBezTo>
                    <a:cubicBezTo>
                      <a:pt x="492783" y="111811"/>
                      <a:pt x="524454" y="115232"/>
                      <a:pt x="521540" y="108771"/>
                    </a:cubicBezTo>
                    <a:cubicBezTo>
                      <a:pt x="518626" y="102310"/>
                      <a:pt x="521540" y="88501"/>
                      <a:pt x="530407" y="98383"/>
                    </a:cubicBezTo>
                    <a:cubicBezTo>
                      <a:pt x="539275" y="108264"/>
                      <a:pt x="552197" y="130560"/>
                      <a:pt x="569046" y="126126"/>
                    </a:cubicBezTo>
                    <a:cubicBezTo>
                      <a:pt x="585894" y="121692"/>
                      <a:pt x="588301" y="95469"/>
                      <a:pt x="574493" y="83561"/>
                    </a:cubicBezTo>
                    <a:cubicBezTo>
                      <a:pt x="560685" y="71653"/>
                      <a:pt x="557771" y="70259"/>
                      <a:pt x="554350" y="61138"/>
                    </a:cubicBezTo>
                    <a:cubicBezTo>
                      <a:pt x="563725" y="66712"/>
                      <a:pt x="588428" y="51637"/>
                      <a:pt x="595269" y="45176"/>
                    </a:cubicBezTo>
                    <a:cubicBezTo>
                      <a:pt x="603757" y="37195"/>
                      <a:pt x="609584" y="32634"/>
                      <a:pt x="611864" y="20853"/>
                    </a:cubicBezTo>
                    <a:cubicBezTo>
                      <a:pt x="616172" y="-937"/>
                      <a:pt x="630233" y="-430"/>
                      <a:pt x="650503" y="204"/>
                    </a:cubicBezTo>
                    <a:cubicBezTo>
                      <a:pt x="669885" y="710"/>
                      <a:pt x="689647" y="5651"/>
                      <a:pt x="708650" y="8565"/>
                    </a:cubicBezTo>
                    <a:cubicBezTo>
                      <a:pt x="740067" y="13379"/>
                      <a:pt x="775285" y="38842"/>
                      <a:pt x="793907" y="64305"/>
                    </a:cubicBezTo>
                    <a:cubicBezTo>
                      <a:pt x="802268" y="75706"/>
                      <a:pt x="804675" y="94075"/>
                      <a:pt x="806955" y="107630"/>
                    </a:cubicBezTo>
                    <a:cubicBezTo>
                      <a:pt x="809743" y="123593"/>
                      <a:pt x="814430" y="138287"/>
                      <a:pt x="812656" y="154630"/>
                    </a:cubicBezTo>
                    <a:cubicBezTo>
                      <a:pt x="810756" y="172745"/>
                      <a:pt x="802522" y="189594"/>
                      <a:pt x="804169" y="208216"/>
                    </a:cubicBezTo>
                    <a:cubicBezTo>
                      <a:pt x="805562" y="223165"/>
                      <a:pt x="806829" y="251035"/>
                      <a:pt x="823424" y="257623"/>
                    </a:cubicBezTo>
                    <a:cubicBezTo>
                      <a:pt x="833812" y="261676"/>
                      <a:pt x="840527" y="254329"/>
                      <a:pt x="848254" y="248755"/>
                    </a:cubicBezTo>
                    <a:cubicBezTo>
                      <a:pt x="857502" y="242040"/>
                      <a:pt x="864976" y="240520"/>
                      <a:pt x="876377" y="239633"/>
                    </a:cubicBezTo>
                    <a:cubicBezTo>
                      <a:pt x="891073" y="238620"/>
                      <a:pt x="905515" y="236973"/>
                      <a:pt x="920336" y="236720"/>
                    </a:cubicBezTo>
                    <a:cubicBezTo>
                      <a:pt x="946939" y="236466"/>
                      <a:pt x="974303" y="238240"/>
                      <a:pt x="989125" y="263070"/>
                    </a:cubicBezTo>
                    <a:cubicBezTo>
                      <a:pt x="997106" y="276245"/>
                      <a:pt x="1000146" y="290560"/>
                      <a:pt x="1006734" y="304242"/>
                    </a:cubicBezTo>
                    <a:cubicBezTo>
                      <a:pt x="1008000" y="306775"/>
                      <a:pt x="1009268" y="309056"/>
                      <a:pt x="1010788" y="311083"/>
                    </a:cubicBezTo>
                    <a:cubicBezTo>
                      <a:pt x="999006" y="315770"/>
                      <a:pt x="985577" y="327678"/>
                      <a:pt x="982791" y="339459"/>
                    </a:cubicBezTo>
                    <a:cubicBezTo>
                      <a:pt x="979877" y="351367"/>
                      <a:pt x="995713" y="365429"/>
                      <a:pt x="998753" y="377464"/>
                    </a:cubicBezTo>
                    <a:cubicBezTo>
                      <a:pt x="1002680" y="392793"/>
                      <a:pt x="995965" y="416482"/>
                      <a:pt x="974936" y="406981"/>
                    </a:cubicBezTo>
                    <a:cubicBezTo>
                      <a:pt x="961508" y="400900"/>
                      <a:pt x="961128" y="380758"/>
                      <a:pt x="952894" y="369863"/>
                    </a:cubicBezTo>
                    <a:cubicBezTo>
                      <a:pt x="939085" y="351621"/>
                      <a:pt x="923123" y="374931"/>
                      <a:pt x="911215" y="384052"/>
                    </a:cubicBezTo>
                    <a:cubicBezTo>
                      <a:pt x="896900" y="395073"/>
                      <a:pt x="887525" y="409895"/>
                      <a:pt x="875744" y="423197"/>
                    </a:cubicBezTo>
                    <a:cubicBezTo>
                      <a:pt x="864596" y="435738"/>
                      <a:pt x="849268" y="442452"/>
                      <a:pt x="835079" y="450687"/>
                    </a:cubicBezTo>
                    <a:cubicBezTo>
                      <a:pt x="814810" y="462595"/>
                      <a:pt x="800748" y="476910"/>
                      <a:pt x="790993" y="498446"/>
                    </a:cubicBezTo>
                    <a:cubicBezTo>
                      <a:pt x="786306" y="508581"/>
                      <a:pt x="778832" y="513395"/>
                      <a:pt x="771484" y="521122"/>
                    </a:cubicBezTo>
                    <a:cubicBezTo>
                      <a:pt x="764390" y="528723"/>
                      <a:pt x="759830" y="538731"/>
                      <a:pt x="754002" y="547472"/>
                    </a:cubicBezTo>
                    <a:cubicBezTo>
                      <a:pt x="747668" y="556973"/>
                      <a:pt x="744501" y="565968"/>
                      <a:pt x="740447" y="576609"/>
                    </a:cubicBezTo>
                    <a:cubicBezTo>
                      <a:pt x="736647" y="586744"/>
                      <a:pt x="729553" y="595358"/>
                      <a:pt x="726132" y="605619"/>
                    </a:cubicBezTo>
                    <a:cubicBezTo>
                      <a:pt x="711310" y="651478"/>
                      <a:pt x="757802" y="704685"/>
                      <a:pt x="733099" y="746997"/>
                    </a:cubicBezTo>
                    <a:cubicBezTo>
                      <a:pt x="727146" y="757258"/>
                      <a:pt x="716884" y="763592"/>
                      <a:pt x="710550" y="773094"/>
                    </a:cubicBezTo>
                    <a:cubicBezTo>
                      <a:pt x="704216" y="782595"/>
                      <a:pt x="706496" y="792223"/>
                      <a:pt x="708776" y="802610"/>
                    </a:cubicBezTo>
                    <a:cubicBezTo>
                      <a:pt x="713464" y="824147"/>
                      <a:pt x="712957" y="846443"/>
                      <a:pt x="716377" y="868232"/>
                    </a:cubicBezTo>
                    <a:cubicBezTo>
                      <a:pt x="718024" y="878240"/>
                      <a:pt x="720685" y="886601"/>
                      <a:pt x="716251" y="896102"/>
                    </a:cubicBezTo>
                    <a:cubicBezTo>
                      <a:pt x="712577" y="904210"/>
                      <a:pt x="705736" y="909784"/>
                      <a:pt x="703583" y="918652"/>
                    </a:cubicBezTo>
                    <a:cubicBezTo>
                      <a:pt x="701303" y="928280"/>
                      <a:pt x="703202" y="938541"/>
                      <a:pt x="703583" y="948169"/>
                    </a:cubicBezTo>
                    <a:cubicBezTo>
                      <a:pt x="703962" y="962611"/>
                      <a:pt x="696108" y="973379"/>
                      <a:pt x="690407" y="985667"/>
                    </a:cubicBezTo>
                    <a:cubicBezTo>
                      <a:pt x="685214" y="996941"/>
                      <a:pt x="689647" y="1009610"/>
                      <a:pt x="684580" y="1021138"/>
                    </a:cubicBezTo>
                    <a:cubicBezTo>
                      <a:pt x="680146" y="1031273"/>
                      <a:pt x="673812" y="1036213"/>
                      <a:pt x="673305" y="1047994"/>
                    </a:cubicBezTo>
                    <a:cubicBezTo>
                      <a:pt x="672799" y="1062816"/>
                      <a:pt x="675459" y="1073965"/>
                      <a:pt x="668491" y="1087773"/>
                    </a:cubicBezTo>
                    <a:cubicBezTo>
                      <a:pt x="661017" y="1102595"/>
                      <a:pt x="666591" y="1106142"/>
                      <a:pt x="671912" y="1120964"/>
                    </a:cubicBezTo>
                    <a:cubicBezTo>
                      <a:pt x="677233" y="1135659"/>
                      <a:pt x="667478" y="1138066"/>
                      <a:pt x="663424" y="1150481"/>
                    </a:cubicBezTo>
                    <a:cubicBezTo>
                      <a:pt x="659877" y="1161629"/>
                      <a:pt x="661777" y="1181138"/>
                      <a:pt x="663298" y="1192666"/>
                    </a:cubicBezTo>
                    <a:cubicBezTo>
                      <a:pt x="664944" y="1205841"/>
                      <a:pt x="674699" y="1216609"/>
                      <a:pt x="673052" y="1230291"/>
                    </a:cubicBezTo>
                    <a:cubicBezTo>
                      <a:pt x="671659" y="1241946"/>
                      <a:pt x="668365" y="1253347"/>
                      <a:pt x="667225" y="1265002"/>
                    </a:cubicBezTo>
                    <a:cubicBezTo>
                      <a:pt x="666338" y="1274123"/>
                      <a:pt x="668998" y="1283371"/>
                      <a:pt x="666718" y="1292365"/>
                    </a:cubicBezTo>
                    <a:cubicBezTo>
                      <a:pt x="665071" y="1298826"/>
                      <a:pt x="660637" y="1305287"/>
                      <a:pt x="658103" y="1311747"/>
                    </a:cubicBezTo>
                    <a:cubicBezTo>
                      <a:pt x="649489" y="1326316"/>
                      <a:pt x="637200" y="1342025"/>
                      <a:pt x="636440" y="1359507"/>
                    </a:cubicBezTo>
                    <a:cubicBezTo>
                      <a:pt x="636061" y="1369895"/>
                      <a:pt x="637581" y="1380536"/>
                      <a:pt x="633273" y="1390291"/>
                    </a:cubicBezTo>
                    <a:cubicBezTo>
                      <a:pt x="628967" y="1400045"/>
                      <a:pt x="619465" y="1401819"/>
                      <a:pt x="617312" y="1413347"/>
                    </a:cubicBezTo>
                    <a:cubicBezTo>
                      <a:pt x="612751" y="1438937"/>
                      <a:pt x="635174" y="1466427"/>
                      <a:pt x="619972" y="1491130"/>
                    </a:cubicBezTo>
                    <a:cubicBezTo>
                      <a:pt x="604263" y="1516593"/>
                      <a:pt x="574620" y="1517480"/>
                      <a:pt x="572593" y="1552444"/>
                    </a:cubicBezTo>
                    <a:cubicBezTo>
                      <a:pt x="571453" y="1572714"/>
                      <a:pt x="554984" y="1608691"/>
                      <a:pt x="586275" y="1613885"/>
                    </a:cubicBezTo>
                    <a:cubicBezTo>
                      <a:pt x="598943" y="1616039"/>
                      <a:pt x="607684" y="1599950"/>
                      <a:pt x="618959" y="1602737"/>
                    </a:cubicBezTo>
                    <a:cubicBezTo>
                      <a:pt x="624153" y="1604004"/>
                      <a:pt x="626686" y="1610845"/>
                      <a:pt x="632260" y="1612492"/>
                    </a:cubicBezTo>
                    <a:cubicBezTo>
                      <a:pt x="653163" y="1618446"/>
                      <a:pt x="663677" y="1595643"/>
                      <a:pt x="677612" y="1586902"/>
                    </a:cubicBezTo>
                    <a:cubicBezTo>
                      <a:pt x="685467" y="1581961"/>
                      <a:pt x="694968" y="1582595"/>
                      <a:pt x="703329" y="1579048"/>
                    </a:cubicBezTo>
                    <a:cubicBezTo>
                      <a:pt x="712830" y="1575121"/>
                      <a:pt x="716884" y="1566253"/>
                      <a:pt x="725118" y="1561059"/>
                    </a:cubicBezTo>
                    <a:cubicBezTo>
                      <a:pt x="747795" y="1547124"/>
                      <a:pt x="746021" y="1584368"/>
                      <a:pt x="749948" y="1596403"/>
                    </a:cubicBezTo>
                    <a:cubicBezTo>
                      <a:pt x="753496" y="1607298"/>
                      <a:pt x="762490" y="1611098"/>
                      <a:pt x="770978" y="1617686"/>
                    </a:cubicBezTo>
                    <a:cubicBezTo>
                      <a:pt x="781746" y="1626174"/>
                      <a:pt x="784659" y="1634661"/>
                      <a:pt x="785419" y="1647963"/>
                    </a:cubicBezTo>
                    <a:cubicBezTo>
                      <a:pt x="785926" y="1657591"/>
                      <a:pt x="784913" y="1662911"/>
                      <a:pt x="795428" y="1664812"/>
                    </a:cubicBezTo>
                    <a:cubicBezTo>
                      <a:pt x="803282" y="1666205"/>
                      <a:pt x="817343" y="1662911"/>
                      <a:pt x="822664" y="1656704"/>
                    </a:cubicBezTo>
                    <a:cubicBezTo>
                      <a:pt x="835459" y="1641882"/>
                      <a:pt x="808983" y="1627187"/>
                      <a:pt x="803409" y="1614519"/>
                    </a:cubicBezTo>
                    <a:cubicBezTo>
                      <a:pt x="795174" y="1595643"/>
                      <a:pt x="796567" y="1575501"/>
                      <a:pt x="814683" y="1562705"/>
                    </a:cubicBezTo>
                    <a:cubicBezTo>
                      <a:pt x="821397" y="1558018"/>
                      <a:pt x="832925" y="1554091"/>
                      <a:pt x="839640" y="1561185"/>
                    </a:cubicBezTo>
                    <a:cubicBezTo>
                      <a:pt x="847494" y="1569546"/>
                      <a:pt x="838753" y="1579174"/>
                      <a:pt x="834319" y="1586522"/>
                    </a:cubicBezTo>
                    <a:cubicBezTo>
                      <a:pt x="830012" y="1593743"/>
                      <a:pt x="825324" y="1602611"/>
                      <a:pt x="834826" y="1608184"/>
                    </a:cubicBezTo>
                    <a:cubicBezTo>
                      <a:pt x="844327" y="1613759"/>
                      <a:pt x="853828" y="1603877"/>
                      <a:pt x="861555" y="1599697"/>
                    </a:cubicBezTo>
                    <a:cubicBezTo>
                      <a:pt x="888919" y="1584875"/>
                      <a:pt x="867256" y="1619586"/>
                      <a:pt x="873590" y="1631621"/>
                    </a:cubicBezTo>
                    <a:cubicBezTo>
                      <a:pt x="879038" y="1641756"/>
                      <a:pt x="885372" y="1643149"/>
                      <a:pt x="877518" y="1654677"/>
                    </a:cubicBezTo>
                    <a:cubicBezTo>
                      <a:pt x="873464" y="1660504"/>
                      <a:pt x="856995" y="1673426"/>
                      <a:pt x="865863" y="1681281"/>
                    </a:cubicBezTo>
                    <a:cubicBezTo>
                      <a:pt x="874224" y="1688755"/>
                      <a:pt x="887398" y="1673173"/>
                      <a:pt x="892972" y="1668865"/>
                    </a:cubicBezTo>
                    <a:cubicBezTo>
                      <a:pt x="900954" y="1662658"/>
                      <a:pt x="915016" y="1661518"/>
                      <a:pt x="921476" y="1654677"/>
                    </a:cubicBezTo>
                    <a:cubicBezTo>
                      <a:pt x="928444" y="1647456"/>
                      <a:pt x="923630" y="1636055"/>
                      <a:pt x="925784" y="1627187"/>
                    </a:cubicBezTo>
                    <a:cubicBezTo>
                      <a:pt x="927810" y="1618826"/>
                      <a:pt x="934398" y="1612872"/>
                      <a:pt x="937945" y="1605144"/>
                    </a:cubicBezTo>
                    <a:cubicBezTo>
                      <a:pt x="940099" y="1600710"/>
                      <a:pt x="943393" y="1582342"/>
                      <a:pt x="950360" y="1582722"/>
                    </a:cubicBezTo>
                    <a:cubicBezTo>
                      <a:pt x="957581" y="1583102"/>
                      <a:pt x="957201" y="1600077"/>
                      <a:pt x="960115" y="1604637"/>
                    </a:cubicBezTo>
                    <a:cubicBezTo>
                      <a:pt x="973416" y="1625287"/>
                      <a:pt x="982031" y="1587282"/>
                      <a:pt x="978864" y="1576134"/>
                    </a:cubicBezTo>
                    <a:cubicBezTo>
                      <a:pt x="973290" y="1556371"/>
                      <a:pt x="960368" y="1545097"/>
                      <a:pt x="945926" y="1531795"/>
                    </a:cubicBezTo>
                    <a:cubicBezTo>
                      <a:pt x="934652" y="1521534"/>
                      <a:pt x="913242" y="1494804"/>
                      <a:pt x="937311" y="1486443"/>
                    </a:cubicBezTo>
                    <a:cubicBezTo>
                      <a:pt x="956567" y="1479729"/>
                      <a:pt x="973923" y="1491130"/>
                      <a:pt x="990899" y="1474788"/>
                    </a:cubicBezTo>
                    <a:cubicBezTo>
                      <a:pt x="1006101" y="1460093"/>
                      <a:pt x="1015728" y="1451098"/>
                      <a:pt x="1038405" y="1454519"/>
                    </a:cubicBezTo>
                    <a:cubicBezTo>
                      <a:pt x="1047652" y="1455912"/>
                      <a:pt x="1057407" y="1454139"/>
                      <a:pt x="1066401" y="1455659"/>
                    </a:cubicBezTo>
                    <a:cubicBezTo>
                      <a:pt x="1074636" y="1457052"/>
                      <a:pt x="1079069" y="1463513"/>
                      <a:pt x="1086923" y="1465920"/>
                    </a:cubicBezTo>
                    <a:cubicBezTo>
                      <a:pt x="1095412" y="1468580"/>
                      <a:pt x="1104786" y="1462500"/>
                      <a:pt x="1112260" y="1464907"/>
                    </a:cubicBezTo>
                    <a:cubicBezTo>
                      <a:pt x="1116441" y="1466300"/>
                      <a:pt x="1121001" y="1473394"/>
                      <a:pt x="1124168" y="1476308"/>
                    </a:cubicBezTo>
                    <a:cubicBezTo>
                      <a:pt x="1131136" y="1482769"/>
                      <a:pt x="1139877" y="1492017"/>
                      <a:pt x="1148492" y="1496324"/>
                    </a:cubicBezTo>
                    <a:cubicBezTo>
                      <a:pt x="1156852" y="1500378"/>
                      <a:pt x="1159133" y="1497084"/>
                      <a:pt x="1167747" y="1494804"/>
                    </a:cubicBezTo>
                    <a:cubicBezTo>
                      <a:pt x="1185356" y="1490117"/>
                      <a:pt x="1199165" y="1500884"/>
                      <a:pt x="1216140" y="1501518"/>
                    </a:cubicBezTo>
                    <a:cubicBezTo>
                      <a:pt x="1230328" y="1502025"/>
                      <a:pt x="1246671" y="1500758"/>
                      <a:pt x="1253892" y="1516973"/>
                    </a:cubicBezTo>
                    <a:cubicBezTo>
                      <a:pt x="1261746" y="1534329"/>
                      <a:pt x="1247937" y="1547630"/>
                      <a:pt x="1272767" y="1551811"/>
                    </a:cubicBezTo>
                    <a:cubicBezTo>
                      <a:pt x="1315206" y="1559032"/>
                      <a:pt x="1277581" y="1607678"/>
                      <a:pt x="1307985" y="1625413"/>
                    </a:cubicBezTo>
                    <a:cubicBezTo>
                      <a:pt x="1319259" y="1632001"/>
                      <a:pt x="1334841" y="1628074"/>
                      <a:pt x="1346749" y="1634788"/>
                    </a:cubicBezTo>
                    <a:cubicBezTo>
                      <a:pt x="1360685" y="1642642"/>
                      <a:pt x="1351563" y="1657971"/>
                      <a:pt x="1365752" y="1665065"/>
                    </a:cubicBezTo>
                    <a:cubicBezTo>
                      <a:pt x="1373353" y="1668865"/>
                      <a:pt x="1378040" y="1666078"/>
                      <a:pt x="1379054" y="1676720"/>
                    </a:cubicBezTo>
                    <a:cubicBezTo>
                      <a:pt x="1379560" y="1682927"/>
                      <a:pt x="1375633" y="1686601"/>
                      <a:pt x="1374240" y="1691922"/>
                    </a:cubicBezTo>
                    <a:cubicBezTo>
                      <a:pt x="1371579" y="1701296"/>
                      <a:pt x="1375000" y="1703323"/>
                      <a:pt x="1378800" y="1710671"/>
                    </a:cubicBezTo>
                    <a:cubicBezTo>
                      <a:pt x="1384881" y="1722452"/>
                      <a:pt x="1382347" y="1741835"/>
                      <a:pt x="1378927" y="1754123"/>
                    </a:cubicBezTo>
                    <a:cubicBezTo>
                      <a:pt x="1376013" y="1764384"/>
                      <a:pt x="1362332" y="1776292"/>
                      <a:pt x="1369426" y="1787947"/>
                    </a:cubicBezTo>
                    <a:cubicBezTo>
                      <a:pt x="1373986" y="1795548"/>
                      <a:pt x="1385641" y="1793521"/>
                      <a:pt x="1389695" y="1802009"/>
                    </a:cubicBezTo>
                    <a:cubicBezTo>
                      <a:pt x="1393876" y="1810750"/>
                      <a:pt x="1386908" y="1817464"/>
                      <a:pt x="1384121" y="1823925"/>
                    </a:cubicBezTo>
                    <a:cubicBezTo>
                      <a:pt x="1376900" y="1841281"/>
                      <a:pt x="1384121" y="1861296"/>
                      <a:pt x="1395015" y="1875485"/>
                    </a:cubicBezTo>
                    <a:cubicBezTo>
                      <a:pt x="1405277" y="1888913"/>
                      <a:pt x="1411611" y="1903862"/>
                      <a:pt x="1420605" y="1918303"/>
                    </a:cubicBezTo>
                    <a:cubicBezTo>
                      <a:pt x="1430360" y="1933759"/>
                      <a:pt x="1433020" y="1954281"/>
                      <a:pt x="1446322" y="1967329"/>
                    </a:cubicBezTo>
                    <a:cubicBezTo>
                      <a:pt x="1454810" y="1975691"/>
                      <a:pt x="1460764" y="1985825"/>
                      <a:pt x="1471278" y="1991906"/>
                    </a:cubicBezTo>
                    <a:cubicBezTo>
                      <a:pt x="1480526" y="1997227"/>
                      <a:pt x="1486607" y="1998113"/>
                      <a:pt x="1490281" y="2009008"/>
                    </a:cubicBezTo>
                    <a:cubicBezTo>
                      <a:pt x="1494081" y="2020283"/>
                      <a:pt x="1496869" y="2031938"/>
                      <a:pt x="1500923" y="2043339"/>
                    </a:cubicBezTo>
                    <a:cubicBezTo>
                      <a:pt x="1504469" y="2053347"/>
                      <a:pt x="1505229" y="2064368"/>
                      <a:pt x="1513210" y="2071969"/>
                    </a:cubicBezTo>
                    <a:cubicBezTo>
                      <a:pt x="1521951" y="2080204"/>
                      <a:pt x="1532593" y="2082737"/>
                      <a:pt x="1538167" y="2094392"/>
                    </a:cubicBezTo>
                    <a:cubicBezTo>
                      <a:pt x="1543234" y="2104780"/>
                      <a:pt x="1542728" y="2117068"/>
                      <a:pt x="1547921" y="2127456"/>
                    </a:cubicBezTo>
                    <a:cubicBezTo>
                      <a:pt x="1554382" y="2140378"/>
                      <a:pt x="1566164" y="2149752"/>
                      <a:pt x="1572878" y="2162547"/>
                    </a:cubicBezTo>
                    <a:cubicBezTo>
                      <a:pt x="1579339" y="2174835"/>
                      <a:pt x="1578705" y="2186617"/>
                      <a:pt x="1580985" y="2199792"/>
                    </a:cubicBezTo>
                    <a:cubicBezTo>
                      <a:pt x="1582632" y="2209800"/>
                      <a:pt x="1587827" y="2217654"/>
                      <a:pt x="1591627" y="2226902"/>
                    </a:cubicBezTo>
                    <a:cubicBezTo>
                      <a:pt x="1601508" y="2249958"/>
                      <a:pt x="1598088" y="2284796"/>
                      <a:pt x="1594921" y="2309246"/>
                    </a:cubicBezTo>
                    <a:cubicBezTo>
                      <a:pt x="1592767" y="2325714"/>
                      <a:pt x="1592007" y="2342057"/>
                      <a:pt x="1589220" y="2358652"/>
                    </a:cubicBezTo>
                    <a:cubicBezTo>
                      <a:pt x="1586053" y="2378034"/>
                      <a:pt x="1582126" y="2397670"/>
                      <a:pt x="1586940" y="2417052"/>
                    </a:cubicBezTo>
                    <a:cubicBezTo>
                      <a:pt x="1589726" y="2428454"/>
                      <a:pt x="1596314" y="2437575"/>
                      <a:pt x="1600368" y="2448343"/>
                    </a:cubicBezTo>
                    <a:cubicBezTo>
                      <a:pt x="1602521" y="2452904"/>
                      <a:pt x="1603915" y="2457844"/>
                      <a:pt x="1604928" y="24627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4" name="Полилиния: фигура 433">
                <a:extLst>
                  <a:ext uri="{FF2B5EF4-FFF2-40B4-BE49-F238E27FC236}">
                    <a16:creationId xmlns:a16="http://schemas.microsoft.com/office/drawing/2014/main" id="{618CB166-AC06-43A0-8909-69441A78C9E0}"/>
                  </a:ext>
                </a:extLst>
              </p:cNvPr>
              <p:cNvSpPr/>
              <p:nvPr/>
            </p:nvSpPr>
            <p:spPr>
              <a:xfrm>
                <a:off x="11105100" y="5063833"/>
                <a:ext cx="43473" cy="57883"/>
              </a:xfrm>
              <a:custGeom>
                <a:avLst/>
                <a:gdLst>
                  <a:gd name="connsiteX0" fmla="*/ 9852 w 43473"/>
                  <a:gd name="connsiteY0" fmla="*/ 57356 h 57883"/>
                  <a:gd name="connsiteX1" fmla="*/ 1491 w 43473"/>
                  <a:gd name="connsiteY1" fmla="*/ 37213 h 57883"/>
                  <a:gd name="connsiteX2" fmla="*/ 13019 w 43473"/>
                  <a:gd name="connsiteY2" fmla="*/ 11116 h 57883"/>
                  <a:gd name="connsiteX3" fmla="*/ 35569 w 43473"/>
                  <a:gd name="connsiteY3" fmla="*/ 1362 h 57883"/>
                  <a:gd name="connsiteX4" fmla="*/ 43423 w 43473"/>
                  <a:gd name="connsiteY4" fmla="*/ 18211 h 57883"/>
                  <a:gd name="connsiteX5" fmla="*/ 35569 w 43473"/>
                  <a:gd name="connsiteY5" fmla="*/ 36960 h 57883"/>
                  <a:gd name="connsiteX6" fmla="*/ 21760 w 43473"/>
                  <a:gd name="connsiteY6" fmla="*/ 44561 h 57883"/>
                  <a:gd name="connsiteX7" fmla="*/ 9852 w 43473"/>
                  <a:gd name="connsiteY7" fmla="*/ 57356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3" h="57883">
                    <a:moveTo>
                      <a:pt x="9852" y="57356"/>
                    </a:moveTo>
                    <a:cubicBezTo>
                      <a:pt x="-3450" y="61029"/>
                      <a:pt x="97" y="44561"/>
                      <a:pt x="1491" y="37213"/>
                    </a:cubicBezTo>
                    <a:cubicBezTo>
                      <a:pt x="3391" y="26952"/>
                      <a:pt x="6938" y="19604"/>
                      <a:pt x="13019" y="11116"/>
                    </a:cubicBezTo>
                    <a:cubicBezTo>
                      <a:pt x="18086" y="4149"/>
                      <a:pt x="26193" y="-3072"/>
                      <a:pt x="35569" y="1362"/>
                    </a:cubicBezTo>
                    <a:cubicBezTo>
                      <a:pt x="42155" y="4402"/>
                      <a:pt x="43802" y="11497"/>
                      <a:pt x="43423" y="18211"/>
                    </a:cubicBezTo>
                    <a:cubicBezTo>
                      <a:pt x="43042" y="24165"/>
                      <a:pt x="41143" y="33793"/>
                      <a:pt x="35569" y="36960"/>
                    </a:cubicBezTo>
                    <a:cubicBezTo>
                      <a:pt x="31134" y="39494"/>
                      <a:pt x="25307" y="40760"/>
                      <a:pt x="21760" y="44561"/>
                    </a:cubicBezTo>
                    <a:cubicBezTo>
                      <a:pt x="17706" y="48995"/>
                      <a:pt x="16439" y="55455"/>
                      <a:pt x="9852" y="57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5" name="Полилиния: фигура 434">
                <a:extLst>
                  <a:ext uri="{FF2B5EF4-FFF2-40B4-BE49-F238E27FC236}">
                    <a16:creationId xmlns:a16="http://schemas.microsoft.com/office/drawing/2014/main" id="{172BDC5A-CDE4-4978-A37A-8867E08F3E10}"/>
                  </a:ext>
                </a:extLst>
              </p:cNvPr>
              <p:cNvSpPr/>
              <p:nvPr/>
            </p:nvSpPr>
            <p:spPr>
              <a:xfrm>
                <a:off x="11164078" y="5015074"/>
                <a:ext cx="71899" cy="89715"/>
              </a:xfrm>
              <a:custGeom>
                <a:avLst/>
                <a:gdLst>
                  <a:gd name="connsiteX0" fmla="*/ 12821 w 71899"/>
                  <a:gd name="connsiteY0" fmla="*/ 71530 h 89715"/>
                  <a:gd name="connsiteX1" fmla="*/ 1673 w 71899"/>
                  <a:gd name="connsiteY1" fmla="*/ 74950 h 89715"/>
                  <a:gd name="connsiteX2" fmla="*/ 913 w 71899"/>
                  <a:gd name="connsiteY2" fmla="*/ 67729 h 89715"/>
                  <a:gd name="connsiteX3" fmla="*/ 6994 w 71899"/>
                  <a:gd name="connsiteY3" fmla="*/ 39353 h 89715"/>
                  <a:gd name="connsiteX4" fmla="*/ 12188 w 71899"/>
                  <a:gd name="connsiteY4" fmla="*/ 7936 h 89715"/>
                  <a:gd name="connsiteX5" fmla="*/ 33344 w 71899"/>
                  <a:gd name="connsiteY5" fmla="*/ 14016 h 89715"/>
                  <a:gd name="connsiteX6" fmla="*/ 51840 w 71899"/>
                  <a:gd name="connsiteY6" fmla="*/ 2488 h 89715"/>
                  <a:gd name="connsiteX7" fmla="*/ 71728 w 71899"/>
                  <a:gd name="connsiteY7" fmla="*/ 15916 h 89715"/>
                  <a:gd name="connsiteX8" fmla="*/ 58934 w 71899"/>
                  <a:gd name="connsiteY8" fmla="*/ 45307 h 89715"/>
                  <a:gd name="connsiteX9" fmla="*/ 68182 w 71899"/>
                  <a:gd name="connsiteY9" fmla="*/ 72417 h 89715"/>
                  <a:gd name="connsiteX10" fmla="*/ 64634 w 71899"/>
                  <a:gd name="connsiteY10" fmla="*/ 84958 h 89715"/>
                  <a:gd name="connsiteX11" fmla="*/ 57034 w 71899"/>
                  <a:gd name="connsiteY11" fmla="*/ 88379 h 89715"/>
                  <a:gd name="connsiteX12" fmla="*/ 49179 w 71899"/>
                  <a:gd name="connsiteY12" fmla="*/ 88632 h 89715"/>
                  <a:gd name="connsiteX13" fmla="*/ 44492 w 71899"/>
                  <a:gd name="connsiteY13" fmla="*/ 82678 h 89715"/>
                  <a:gd name="connsiteX14" fmla="*/ 32584 w 71899"/>
                  <a:gd name="connsiteY14" fmla="*/ 70896 h 89715"/>
                  <a:gd name="connsiteX15" fmla="*/ 12821 w 71899"/>
                  <a:gd name="connsiteY15" fmla="*/ 71530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9" h="89715">
                    <a:moveTo>
                      <a:pt x="12821" y="71530"/>
                    </a:moveTo>
                    <a:cubicBezTo>
                      <a:pt x="10288" y="72543"/>
                      <a:pt x="4587" y="76090"/>
                      <a:pt x="1673" y="74950"/>
                    </a:cubicBezTo>
                    <a:cubicBezTo>
                      <a:pt x="-1114" y="73810"/>
                      <a:pt x="280" y="70010"/>
                      <a:pt x="913" y="67729"/>
                    </a:cubicBezTo>
                    <a:cubicBezTo>
                      <a:pt x="3574" y="58102"/>
                      <a:pt x="6361" y="49234"/>
                      <a:pt x="6994" y="39353"/>
                    </a:cubicBezTo>
                    <a:cubicBezTo>
                      <a:pt x="7627" y="29091"/>
                      <a:pt x="7881" y="17437"/>
                      <a:pt x="12188" y="7936"/>
                    </a:cubicBezTo>
                    <a:cubicBezTo>
                      <a:pt x="17382" y="-3593"/>
                      <a:pt x="27516" y="9836"/>
                      <a:pt x="33344" y="14016"/>
                    </a:cubicBezTo>
                    <a:cubicBezTo>
                      <a:pt x="43605" y="21364"/>
                      <a:pt x="45252" y="7682"/>
                      <a:pt x="51840" y="2488"/>
                    </a:cubicBezTo>
                    <a:cubicBezTo>
                      <a:pt x="61087" y="-4860"/>
                      <a:pt x="73502" y="5402"/>
                      <a:pt x="71728" y="15916"/>
                    </a:cubicBezTo>
                    <a:cubicBezTo>
                      <a:pt x="69829" y="26811"/>
                      <a:pt x="57540" y="33398"/>
                      <a:pt x="58934" y="45307"/>
                    </a:cubicBezTo>
                    <a:cubicBezTo>
                      <a:pt x="60074" y="55061"/>
                      <a:pt x="67928" y="62156"/>
                      <a:pt x="68182" y="72417"/>
                    </a:cubicBezTo>
                    <a:cubicBezTo>
                      <a:pt x="68308" y="76470"/>
                      <a:pt x="67928" y="82044"/>
                      <a:pt x="64634" y="84958"/>
                    </a:cubicBezTo>
                    <a:cubicBezTo>
                      <a:pt x="62608" y="86858"/>
                      <a:pt x="59441" y="87112"/>
                      <a:pt x="57034" y="88379"/>
                    </a:cubicBezTo>
                    <a:cubicBezTo>
                      <a:pt x="54627" y="89772"/>
                      <a:pt x="51840" y="90406"/>
                      <a:pt x="49179" y="88632"/>
                    </a:cubicBezTo>
                    <a:cubicBezTo>
                      <a:pt x="47279" y="87365"/>
                      <a:pt x="45885" y="84578"/>
                      <a:pt x="44492" y="82678"/>
                    </a:cubicBezTo>
                    <a:cubicBezTo>
                      <a:pt x="41198" y="78244"/>
                      <a:pt x="37904" y="72923"/>
                      <a:pt x="32584" y="70896"/>
                    </a:cubicBezTo>
                    <a:cubicBezTo>
                      <a:pt x="25617" y="68363"/>
                      <a:pt x="19789" y="68870"/>
                      <a:pt x="12821" y="715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6" name="Полилиния: фигура 435">
                <a:extLst>
                  <a:ext uri="{FF2B5EF4-FFF2-40B4-BE49-F238E27FC236}">
                    <a16:creationId xmlns:a16="http://schemas.microsoft.com/office/drawing/2014/main" id="{E0D43E14-7240-4E8E-B9D2-0C999F771569}"/>
                  </a:ext>
                </a:extLst>
              </p:cNvPr>
              <p:cNvSpPr/>
              <p:nvPr/>
            </p:nvSpPr>
            <p:spPr>
              <a:xfrm>
                <a:off x="11220290" y="5124523"/>
                <a:ext cx="13965" cy="17343"/>
              </a:xfrm>
              <a:custGeom>
                <a:avLst/>
                <a:gdLst>
                  <a:gd name="connsiteX0" fmla="*/ 3356 w 13965"/>
                  <a:gd name="connsiteY0" fmla="*/ 16428 h 17343"/>
                  <a:gd name="connsiteX1" fmla="*/ 62 w 13965"/>
                  <a:gd name="connsiteY1" fmla="*/ 6419 h 17343"/>
                  <a:gd name="connsiteX2" fmla="*/ 12350 w 13965"/>
                  <a:gd name="connsiteY2" fmla="*/ 2239 h 17343"/>
                  <a:gd name="connsiteX3" fmla="*/ 13237 w 13965"/>
                  <a:gd name="connsiteY3" fmla="*/ 12374 h 17343"/>
                  <a:gd name="connsiteX4" fmla="*/ 3356 w 13965"/>
                  <a:gd name="connsiteY4" fmla="*/ 16428 h 17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 h="17343">
                    <a:moveTo>
                      <a:pt x="3356" y="16428"/>
                    </a:moveTo>
                    <a:cubicBezTo>
                      <a:pt x="1076" y="14781"/>
                      <a:pt x="-318" y="9207"/>
                      <a:pt x="62" y="6419"/>
                    </a:cubicBezTo>
                    <a:cubicBezTo>
                      <a:pt x="822" y="1099"/>
                      <a:pt x="8803" y="-2575"/>
                      <a:pt x="12350" y="2239"/>
                    </a:cubicBezTo>
                    <a:cubicBezTo>
                      <a:pt x="14251" y="4899"/>
                      <a:pt x="14377" y="9460"/>
                      <a:pt x="13237" y="12374"/>
                    </a:cubicBezTo>
                    <a:cubicBezTo>
                      <a:pt x="12097" y="15794"/>
                      <a:pt x="6650" y="18961"/>
                      <a:pt x="3356" y="164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7" name="Полилиния: фигура 436">
                <a:extLst>
                  <a:ext uri="{FF2B5EF4-FFF2-40B4-BE49-F238E27FC236}">
                    <a16:creationId xmlns:a16="http://schemas.microsoft.com/office/drawing/2014/main" id="{A1AC3E9D-D271-4068-B445-7C7646C5144E}"/>
                  </a:ext>
                </a:extLst>
              </p:cNvPr>
              <p:cNvSpPr/>
              <p:nvPr/>
            </p:nvSpPr>
            <p:spPr>
              <a:xfrm>
                <a:off x="11247402" y="5120274"/>
                <a:ext cx="18168" cy="10816"/>
              </a:xfrm>
              <a:custGeom>
                <a:avLst/>
                <a:gdLst>
                  <a:gd name="connsiteX0" fmla="*/ 440 w 18168"/>
                  <a:gd name="connsiteY0" fmla="*/ 7502 h 10816"/>
                  <a:gd name="connsiteX1" fmla="*/ 3101 w 18168"/>
                  <a:gd name="connsiteY1" fmla="*/ 661 h 10816"/>
                  <a:gd name="connsiteX2" fmla="*/ 17416 w 18168"/>
                  <a:gd name="connsiteY2" fmla="*/ 3701 h 10816"/>
                  <a:gd name="connsiteX3" fmla="*/ 440 w 18168"/>
                  <a:gd name="connsiteY3" fmla="*/ 7502 h 10816"/>
                </a:gdLst>
                <a:ahLst/>
                <a:cxnLst>
                  <a:cxn ang="0">
                    <a:pos x="connsiteX0" y="connsiteY0"/>
                  </a:cxn>
                  <a:cxn ang="0">
                    <a:pos x="connsiteX1" y="connsiteY1"/>
                  </a:cxn>
                  <a:cxn ang="0">
                    <a:pos x="connsiteX2" y="connsiteY2"/>
                  </a:cxn>
                  <a:cxn ang="0">
                    <a:pos x="connsiteX3" y="connsiteY3"/>
                  </a:cxn>
                </a:cxnLst>
                <a:rect l="l" t="t" r="r" b="b"/>
                <a:pathLst>
                  <a:path w="18168" h="10816">
                    <a:moveTo>
                      <a:pt x="440" y="7502"/>
                    </a:moveTo>
                    <a:cubicBezTo>
                      <a:pt x="-827" y="5095"/>
                      <a:pt x="820" y="1674"/>
                      <a:pt x="3101" y="661"/>
                    </a:cubicBezTo>
                    <a:cubicBezTo>
                      <a:pt x="6521" y="-859"/>
                      <a:pt x="15388" y="281"/>
                      <a:pt x="17416" y="3701"/>
                    </a:cubicBezTo>
                    <a:cubicBezTo>
                      <a:pt x="22103" y="11682"/>
                      <a:pt x="3480" y="12949"/>
                      <a:pt x="440" y="750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38" name="Полилиния: фигура 437">
                <a:extLst>
                  <a:ext uri="{FF2B5EF4-FFF2-40B4-BE49-F238E27FC236}">
                    <a16:creationId xmlns:a16="http://schemas.microsoft.com/office/drawing/2014/main" id="{2740B743-9A40-4F5A-B318-37C25D791F28}"/>
                  </a:ext>
                </a:extLst>
              </p:cNvPr>
              <p:cNvSpPr/>
              <p:nvPr/>
            </p:nvSpPr>
            <p:spPr>
              <a:xfrm>
                <a:off x="11235047" y="4984955"/>
                <a:ext cx="14956" cy="18636"/>
              </a:xfrm>
              <a:custGeom>
                <a:avLst/>
                <a:gdLst>
                  <a:gd name="connsiteX0" fmla="*/ 5321 w 14956"/>
                  <a:gd name="connsiteY0" fmla="*/ 17785 h 18636"/>
                  <a:gd name="connsiteX1" fmla="*/ 0 w 14956"/>
                  <a:gd name="connsiteY1" fmla="*/ 9551 h 18636"/>
                  <a:gd name="connsiteX2" fmla="*/ 10261 w 14956"/>
                  <a:gd name="connsiteY2" fmla="*/ 430 h 18636"/>
                  <a:gd name="connsiteX3" fmla="*/ 5321 w 14956"/>
                  <a:gd name="connsiteY3" fmla="*/ 17785 h 18636"/>
                </a:gdLst>
                <a:ahLst/>
                <a:cxnLst>
                  <a:cxn ang="0">
                    <a:pos x="connsiteX0" y="connsiteY0"/>
                  </a:cxn>
                  <a:cxn ang="0">
                    <a:pos x="connsiteX1" y="connsiteY1"/>
                  </a:cxn>
                  <a:cxn ang="0">
                    <a:pos x="connsiteX2" y="connsiteY2"/>
                  </a:cxn>
                  <a:cxn ang="0">
                    <a:pos x="connsiteX3" y="connsiteY3"/>
                  </a:cxn>
                </a:cxnLst>
                <a:rect l="l" t="t" r="r" b="b"/>
                <a:pathLst>
                  <a:path w="14956" h="18636">
                    <a:moveTo>
                      <a:pt x="5321" y="17785"/>
                    </a:moveTo>
                    <a:cubicBezTo>
                      <a:pt x="2407" y="16265"/>
                      <a:pt x="0" y="12844"/>
                      <a:pt x="0" y="9551"/>
                    </a:cubicBezTo>
                    <a:cubicBezTo>
                      <a:pt x="127" y="5497"/>
                      <a:pt x="5828" y="-1851"/>
                      <a:pt x="10261" y="430"/>
                    </a:cubicBezTo>
                    <a:cubicBezTo>
                      <a:pt x="18876" y="4737"/>
                      <a:pt x="14696" y="22726"/>
                      <a:pt x="5321" y="1778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39" name="Рисунок 388">
              <a:extLst>
                <a:ext uri="{FF2B5EF4-FFF2-40B4-BE49-F238E27FC236}">
                  <a16:creationId xmlns:a16="http://schemas.microsoft.com/office/drawing/2014/main" id="{1DA397FD-DC6E-439E-BB40-D0F80476817D}"/>
                </a:ext>
              </a:extLst>
            </p:cNvPr>
            <p:cNvGrpSpPr/>
            <p:nvPr/>
          </p:nvGrpSpPr>
          <p:grpSpPr>
            <a:xfrm>
              <a:off x="11633677" y="4345737"/>
              <a:ext cx="1654444" cy="1793566"/>
              <a:chOff x="11633677" y="4345737"/>
              <a:chExt cx="1654444" cy="1793566"/>
            </a:xfrm>
            <a:solidFill>
              <a:srgbClr val="E3E8EC"/>
            </a:solidFill>
          </p:grpSpPr>
          <p:sp>
            <p:nvSpPr>
              <p:cNvPr id="440" name="Полилиния: фигура 439">
                <a:extLst>
                  <a:ext uri="{FF2B5EF4-FFF2-40B4-BE49-F238E27FC236}">
                    <a16:creationId xmlns:a16="http://schemas.microsoft.com/office/drawing/2014/main" id="{4547FCFE-24C9-4243-AAC0-636A19538FD8}"/>
                  </a:ext>
                </a:extLst>
              </p:cNvPr>
              <p:cNvSpPr/>
              <p:nvPr/>
            </p:nvSpPr>
            <p:spPr>
              <a:xfrm>
                <a:off x="11633677" y="4856196"/>
                <a:ext cx="936287" cy="1240081"/>
              </a:xfrm>
              <a:custGeom>
                <a:avLst/>
                <a:gdLst>
                  <a:gd name="connsiteX0" fmla="*/ 442669 w 936287"/>
                  <a:gd name="connsiteY0" fmla="*/ 692799 h 1240081"/>
                  <a:gd name="connsiteX1" fmla="*/ 421006 w 936287"/>
                  <a:gd name="connsiteY1" fmla="*/ 662142 h 1240081"/>
                  <a:gd name="connsiteX2" fmla="*/ 396050 w 936287"/>
                  <a:gd name="connsiteY2" fmla="*/ 633132 h 1240081"/>
                  <a:gd name="connsiteX3" fmla="*/ 371726 w 936287"/>
                  <a:gd name="connsiteY3" fmla="*/ 598294 h 1240081"/>
                  <a:gd name="connsiteX4" fmla="*/ 352724 w 936287"/>
                  <a:gd name="connsiteY4" fmla="*/ 569410 h 1240081"/>
                  <a:gd name="connsiteX5" fmla="*/ 337523 w 936287"/>
                  <a:gd name="connsiteY5" fmla="*/ 540146 h 1240081"/>
                  <a:gd name="connsiteX6" fmla="*/ 322574 w 936287"/>
                  <a:gd name="connsiteY6" fmla="*/ 513797 h 1240081"/>
                  <a:gd name="connsiteX7" fmla="*/ 310286 w 936287"/>
                  <a:gd name="connsiteY7" fmla="*/ 485040 h 1240081"/>
                  <a:gd name="connsiteX8" fmla="*/ 244791 w 936287"/>
                  <a:gd name="connsiteY8" fmla="*/ 466544 h 1240081"/>
                  <a:gd name="connsiteX9" fmla="*/ 219328 w 936287"/>
                  <a:gd name="connsiteY9" fmla="*/ 454256 h 1240081"/>
                  <a:gd name="connsiteX10" fmla="*/ 216921 w 936287"/>
                  <a:gd name="connsiteY10" fmla="*/ 426006 h 1240081"/>
                  <a:gd name="connsiteX11" fmla="*/ 188037 w 936287"/>
                  <a:gd name="connsiteY11" fmla="*/ 420432 h 1240081"/>
                  <a:gd name="connsiteX12" fmla="*/ 174862 w 936287"/>
                  <a:gd name="connsiteY12" fmla="*/ 394462 h 1240081"/>
                  <a:gd name="connsiteX13" fmla="*/ 161054 w 936287"/>
                  <a:gd name="connsiteY13" fmla="*/ 374446 h 1240081"/>
                  <a:gd name="connsiteX14" fmla="*/ 148259 w 936287"/>
                  <a:gd name="connsiteY14" fmla="*/ 350376 h 1240081"/>
                  <a:gd name="connsiteX15" fmla="*/ 122288 w 936287"/>
                  <a:gd name="connsiteY15" fmla="*/ 287288 h 1240081"/>
                  <a:gd name="connsiteX16" fmla="*/ 94038 w 936287"/>
                  <a:gd name="connsiteY16" fmla="*/ 240289 h 1240081"/>
                  <a:gd name="connsiteX17" fmla="*/ 71869 w 936287"/>
                  <a:gd name="connsiteY17" fmla="*/ 225594 h 1240081"/>
                  <a:gd name="connsiteX18" fmla="*/ 59074 w 936287"/>
                  <a:gd name="connsiteY18" fmla="*/ 203044 h 1240081"/>
                  <a:gd name="connsiteX19" fmla="*/ 48053 w 936287"/>
                  <a:gd name="connsiteY19" fmla="*/ 182649 h 1240081"/>
                  <a:gd name="connsiteX20" fmla="*/ 59454 w 936287"/>
                  <a:gd name="connsiteY20" fmla="*/ 152118 h 1240081"/>
                  <a:gd name="connsiteX21" fmla="*/ 71363 w 936287"/>
                  <a:gd name="connsiteY21" fmla="*/ 160733 h 1240081"/>
                  <a:gd name="connsiteX22" fmla="*/ 96826 w 936287"/>
                  <a:gd name="connsiteY22" fmla="*/ 149711 h 1240081"/>
                  <a:gd name="connsiteX23" fmla="*/ 86817 w 936287"/>
                  <a:gd name="connsiteY23" fmla="*/ 106006 h 1240081"/>
                  <a:gd name="connsiteX24" fmla="*/ 71742 w 936287"/>
                  <a:gd name="connsiteY24" fmla="*/ 74208 h 1240081"/>
                  <a:gd name="connsiteX25" fmla="*/ 38172 w 936287"/>
                  <a:gd name="connsiteY25" fmla="*/ 57233 h 1240081"/>
                  <a:gd name="connsiteX26" fmla="*/ 1560 w 936287"/>
                  <a:gd name="connsiteY26" fmla="*/ 24422 h 1240081"/>
                  <a:gd name="connsiteX27" fmla="*/ 27784 w 936287"/>
                  <a:gd name="connsiteY27" fmla="*/ 26702 h 1240081"/>
                  <a:gd name="connsiteX28" fmla="*/ 31457 w 936287"/>
                  <a:gd name="connsiteY28" fmla="*/ 3773 h 1240081"/>
                  <a:gd name="connsiteX29" fmla="*/ 74403 w 936287"/>
                  <a:gd name="connsiteY29" fmla="*/ 13908 h 1240081"/>
                  <a:gd name="connsiteX30" fmla="*/ 91885 w 936287"/>
                  <a:gd name="connsiteY30" fmla="*/ 51025 h 1240081"/>
                  <a:gd name="connsiteX31" fmla="*/ 129636 w 936287"/>
                  <a:gd name="connsiteY31" fmla="*/ 84850 h 1240081"/>
                  <a:gd name="connsiteX32" fmla="*/ 170555 w 936287"/>
                  <a:gd name="connsiteY32" fmla="*/ 105372 h 1240081"/>
                  <a:gd name="connsiteX33" fmla="*/ 186137 w 936287"/>
                  <a:gd name="connsiteY33" fmla="*/ 123615 h 1240081"/>
                  <a:gd name="connsiteX34" fmla="*/ 173215 w 936287"/>
                  <a:gd name="connsiteY34" fmla="*/ 150725 h 1240081"/>
                  <a:gd name="connsiteX35" fmla="*/ 211473 w 936287"/>
                  <a:gd name="connsiteY35" fmla="*/ 168587 h 1240081"/>
                  <a:gd name="connsiteX36" fmla="*/ 270380 w 936287"/>
                  <a:gd name="connsiteY36" fmla="*/ 194430 h 1240081"/>
                  <a:gd name="connsiteX37" fmla="*/ 278235 w 936287"/>
                  <a:gd name="connsiteY37" fmla="*/ 213813 h 1240081"/>
                  <a:gd name="connsiteX38" fmla="*/ 285203 w 936287"/>
                  <a:gd name="connsiteY38" fmla="*/ 235348 h 1240081"/>
                  <a:gd name="connsiteX39" fmla="*/ 262146 w 936287"/>
                  <a:gd name="connsiteY39" fmla="*/ 234208 h 1240081"/>
                  <a:gd name="connsiteX40" fmla="*/ 259739 w 936287"/>
                  <a:gd name="connsiteY40" fmla="*/ 256758 h 1240081"/>
                  <a:gd name="connsiteX41" fmla="*/ 282415 w 936287"/>
                  <a:gd name="connsiteY41" fmla="*/ 271327 h 1240081"/>
                  <a:gd name="connsiteX42" fmla="*/ 296097 w 936287"/>
                  <a:gd name="connsiteY42" fmla="*/ 292862 h 1240081"/>
                  <a:gd name="connsiteX43" fmla="*/ 305852 w 936287"/>
                  <a:gd name="connsiteY43" fmla="*/ 316299 h 1240081"/>
                  <a:gd name="connsiteX44" fmla="*/ 334482 w 936287"/>
                  <a:gd name="connsiteY44" fmla="*/ 326560 h 1240081"/>
                  <a:gd name="connsiteX45" fmla="*/ 383382 w 936287"/>
                  <a:gd name="connsiteY45" fmla="*/ 352783 h 1240081"/>
                  <a:gd name="connsiteX46" fmla="*/ 399217 w 936287"/>
                  <a:gd name="connsiteY46" fmla="*/ 393955 h 1240081"/>
                  <a:gd name="connsiteX47" fmla="*/ 426834 w 936287"/>
                  <a:gd name="connsiteY47" fmla="*/ 382427 h 1240081"/>
                  <a:gd name="connsiteX48" fmla="*/ 452930 w 936287"/>
                  <a:gd name="connsiteY48" fmla="*/ 411311 h 1240081"/>
                  <a:gd name="connsiteX49" fmla="*/ 482321 w 936287"/>
                  <a:gd name="connsiteY49" fmla="*/ 438547 h 1240081"/>
                  <a:gd name="connsiteX50" fmla="*/ 511077 w 936287"/>
                  <a:gd name="connsiteY50" fmla="*/ 468698 h 1240081"/>
                  <a:gd name="connsiteX51" fmla="*/ 549082 w 936287"/>
                  <a:gd name="connsiteY51" fmla="*/ 499861 h 1240081"/>
                  <a:gd name="connsiteX52" fmla="*/ 571378 w 936287"/>
                  <a:gd name="connsiteY52" fmla="*/ 510883 h 1240081"/>
                  <a:gd name="connsiteX53" fmla="*/ 588100 w 936287"/>
                  <a:gd name="connsiteY53" fmla="*/ 525832 h 1240081"/>
                  <a:gd name="connsiteX54" fmla="*/ 615717 w 936287"/>
                  <a:gd name="connsiteY54" fmla="*/ 551548 h 1240081"/>
                  <a:gd name="connsiteX55" fmla="*/ 630919 w 936287"/>
                  <a:gd name="connsiteY55" fmla="*/ 582585 h 1240081"/>
                  <a:gd name="connsiteX56" fmla="*/ 649288 w 936287"/>
                  <a:gd name="connsiteY56" fmla="*/ 585879 h 1240081"/>
                  <a:gd name="connsiteX57" fmla="*/ 670571 w 936287"/>
                  <a:gd name="connsiteY57" fmla="*/ 593100 h 1240081"/>
                  <a:gd name="connsiteX58" fmla="*/ 706042 w 936287"/>
                  <a:gd name="connsiteY58" fmla="*/ 618817 h 1240081"/>
                  <a:gd name="connsiteX59" fmla="*/ 749620 w 936287"/>
                  <a:gd name="connsiteY59" fmla="*/ 623884 h 1240081"/>
                  <a:gd name="connsiteX60" fmla="*/ 772677 w 936287"/>
                  <a:gd name="connsiteY60" fmla="*/ 657581 h 1240081"/>
                  <a:gd name="connsiteX61" fmla="*/ 723270 w 936287"/>
                  <a:gd name="connsiteY61" fmla="*/ 657835 h 1240081"/>
                  <a:gd name="connsiteX62" fmla="*/ 674878 w 936287"/>
                  <a:gd name="connsiteY62" fmla="*/ 651374 h 1240081"/>
                  <a:gd name="connsiteX63" fmla="*/ 603556 w 936287"/>
                  <a:gd name="connsiteY63" fmla="*/ 686465 h 1240081"/>
                  <a:gd name="connsiteX64" fmla="*/ 611663 w 936287"/>
                  <a:gd name="connsiteY64" fmla="*/ 736631 h 1240081"/>
                  <a:gd name="connsiteX65" fmla="*/ 629779 w 936287"/>
                  <a:gd name="connsiteY65" fmla="*/ 799846 h 1240081"/>
                  <a:gd name="connsiteX66" fmla="*/ 640927 w 936287"/>
                  <a:gd name="connsiteY66" fmla="*/ 837090 h 1240081"/>
                  <a:gd name="connsiteX67" fmla="*/ 661450 w 936287"/>
                  <a:gd name="connsiteY67" fmla="*/ 873575 h 1240081"/>
                  <a:gd name="connsiteX68" fmla="*/ 699834 w 936287"/>
                  <a:gd name="connsiteY68" fmla="*/ 950851 h 1240081"/>
                  <a:gd name="connsiteX69" fmla="*/ 785725 w 936287"/>
                  <a:gd name="connsiteY69" fmla="*/ 993290 h 1240081"/>
                  <a:gd name="connsiteX70" fmla="*/ 862241 w 936287"/>
                  <a:gd name="connsiteY70" fmla="*/ 1043076 h 1240081"/>
                  <a:gd name="connsiteX71" fmla="*/ 863635 w 936287"/>
                  <a:gd name="connsiteY71" fmla="*/ 1000004 h 1240081"/>
                  <a:gd name="connsiteX72" fmla="*/ 898093 w 936287"/>
                  <a:gd name="connsiteY72" fmla="*/ 1028254 h 1240081"/>
                  <a:gd name="connsiteX73" fmla="*/ 925202 w 936287"/>
                  <a:gd name="connsiteY73" fmla="*/ 1063472 h 1240081"/>
                  <a:gd name="connsiteX74" fmla="*/ 936097 w 936287"/>
                  <a:gd name="connsiteY74" fmla="*/ 1103630 h 1240081"/>
                  <a:gd name="connsiteX75" fmla="*/ 913421 w 936287"/>
                  <a:gd name="connsiteY75" fmla="*/ 1096156 h 1240081"/>
                  <a:gd name="connsiteX76" fmla="*/ 874403 w 936287"/>
                  <a:gd name="connsiteY76" fmla="*/ 1078294 h 1240081"/>
                  <a:gd name="connsiteX77" fmla="*/ 834371 w 936287"/>
                  <a:gd name="connsiteY77" fmla="*/ 1095649 h 1240081"/>
                  <a:gd name="connsiteX78" fmla="*/ 806248 w 936287"/>
                  <a:gd name="connsiteY78" fmla="*/ 1109964 h 1240081"/>
                  <a:gd name="connsiteX79" fmla="*/ 814102 w 936287"/>
                  <a:gd name="connsiteY79" fmla="*/ 1170392 h 1240081"/>
                  <a:gd name="connsiteX80" fmla="*/ 835638 w 936287"/>
                  <a:gd name="connsiteY80" fmla="*/ 1228286 h 1240081"/>
                  <a:gd name="connsiteX81" fmla="*/ 803587 w 936287"/>
                  <a:gd name="connsiteY81" fmla="*/ 1226639 h 1240081"/>
                  <a:gd name="connsiteX82" fmla="*/ 749620 w 936287"/>
                  <a:gd name="connsiteY82" fmla="*/ 1185974 h 1240081"/>
                  <a:gd name="connsiteX83" fmla="*/ 735686 w 936287"/>
                  <a:gd name="connsiteY83" fmla="*/ 1158230 h 1240081"/>
                  <a:gd name="connsiteX84" fmla="*/ 724664 w 936287"/>
                  <a:gd name="connsiteY84" fmla="*/ 1102743 h 1240081"/>
                  <a:gd name="connsiteX85" fmla="*/ 711489 w 936287"/>
                  <a:gd name="connsiteY85" fmla="*/ 1066639 h 1240081"/>
                  <a:gd name="connsiteX86" fmla="*/ 671584 w 936287"/>
                  <a:gd name="connsiteY86" fmla="*/ 1019640 h 1240081"/>
                  <a:gd name="connsiteX87" fmla="*/ 643334 w 936287"/>
                  <a:gd name="connsiteY87" fmla="*/ 974668 h 1240081"/>
                  <a:gd name="connsiteX88" fmla="*/ 633072 w 936287"/>
                  <a:gd name="connsiteY88" fmla="*/ 947051 h 1240081"/>
                  <a:gd name="connsiteX89" fmla="*/ 615084 w 936287"/>
                  <a:gd name="connsiteY89" fmla="*/ 919687 h 1240081"/>
                  <a:gd name="connsiteX90" fmla="*/ 575305 w 936287"/>
                  <a:gd name="connsiteY90" fmla="*/ 876869 h 1240081"/>
                  <a:gd name="connsiteX91" fmla="*/ 537554 w 936287"/>
                  <a:gd name="connsiteY91" fmla="*/ 848745 h 1240081"/>
                  <a:gd name="connsiteX92" fmla="*/ 510571 w 936287"/>
                  <a:gd name="connsiteY92" fmla="*/ 813781 h 1240081"/>
                  <a:gd name="connsiteX93" fmla="*/ 493342 w 936287"/>
                  <a:gd name="connsiteY93" fmla="*/ 770962 h 1240081"/>
                  <a:gd name="connsiteX94" fmla="*/ 468259 w 936287"/>
                  <a:gd name="connsiteY94" fmla="*/ 725483 h 1240081"/>
                  <a:gd name="connsiteX95" fmla="*/ 442669 w 936287"/>
                  <a:gd name="connsiteY95" fmla="*/ 692799 h 12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36287" h="1240081">
                    <a:moveTo>
                      <a:pt x="442669" y="692799"/>
                    </a:moveTo>
                    <a:cubicBezTo>
                      <a:pt x="436588" y="680764"/>
                      <a:pt x="430254" y="671643"/>
                      <a:pt x="421006" y="662142"/>
                    </a:cubicBezTo>
                    <a:cubicBezTo>
                      <a:pt x="412265" y="653021"/>
                      <a:pt x="402764" y="644026"/>
                      <a:pt x="396050" y="633132"/>
                    </a:cubicBezTo>
                    <a:cubicBezTo>
                      <a:pt x="388448" y="620970"/>
                      <a:pt x="379834" y="610075"/>
                      <a:pt x="371726" y="598294"/>
                    </a:cubicBezTo>
                    <a:cubicBezTo>
                      <a:pt x="365266" y="588919"/>
                      <a:pt x="358298" y="579418"/>
                      <a:pt x="352724" y="569410"/>
                    </a:cubicBezTo>
                    <a:cubicBezTo>
                      <a:pt x="347277" y="559402"/>
                      <a:pt x="344490" y="549268"/>
                      <a:pt x="337523" y="540146"/>
                    </a:cubicBezTo>
                    <a:cubicBezTo>
                      <a:pt x="331062" y="531659"/>
                      <a:pt x="324980" y="524438"/>
                      <a:pt x="322574" y="513797"/>
                    </a:cubicBezTo>
                    <a:cubicBezTo>
                      <a:pt x="320167" y="503029"/>
                      <a:pt x="316620" y="494287"/>
                      <a:pt x="310286" y="485040"/>
                    </a:cubicBezTo>
                    <a:cubicBezTo>
                      <a:pt x="295717" y="464011"/>
                      <a:pt x="267340" y="471485"/>
                      <a:pt x="244791" y="466544"/>
                    </a:cubicBezTo>
                    <a:cubicBezTo>
                      <a:pt x="236429" y="464644"/>
                      <a:pt x="224775" y="461984"/>
                      <a:pt x="219328" y="454256"/>
                    </a:cubicBezTo>
                    <a:cubicBezTo>
                      <a:pt x="214640" y="447668"/>
                      <a:pt x="216667" y="433987"/>
                      <a:pt x="216921" y="426006"/>
                    </a:cubicBezTo>
                    <a:cubicBezTo>
                      <a:pt x="205012" y="424992"/>
                      <a:pt x="197412" y="429046"/>
                      <a:pt x="188037" y="420432"/>
                    </a:cubicBezTo>
                    <a:cubicBezTo>
                      <a:pt x="179930" y="412831"/>
                      <a:pt x="177523" y="404976"/>
                      <a:pt x="174862" y="394462"/>
                    </a:cubicBezTo>
                    <a:cubicBezTo>
                      <a:pt x="172201" y="384074"/>
                      <a:pt x="168655" y="381540"/>
                      <a:pt x="161054" y="374446"/>
                    </a:cubicBezTo>
                    <a:cubicBezTo>
                      <a:pt x="153833" y="367605"/>
                      <a:pt x="150919" y="359877"/>
                      <a:pt x="148259" y="350376"/>
                    </a:cubicBezTo>
                    <a:cubicBezTo>
                      <a:pt x="142178" y="328460"/>
                      <a:pt x="128496" y="309204"/>
                      <a:pt x="122288" y="287288"/>
                    </a:cubicBezTo>
                    <a:cubicBezTo>
                      <a:pt x="116968" y="268413"/>
                      <a:pt x="113674" y="249537"/>
                      <a:pt x="94038" y="240289"/>
                    </a:cubicBezTo>
                    <a:cubicBezTo>
                      <a:pt x="85931" y="236489"/>
                      <a:pt x="77570" y="232815"/>
                      <a:pt x="71869" y="225594"/>
                    </a:cubicBezTo>
                    <a:cubicBezTo>
                      <a:pt x="66422" y="218753"/>
                      <a:pt x="64142" y="210012"/>
                      <a:pt x="59074" y="203044"/>
                    </a:cubicBezTo>
                    <a:cubicBezTo>
                      <a:pt x="54260" y="196330"/>
                      <a:pt x="49953" y="191390"/>
                      <a:pt x="48053" y="182649"/>
                    </a:cubicBezTo>
                    <a:cubicBezTo>
                      <a:pt x="46026" y="173528"/>
                      <a:pt x="48433" y="155412"/>
                      <a:pt x="59454" y="152118"/>
                    </a:cubicBezTo>
                    <a:cubicBezTo>
                      <a:pt x="65662" y="150218"/>
                      <a:pt x="67942" y="156805"/>
                      <a:pt x="71363" y="160733"/>
                    </a:cubicBezTo>
                    <a:cubicBezTo>
                      <a:pt x="80991" y="171881"/>
                      <a:pt x="94925" y="160733"/>
                      <a:pt x="96826" y="149711"/>
                    </a:cubicBezTo>
                    <a:cubicBezTo>
                      <a:pt x="99359" y="134636"/>
                      <a:pt x="90871" y="119941"/>
                      <a:pt x="86817" y="106006"/>
                    </a:cubicBezTo>
                    <a:cubicBezTo>
                      <a:pt x="83524" y="94731"/>
                      <a:pt x="80991" y="82316"/>
                      <a:pt x="71742" y="74208"/>
                    </a:cubicBezTo>
                    <a:cubicBezTo>
                      <a:pt x="62368" y="66101"/>
                      <a:pt x="49193" y="62554"/>
                      <a:pt x="38172" y="57233"/>
                    </a:cubicBezTo>
                    <a:cubicBezTo>
                      <a:pt x="31711" y="54193"/>
                      <a:pt x="-8321" y="35443"/>
                      <a:pt x="1560" y="24422"/>
                    </a:cubicBezTo>
                    <a:cubicBezTo>
                      <a:pt x="7641" y="17708"/>
                      <a:pt x="20436" y="28096"/>
                      <a:pt x="27784" y="26702"/>
                    </a:cubicBezTo>
                    <a:cubicBezTo>
                      <a:pt x="28797" y="19102"/>
                      <a:pt x="24743" y="8967"/>
                      <a:pt x="31457" y="3773"/>
                    </a:cubicBezTo>
                    <a:cubicBezTo>
                      <a:pt x="42479" y="-4968"/>
                      <a:pt x="67435" y="2759"/>
                      <a:pt x="74403" y="13908"/>
                    </a:cubicBezTo>
                    <a:cubicBezTo>
                      <a:pt x="82257" y="26702"/>
                      <a:pt x="80610" y="40511"/>
                      <a:pt x="91885" y="51025"/>
                    </a:cubicBezTo>
                    <a:cubicBezTo>
                      <a:pt x="104426" y="62807"/>
                      <a:pt x="114815" y="75729"/>
                      <a:pt x="129636" y="84850"/>
                    </a:cubicBezTo>
                    <a:cubicBezTo>
                      <a:pt x="142685" y="92957"/>
                      <a:pt x="156620" y="99038"/>
                      <a:pt x="170555" y="105372"/>
                    </a:cubicBezTo>
                    <a:cubicBezTo>
                      <a:pt x="179043" y="109426"/>
                      <a:pt x="191078" y="112847"/>
                      <a:pt x="186137" y="123615"/>
                    </a:cubicBezTo>
                    <a:cubicBezTo>
                      <a:pt x="181956" y="132736"/>
                      <a:pt x="169034" y="138816"/>
                      <a:pt x="173215" y="150725"/>
                    </a:cubicBezTo>
                    <a:cubicBezTo>
                      <a:pt x="177902" y="164026"/>
                      <a:pt x="199819" y="166687"/>
                      <a:pt x="211473" y="168587"/>
                    </a:cubicBezTo>
                    <a:cubicBezTo>
                      <a:pt x="232123" y="172007"/>
                      <a:pt x="259233" y="172641"/>
                      <a:pt x="270380" y="194430"/>
                    </a:cubicBezTo>
                    <a:cubicBezTo>
                      <a:pt x="273547" y="200637"/>
                      <a:pt x="275068" y="207605"/>
                      <a:pt x="278235" y="213813"/>
                    </a:cubicBezTo>
                    <a:cubicBezTo>
                      <a:pt x="281655" y="220527"/>
                      <a:pt x="286469" y="227368"/>
                      <a:pt x="285203" y="235348"/>
                    </a:cubicBezTo>
                    <a:cubicBezTo>
                      <a:pt x="278742" y="235475"/>
                      <a:pt x="267973" y="231168"/>
                      <a:pt x="262146" y="234208"/>
                    </a:cubicBezTo>
                    <a:cubicBezTo>
                      <a:pt x="254672" y="238135"/>
                      <a:pt x="255939" y="250804"/>
                      <a:pt x="259739" y="256758"/>
                    </a:cubicBezTo>
                    <a:cubicBezTo>
                      <a:pt x="264806" y="264866"/>
                      <a:pt x="274815" y="266513"/>
                      <a:pt x="282415" y="271327"/>
                    </a:cubicBezTo>
                    <a:cubicBezTo>
                      <a:pt x="290650" y="276520"/>
                      <a:pt x="294323" y="283488"/>
                      <a:pt x="296097" y="292862"/>
                    </a:cubicBezTo>
                    <a:cubicBezTo>
                      <a:pt x="297998" y="301983"/>
                      <a:pt x="297364" y="310471"/>
                      <a:pt x="305852" y="316299"/>
                    </a:cubicBezTo>
                    <a:cubicBezTo>
                      <a:pt x="313959" y="321746"/>
                      <a:pt x="325361" y="323013"/>
                      <a:pt x="334482" y="326560"/>
                    </a:cubicBezTo>
                    <a:cubicBezTo>
                      <a:pt x="348671" y="332134"/>
                      <a:pt x="374514" y="339735"/>
                      <a:pt x="383382" y="352783"/>
                    </a:cubicBezTo>
                    <a:cubicBezTo>
                      <a:pt x="390855" y="363551"/>
                      <a:pt x="389082" y="386101"/>
                      <a:pt x="399217" y="393955"/>
                    </a:cubicBezTo>
                    <a:cubicBezTo>
                      <a:pt x="409858" y="402189"/>
                      <a:pt x="417206" y="384580"/>
                      <a:pt x="426834" y="382427"/>
                    </a:cubicBezTo>
                    <a:cubicBezTo>
                      <a:pt x="441402" y="379260"/>
                      <a:pt x="447229" y="401429"/>
                      <a:pt x="452930" y="411311"/>
                    </a:cubicBezTo>
                    <a:cubicBezTo>
                      <a:pt x="460658" y="424612"/>
                      <a:pt x="471046" y="428793"/>
                      <a:pt x="482321" y="438547"/>
                    </a:cubicBezTo>
                    <a:cubicBezTo>
                      <a:pt x="492961" y="447795"/>
                      <a:pt x="500816" y="459197"/>
                      <a:pt x="511077" y="468698"/>
                    </a:cubicBezTo>
                    <a:cubicBezTo>
                      <a:pt x="522225" y="479212"/>
                      <a:pt x="535780" y="492387"/>
                      <a:pt x="549082" y="499861"/>
                    </a:cubicBezTo>
                    <a:cubicBezTo>
                      <a:pt x="556303" y="503789"/>
                      <a:pt x="564537" y="506196"/>
                      <a:pt x="571378" y="510883"/>
                    </a:cubicBezTo>
                    <a:cubicBezTo>
                      <a:pt x="577459" y="515190"/>
                      <a:pt x="582273" y="521144"/>
                      <a:pt x="588100" y="525832"/>
                    </a:cubicBezTo>
                    <a:cubicBezTo>
                      <a:pt x="597601" y="533432"/>
                      <a:pt x="607863" y="542047"/>
                      <a:pt x="615717" y="551548"/>
                    </a:cubicBezTo>
                    <a:cubicBezTo>
                      <a:pt x="622558" y="559656"/>
                      <a:pt x="622684" y="576631"/>
                      <a:pt x="630919" y="582585"/>
                    </a:cubicBezTo>
                    <a:cubicBezTo>
                      <a:pt x="635226" y="585626"/>
                      <a:pt x="644220" y="584866"/>
                      <a:pt x="649288" y="585879"/>
                    </a:cubicBezTo>
                    <a:cubicBezTo>
                      <a:pt x="656636" y="587399"/>
                      <a:pt x="663856" y="589426"/>
                      <a:pt x="670571" y="593100"/>
                    </a:cubicBezTo>
                    <a:cubicBezTo>
                      <a:pt x="683492" y="600321"/>
                      <a:pt x="691980" y="613496"/>
                      <a:pt x="706042" y="618817"/>
                    </a:cubicBezTo>
                    <a:cubicBezTo>
                      <a:pt x="720103" y="624137"/>
                      <a:pt x="735812" y="618437"/>
                      <a:pt x="749620" y="623884"/>
                    </a:cubicBezTo>
                    <a:cubicBezTo>
                      <a:pt x="759122" y="627684"/>
                      <a:pt x="776857" y="645800"/>
                      <a:pt x="772677" y="657581"/>
                    </a:cubicBezTo>
                    <a:cubicBezTo>
                      <a:pt x="767609" y="671897"/>
                      <a:pt x="733025" y="659988"/>
                      <a:pt x="723270" y="657835"/>
                    </a:cubicBezTo>
                    <a:cubicBezTo>
                      <a:pt x="707309" y="654541"/>
                      <a:pt x="691347" y="650867"/>
                      <a:pt x="674878" y="651374"/>
                    </a:cubicBezTo>
                    <a:cubicBezTo>
                      <a:pt x="645867" y="652261"/>
                      <a:pt x="620911" y="662522"/>
                      <a:pt x="603556" y="686465"/>
                    </a:cubicBezTo>
                    <a:cubicBezTo>
                      <a:pt x="590761" y="704200"/>
                      <a:pt x="604189" y="719656"/>
                      <a:pt x="611663" y="736631"/>
                    </a:cubicBezTo>
                    <a:cubicBezTo>
                      <a:pt x="620404" y="756647"/>
                      <a:pt x="628512" y="777803"/>
                      <a:pt x="629779" y="799846"/>
                    </a:cubicBezTo>
                    <a:cubicBezTo>
                      <a:pt x="630665" y="815428"/>
                      <a:pt x="630919" y="824676"/>
                      <a:pt x="640927" y="837090"/>
                    </a:cubicBezTo>
                    <a:cubicBezTo>
                      <a:pt x="650175" y="848492"/>
                      <a:pt x="656255" y="859893"/>
                      <a:pt x="661450" y="873575"/>
                    </a:cubicBezTo>
                    <a:cubicBezTo>
                      <a:pt x="672218" y="901952"/>
                      <a:pt x="673357" y="931976"/>
                      <a:pt x="699834" y="950851"/>
                    </a:cubicBezTo>
                    <a:cubicBezTo>
                      <a:pt x="725677" y="969220"/>
                      <a:pt x="758742" y="976695"/>
                      <a:pt x="785725" y="993290"/>
                    </a:cubicBezTo>
                    <a:cubicBezTo>
                      <a:pt x="810048" y="1008365"/>
                      <a:pt x="831964" y="1042443"/>
                      <a:pt x="862241" y="1043076"/>
                    </a:cubicBezTo>
                    <a:cubicBezTo>
                      <a:pt x="863508" y="1033448"/>
                      <a:pt x="856034" y="1006591"/>
                      <a:pt x="863635" y="1000004"/>
                    </a:cubicBezTo>
                    <a:cubicBezTo>
                      <a:pt x="874783" y="990503"/>
                      <a:pt x="893405" y="1021540"/>
                      <a:pt x="898093" y="1028254"/>
                    </a:cubicBezTo>
                    <a:cubicBezTo>
                      <a:pt x="906453" y="1040289"/>
                      <a:pt x="918235" y="1050424"/>
                      <a:pt x="925202" y="1063472"/>
                    </a:cubicBezTo>
                    <a:cubicBezTo>
                      <a:pt x="931283" y="1074874"/>
                      <a:pt x="934957" y="1090835"/>
                      <a:pt x="936097" y="1103630"/>
                    </a:cubicBezTo>
                    <a:cubicBezTo>
                      <a:pt x="938378" y="1130361"/>
                      <a:pt x="919502" y="1105531"/>
                      <a:pt x="913421" y="1096156"/>
                    </a:cubicBezTo>
                    <a:cubicBezTo>
                      <a:pt x="902780" y="1079688"/>
                      <a:pt x="894418" y="1069680"/>
                      <a:pt x="874403" y="1078294"/>
                    </a:cubicBezTo>
                    <a:cubicBezTo>
                      <a:pt x="860594" y="1084248"/>
                      <a:pt x="849319" y="1092356"/>
                      <a:pt x="834371" y="1095649"/>
                    </a:cubicBezTo>
                    <a:cubicBezTo>
                      <a:pt x="824997" y="1097676"/>
                      <a:pt x="810302" y="1099830"/>
                      <a:pt x="806248" y="1109964"/>
                    </a:cubicBezTo>
                    <a:cubicBezTo>
                      <a:pt x="798013" y="1130741"/>
                      <a:pt x="812075" y="1150249"/>
                      <a:pt x="814102" y="1170392"/>
                    </a:cubicBezTo>
                    <a:cubicBezTo>
                      <a:pt x="816129" y="1191041"/>
                      <a:pt x="834625" y="1207510"/>
                      <a:pt x="835638" y="1228286"/>
                    </a:cubicBezTo>
                    <a:cubicBezTo>
                      <a:pt x="836651" y="1251975"/>
                      <a:pt x="812328" y="1233860"/>
                      <a:pt x="803587" y="1226639"/>
                    </a:cubicBezTo>
                    <a:cubicBezTo>
                      <a:pt x="786611" y="1212324"/>
                      <a:pt x="764949" y="1202063"/>
                      <a:pt x="749620" y="1185974"/>
                    </a:cubicBezTo>
                    <a:cubicBezTo>
                      <a:pt x="742399" y="1178500"/>
                      <a:pt x="738219" y="1168112"/>
                      <a:pt x="735686" y="1158230"/>
                    </a:cubicBezTo>
                    <a:cubicBezTo>
                      <a:pt x="730872" y="1139608"/>
                      <a:pt x="727197" y="1121746"/>
                      <a:pt x="724664" y="1102743"/>
                    </a:cubicBezTo>
                    <a:cubicBezTo>
                      <a:pt x="722891" y="1089569"/>
                      <a:pt x="720737" y="1077027"/>
                      <a:pt x="711489" y="1066639"/>
                    </a:cubicBezTo>
                    <a:cubicBezTo>
                      <a:pt x="698061" y="1051564"/>
                      <a:pt x="686026" y="1033702"/>
                      <a:pt x="671584" y="1019640"/>
                    </a:cubicBezTo>
                    <a:cubicBezTo>
                      <a:pt x="657522" y="1005958"/>
                      <a:pt x="649034" y="993923"/>
                      <a:pt x="643334" y="974668"/>
                    </a:cubicBezTo>
                    <a:cubicBezTo>
                      <a:pt x="640420" y="964913"/>
                      <a:pt x="638140" y="956045"/>
                      <a:pt x="633072" y="947051"/>
                    </a:cubicBezTo>
                    <a:cubicBezTo>
                      <a:pt x="627625" y="937423"/>
                      <a:pt x="620151" y="929569"/>
                      <a:pt x="615084" y="919687"/>
                    </a:cubicBezTo>
                    <a:cubicBezTo>
                      <a:pt x="605203" y="900178"/>
                      <a:pt x="594055" y="888397"/>
                      <a:pt x="575305" y="876869"/>
                    </a:cubicBezTo>
                    <a:cubicBezTo>
                      <a:pt x="561117" y="868128"/>
                      <a:pt x="548196" y="863187"/>
                      <a:pt x="537554" y="848745"/>
                    </a:cubicBezTo>
                    <a:cubicBezTo>
                      <a:pt x="528813" y="836964"/>
                      <a:pt x="519692" y="825309"/>
                      <a:pt x="510571" y="813781"/>
                    </a:cubicBezTo>
                    <a:cubicBezTo>
                      <a:pt x="499803" y="800226"/>
                      <a:pt x="497902" y="786924"/>
                      <a:pt x="493342" y="770962"/>
                    </a:cubicBezTo>
                    <a:cubicBezTo>
                      <a:pt x="488147" y="752593"/>
                      <a:pt x="481180" y="740052"/>
                      <a:pt x="468259" y="725483"/>
                    </a:cubicBezTo>
                    <a:cubicBezTo>
                      <a:pt x="458631" y="714588"/>
                      <a:pt x="449509" y="706354"/>
                      <a:pt x="442669" y="692799"/>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41" name="Рисунок 388">
                <a:extLst>
                  <a:ext uri="{FF2B5EF4-FFF2-40B4-BE49-F238E27FC236}">
                    <a16:creationId xmlns:a16="http://schemas.microsoft.com/office/drawing/2014/main" id="{1DA397FD-DC6E-439E-BB40-D0F80476817D}"/>
                  </a:ext>
                </a:extLst>
              </p:cNvPr>
              <p:cNvGrpSpPr/>
              <p:nvPr/>
            </p:nvGrpSpPr>
            <p:grpSpPr>
              <a:xfrm>
                <a:off x="13018483" y="4345737"/>
                <a:ext cx="269637" cy="1793566"/>
                <a:chOff x="13018483" y="4345737"/>
                <a:chExt cx="269637" cy="1793566"/>
              </a:xfrm>
              <a:solidFill>
                <a:srgbClr val="E3E8EC"/>
              </a:solidFill>
            </p:grpSpPr>
            <p:sp>
              <p:nvSpPr>
                <p:cNvPr id="442" name="Полилиния: фигура 441">
                  <a:extLst>
                    <a:ext uri="{FF2B5EF4-FFF2-40B4-BE49-F238E27FC236}">
                      <a16:creationId xmlns:a16="http://schemas.microsoft.com/office/drawing/2014/main" id="{D20A8EBF-CE02-4CFB-82AF-813F963EB0B2}"/>
                    </a:ext>
                  </a:extLst>
                </p:cNvPr>
                <p:cNvSpPr/>
                <p:nvPr/>
              </p:nvSpPr>
              <p:spPr>
                <a:xfrm>
                  <a:off x="13018483" y="5966689"/>
                  <a:ext cx="51512" cy="172614"/>
                </a:xfrm>
                <a:custGeom>
                  <a:avLst/>
                  <a:gdLst>
                    <a:gd name="connsiteX0" fmla="*/ 3167 w 51512"/>
                    <a:gd name="connsiteY0" fmla="*/ 119820 h 172614"/>
                    <a:gd name="connsiteX1" fmla="*/ 3040 w 51512"/>
                    <a:gd name="connsiteY1" fmla="*/ 116653 h 172614"/>
                    <a:gd name="connsiteX2" fmla="*/ 9121 w 51512"/>
                    <a:gd name="connsiteY2" fmla="*/ 80548 h 172614"/>
                    <a:gd name="connsiteX3" fmla="*/ 2913 w 51512"/>
                    <a:gd name="connsiteY3" fmla="*/ 38617 h 172614"/>
                    <a:gd name="connsiteX4" fmla="*/ 6967 w 51512"/>
                    <a:gd name="connsiteY4" fmla="*/ 9987 h 172614"/>
                    <a:gd name="connsiteX5" fmla="*/ 42819 w 51512"/>
                    <a:gd name="connsiteY5" fmla="*/ 612 h 172614"/>
                    <a:gd name="connsiteX6" fmla="*/ 46873 w 51512"/>
                    <a:gd name="connsiteY6" fmla="*/ 25695 h 172614"/>
                    <a:gd name="connsiteX7" fmla="*/ 30150 w 51512"/>
                    <a:gd name="connsiteY7" fmla="*/ 77128 h 172614"/>
                    <a:gd name="connsiteX8" fmla="*/ 27997 w 51512"/>
                    <a:gd name="connsiteY8" fmla="*/ 113866 h 172614"/>
                    <a:gd name="connsiteX9" fmla="*/ 24450 w 51512"/>
                    <a:gd name="connsiteY9" fmla="*/ 147817 h 172614"/>
                    <a:gd name="connsiteX10" fmla="*/ 3294 w 51512"/>
                    <a:gd name="connsiteY10" fmla="*/ 171507 h 172614"/>
                    <a:gd name="connsiteX11" fmla="*/ 0 w 51512"/>
                    <a:gd name="connsiteY11" fmla="*/ 154658 h 172614"/>
                    <a:gd name="connsiteX12" fmla="*/ 3167 w 51512"/>
                    <a:gd name="connsiteY12" fmla="*/ 119820 h 17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12" h="172614">
                      <a:moveTo>
                        <a:pt x="3167" y="119820"/>
                      </a:moveTo>
                      <a:cubicBezTo>
                        <a:pt x="3167" y="118807"/>
                        <a:pt x="3167" y="117667"/>
                        <a:pt x="3040" y="116653"/>
                      </a:cubicBezTo>
                      <a:cubicBezTo>
                        <a:pt x="2153" y="104112"/>
                        <a:pt x="8235" y="92963"/>
                        <a:pt x="9121" y="80548"/>
                      </a:cubicBezTo>
                      <a:cubicBezTo>
                        <a:pt x="10134" y="66107"/>
                        <a:pt x="6461" y="52425"/>
                        <a:pt x="2913" y="38617"/>
                      </a:cubicBezTo>
                      <a:cubicBezTo>
                        <a:pt x="254" y="28355"/>
                        <a:pt x="-2153" y="17714"/>
                        <a:pt x="6967" y="9987"/>
                      </a:cubicBezTo>
                      <a:cubicBezTo>
                        <a:pt x="15709" y="2639"/>
                        <a:pt x="31544" y="-1668"/>
                        <a:pt x="42819" y="612"/>
                      </a:cubicBezTo>
                      <a:cubicBezTo>
                        <a:pt x="56627" y="3272"/>
                        <a:pt x="50800" y="16574"/>
                        <a:pt x="46873" y="25695"/>
                      </a:cubicBezTo>
                      <a:cubicBezTo>
                        <a:pt x="39778" y="42544"/>
                        <a:pt x="32557" y="58886"/>
                        <a:pt x="30150" y="77128"/>
                      </a:cubicBezTo>
                      <a:cubicBezTo>
                        <a:pt x="28504" y="89290"/>
                        <a:pt x="29390" y="101705"/>
                        <a:pt x="27997" y="113866"/>
                      </a:cubicBezTo>
                      <a:cubicBezTo>
                        <a:pt x="26857" y="125141"/>
                        <a:pt x="27490" y="136669"/>
                        <a:pt x="24450" y="147817"/>
                      </a:cubicBezTo>
                      <a:cubicBezTo>
                        <a:pt x="22930" y="153391"/>
                        <a:pt x="11908" y="178094"/>
                        <a:pt x="3294" y="171507"/>
                      </a:cubicBezTo>
                      <a:cubicBezTo>
                        <a:pt x="0" y="168973"/>
                        <a:pt x="0" y="158332"/>
                        <a:pt x="0" y="154658"/>
                      </a:cubicBezTo>
                      <a:cubicBezTo>
                        <a:pt x="127" y="142876"/>
                        <a:pt x="3294" y="131728"/>
                        <a:pt x="3167" y="119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3" name="Полилиния: фигура 442">
                  <a:extLst>
                    <a:ext uri="{FF2B5EF4-FFF2-40B4-BE49-F238E27FC236}">
                      <a16:creationId xmlns:a16="http://schemas.microsoft.com/office/drawing/2014/main" id="{BFA56E74-4165-4502-9B86-0D77B2F04B13}"/>
                    </a:ext>
                  </a:extLst>
                </p:cNvPr>
                <p:cNvSpPr/>
                <p:nvPr/>
              </p:nvSpPr>
              <p:spPr>
                <a:xfrm>
                  <a:off x="13076377" y="5631124"/>
                  <a:ext cx="99866" cy="285938"/>
                </a:xfrm>
                <a:custGeom>
                  <a:avLst/>
                  <a:gdLst>
                    <a:gd name="connsiteX0" fmla="*/ 7348 w 99866"/>
                    <a:gd name="connsiteY0" fmla="*/ 199106 h 285938"/>
                    <a:gd name="connsiteX1" fmla="*/ 0 w 99866"/>
                    <a:gd name="connsiteY1" fmla="*/ 167563 h 285938"/>
                    <a:gd name="connsiteX2" fmla="*/ 19636 w 99866"/>
                    <a:gd name="connsiteY2" fmla="*/ 104728 h 285938"/>
                    <a:gd name="connsiteX3" fmla="*/ 11781 w 99866"/>
                    <a:gd name="connsiteY3" fmla="*/ 79772 h 285938"/>
                    <a:gd name="connsiteX4" fmla="*/ 33697 w 99866"/>
                    <a:gd name="connsiteY4" fmla="*/ 64950 h 285938"/>
                    <a:gd name="connsiteX5" fmla="*/ 62834 w 99866"/>
                    <a:gd name="connsiteY5" fmla="*/ 45061 h 285938"/>
                    <a:gd name="connsiteX6" fmla="*/ 69295 w 99866"/>
                    <a:gd name="connsiteY6" fmla="*/ 13897 h 285938"/>
                    <a:gd name="connsiteX7" fmla="*/ 99699 w 99866"/>
                    <a:gd name="connsiteY7" fmla="*/ 22511 h 285938"/>
                    <a:gd name="connsiteX8" fmla="*/ 67015 w 99866"/>
                    <a:gd name="connsiteY8" fmla="*/ 84079 h 285938"/>
                    <a:gd name="connsiteX9" fmla="*/ 67142 w 99866"/>
                    <a:gd name="connsiteY9" fmla="*/ 112836 h 285938"/>
                    <a:gd name="connsiteX10" fmla="*/ 53207 w 99866"/>
                    <a:gd name="connsiteY10" fmla="*/ 139819 h 285938"/>
                    <a:gd name="connsiteX11" fmla="*/ 37118 w 99866"/>
                    <a:gd name="connsiteY11" fmla="*/ 165662 h 285938"/>
                    <a:gd name="connsiteX12" fmla="*/ 38258 w 99866"/>
                    <a:gd name="connsiteY12" fmla="*/ 198853 h 285938"/>
                    <a:gd name="connsiteX13" fmla="*/ 45605 w 99866"/>
                    <a:gd name="connsiteY13" fmla="*/ 253960 h 285938"/>
                    <a:gd name="connsiteX14" fmla="*/ 23563 w 99866"/>
                    <a:gd name="connsiteY14" fmla="*/ 283731 h 285938"/>
                    <a:gd name="connsiteX15" fmla="*/ 8994 w 99866"/>
                    <a:gd name="connsiteY15" fmla="*/ 246486 h 285938"/>
                    <a:gd name="connsiteX16" fmla="*/ 7348 w 99866"/>
                    <a:gd name="connsiteY16" fmla="*/ 199106 h 2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66" h="285938">
                      <a:moveTo>
                        <a:pt x="7348" y="199106"/>
                      </a:moveTo>
                      <a:cubicBezTo>
                        <a:pt x="5701" y="188592"/>
                        <a:pt x="0" y="178331"/>
                        <a:pt x="0" y="167563"/>
                      </a:cubicBezTo>
                      <a:cubicBezTo>
                        <a:pt x="0" y="144506"/>
                        <a:pt x="24703" y="129558"/>
                        <a:pt x="19636" y="104728"/>
                      </a:cubicBezTo>
                      <a:cubicBezTo>
                        <a:pt x="17989" y="97127"/>
                        <a:pt x="10515" y="87753"/>
                        <a:pt x="11781" y="79772"/>
                      </a:cubicBezTo>
                      <a:cubicBezTo>
                        <a:pt x="13175" y="70904"/>
                        <a:pt x="26857" y="67737"/>
                        <a:pt x="33697" y="64950"/>
                      </a:cubicBezTo>
                      <a:cubicBezTo>
                        <a:pt x="44592" y="60516"/>
                        <a:pt x="56754" y="55702"/>
                        <a:pt x="62834" y="45061"/>
                      </a:cubicBezTo>
                      <a:cubicBezTo>
                        <a:pt x="68155" y="35433"/>
                        <a:pt x="66761" y="24285"/>
                        <a:pt x="69295" y="13897"/>
                      </a:cubicBezTo>
                      <a:cubicBezTo>
                        <a:pt x="75249" y="-10426"/>
                        <a:pt x="102233" y="215"/>
                        <a:pt x="99699" y="22511"/>
                      </a:cubicBezTo>
                      <a:cubicBezTo>
                        <a:pt x="96912" y="47087"/>
                        <a:pt x="69168" y="59882"/>
                        <a:pt x="67015" y="84079"/>
                      </a:cubicBezTo>
                      <a:cubicBezTo>
                        <a:pt x="66128" y="93707"/>
                        <a:pt x="68662" y="103208"/>
                        <a:pt x="67142" y="112836"/>
                      </a:cubicBezTo>
                      <a:cubicBezTo>
                        <a:pt x="65495" y="123350"/>
                        <a:pt x="59794" y="131712"/>
                        <a:pt x="53207" y="139819"/>
                      </a:cubicBezTo>
                      <a:cubicBezTo>
                        <a:pt x="46619" y="147800"/>
                        <a:pt x="39778" y="155401"/>
                        <a:pt x="37118" y="165662"/>
                      </a:cubicBezTo>
                      <a:cubicBezTo>
                        <a:pt x="34330" y="176430"/>
                        <a:pt x="35851" y="188085"/>
                        <a:pt x="38258" y="198853"/>
                      </a:cubicBezTo>
                      <a:cubicBezTo>
                        <a:pt x="42565" y="218109"/>
                        <a:pt x="48772" y="233944"/>
                        <a:pt x="45605" y="253960"/>
                      </a:cubicBezTo>
                      <a:cubicBezTo>
                        <a:pt x="43958" y="264348"/>
                        <a:pt x="39778" y="294245"/>
                        <a:pt x="23563" y="283731"/>
                      </a:cubicBezTo>
                      <a:cubicBezTo>
                        <a:pt x="11401" y="275876"/>
                        <a:pt x="9374" y="259914"/>
                        <a:pt x="8994" y="246486"/>
                      </a:cubicBezTo>
                      <a:cubicBezTo>
                        <a:pt x="8488" y="230904"/>
                        <a:pt x="9881" y="214435"/>
                        <a:pt x="7348" y="1991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4" name="Полилиния: фигура 443">
                  <a:extLst>
                    <a:ext uri="{FF2B5EF4-FFF2-40B4-BE49-F238E27FC236}">
                      <a16:creationId xmlns:a16="http://schemas.microsoft.com/office/drawing/2014/main" id="{3AE148B4-0312-4884-BBD5-475965399105}"/>
                    </a:ext>
                  </a:extLst>
                </p:cNvPr>
                <p:cNvSpPr/>
                <p:nvPr/>
              </p:nvSpPr>
              <p:spPr>
                <a:xfrm>
                  <a:off x="13192013" y="5410912"/>
                  <a:ext cx="47728" cy="148141"/>
                </a:xfrm>
                <a:custGeom>
                  <a:avLst/>
                  <a:gdLst>
                    <a:gd name="connsiteX0" fmla="*/ 9020 w 47728"/>
                    <a:gd name="connsiteY0" fmla="*/ 147838 h 148141"/>
                    <a:gd name="connsiteX1" fmla="*/ 786 w 47728"/>
                    <a:gd name="connsiteY1" fmla="*/ 121361 h 148141"/>
                    <a:gd name="connsiteX2" fmla="*/ 16748 w 47728"/>
                    <a:gd name="connsiteY2" fmla="*/ 89437 h 148141"/>
                    <a:gd name="connsiteX3" fmla="*/ 17508 w 47728"/>
                    <a:gd name="connsiteY3" fmla="*/ 58780 h 148141"/>
                    <a:gd name="connsiteX4" fmla="*/ 23715 w 47728"/>
                    <a:gd name="connsiteY4" fmla="*/ 32684 h 148141"/>
                    <a:gd name="connsiteX5" fmla="*/ 31316 w 47728"/>
                    <a:gd name="connsiteY5" fmla="*/ 2787 h 148141"/>
                    <a:gd name="connsiteX6" fmla="*/ 46391 w 47728"/>
                    <a:gd name="connsiteY6" fmla="*/ 12668 h 148141"/>
                    <a:gd name="connsiteX7" fmla="*/ 38537 w 47728"/>
                    <a:gd name="connsiteY7" fmla="*/ 63847 h 148141"/>
                    <a:gd name="connsiteX8" fmla="*/ 32203 w 47728"/>
                    <a:gd name="connsiteY8" fmla="*/ 88171 h 148141"/>
                    <a:gd name="connsiteX9" fmla="*/ 30683 w 47728"/>
                    <a:gd name="connsiteY9" fmla="*/ 109327 h 148141"/>
                    <a:gd name="connsiteX10" fmla="*/ 27769 w 47728"/>
                    <a:gd name="connsiteY10" fmla="*/ 127822 h 148141"/>
                    <a:gd name="connsiteX11" fmla="*/ 10667 w 47728"/>
                    <a:gd name="connsiteY11" fmla="*/ 148092 h 148141"/>
                    <a:gd name="connsiteX12" fmla="*/ 9020 w 47728"/>
                    <a:gd name="connsiteY12" fmla="*/ 147838 h 14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8" h="148141">
                      <a:moveTo>
                        <a:pt x="9020" y="147838"/>
                      </a:moveTo>
                      <a:cubicBezTo>
                        <a:pt x="-355" y="145304"/>
                        <a:pt x="-988" y="128836"/>
                        <a:pt x="786" y="121361"/>
                      </a:cubicBezTo>
                      <a:cubicBezTo>
                        <a:pt x="3699" y="109327"/>
                        <a:pt x="12567" y="100712"/>
                        <a:pt x="16748" y="89437"/>
                      </a:cubicBezTo>
                      <a:cubicBezTo>
                        <a:pt x="20421" y="79556"/>
                        <a:pt x="17254" y="68915"/>
                        <a:pt x="17508" y="58780"/>
                      </a:cubicBezTo>
                      <a:cubicBezTo>
                        <a:pt x="17634" y="49406"/>
                        <a:pt x="21435" y="41551"/>
                        <a:pt x="23715" y="32684"/>
                      </a:cubicBezTo>
                      <a:cubicBezTo>
                        <a:pt x="25995" y="23942"/>
                        <a:pt x="25235" y="10007"/>
                        <a:pt x="31316" y="2787"/>
                      </a:cubicBezTo>
                      <a:cubicBezTo>
                        <a:pt x="38157" y="-5321"/>
                        <a:pt x="44871" y="6207"/>
                        <a:pt x="46391" y="12668"/>
                      </a:cubicBezTo>
                      <a:cubicBezTo>
                        <a:pt x="50572" y="29897"/>
                        <a:pt x="44111" y="47632"/>
                        <a:pt x="38537" y="63847"/>
                      </a:cubicBezTo>
                      <a:cubicBezTo>
                        <a:pt x="36003" y="71448"/>
                        <a:pt x="31949" y="80063"/>
                        <a:pt x="32203" y="88171"/>
                      </a:cubicBezTo>
                      <a:cubicBezTo>
                        <a:pt x="32456" y="95898"/>
                        <a:pt x="31949" y="101472"/>
                        <a:pt x="30683" y="109327"/>
                      </a:cubicBezTo>
                      <a:cubicBezTo>
                        <a:pt x="29669" y="115407"/>
                        <a:pt x="29162" y="121868"/>
                        <a:pt x="27769" y="127822"/>
                      </a:cubicBezTo>
                      <a:cubicBezTo>
                        <a:pt x="25995" y="135170"/>
                        <a:pt x="20041" y="148978"/>
                        <a:pt x="10667" y="148092"/>
                      </a:cubicBezTo>
                      <a:cubicBezTo>
                        <a:pt x="10160" y="148218"/>
                        <a:pt x="9654" y="148092"/>
                        <a:pt x="9020" y="14783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5" name="Полилиния: фигура 444">
                  <a:extLst>
                    <a:ext uri="{FF2B5EF4-FFF2-40B4-BE49-F238E27FC236}">
                      <a16:creationId xmlns:a16="http://schemas.microsoft.com/office/drawing/2014/main" id="{E08AFD2A-2C35-4E88-B3EA-B1C606ABCDDB}"/>
                    </a:ext>
                  </a:extLst>
                </p:cNvPr>
                <p:cNvSpPr/>
                <p:nvPr/>
              </p:nvSpPr>
              <p:spPr>
                <a:xfrm>
                  <a:off x="13259103" y="5146977"/>
                  <a:ext cx="29018" cy="72023"/>
                </a:xfrm>
                <a:custGeom>
                  <a:avLst/>
                  <a:gdLst>
                    <a:gd name="connsiteX0" fmla="*/ 4511 w 29018"/>
                    <a:gd name="connsiteY0" fmla="*/ 16397 h 72023"/>
                    <a:gd name="connsiteX1" fmla="*/ 16419 w 29018"/>
                    <a:gd name="connsiteY1" fmla="*/ 54 h 72023"/>
                    <a:gd name="connsiteX2" fmla="*/ 26047 w 29018"/>
                    <a:gd name="connsiteY2" fmla="*/ 38946 h 72023"/>
                    <a:gd name="connsiteX3" fmla="*/ 20980 w 29018"/>
                    <a:gd name="connsiteY3" fmla="*/ 53768 h 72023"/>
                    <a:gd name="connsiteX4" fmla="*/ 3751 w 29018"/>
                    <a:gd name="connsiteY4" fmla="*/ 68843 h 72023"/>
                    <a:gd name="connsiteX5" fmla="*/ 837 w 29018"/>
                    <a:gd name="connsiteY5" fmla="*/ 46420 h 72023"/>
                    <a:gd name="connsiteX6" fmla="*/ 4511 w 29018"/>
                    <a:gd name="connsiteY6" fmla="*/ 16397 h 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8" h="72023">
                      <a:moveTo>
                        <a:pt x="4511" y="16397"/>
                      </a:moveTo>
                      <a:cubicBezTo>
                        <a:pt x="5271" y="9302"/>
                        <a:pt x="7045" y="-832"/>
                        <a:pt x="16419" y="54"/>
                      </a:cubicBezTo>
                      <a:cubicBezTo>
                        <a:pt x="34155" y="1955"/>
                        <a:pt x="28835" y="27925"/>
                        <a:pt x="26047" y="38946"/>
                      </a:cubicBezTo>
                      <a:cubicBezTo>
                        <a:pt x="24781" y="44140"/>
                        <a:pt x="22374" y="48701"/>
                        <a:pt x="20980" y="53768"/>
                      </a:cubicBezTo>
                      <a:cubicBezTo>
                        <a:pt x="19333" y="60102"/>
                        <a:pt x="12112" y="79611"/>
                        <a:pt x="3751" y="68843"/>
                      </a:cubicBezTo>
                      <a:cubicBezTo>
                        <a:pt x="-809" y="62889"/>
                        <a:pt x="-429" y="53388"/>
                        <a:pt x="837" y="46420"/>
                      </a:cubicBezTo>
                      <a:cubicBezTo>
                        <a:pt x="2738" y="36412"/>
                        <a:pt x="3498" y="26531"/>
                        <a:pt x="4511" y="1639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6" name="Полилиния: фигура 445">
                  <a:extLst>
                    <a:ext uri="{FF2B5EF4-FFF2-40B4-BE49-F238E27FC236}">
                      <a16:creationId xmlns:a16="http://schemas.microsoft.com/office/drawing/2014/main" id="{D89F45DA-D9BA-4F25-BCFF-595170905DEB}"/>
                    </a:ext>
                  </a:extLst>
                </p:cNvPr>
                <p:cNvSpPr/>
                <p:nvPr/>
              </p:nvSpPr>
              <p:spPr>
                <a:xfrm>
                  <a:off x="13221555" y="5309945"/>
                  <a:ext cx="9121" cy="14441"/>
                </a:xfrm>
                <a:custGeom>
                  <a:avLst/>
                  <a:gdLst>
                    <a:gd name="connsiteX0" fmla="*/ 9122 w 9121"/>
                    <a:gd name="connsiteY0" fmla="*/ 7221 h 14441"/>
                    <a:gd name="connsiteX1" fmla="*/ 4561 w 9121"/>
                    <a:gd name="connsiteY1" fmla="*/ 14442 h 14441"/>
                    <a:gd name="connsiteX2" fmla="*/ 0 w 9121"/>
                    <a:gd name="connsiteY2" fmla="*/ 7221 h 14441"/>
                    <a:gd name="connsiteX3" fmla="*/ 4561 w 9121"/>
                    <a:gd name="connsiteY3" fmla="*/ 0 h 14441"/>
                    <a:gd name="connsiteX4" fmla="*/ 9122 w 912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4441">
                      <a:moveTo>
                        <a:pt x="9122" y="7221"/>
                      </a:moveTo>
                      <a:cubicBezTo>
                        <a:pt x="9122" y="11275"/>
                        <a:pt x="7094" y="14442"/>
                        <a:pt x="4561" y="14442"/>
                      </a:cubicBezTo>
                      <a:cubicBezTo>
                        <a:pt x="2027" y="14442"/>
                        <a:pt x="0" y="11148"/>
                        <a:pt x="0" y="7221"/>
                      </a:cubicBezTo>
                      <a:cubicBezTo>
                        <a:pt x="0" y="3167"/>
                        <a:pt x="2027" y="0"/>
                        <a:pt x="4561" y="0"/>
                      </a:cubicBezTo>
                      <a:cubicBezTo>
                        <a:pt x="6968" y="0"/>
                        <a:pt x="9122" y="3293"/>
                        <a:pt x="912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7" name="Полилиния: фигура 446">
                  <a:extLst>
                    <a:ext uri="{FF2B5EF4-FFF2-40B4-BE49-F238E27FC236}">
                      <a16:creationId xmlns:a16="http://schemas.microsoft.com/office/drawing/2014/main" id="{64B0E7B9-7AFD-4A20-B33C-CD8BF5887F82}"/>
                    </a:ext>
                  </a:extLst>
                </p:cNvPr>
                <p:cNvSpPr/>
                <p:nvPr/>
              </p:nvSpPr>
              <p:spPr>
                <a:xfrm>
                  <a:off x="13185831" y="5309945"/>
                  <a:ext cx="11147" cy="7347"/>
                </a:xfrm>
                <a:custGeom>
                  <a:avLst/>
                  <a:gdLst>
                    <a:gd name="connsiteX0" fmla="*/ 11147 w 11147"/>
                    <a:gd name="connsiteY0" fmla="*/ 3674 h 7347"/>
                    <a:gd name="connsiteX1" fmla="*/ 5574 w 11147"/>
                    <a:gd name="connsiteY1" fmla="*/ 7347 h 7347"/>
                    <a:gd name="connsiteX2" fmla="*/ 0 w 11147"/>
                    <a:gd name="connsiteY2" fmla="*/ 3674 h 7347"/>
                    <a:gd name="connsiteX3" fmla="*/ 5574 w 11147"/>
                    <a:gd name="connsiteY3" fmla="*/ 0 h 7347"/>
                    <a:gd name="connsiteX4" fmla="*/ 11147 w 1114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 h="7347">
                      <a:moveTo>
                        <a:pt x="11147" y="3674"/>
                      </a:moveTo>
                      <a:cubicBezTo>
                        <a:pt x="11147" y="5700"/>
                        <a:pt x="8614" y="7347"/>
                        <a:pt x="5574" y="7347"/>
                      </a:cubicBezTo>
                      <a:cubicBezTo>
                        <a:pt x="2533" y="7347"/>
                        <a:pt x="0" y="5700"/>
                        <a:pt x="0" y="3674"/>
                      </a:cubicBezTo>
                      <a:cubicBezTo>
                        <a:pt x="0" y="1647"/>
                        <a:pt x="2533" y="0"/>
                        <a:pt x="5574" y="0"/>
                      </a:cubicBezTo>
                      <a:cubicBezTo>
                        <a:pt x="8614" y="0"/>
                        <a:pt x="11147" y="1647"/>
                        <a:pt x="11147"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8" name="Полилиния: фигура 447">
                  <a:extLst>
                    <a:ext uri="{FF2B5EF4-FFF2-40B4-BE49-F238E27FC236}">
                      <a16:creationId xmlns:a16="http://schemas.microsoft.com/office/drawing/2014/main" id="{B0266489-F236-4ABA-9461-7E8652EFBC5B}"/>
                    </a:ext>
                  </a:extLst>
                </p:cNvPr>
                <p:cNvSpPr/>
                <p:nvPr/>
              </p:nvSpPr>
              <p:spPr>
                <a:xfrm>
                  <a:off x="13255760" y="5088251"/>
                  <a:ext cx="17735" cy="21789"/>
                </a:xfrm>
                <a:custGeom>
                  <a:avLst/>
                  <a:gdLst>
                    <a:gd name="connsiteX0" fmla="*/ 17736 w 17735"/>
                    <a:gd name="connsiteY0" fmla="*/ 10895 h 21789"/>
                    <a:gd name="connsiteX1" fmla="*/ 8868 w 17735"/>
                    <a:gd name="connsiteY1" fmla="*/ 21789 h 21789"/>
                    <a:gd name="connsiteX2" fmla="*/ 0 w 17735"/>
                    <a:gd name="connsiteY2" fmla="*/ 10895 h 21789"/>
                    <a:gd name="connsiteX3" fmla="*/ 8868 w 17735"/>
                    <a:gd name="connsiteY3" fmla="*/ 0 h 21789"/>
                    <a:gd name="connsiteX4" fmla="*/ 17736 w 17735"/>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1789">
                      <a:moveTo>
                        <a:pt x="17736" y="10895"/>
                      </a:moveTo>
                      <a:cubicBezTo>
                        <a:pt x="17736" y="16849"/>
                        <a:pt x="13809" y="21789"/>
                        <a:pt x="8868" y="21789"/>
                      </a:cubicBezTo>
                      <a:cubicBezTo>
                        <a:pt x="3927" y="21789"/>
                        <a:pt x="0" y="16975"/>
                        <a:pt x="0" y="10895"/>
                      </a:cubicBezTo>
                      <a:cubicBezTo>
                        <a:pt x="0" y="4940"/>
                        <a:pt x="4054" y="0"/>
                        <a:pt x="8868" y="0"/>
                      </a:cubicBezTo>
                      <a:cubicBezTo>
                        <a:pt x="13809" y="0"/>
                        <a:pt x="17736" y="4814"/>
                        <a:pt x="17736"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49" name="Полилиния: фигура 448">
                  <a:extLst>
                    <a:ext uri="{FF2B5EF4-FFF2-40B4-BE49-F238E27FC236}">
                      <a16:creationId xmlns:a16="http://schemas.microsoft.com/office/drawing/2014/main" id="{9882E0C8-203F-4CDE-900A-0339A1C176E6}"/>
                    </a:ext>
                  </a:extLst>
                </p:cNvPr>
                <p:cNvSpPr/>
                <p:nvPr/>
              </p:nvSpPr>
              <p:spPr>
                <a:xfrm>
                  <a:off x="13253226" y="4997166"/>
                  <a:ext cx="24323" cy="24322"/>
                </a:xfrm>
                <a:custGeom>
                  <a:avLst/>
                  <a:gdLst>
                    <a:gd name="connsiteX0" fmla="*/ 24324 w 24323"/>
                    <a:gd name="connsiteY0" fmla="*/ 12161 h 24322"/>
                    <a:gd name="connsiteX1" fmla="*/ 12162 w 24323"/>
                    <a:gd name="connsiteY1" fmla="*/ 24323 h 24322"/>
                    <a:gd name="connsiteX2" fmla="*/ 0 w 24323"/>
                    <a:gd name="connsiteY2" fmla="*/ 12161 h 24322"/>
                    <a:gd name="connsiteX3" fmla="*/ 12162 w 24323"/>
                    <a:gd name="connsiteY3" fmla="*/ 0 h 24322"/>
                    <a:gd name="connsiteX4" fmla="*/ 24324 w 24323"/>
                    <a:gd name="connsiteY4" fmla="*/ 12161 h 24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 h="24322">
                      <a:moveTo>
                        <a:pt x="24324" y="12161"/>
                      </a:moveTo>
                      <a:cubicBezTo>
                        <a:pt x="24324" y="18876"/>
                        <a:pt x="18876" y="24323"/>
                        <a:pt x="12162" y="24323"/>
                      </a:cubicBezTo>
                      <a:cubicBezTo>
                        <a:pt x="5448" y="24323"/>
                        <a:pt x="0" y="18876"/>
                        <a:pt x="0" y="12161"/>
                      </a:cubicBezTo>
                      <a:cubicBezTo>
                        <a:pt x="0" y="5447"/>
                        <a:pt x="5448" y="0"/>
                        <a:pt x="12162" y="0"/>
                      </a:cubicBezTo>
                      <a:cubicBezTo>
                        <a:pt x="18750" y="0"/>
                        <a:pt x="24324" y="5447"/>
                        <a:pt x="24324" y="121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0" name="Полилиния: фигура 449">
                  <a:extLst>
                    <a:ext uri="{FF2B5EF4-FFF2-40B4-BE49-F238E27FC236}">
                      <a16:creationId xmlns:a16="http://schemas.microsoft.com/office/drawing/2014/main" id="{9137BE44-A1CA-41AD-80A0-50D4C00F6769}"/>
                    </a:ext>
                  </a:extLst>
                </p:cNvPr>
                <p:cNvSpPr/>
                <p:nvPr/>
              </p:nvSpPr>
              <p:spPr>
                <a:xfrm>
                  <a:off x="13225989" y="4935852"/>
                  <a:ext cx="21789" cy="19762"/>
                </a:xfrm>
                <a:custGeom>
                  <a:avLst/>
                  <a:gdLst>
                    <a:gd name="connsiteX0" fmla="*/ 21789 w 21789"/>
                    <a:gd name="connsiteY0" fmla="*/ 9881 h 19762"/>
                    <a:gd name="connsiteX1" fmla="*/ 10895 w 21789"/>
                    <a:gd name="connsiteY1" fmla="*/ 19762 h 19762"/>
                    <a:gd name="connsiteX2" fmla="*/ 0 w 21789"/>
                    <a:gd name="connsiteY2" fmla="*/ 9881 h 19762"/>
                    <a:gd name="connsiteX3" fmla="*/ 10895 w 21789"/>
                    <a:gd name="connsiteY3" fmla="*/ 0 h 19762"/>
                    <a:gd name="connsiteX4" fmla="*/ 21789 w 21789"/>
                    <a:gd name="connsiteY4" fmla="*/ 9881 h 19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9762">
                      <a:moveTo>
                        <a:pt x="21789" y="9881"/>
                      </a:moveTo>
                      <a:cubicBezTo>
                        <a:pt x="21789" y="15328"/>
                        <a:pt x="16849" y="19762"/>
                        <a:pt x="10895" y="19762"/>
                      </a:cubicBezTo>
                      <a:cubicBezTo>
                        <a:pt x="4814" y="19762"/>
                        <a:pt x="0" y="15328"/>
                        <a:pt x="0" y="9881"/>
                      </a:cubicBezTo>
                      <a:cubicBezTo>
                        <a:pt x="0" y="4434"/>
                        <a:pt x="4814" y="0"/>
                        <a:pt x="10895" y="0"/>
                      </a:cubicBezTo>
                      <a:cubicBezTo>
                        <a:pt x="16975" y="0"/>
                        <a:pt x="21789" y="4434"/>
                        <a:pt x="21789" y="98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1" name="Полилиния: фигура 450">
                  <a:extLst>
                    <a:ext uri="{FF2B5EF4-FFF2-40B4-BE49-F238E27FC236}">
                      <a16:creationId xmlns:a16="http://schemas.microsoft.com/office/drawing/2014/main" id="{D141898C-68E8-4263-9BC3-0C0761FD6755}"/>
                    </a:ext>
                  </a:extLst>
                </p:cNvPr>
                <p:cNvSpPr/>
                <p:nvPr/>
              </p:nvSpPr>
              <p:spPr>
                <a:xfrm>
                  <a:off x="13215728" y="4762677"/>
                  <a:ext cx="12414" cy="34584"/>
                </a:xfrm>
                <a:custGeom>
                  <a:avLst/>
                  <a:gdLst>
                    <a:gd name="connsiteX0" fmla="*/ 12415 w 12414"/>
                    <a:gd name="connsiteY0" fmla="*/ 17355 h 34584"/>
                    <a:gd name="connsiteX1" fmla="*/ 6207 w 12414"/>
                    <a:gd name="connsiteY1" fmla="*/ 34584 h 34584"/>
                    <a:gd name="connsiteX2" fmla="*/ 0 w 12414"/>
                    <a:gd name="connsiteY2" fmla="*/ 17355 h 34584"/>
                    <a:gd name="connsiteX3" fmla="*/ 6207 w 12414"/>
                    <a:gd name="connsiteY3" fmla="*/ 0 h 34584"/>
                    <a:gd name="connsiteX4" fmla="*/ 12415 w 12414"/>
                    <a:gd name="connsiteY4" fmla="*/ 17355 h 3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34584">
                      <a:moveTo>
                        <a:pt x="12415" y="17355"/>
                      </a:moveTo>
                      <a:cubicBezTo>
                        <a:pt x="12415" y="26857"/>
                        <a:pt x="9628" y="34584"/>
                        <a:pt x="6207" y="34584"/>
                      </a:cubicBezTo>
                      <a:cubicBezTo>
                        <a:pt x="2787" y="34584"/>
                        <a:pt x="0" y="26857"/>
                        <a:pt x="0" y="17355"/>
                      </a:cubicBezTo>
                      <a:cubicBezTo>
                        <a:pt x="0" y="7728"/>
                        <a:pt x="2787" y="0"/>
                        <a:pt x="6207" y="0"/>
                      </a:cubicBezTo>
                      <a:cubicBezTo>
                        <a:pt x="9628" y="127"/>
                        <a:pt x="12415" y="7854"/>
                        <a:pt x="12415" y="173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2" name="Полилиния: фигура 451">
                  <a:extLst>
                    <a:ext uri="{FF2B5EF4-FFF2-40B4-BE49-F238E27FC236}">
                      <a16:creationId xmlns:a16="http://schemas.microsoft.com/office/drawing/2014/main" id="{BEB923BA-1C94-4AEE-896A-8BE0D1824D81}"/>
                    </a:ext>
                  </a:extLst>
                </p:cNvPr>
                <p:cNvSpPr/>
                <p:nvPr/>
              </p:nvSpPr>
              <p:spPr>
                <a:xfrm>
                  <a:off x="13184691" y="4768631"/>
                  <a:ext cx="8360" cy="11401"/>
                </a:xfrm>
                <a:custGeom>
                  <a:avLst/>
                  <a:gdLst>
                    <a:gd name="connsiteX0" fmla="*/ 8361 w 8360"/>
                    <a:gd name="connsiteY0" fmla="*/ 5701 h 11401"/>
                    <a:gd name="connsiteX1" fmla="*/ 4181 w 8360"/>
                    <a:gd name="connsiteY1" fmla="*/ 11401 h 11401"/>
                    <a:gd name="connsiteX2" fmla="*/ 0 w 8360"/>
                    <a:gd name="connsiteY2" fmla="*/ 5701 h 11401"/>
                    <a:gd name="connsiteX3" fmla="*/ 4181 w 8360"/>
                    <a:gd name="connsiteY3" fmla="*/ 0 h 11401"/>
                    <a:gd name="connsiteX4" fmla="*/ 8361 w 8360"/>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1401">
                      <a:moveTo>
                        <a:pt x="8361" y="5701"/>
                      </a:moveTo>
                      <a:cubicBezTo>
                        <a:pt x="8361" y="8868"/>
                        <a:pt x="6461" y="11401"/>
                        <a:pt x="4181" y="11401"/>
                      </a:cubicBezTo>
                      <a:cubicBezTo>
                        <a:pt x="1901" y="11401"/>
                        <a:pt x="0" y="8868"/>
                        <a:pt x="0" y="5701"/>
                      </a:cubicBezTo>
                      <a:cubicBezTo>
                        <a:pt x="0" y="2534"/>
                        <a:pt x="1901" y="0"/>
                        <a:pt x="4181" y="0"/>
                      </a:cubicBezTo>
                      <a:cubicBezTo>
                        <a:pt x="6461" y="0"/>
                        <a:pt x="8361" y="2660"/>
                        <a:pt x="8361"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3" name="Полилиния: фигура 452">
                  <a:extLst>
                    <a:ext uri="{FF2B5EF4-FFF2-40B4-BE49-F238E27FC236}">
                      <a16:creationId xmlns:a16="http://schemas.microsoft.com/office/drawing/2014/main" id="{D3FD4E48-68C8-42CC-95FD-208711968E1C}"/>
                    </a:ext>
                  </a:extLst>
                </p:cNvPr>
                <p:cNvSpPr/>
                <p:nvPr/>
              </p:nvSpPr>
              <p:spPr>
                <a:xfrm>
                  <a:off x="13197866" y="4703263"/>
                  <a:ext cx="13935" cy="15835"/>
                </a:xfrm>
                <a:custGeom>
                  <a:avLst/>
                  <a:gdLst>
                    <a:gd name="connsiteX0" fmla="*/ 13936 w 13935"/>
                    <a:gd name="connsiteY0" fmla="*/ 7981 h 15835"/>
                    <a:gd name="connsiteX1" fmla="*/ 6968 w 13935"/>
                    <a:gd name="connsiteY1" fmla="*/ 15835 h 15835"/>
                    <a:gd name="connsiteX2" fmla="*/ 0 w 13935"/>
                    <a:gd name="connsiteY2" fmla="*/ 7981 h 15835"/>
                    <a:gd name="connsiteX3" fmla="*/ 6968 w 13935"/>
                    <a:gd name="connsiteY3" fmla="*/ 0 h 15835"/>
                    <a:gd name="connsiteX4" fmla="*/ 13936 w 13935"/>
                    <a:gd name="connsiteY4" fmla="*/ 7981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5835">
                      <a:moveTo>
                        <a:pt x="13936" y="7981"/>
                      </a:moveTo>
                      <a:cubicBezTo>
                        <a:pt x="13936" y="12288"/>
                        <a:pt x="10768" y="15835"/>
                        <a:pt x="6968" y="15835"/>
                      </a:cubicBezTo>
                      <a:cubicBezTo>
                        <a:pt x="3167" y="15835"/>
                        <a:pt x="0" y="12288"/>
                        <a:pt x="0" y="7981"/>
                      </a:cubicBezTo>
                      <a:cubicBezTo>
                        <a:pt x="0" y="3547"/>
                        <a:pt x="3167" y="0"/>
                        <a:pt x="6968" y="0"/>
                      </a:cubicBezTo>
                      <a:cubicBezTo>
                        <a:pt x="10895" y="127"/>
                        <a:pt x="13936" y="3674"/>
                        <a:pt x="13936" y="79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4" name="Полилиния: фигура 453">
                  <a:extLst>
                    <a:ext uri="{FF2B5EF4-FFF2-40B4-BE49-F238E27FC236}">
                      <a16:creationId xmlns:a16="http://schemas.microsoft.com/office/drawing/2014/main" id="{FE0D5465-1689-4395-B3AF-1BE66F11AC6F}"/>
                    </a:ext>
                  </a:extLst>
                </p:cNvPr>
                <p:cNvSpPr/>
                <p:nvPr/>
              </p:nvSpPr>
              <p:spPr>
                <a:xfrm>
                  <a:off x="13172271" y="4626617"/>
                  <a:ext cx="29170" cy="50632"/>
                </a:xfrm>
                <a:custGeom>
                  <a:avLst/>
                  <a:gdLst>
                    <a:gd name="connsiteX0" fmla="*/ 3299 w 29170"/>
                    <a:gd name="connsiteY0" fmla="*/ 22426 h 50632"/>
                    <a:gd name="connsiteX1" fmla="*/ 5 w 29170"/>
                    <a:gd name="connsiteY1" fmla="*/ 10517 h 50632"/>
                    <a:gd name="connsiteX2" fmla="*/ 3172 w 29170"/>
                    <a:gd name="connsiteY2" fmla="*/ 383 h 50632"/>
                    <a:gd name="connsiteX3" fmla="*/ 12293 w 29170"/>
                    <a:gd name="connsiteY3" fmla="*/ 6844 h 50632"/>
                    <a:gd name="connsiteX4" fmla="*/ 22301 w 29170"/>
                    <a:gd name="connsiteY4" fmla="*/ 8871 h 50632"/>
                    <a:gd name="connsiteX5" fmla="*/ 27874 w 29170"/>
                    <a:gd name="connsiteY5" fmla="*/ 16978 h 50632"/>
                    <a:gd name="connsiteX6" fmla="*/ 28255 w 29170"/>
                    <a:gd name="connsiteY6" fmla="*/ 38134 h 50632"/>
                    <a:gd name="connsiteX7" fmla="*/ 11786 w 29170"/>
                    <a:gd name="connsiteY7" fmla="*/ 49029 h 50632"/>
                    <a:gd name="connsiteX8" fmla="*/ 3299 w 29170"/>
                    <a:gd name="connsiteY8" fmla="*/ 22426 h 5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0" h="50632">
                      <a:moveTo>
                        <a:pt x="3299" y="22426"/>
                      </a:moveTo>
                      <a:cubicBezTo>
                        <a:pt x="2285" y="18499"/>
                        <a:pt x="-122" y="14698"/>
                        <a:pt x="5" y="10517"/>
                      </a:cubicBezTo>
                      <a:cubicBezTo>
                        <a:pt x="5" y="8237"/>
                        <a:pt x="892" y="1523"/>
                        <a:pt x="3172" y="383"/>
                      </a:cubicBezTo>
                      <a:cubicBezTo>
                        <a:pt x="6972" y="-1644"/>
                        <a:pt x="10012" y="4943"/>
                        <a:pt x="12293" y="6844"/>
                      </a:cubicBezTo>
                      <a:cubicBezTo>
                        <a:pt x="15713" y="9631"/>
                        <a:pt x="18373" y="7604"/>
                        <a:pt x="22301" y="8871"/>
                      </a:cubicBezTo>
                      <a:cubicBezTo>
                        <a:pt x="25975" y="10137"/>
                        <a:pt x="27114" y="13431"/>
                        <a:pt x="27874" y="16978"/>
                      </a:cubicBezTo>
                      <a:cubicBezTo>
                        <a:pt x="29395" y="23313"/>
                        <a:pt x="29648" y="31800"/>
                        <a:pt x="28255" y="38134"/>
                      </a:cubicBezTo>
                      <a:cubicBezTo>
                        <a:pt x="26608" y="46242"/>
                        <a:pt x="20274" y="54096"/>
                        <a:pt x="11786" y="49029"/>
                      </a:cubicBezTo>
                      <a:cubicBezTo>
                        <a:pt x="1652" y="42695"/>
                        <a:pt x="5705" y="31927"/>
                        <a:pt x="3299" y="224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5" name="Полилиния: фигура 454">
                  <a:extLst>
                    <a:ext uri="{FF2B5EF4-FFF2-40B4-BE49-F238E27FC236}">
                      <a16:creationId xmlns:a16="http://schemas.microsoft.com/office/drawing/2014/main" id="{8FFEEADB-8B59-445B-8FF1-C81FBBF47FF1}"/>
                    </a:ext>
                  </a:extLst>
                </p:cNvPr>
                <p:cNvSpPr/>
                <p:nvPr/>
              </p:nvSpPr>
              <p:spPr>
                <a:xfrm>
                  <a:off x="13112778" y="4378368"/>
                  <a:ext cx="64907" cy="152999"/>
                </a:xfrm>
                <a:custGeom>
                  <a:avLst/>
                  <a:gdLst>
                    <a:gd name="connsiteX0" fmla="*/ 19592 w 64907"/>
                    <a:gd name="connsiteY0" fmla="*/ 62915 h 152999"/>
                    <a:gd name="connsiteX1" fmla="*/ 1983 w 64907"/>
                    <a:gd name="connsiteY1" fmla="*/ 28838 h 152999"/>
                    <a:gd name="connsiteX2" fmla="*/ 6924 w 64907"/>
                    <a:gd name="connsiteY2" fmla="*/ 1221 h 152999"/>
                    <a:gd name="connsiteX3" fmla="*/ 27827 w 64907"/>
                    <a:gd name="connsiteY3" fmla="*/ 16043 h 152999"/>
                    <a:gd name="connsiteX4" fmla="*/ 50757 w 64907"/>
                    <a:gd name="connsiteY4" fmla="*/ 42013 h 152999"/>
                    <a:gd name="connsiteX5" fmla="*/ 64818 w 64907"/>
                    <a:gd name="connsiteY5" fmla="*/ 69756 h 152999"/>
                    <a:gd name="connsiteX6" fmla="*/ 53037 w 64907"/>
                    <a:gd name="connsiteY6" fmla="*/ 100920 h 152999"/>
                    <a:gd name="connsiteX7" fmla="*/ 46956 w 64907"/>
                    <a:gd name="connsiteY7" fmla="*/ 141205 h 152999"/>
                    <a:gd name="connsiteX8" fmla="*/ 19846 w 64907"/>
                    <a:gd name="connsiteY8" fmla="*/ 142725 h 152999"/>
                    <a:gd name="connsiteX9" fmla="*/ 14905 w 64907"/>
                    <a:gd name="connsiteY9" fmla="*/ 123596 h 152999"/>
                    <a:gd name="connsiteX10" fmla="*/ 20606 w 64907"/>
                    <a:gd name="connsiteY10" fmla="*/ 108014 h 152999"/>
                    <a:gd name="connsiteX11" fmla="*/ 19592 w 64907"/>
                    <a:gd name="connsiteY11" fmla="*/ 62915 h 15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07" h="152999">
                      <a:moveTo>
                        <a:pt x="19592" y="62915"/>
                      </a:moveTo>
                      <a:cubicBezTo>
                        <a:pt x="15032" y="50880"/>
                        <a:pt x="6164" y="40999"/>
                        <a:pt x="1983" y="28838"/>
                      </a:cubicBezTo>
                      <a:cubicBezTo>
                        <a:pt x="-803" y="20730"/>
                        <a:pt x="-1817" y="6415"/>
                        <a:pt x="6924" y="1221"/>
                      </a:cubicBezTo>
                      <a:cubicBezTo>
                        <a:pt x="16172" y="-4226"/>
                        <a:pt x="23900" y="9962"/>
                        <a:pt x="27827" y="16043"/>
                      </a:cubicBezTo>
                      <a:cubicBezTo>
                        <a:pt x="34414" y="26304"/>
                        <a:pt x="41255" y="34412"/>
                        <a:pt x="50757" y="42013"/>
                      </a:cubicBezTo>
                      <a:cubicBezTo>
                        <a:pt x="59877" y="49234"/>
                        <a:pt x="65705" y="57595"/>
                        <a:pt x="64818" y="69756"/>
                      </a:cubicBezTo>
                      <a:cubicBezTo>
                        <a:pt x="63931" y="81411"/>
                        <a:pt x="57344" y="90532"/>
                        <a:pt x="53037" y="100920"/>
                      </a:cubicBezTo>
                      <a:cubicBezTo>
                        <a:pt x="47842" y="113588"/>
                        <a:pt x="51390" y="128410"/>
                        <a:pt x="46956" y="141205"/>
                      </a:cubicBezTo>
                      <a:cubicBezTo>
                        <a:pt x="41762" y="156407"/>
                        <a:pt x="26813" y="156914"/>
                        <a:pt x="19846" y="142725"/>
                      </a:cubicBezTo>
                      <a:cubicBezTo>
                        <a:pt x="17185" y="137405"/>
                        <a:pt x="13639" y="129677"/>
                        <a:pt x="14905" y="123596"/>
                      </a:cubicBezTo>
                      <a:cubicBezTo>
                        <a:pt x="16046" y="118276"/>
                        <a:pt x="19339" y="113462"/>
                        <a:pt x="20606" y="108014"/>
                      </a:cubicBezTo>
                      <a:cubicBezTo>
                        <a:pt x="24406" y="93192"/>
                        <a:pt x="25166" y="77484"/>
                        <a:pt x="19592" y="6291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6" name="Полилиния: фигура 455">
                  <a:extLst>
                    <a:ext uri="{FF2B5EF4-FFF2-40B4-BE49-F238E27FC236}">
                      <a16:creationId xmlns:a16="http://schemas.microsoft.com/office/drawing/2014/main" id="{3D200374-CFC3-4852-96CA-B424B8C7AD95}"/>
                    </a:ext>
                  </a:extLst>
                </p:cNvPr>
                <p:cNvSpPr/>
                <p:nvPr/>
              </p:nvSpPr>
              <p:spPr>
                <a:xfrm>
                  <a:off x="13056288" y="4405939"/>
                  <a:ext cx="27517" cy="16595"/>
                </a:xfrm>
                <a:custGeom>
                  <a:avLst/>
                  <a:gdLst>
                    <a:gd name="connsiteX0" fmla="*/ 579 w 27517"/>
                    <a:gd name="connsiteY0" fmla="*/ 11275 h 16595"/>
                    <a:gd name="connsiteX1" fmla="*/ 19835 w 27517"/>
                    <a:gd name="connsiteY1" fmla="*/ 0 h 16595"/>
                    <a:gd name="connsiteX2" fmla="*/ 26550 w 27517"/>
                    <a:gd name="connsiteY2" fmla="*/ 3041 h 16595"/>
                    <a:gd name="connsiteX3" fmla="*/ 24270 w 27517"/>
                    <a:gd name="connsiteY3" fmla="*/ 9755 h 16595"/>
                    <a:gd name="connsiteX4" fmla="*/ 8814 w 27517"/>
                    <a:gd name="connsiteY4" fmla="*/ 16595 h 16595"/>
                    <a:gd name="connsiteX5" fmla="*/ 579 w 27517"/>
                    <a:gd name="connsiteY5" fmla="*/ 11275 h 1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 h="16595">
                      <a:moveTo>
                        <a:pt x="579" y="11275"/>
                      </a:moveTo>
                      <a:cubicBezTo>
                        <a:pt x="-3348" y="1394"/>
                        <a:pt x="13755" y="127"/>
                        <a:pt x="19835" y="0"/>
                      </a:cubicBezTo>
                      <a:cubicBezTo>
                        <a:pt x="21989" y="0"/>
                        <a:pt x="25156" y="1394"/>
                        <a:pt x="26550" y="3041"/>
                      </a:cubicBezTo>
                      <a:cubicBezTo>
                        <a:pt x="28830" y="5701"/>
                        <a:pt x="26676" y="7981"/>
                        <a:pt x="24270" y="9755"/>
                      </a:cubicBezTo>
                      <a:cubicBezTo>
                        <a:pt x="19835" y="12795"/>
                        <a:pt x="14261" y="16469"/>
                        <a:pt x="8814" y="16595"/>
                      </a:cubicBezTo>
                      <a:cubicBezTo>
                        <a:pt x="5014" y="16595"/>
                        <a:pt x="1973" y="14695"/>
                        <a:pt x="579" y="112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57" name="Полилиния: фигура 456">
                  <a:extLst>
                    <a:ext uri="{FF2B5EF4-FFF2-40B4-BE49-F238E27FC236}">
                      <a16:creationId xmlns:a16="http://schemas.microsoft.com/office/drawing/2014/main" id="{29D4D6CB-9641-491A-8DC7-BDF990DAC672}"/>
                    </a:ext>
                  </a:extLst>
                </p:cNvPr>
                <p:cNvSpPr/>
                <p:nvPr/>
              </p:nvSpPr>
              <p:spPr>
                <a:xfrm>
                  <a:off x="13142648" y="4345737"/>
                  <a:ext cx="28854" cy="28442"/>
                </a:xfrm>
                <a:custGeom>
                  <a:avLst/>
                  <a:gdLst>
                    <a:gd name="connsiteX0" fmla="*/ 2012 w 28854"/>
                    <a:gd name="connsiteY0" fmla="*/ 1041 h 28442"/>
                    <a:gd name="connsiteX1" fmla="*/ 14933 w 28854"/>
                    <a:gd name="connsiteY1" fmla="*/ 7249 h 28442"/>
                    <a:gd name="connsiteX2" fmla="*/ 25448 w 28854"/>
                    <a:gd name="connsiteY2" fmla="*/ 18270 h 28442"/>
                    <a:gd name="connsiteX3" fmla="*/ 28361 w 28854"/>
                    <a:gd name="connsiteY3" fmla="*/ 26124 h 28442"/>
                    <a:gd name="connsiteX4" fmla="*/ 22660 w 28854"/>
                    <a:gd name="connsiteY4" fmla="*/ 28151 h 28442"/>
                    <a:gd name="connsiteX5" fmla="*/ 14046 w 28854"/>
                    <a:gd name="connsiteY5" fmla="*/ 24731 h 28442"/>
                    <a:gd name="connsiteX6" fmla="*/ 9359 w 28854"/>
                    <a:gd name="connsiteY6" fmla="*/ 17510 h 28442"/>
                    <a:gd name="connsiteX7" fmla="*/ 4672 w 28854"/>
                    <a:gd name="connsiteY7" fmla="*/ 11303 h 28442"/>
                    <a:gd name="connsiteX8" fmla="*/ 2012 w 28854"/>
                    <a:gd name="connsiteY8" fmla="*/ 1041 h 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 h="28442">
                      <a:moveTo>
                        <a:pt x="2012" y="1041"/>
                      </a:moveTo>
                      <a:cubicBezTo>
                        <a:pt x="7839" y="-2253"/>
                        <a:pt x="12273" y="2942"/>
                        <a:pt x="14933" y="7249"/>
                      </a:cubicBezTo>
                      <a:cubicBezTo>
                        <a:pt x="17593" y="11556"/>
                        <a:pt x="21900" y="14723"/>
                        <a:pt x="25448" y="18270"/>
                      </a:cubicBezTo>
                      <a:cubicBezTo>
                        <a:pt x="27601" y="20550"/>
                        <a:pt x="29881" y="22704"/>
                        <a:pt x="28361" y="26124"/>
                      </a:cubicBezTo>
                      <a:cubicBezTo>
                        <a:pt x="27221" y="28785"/>
                        <a:pt x="25194" y="28658"/>
                        <a:pt x="22660" y="28151"/>
                      </a:cubicBezTo>
                      <a:cubicBezTo>
                        <a:pt x="19747" y="27518"/>
                        <a:pt x="16326" y="26884"/>
                        <a:pt x="14046" y="24731"/>
                      </a:cubicBezTo>
                      <a:cubicBezTo>
                        <a:pt x="11893" y="22704"/>
                        <a:pt x="11133" y="19790"/>
                        <a:pt x="9359" y="17510"/>
                      </a:cubicBezTo>
                      <a:cubicBezTo>
                        <a:pt x="7712" y="15483"/>
                        <a:pt x="6319" y="13330"/>
                        <a:pt x="4672" y="11303"/>
                      </a:cubicBezTo>
                      <a:cubicBezTo>
                        <a:pt x="2518" y="8896"/>
                        <a:pt x="-2929" y="3828"/>
                        <a:pt x="2012" y="104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458" name="Рисунок 388">
              <a:extLst>
                <a:ext uri="{FF2B5EF4-FFF2-40B4-BE49-F238E27FC236}">
                  <a16:creationId xmlns:a16="http://schemas.microsoft.com/office/drawing/2014/main" id="{1DA397FD-DC6E-439E-BB40-D0F80476817D}"/>
                </a:ext>
              </a:extLst>
            </p:cNvPr>
            <p:cNvGrpSpPr/>
            <p:nvPr/>
          </p:nvGrpSpPr>
          <p:grpSpPr>
            <a:xfrm>
              <a:off x="12441191" y="2983468"/>
              <a:ext cx="917473" cy="1320071"/>
              <a:chOff x="12441191" y="2983468"/>
              <a:chExt cx="917473" cy="1320071"/>
            </a:xfrm>
            <a:solidFill>
              <a:srgbClr val="E3E8EC"/>
            </a:solidFill>
          </p:grpSpPr>
          <p:sp>
            <p:nvSpPr>
              <p:cNvPr id="459" name="Полилиния: фигура 458">
                <a:extLst>
                  <a:ext uri="{FF2B5EF4-FFF2-40B4-BE49-F238E27FC236}">
                    <a16:creationId xmlns:a16="http://schemas.microsoft.com/office/drawing/2014/main" id="{F6DCD1F3-4F9B-435F-9827-E31C990A3FCC}"/>
                  </a:ext>
                </a:extLst>
              </p:cNvPr>
              <p:cNvSpPr/>
              <p:nvPr/>
            </p:nvSpPr>
            <p:spPr>
              <a:xfrm>
                <a:off x="12441191" y="3111117"/>
                <a:ext cx="712822" cy="1192422"/>
              </a:xfrm>
              <a:custGeom>
                <a:avLst/>
                <a:gdLst>
                  <a:gd name="connsiteX0" fmla="*/ 661410 w 712822"/>
                  <a:gd name="connsiteY0" fmla="*/ 1183088 h 1192422"/>
                  <a:gd name="connsiteX1" fmla="*/ 623278 w 712822"/>
                  <a:gd name="connsiteY1" fmla="*/ 1165479 h 1192422"/>
                  <a:gd name="connsiteX2" fmla="*/ 590721 w 712822"/>
                  <a:gd name="connsiteY2" fmla="*/ 1147997 h 1192422"/>
                  <a:gd name="connsiteX3" fmla="*/ 576786 w 712822"/>
                  <a:gd name="connsiteY3" fmla="*/ 1124307 h 1192422"/>
                  <a:gd name="connsiteX4" fmla="*/ 553222 w 712822"/>
                  <a:gd name="connsiteY4" fmla="*/ 1096944 h 1192422"/>
                  <a:gd name="connsiteX5" fmla="*/ 527126 w 712822"/>
                  <a:gd name="connsiteY5" fmla="*/ 1081235 h 1192422"/>
                  <a:gd name="connsiteX6" fmla="*/ 498876 w 712822"/>
                  <a:gd name="connsiteY6" fmla="*/ 1069960 h 1192422"/>
                  <a:gd name="connsiteX7" fmla="*/ 483547 w 712822"/>
                  <a:gd name="connsiteY7" fmla="*/ 1046904 h 1192422"/>
                  <a:gd name="connsiteX8" fmla="*/ 456057 w 712822"/>
                  <a:gd name="connsiteY8" fmla="*/ 1029929 h 1192422"/>
                  <a:gd name="connsiteX9" fmla="*/ 425907 w 712822"/>
                  <a:gd name="connsiteY9" fmla="*/ 1023341 h 1192422"/>
                  <a:gd name="connsiteX10" fmla="*/ 390815 w 712822"/>
                  <a:gd name="connsiteY10" fmla="*/ 998638 h 1192422"/>
                  <a:gd name="connsiteX11" fmla="*/ 352937 w 712822"/>
                  <a:gd name="connsiteY11" fmla="*/ 971148 h 1192422"/>
                  <a:gd name="connsiteX12" fmla="*/ 311513 w 712822"/>
                  <a:gd name="connsiteY12" fmla="*/ 948599 h 1192422"/>
                  <a:gd name="connsiteX13" fmla="*/ 289343 w 712822"/>
                  <a:gd name="connsiteY13" fmla="*/ 927949 h 1192422"/>
                  <a:gd name="connsiteX14" fmla="*/ 266414 w 712822"/>
                  <a:gd name="connsiteY14" fmla="*/ 913761 h 1192422"/>
                  <a:gd name="connsiteX15" fmla="*/ 239177 w 712822"/>
                  <a:gd name="connsiteY15" fmla="*/ 881837 h 1192422"/>
                  <a:gd name="connsiteX16" fmla="*/ 207126 w 712822"/>
                  <a:gd name="connsiteY16" fmla="*/ 859414 h 1192422"/>
                  <a:gd name="connsiteX17" fmla="*/ 155819 w 712822"/>
                  <a:gd name="connsiteY17" fmla="*/ 840538 h 1192422"/>
                  <a:gd name="connsiteX18" fmla="*/ 132257 w 712822"/>
                  <a:gd name="connsiteY18" fmla="*/ 825210 h 1192422"/>
                  <a:gd name="connsiteX19" fmla="*/ 94758 w 712822"/>
                  <a:gd name="connsiteY19" fmla="*/ 784291 h 1192422"/>
                  <a:gd name="connsiteX20" fmla="*/ 32684 w 712822"/>
                  <a:gd name="connsiteY20" fmla="*/ 720950 h 1192422"/>
                  <a:gd name="connsiteX21" fmla="*/ 0 w 712822"/>
                  <a:gd name="connsiteY21" fmla="*/ 703088 h 1192422"/>
                  <a:gd name="connsiteX22" fmla="*/ 3547 w 712822"/>
                  <a:gd name="connsiteY22" fmla="*/ 701568 h 1192422"/>
                  <a:gd name="connsiteX23" fmla="*/ 32304 w 712822"/>
                  <a:gd name="connsiteY23" fmla="*/ 698274 h 1192422"/>
                  <a:gd name="connsiteX24" fmla="*/ 62962 w 712822"/>
                  <a:gd name="connsiteY24" fmla="*/ 684719 h 1192422"/>
                  <a:gd name="connsiteX25" fmla="*/ 78163 w 712822"/>
                  <a:gd name="connsiteY25" fmla="*/ 645954 h 1192422"/>
                  <a:gd name="connsiteX26" fmla="*/ 94885 w 712822"/>
                  <a:gd name="connsiteY26" fmla="*/ 610230 h 1192422"/>
                  <a:gd name="connsiteX27" fmla="*/ 112241 w 712822"/>
                  <a:gd name="connsiteY27" fmla="*/ 588440 h 1192422"/>
                  <a:gd name="connsiteX28" fmla="*/ 145052 w 712822"/>
                  <a:gd name="connsiteY28" fmla="*/ 580333 h 1192422"/>
                  <a:gd name="connsiteX29" fmla="*/ 140364 w 712822"/>
                  <a:gd name="connsiteY29" fmla="*/ 548408 h 1192422"/>
                  <a:gd name="connsiteX30" fmla="*/ 150245 w 712822"/>
                  <a:gd name="connsiteY30" fmla="*/ 504576 h 1192422"/>
                  <a:gd name="connsiteX31" fmla="*/ 132130 w 712822"/>
                  <a:gd name="connsiteY31" fmla="*/ 471385 h 1192422"/>
                  <a:gd name="connsiteX32" fmla="*/ 91972 w 712822"/>
                  <a:gd name="connsiteY32" fmla="*/ 481140 h 1192422"/>
                  <a:gd name="connsiteX33" fmla="*/ 52574 w 712822"/>
                  <a:gd name="connsiteY33" fmla="*/ 481267 h 1192422"/>
                  <a:gd name="connsiteX34" fmla="*/ 32811 w 712822"/>
                  <a:gd name="connsiteY34" fmla="*/ 416152 h 1192422"/>
                  <a:gd name="connsiteX35" fmla="*/ 72842 w 712822"/>
                  <a:gd name="connsiteY35" fmla="*/ 385115 h 1192422"/>
                  <a:gd name="connsiteX36" fmla="*/ 106920 w 712822"/>
                  <a:gd name="connsiteY36" fmla="*/ 380808 h 1192422"/>
                  <a:gd name="connsiteX37" fmla="*/ 122502 w 712822"/>
                  <a:gd name="connsiteY37" fmla="*/ 357371 h 1192422"/>
                  <a:gd name="connsiteX38" fmla="*/ 133397 w 712822"/>
                  <a:gd name="connsiteY38" fmla="*/ 324307 h 1192422"/>
                  <a:gd name="connsiteX39" fmla="*/ 132637 w 712822"/>
                  <a:gd name="connsiteY39" fmla="*/ 269580 h 1192422"/>
                  <a:gd name="connsiteX40" fmla="*/ 124149 w 712822"/>
                  <a:gd name="connsiteY40" fmla="*/ 232716 h 1192422"/>
                  <a:gd name="connsiteX41" fmla="*/ 114141 w 712822"/>
                  <a:gd name="connsiteY41" fmla="*/ 199525 h 1192422"/>
                  <a:gd name="connsiteX42" fmla="*/ 110341 w 712822"/>
                  <a:gd name="connsiteY42" fmla="*/ 177356 h 1192422"/>
                  <a:gd name="connsiteX43" fmla="*/ 92858 w 712822"/>
                  <a:gd name="connsiteY43" fmla="*/ 149485 h 1192422"/>
                  <a:gd name="connsiteX44" fmla="*/ 93998 w 712822"/>
                  <a:gd name="connsiteY44" fmla="*/ 109580 h 1192422"/>
                  <a:gd name="connsiteX45" fmla="*/ 148345 w 712822"/>
                  <a:gd name="connsiteY45" fmla="*/ 93618 h 1192422"/>
                  <a:gd name="connsiteX46" fmla="*/ 170642 w 712822"/>
                  <a:gd name="connsiteY46" fmla="*/ 62708 h 1192422"/>
                  <a:gd name="connsiteX47" fmla="*/ 189770 w 712822"/>
                  <a:gd name="connsiteY47" fmla="*/ 31924 h 1192422"/>
                  <a:gd name="connsiteX48" fmla="*/ 221821 w 712822"/>
                  <a:gd name="connsiteY48" fmla="*/ 1647 h 1192422"/>
                  <a:gd name="connsiteX49" fmla="*/ 224482 w 712822"/>
                  <a:gd name="connsiteY49" fmla="*/ 0 h 1192422"/>
                  <a:gd name="connsiteX50" fmla="*/ 255392 w 712822"/>
                  <a:gd name="connsiteY50" fmla="*/ 34458 h 1192422"/>
                  <a:gd name="connsiteX51" fmla="*/ 277435 w 712822"/>
                  <a:gd name="connsiteY51" fmla="*/ 39145 h 1192422"/>
                  <a:gd name="connsiteX52" fmla="*/ 302391 w 712822"/>
                  <a:gd name="connsiteY52" fmla="*/ 59794 h 1192422"/>
                  <a:gd name="connsiteX53" fmla="*/ 325828 w 712822"/>
                  <a:gd name="connsiteY53" fmla="*/ 45732 h 1192422"/>
                  <a:gd name="connsiteX54" fmla="*/ 387522 w 712822"/>
                  <a:gd name="connsiteY54" fmla="*/ 56754 h 1192422"/>
                  <a:gd name="connsiteX55" fmla="*/ 426287 w 712822"/>
                  <a:gd name="connsiteY55" fmla="*/ 119968 h 1192422"/>
                  <a:gd name="connsiteX56" fmla="*/ 366746 w 712822"/>
                  <a:gd name="connsiteY56" fmla="*/ 148472 h 1192422"/>
                  <a:gd name="connsiteX57" fmla="*/ 384481 w 712822"/>
                  <a:gd name="connsiteY57" fmla="*/ 218654 h 1192422"/>
                  <a:gd name="connsiteX58" fmla="*/ 421346 w 712822"/>
                  <a:gd name="connsiteY58" fmla="*/ 286556 h 1192422"/>
                  <a:gd name="connsiteX59" fmla="*/ 491782 w 712822"/>
                  <a:gd name="connsiteY59" fmla="*/ 318606 h 1192422"/>
                  <a:gd name="connsiteX60" fmla="*/ 548535 w 712822"/>
                  <a:gd name="connsiteY60" fmla="*/ 352811 h 1192422"/>
                  <a:gd name="connsiteX61" fmla="*/ 534854 w 712822"/>
                  <a:gd name="connsiteY61" fmla="*/ 423119 h 1192422"/>
                  <a:gd name="connsiteX62" fmla="*/ 500269 w 712822"/>
                  <a:gd name="connsiteY62" fmla="*/ 455677 h 1192422"/>
                  <a:gd name="connsiteX63" fmla="*/ 505083 w 712822"/>
                  <a:gd name="connsiteY63" fmla="*/ 508884 h 1192422"/>
                  <a:gd name="connsiteX64" fmla="*/ 519271 w 712822"/>
                  <a:gd name="connsiteY64" fmla="*/ 535994 h 1192422"/>
                  <a:gd name="connsiteX65" fmla="*/ 519905 w 712822"/>
                  <a:gd name="connsiteY65" fmla="*/ 557150 h 1192422"/>
                  <a:gd name="connsiteX66" fmla="*/ 531053 w 712822"/>
                  <a:gd name="connsiteY66" fmla="*/ 598955 h 1192422"/>
                  <a:gd name="connsiteX67" fmla="*/ 561963 w 712822"/>
                  <a:gd name="connsiteY67" fmla="*/ 626445 h 1192422"/>
                  <a:gd name="connsiteX68" fmla="*/ 602122 w 712822"/>
                  <a:gd name="connsiteY68" fmla="*/ 658622 h 1192422"/>
                  <a:gd name="connsiteX69" fmla="*/ 640000 w 712822"/>
                  <a:gd name="connsiteY69" fmla="*/ 677625 h 1192422"/>
                  <a:gd name="connsiteX70" fmla="*/ 605289 w 712822"/>
                  <a:gd name="connsiteY70" fmla="*/ 703975 h 1192422"/>
                  <a:gd name="connsiteX71" fmla="*/ 579066 w 712822"/>
                  <a:gd name="connsiteY71" fmla="*/ 789105 h 1192422"/>
                  <a:gd name="connsiteX72" fmla="*/ 550182 w 712822"/>
                  <a:gd name="connsiteY72" fmla="*/ 811275 h 1192422"/>
                  <a:gd name="connsiteX73" fmla="*/ 588440 w 712822"/>
                  <a:gd name="connsiteY73" fmla="*/ 819636 h 1192422"/>
                  <a:gd name="connsiteX74" fmla="*/ 604276 w 712822"/>
                  <a:gd name="connsiteY74" fmla="*/ 853460 h 1192422"/>
                  <a:gd name="connsiteX75" fmla="*/ 631132 w 712822"/>
                  <a:gd name="connsiteY75" fmla="*/ 884751 h 1192422"/>
                  <a:gd name="connsiteX76" fmla="*/ 654315 w 712822"/>
                  <a:gd name="connsiteY76" fmla="*/ 912874 h 1192422"/>
                  <a:gd name="connsiteX77" fmla="*/ 680792 w 712822"/>
                  <a:gd name="connsiteY77" fmla="*/ 985843 h 1192422"/>
                  <a:gd name="connsiteX78" fmla="*/ 695613 w 712822"/>
                  <a:gd name="connsiteY78" fmla="*/ 1023468 h 1192422"/>
                  <a:gd name="connsiteX79" fmla="*/ 691433 w 712822"/>
                  <a:gd name="connsiteY79" fmla="*/ 1062359 h 1192422"/>
                  <a:gd name="connsiteX80" fmla="*/ 699667 w 712822"/>
                  <a:gd name="connsiteY80" fmla="*/ 1097071 h 1192422"/>
                  <a:gd name="connsiteX81" fmla="*/ 699794 w 712822"/>
                  <a:gd name="connsiteY81" fmla="*/ 1129121 h 1192422"/>
                  <a:gd name="connsiteX82" fmla="*/ 711829 w 712822"/>
                  <a:gd name="connsiteY82" fmla="*/ 1169406 h 1192422"/>
                  <a:gd name="connsiteX83" fmla="*/ 661410 w 712822"/>
                  <a:gd name="connsiteY83" fmla="*/ 1183088 h 119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2822" h="1192422">
                    <a:moveTo>
                      <a:pt x="661410" y="1183088"/>
                    </a:moveTo>
                    <a:cubicBezTo>
                      <a:pt x="647981" y="1179034"/>
                      <a:pt x="635566" y="1172193"/>
                      <a:pt x="623278" y="1165479"/>
                    </a:cubicBezTo>
                    <a:cubicBezTo>
                      <a:pt x="613270" y="1160032"/>
                      <a:pt x="598828" y="1155851"/>
                      <a:pt x="590721" y="1147997"/>
                    </a:cubicBezTo>
                    <a:cubicBezTo>
                      <a:pt x="584386" y="1142043"/>
                      <a:pt x="581473" y="1131655"/>
                      <a:pt x="576786" y="1124307"/>
                    </a:cubicBezTo>
                    <a:cubicBezTo>
                      <a:pt x="570325" y="1114046"/>
                      <a:pt x="563104" y="1104292"/>
                      <a:pt x="553222" y="1096944"/>
                    </a:cubicBezTo>
                    <a:cubicBezTo>
                      <a:pt x="545368" y="1091116"/>
                      <a:pt x="536500" y="1084022"/>
                      <a:pt x="527126" y="1081235"/>
                    </a:cubicBezTo>
                    <a:cubicBezTo>
                      <a:pt x="516864" y="1078195"/>
                      <a:pt x="507363" y="1077561"/>
                      <a:pt x="498876" y="1069960"/>
                    </a:cubicBezTo>
                    <a:cubicBezTo>
                      <a:pt x="491655" y="1063500"/>
                      <a:pt x="489121" y="1054252"/>
                      <a:pt x="483547" y="1046904"/>
                    </a:cubicBezTo>
                    <a:cubicBezTo>
                      <a:pt x="476960" y="1038290"/>
                      <a:pt x="466572" y="1032842"/>
                      <a:pt x="456057" y="1029929"/>
                    </a:cubicBezTo>
                    <a:cubicBezTo>
                      <a:pt x="446176" y="1027142"/>
                      <a:pt x="435661" y="1026508"/>
                      <a:pt x="425907" y="1023341"/>
                    </a:cubicBezTo>
                    <a:cubicBezTo>
                      <a:pt x="413745" y="1019287"/>
                      <a:pt x="400316" y="1006999"/>
                      <a:pt x="390815" y="998638"/>
                    </a:cubicBezTo>
                    <a:cubicBezTo>
                      <a:pt x="379668" y="988884"/>
                      <a:pt x="365606" y="977989"/>
                      <a:pt x="352937" y="971148"/>
                    </a:cubicBezTo>
                    <a:cubicBezTo>
                      <a:pt x="338749" y="963420"/>
                      <a:pt x="325321" y="957340"/>
                      <a:pt x="311513" y="948599"/>
                    </a:cubicBezTo>
                    <a:cubicBezTo>
                      <a:pt x="303024" y="943278"/>
                      <a:pt x="296817" y="934537"/>
                      <a:pt x="289343" y="927949"/>
                    </a:cubicBezTo>
                    <a:cubicBezTo>
                      <a:pt x="281995" y="921488"/>
                      <a:pt x="273127" y="919335"/>
                      <a:pt x="266414" y="913761"/>
                    </a:cubicBezTo>
                    <a:cubicBezTo>
                      <a:pt x="256152" y="905273"/>
                      <a:pt x="248931" y="891338"/>
                      <a:pt x="239177" y="881837"/>
                    </a:cubicBezTo>
                    <a:cubicBezTo>
                      <a:pt x="229802" y="872589"/>
                      <a:pt x="219034" y="864608"/>
                      <a:pt x="207126" y="859414"/>
                    </a:cubicBezTo>
                    <a:cubicBezTo>
                      <a:pt x="190277" y="852193"/>
                      <a:pt x="172415" y="848900"/>
                      <a:pt x="155819" y="840538"/>
                    </a:cubicBezTo>
                    <a:cubicBezTo>
                      <a:pt x="147459" y="836358"/>
                      <a:pt x="139351" y="831417"/>
                      <a:pt x="132257" y="825210"/>
                    </a:cubicBezTo>
                    <a:cubicBezTo>
                      <a:pt x="118575" y="813302"/>
                      <a:pt x="108061" y="796960"/>
                      <a:pt x="94758" y="784291"/>
                    </a:cubicBezTo>
                    <a:cubicBezTo>
                      <a:pt x="73223" y="763895"/>
                      <a:pt x="59034" y="736152"/>
                      <a:pt x="32684" y="720950"/>
                    </a:cubicBezTo>
                    <a:cubicBezTo>
                      <a:pt x="22043" y="714743"/>
                      <a:pt x="9628" y="710815"/>
                      <a:pt x="0" y="703088"/>
                    </a:cubicBezTo>
                    <a:cubicBezTo>
                      <a:pt x="1140" y="702581"/>
                      <a:pt x="2407" y="702075"/>
                      <a:pt x="3547" y="701568"/>
                    </a:cubicBezTo>
                    <a:cubicBezTo>
                      <a:pt x="12795" y="697767"/>
                      <a:pt x="22550" y="699414"/>
                      <a:pt x="32304" y="698274"/>
                    </a:cubicBezTo>
                    <a:cubicBezTo>
                      <a:pt x="43452" y="697007"/>
                      <a:pt x="54727" y="692320"/>
                      <a:pt x="62962" y="684719"/>
                    </a:cubicBezTo>
                    <a:cubicBezTo>
                      <a:pt x="73983" y="674584"/>
                      <a:pt x="75376" y="659889"/>
                      <a:pt x="78163" y="645954"/>
                    </a:cubicBezTo>
                    <a:cubicBezTo>
                      <a:pt x="81077" y="631892"/>
                      <a:pt x="86777" y="621884"/>
                      <a:pt x="94885" y="610230"/>
                    </a:cubicBezTo>
                    <a:cubicBezTo>
                      <a:pt x="100332" y="602629"/>
                      <a:pt x="102866" y="592494"/>
                      <a:pt x="112241" y="588440"/>
                    </a:cubicBezTo>
                    <a:cubicBezTo>
                      <a:pt x="120602" y="584766"/>
                      <a:pt x="139857" y="588820"/>
                      <a:pt x="145052" y="580333"/>
                    </a:cubicBezTo>
                    <a:cubicBezTo>
                      <a:pt x="149866" y="572478"/>
                      <a:pt x="139857" y="557276"/>
                      <a:pt x="140364" y="548408"/>
                    </a:cubicBezTo>
                    <a:cubicBezTo>
                      <a:pt x="141125" y="533460"/>
                      <a:pt x="149866" y="520032"/>
                      <a:pt x="150245" y="504576"/>
                    </a:cubicBezTo>
                    <a:cubicBezTo>
                      <a:pt x="150626" y="491908"/>
                      <a:pt x="147459" y="473412"/>
                      <a:pt x="132130" y="471385"/>
                    </a:cubicBezTo>
                    <a:cubicBezTo>
                      <a:pt x="118828" y="469612"/>
                      <a:pt x="104513" y="477846"/>
                      <a:pt x="91972" y="481140"/>
                    </a:cubicBezTo>
                    <a:cubicBezTo>
                      <a:pt x="78923" y="484561"/>
                      <a:pt x="65621" y="485194"/>
                      <a:pt x="52574" y="481267"/>
                    </a:cubicBezTo>
                    <a:cubicBezTo>
                      <a:pt x="24450" y="472652"/>
                      <a:pt x="18749" y="439842"/>
                      <a:pt x="32811" y="416152"/>
                    </a:cubicBezTo>
                    <a:cubicBezTo>
                      <a:pt x="41425" y="401583"/>
                      <a:pt x="57388" y="391196"/>
                      <a:pt x="72842" y="385115"/>
                    </a:cubicBezTo>
                    <a:cubicBezTo>
                      <a:pt x="84624" y="380428"/>
                      <a:pt x="95139" y="382708"/>
                      <a:pt x="106920" y="380808"/>
                    </a:cubicBezTo>
                    <a:cubicBezTo>
                      <a:pt x="118955" y="378781"/>
                      <a:pt x="120982" y="367759"/>
                      <a:pt x="122502" y="357371"/>
                    </a:cubicBezTo>
                    <a:cubicBezTo>
                      <a:pt x="124276" y="344956"/>
                      <a:pt x="129090" y="335835"/>
                      <a:pt x="133397" y="324307"/>
                    </a:cubicBezTo>
                    <a:cubicBezTo>
                      <a:pt x="139984" y="306698"/>
                      <a:pt x="136564" y="287443"/>
                      <a:pt x="132637" y="269580"/>
                    </a:cubicBezTo>
                    <a:cubicBezTo>
                      <a:pt x="129976" y="257292"/>
                      <a:pt x="127443" y="244877"/>
                      <a:pt x="124149" y="232716"/>
                    </a:cubicBezTo>
                    <a:cubicBezTo>
                      <a:pt x="121235" y="221694"/>
                      <a:pt x="115661" y="210800"/>
                      <a:pt x="114141" y="199525"/>
                    </a:cubicBezTo>
                    <a:cubicBezTo>
                      <a:pt x="113001" y="191671"/>
                      <a:pt x="114141" y="184830"/>
                      <a:pt x="110341" y="177356"/>
                    </a:cubicBezTo>
                    <a:cubicBezTo>
                      <a:pt x="105400" y="167474"/>
                      <a:pt x="96278" y="160127"/>
                      <a:pt x="92858" y="149485"/>
                    </a:cubicBezTo>
                    <a:cubicBezTo>
                      <a:pt x="88678" y="136437"/>
                      <a:pt x="82090" y="120348"/>
                      <a:pt x="93998" y="109580"/>
                    </a:cubicBezTo>
                    <a:cubicBezTo>
                      <a:pt x="108821" y="96405"/>
                      <a:pt x="131750" y="103880"/>
                      <a:pt x="148345" y="93618"/>
                    </a:cubicBezTo>
                    <a:cubicBezTo>
                      <a:pt x="159873" y="86397"/>
                      <a:pt x="164687" y="74236"/>
                      <a:pt x="170642" y="62708"/>
                    </a:cubicBezTo>
                    <a:cubicBezTo>
                      <a:pt x="176215" y="52067"/>
                      <a:pt x="183310" y="42312"/>
                      <a:pt x="189770" y="31924"/>
                    </a:cubicBezTo>
                    <a:cubicBezTo>
                      <a:pt x="198511" y="17735"/>
                      <a:pt x="207760" y="10388"/>
                      <a:pt x="221821" y="1647"/>
                    </a:cubicBezTo>
                    <a:cubicBezTo>
                      <a:pt x="222708" y="1140"/>
                      <a:pt x="223595" y="507"/>
                      <a:pt x="224482" y="0"/>
                    </a:cubicBezTo>
                    <a:cubicBezTo>
                      <a:pt x="226635" y="17609"/>
                      <a:pt x="231829" y="30150"/>
                      <a:pt x="255392" y="34458"/>
                    </a:cubicBezTo>
                    <a:cubicBezTo>
                      <a:pt x="263247" y="35851"/>
                      <a:pt x="270214" y="34838"/>
                      <a:pt x="277435" y="39145"/>
                    </a:cubicBezTo>
                    <a:cubicBezTo>
                      <a:pt x="286302" y="44465"/>
                      <a:pt x="291497" y="57641"/>
                      <a:pt x="302391" y="59794"/>
                    </a:cubicBezTo>
                    <a:cubicBezTo>
                      <a:pt x="312019" y="61694"/>
                      <a:pt x="319240" y="51053"/>
                      <a:pt x="325828" y="45732"/>
                    </a:cubicBezTo>
                    <a:cubicBezTo>
                      <a:pt x="349517" y="26730"/>
                      <a:pt x="364845" y="47253"/>
                      <a:pt x="387522" y="56754"/>
                    </a:cubicBezTo>
                    <a:cubicBezTo>
                      <a:pt x="413365" y="67522"/>
                      <a:pt x="442502" y="86524"/>
                      <a:pt x="426287" y="119968"/>
                    </a:cubicBezTo>
                    <a:cubicBezTo>
                      <a:pt x="413872" y="145558"/>
                      <a:pt x="381694" y="127189"/>
                      <a:pt x="366746" y="148472"/>
                    </a:cubicBezTo>
                    <a:cubicBezTo>
                      <a:pt x="349137" y="173428"/>
                      <a:pt x="372953" y="197878"/>
                      <a:pt x="384481" y="218654"/>
                    </a:cubicBezTo>
                    <a:cubicBezTo>
                      <a:pt x="397403" y="241837"/>
                      <a:pt x="399050" y="269200"/>
                      <a:pt x="421346" y="286556"/>
                    </a:cubicBezTo>
                    <a:cubicBezTo>
                      <a:pt x="441235" y="302138"/>
                      <a:pt x="467459" y="312652"/>
                      <a:pt x="491782" y="318606"/>
                    </a:cubicBezTo>
                    <a:cubicBezTo>
                      <a:pt x="515598" y="324434"/>
                      <a:pt x="537767" y="327728"/>
                      <a:pt x="548535" y="352811"/>
                    </a:cubicBezTo>
                    <a:cubicBezTo>
                      <a:pt x="558796" y="376754"/>
                      <a:pt x="555883" y="406017"/>
                      <a:pt x="534854" y="423119"/>
                    </a:cubicBezTo>
                    <a:cubicBezTo>
                      <a:pt x="522819" y="432747"/>
                      <a:pt x="506603" y="440602"/>
                      <a:pt x="500269" y="455677"/>
                    </a:cubicBezTo>
                    <a:cubicBezTo>
                      <a:pt x="494315" y="470245"/>
                      <a:pt x="500396" y="494695"/>
                      <a:pt x="505083" y="508884"/>
                    </a:cubicBezTo>
                    <a:cubicBezTo>
                      <a:pt x="508377" y="518638"/>
                      <a:pt x="516612" y="525986"/>
                      <a:pt x="519271" y="535994"/>
                    </a:cubicBezTo>
                    <a:cubicBezTo>
                      <a:pt x="521172" y="542835"/>
                      <a:pt x="519398" y="550182"/>
                      <a:pt x="519905" y="557150"/>
                    </a:cubicBezTo>
                    <a:cubicBezTo>
                      <a:pt x="520792" y="571085"/>
                      <a:pt x="524212" y="586793"/>
                      <a:pt x="531053" y="598955"/>
                    </a:cubicBezTo>
                    <a:cubicBezTo>
                      <a:pt x="539667" y="614283"/>
                      <a:pt x="547902" y="617450"/>
                      <a:pt x="561963" y="626445"/>
                    </a:cubicBezTo>
                    <a:cubicBezTo>
                      <a:pt x="576659" y="635946"/>
                      <a:pt x="585653" y="653808"/>
                      <a:pt x="602122" y="658622"/>
                    </a:cubicBezTo>
                    <a:cubicBezTo>
                      <a:pt x="614917" y="662423"/>
                      <a:pt x="633539" y="663436"/>
                      <a:pt x="640000" y="677625"/>
                    </a:cubicBezTo>
                    <a:cubicBezTo>
                      <a:pt x="647474" y="694220"/>
                      <a:pt x="613523" y="693713"/>
                      <a:pt x="605289" y="703975"/>
                    </a:cubicBezTo>
                    <a:cubicBezTo>
                      <a:pt x="588187" y="725257"/>
                      <a:pt x="611497" y="778591"/>
                      <a:pt x="579066" y="789105"/>
                    </a:cubicBezTo>
                    <a:cubicBezTo>
                      <a:pt x="567791" y="792779"/>
                      <a:pt x="540048" y="788725"/>
                      <a:pt x="550182" y="811275"/>
                    </a:cubicBezTo>
                    <a:cubicBezTo>
                      <a:pt x="556516" y="825336"/>
                      <a:pt x="576405" y="816849"/>
                      <a:pt x="588440" y="819636"/>
                    </a:cubicBezTo>
                    <a:cubicBezTo>
                      <a:pt x="610483" y="824830"/>
                      <a:pt x="604022" y="835978"/>
                      <a:pt x="604276" y="853460"/>
                    </a:cubicBezTo>
                    <a:cubicBezTo>
                      <a:pt x="604529" y="871322"/>
                      <a:pt x="617324" y="877276"/>
                      <a:pt x="631132" y="884751"/>
                    </a:cubicBezTo>
                    <a:cubicBezTo>
                      <a:pt x="642407" y="890831"/>
                      <a:pt x="650768" y="900459"/>
                      <a:pt x="654315" y="912874"/>
                    </a:cubicBezTo>
                    <a:cubicBezTo>
                      <a:pt x="661789" y="938464"/>
                      <a:pt x="677118" y="959367"/>
                      <a:pt x="680792" y="985843"/>
                    </a:cubicBezTo>
                    <a:cubicBezTo>
                      <a:pt x="682819" y="1000032"/>
                      <a:pt x="691940" y="1010040"/>
                      <a:pt x="695613" y="1023468"/>
                    </a:cubicBezTo>
                    <a:cubicBezTo>
                      <a:pt x="699541" y="1037403"/>
                      <a:pt x="693207" y="1048805"/>
                      <a:pt x="691433" y="1062359"/>
                    </a:cubicBezTo>
                    <a:cubicBezTo>
                      <a:pt x="689786" y="1075534"/>
                      <a:pt x="696374" y="1084909"/>
                      <a:pt x="699667" y="1097071"/>
                    </a:cubicBezTo>
                    <a:cubicBezTo>
                      <a:pt x="702708" y="1108345"/>
                      <a:pt x="699288" y="1117973"/>
                      <a:pt x="699794" y="1129121"/>
                    </a:cubicBezTo>
                    <a:cubicBezTo>
                      <a:pt x="700427" y="1143310"/>
                      <a:pt x="709168" y="1155725"/>
                      <a:pt x="711829" y="1169406"/>
                    </a:cubicBezTo>
                    <a:cubicBezTo>
                      <a:pt x="719430" y="1206271"/>
                      <a:pt x="681552" y="1189295"/>
                      <a:pt x="661410" y="11830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0" name="Полилиния: фигура 459">
                <a:extLst>
                  <a:ext uri="{FF2B5EF4-FFF2-40B4-BE49-F238E27FC236}">
                    <a16:creationId xmlns:a16="http://schemas.microsoft.com/office/drawing/2014/main" id="{29E46450-F533-49D4-86AF-0CE3C082424B}"/>
                  </a:ext>
                </a:extLst>
              </p:cNvPr>
              <p:cNvSpPr/>
              <p:nvPr/>
            </p:nvSpPr>
            <p:spPr>
              <a:xfrm>
                <a:off x="13131348" y="3056577"/>
                <a:ext cx="118036" cy="33687"/>
              </a:xfrm>
              <a:custGeom>
                <a:avLst/>
                <a:gdLst>
                  <a:gd name="connsiteX0" fmla="*/ 41055 w 118036"/>
                  <a:gd name="connsiteY0" fmla="*/ 28951 h 33687"/>
                  <a:gd name="connsiteX1" fmla="*/ 136 w 118036"/>
                  <a:gd name="connsiteY1" fmla="*/ 15649 h 33687"/>
                  <a:gd name="connsiteX2" fmla="*/ 11917 w 118036"/>
                  <a:gd name="connsiteY2" fmla="*/ 194 h 33687"/>
                  <a:gd name="connsiteX3" fmla="*/ 32567 w 118036"/>
                  <a:gd name="connsiteY3" fmla="*/ 8808 h 33687"/>
                  <a:gd name="connsiteX4" fmla="*/ 87547 w 118036"/>
                  <a:gd name="connsiteY4" fmla="*/ 7288 h 33687"/>
                  <a:gd name="connsiteX5" fmla="*/ 115544 w 118036"/>
                  <a:gd name="connsiteY5" fmla="*/ 17296 h 33687"/>
                  <a:gd name="connsiteX6" fmla="*/ 107689 w 118036"/>
                  <a:gd name="connsiteY6" fmla="*/ 33385 h 33687"/>
                  <a:gd name="connsiteX7" fmla="*/ 75512 w 118036"/>
                  <a:gd name="connsiteY7" fmla="*/ 28571 h 33687"/>
                  <a:gd name="connsiteX8" fmla="*/ 41055 w 118036"/>
                  <a:gd name="connsiteY8" fmla="*/ 28951 h 3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36" h="33687">
                    <a:moveTo>
                      <a:pt x="41055" y="28951"/>
                    </a:moveTo>
                    <a:cubicBezTo>
                      <a:pt x="29780" y="29077"/>
                      <a:pt x="2670" y="31231"/>
                      <a:pt x="136" y="15649"/>
                    </a:cubicBezTo>
                    <a:cubicBezTo>
                      <a:pt x="-1004" y="8555"/>
                      <a:pt x="5204" y="1461"/>
                      <a:pt x="11917" y="194"/>
                    </a:cubicBezTo>
                    <a:cubicBezTo>
                      <a:pt x="19898" y="-1200"/>
                      <a:pt x="26233" y="5261"/>
                      <a:pt x="32567" y="8808"/>
                    </a:cubicBezTo>
                    <a:cubicBezTo>
                      <a:pt x="52076" y="19830"/>
                      <a:pt x="67912" y="7161"/>
                      <a:pt x="87547" y="7288"/>
                    </a:cubicBezTo>
                    <a:cubicBezTo>
                      <a:pt x="96541" y="7415"/>
                      <a:pt x="109083" y="10708"/>
                      <a:pt x="115544" y="17296"/>
                    </a:cubicBezTo>
                    <a:cubicBezTo>
                      <a:pt x="122004" y="23757"/>
                      <a:pt x="114657" y="32371"/>
                      <a:pt x="107689" y="33385"/>
                    </a:cubicBezTo>
                    <a:cubicBezTo>
                      <a:pt x="96541" y="35158"/>
                      <a:pt x="86534" y="28571"/>
                      <a:pt x="75512" y="28571"/>
                    </a:cubicBezTo>
                    <a:cubicBezTo>
                      <a:pt x="64110" y="28571"/>
                      <a:pt x="52583" y="28824"/>
                      <a:pt x="41055" y="2895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1" name="Полилиния: фигура 460">
                <a:extLst>
                  <a:ext uri="{FF2B5EF4-FFF2-40B4-BE49-F238E27FC236}">
                    <a16:creationId xmlns:a16="http://schemas.microsoft.com/office/drawing/2014/main" id="{5ABA968F-B696-44BA-9574-66BE4B03A5E3}"/>
                  </a:ext>
                </a:extLst>
              </p:cNvPr>
              <p:cNvSpPr/>
              <p:nvPr/>
            </p:nvSpPr>
            <p:spPr>
              <a:xfrm>
                <a:off x="13289110" y="2983468"/>
                <a:ext cx="69554" cy="27582"/>
              </a:xfrm>
              <a:custGeom>
                <a:avLst/>
                <a:gdLst>
                  <a:gd name="connsiteX0" fmla="*/ 24670 w 69554"/>
                  <a:gd name="connsiteY0" fmla="*/ 27317 h 27582"/>
                  <a:gd name="connsiteX1" fmla="*/ 600 w 69554"/>
                  <a:gd name="connsiteY1" fmla="*/ 20856 h 27582"/>
                  <a:gd name="connsiteX2" fmla="*/ 20490 w 69554"/>
                  <a:gd name="connsiteY2" fmla="*/ 2360 h 27582"/>
                  <a:gd name="connsiteX3" fmla="*/ 52793 w 69554"/>
                  <a:gd name="connsiteY3" fmla="*/ 713 h 27582"/>
                  <a:gd name="connsiteX4" fmla="*/ 69009 w 69554"/>
                  <a:gd name="connsiteY4" fmla="*/ 1600 h 27582"/>
                  <a:gd name="connsiteX5" fmla="*/ 57607 w 69554"/>
                  <a:gd name="connsiteY5" fmla="*/ 16295 h 27582"/>
                  <a:gd name="connsiteX6" fmla="*/ 24670 w 69554"/>
                  <a:gd name="connsiteY6" fmla="*/ 27317 h 2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 h="27582">
                    <a:moveTo>
                      <a:pt x="24670" y="27317"/>
                    </a:moveTo>
                    <a:cubicBezTo>
                      <a:pt x="18716" y="28077"/>
                      <a:pt x="3134" y="27570"/>
                      <a:pt x="600" y="20856"/>
                    </a:cubicBezTo>
                    <a:cubicBezTo>
                      <a:pt x="-3327" y="10721"/>
                      <a:pt x="13016" y="2994"/>
                      <a:pt x="20490" y="2360"/>
                    </a:cubicBezTo>
                    <a:cubicBezTo>
                      <a:pt x="31131" y="1473"/>
                      <a:pt x="42153" y="1347"/>
                      <a:pt x="52793" y="713"/>
                    </a:cubicBezTo>
                    <a:cubicBezTo>
                      <a:pt x="55961" y="460"/>
                      <a:pt x="66729" y="-1187"/>
                      <a:pt x="69009" y="1600"/>
                    </a:cubicBezTo>
                    <a:cubicBezTo>
                      <a:pt x="72176" y="5527"/>
                      <a:pt x="60649" y="14522"/>
                      <a:pt x="57607" y="16295"/>
                    </a:cubicBezTo>
                    <a:cubicBezTo>
                      <a:pt x="48360" y="21996"/>
                      <a:pt x="35565" y="25923"/>
                      <a:pt x="24670" y="2731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2" name="Рисунок 388">
              <a:extLst>
                <a:ext uri="{FF2B5EF4-FFF2-40B4-BE49-F238E27FC236}">
                  <a16:creationId xmlns:a16="http://schemas.microsoft.com/office/drawing/2014/main" id="{1DA397FD-DC6E-439E-BB40-D0F80476817D}"/>
                </a:ext>
              </a:extLst>
            </p:cNvPr>
            <p:cNvGrpSpPr/>
            <p:nvPr/>
          </p:nvGrpSpPr>
          <p:grpSpPr>
            <a:xfrm>
              <a:off x="10939751" y="445203"/>
              <a:ext cx="1669871" cy="2002531"/>
              <a:chOff x="10939751" y="445203"/>
              <a:chExt cx="1669871" cy="2002531"/>
            </a:xfrm>
            <a:solidFill>
              <a:srgbClr val="E3E8EC"/>
            </a:solidFill>
          </p:grpSpPr>
          <p:sp>
            <p:nvSpPr>
              <p:cNvPr id="463" name="Полилиния: фигура 462">
                <a:extLst>
                  <a:ext uri="{FF2B5EF4-FFF2-40B4-BE49-F238E27FC236}">
                    <a16:creationId xmlns:a16="http://schemas.microsoft.com/office/drawing/2014/main" id="{A8C37B7B-953E-40A5-B4B0-46FC79071A8B}"/>
                  </a:ext>
                </a:extLst>
              </p:cNvPr>
              <p:cNvSpPr/>
              <p:nvPr/>
            </p:nvSpPr>
            <p:spPr>
              <a:xfrm>
                <a:off x="12407983" y="676753"/>
                <a:ext cx="19449" cy="31594"/>
              </a:xfrm>
              <a:custGeom>
                <a:avLst/>
                <a:gdLst>
                  <a:gd name="connsiteX0" fmla="*/ 11166 w 19449"/>
                  <a:gd name="connsiteY0" fmla="*/ 30944 h 31594"/>
                  <a:gd name="connsiteX1" fmla="*/ 6858 w 19449"/>
                  <a:gd name="connsiteY1" fmla="*/ 24990 h 31594"/>
                  <a:gd name="connsiteX2" fmla="*/ 2171 w 19449"/>
                  <a:gd name="connsiteY2" fmla="*/ 20556 h 31594"/>
                  <a:gd name="connsiteX3" fmla="*/ 2804 w 19449"/>
                  <a:gd name="connsiteY3" fmla="*/ 5228 h 31594"/>
                  <a:gd name="connsiteX4" fmla="*/ 9139 w 19449"/>
                  <a:gd name="connsiteY4" fmla="*/ 34 h 31594"/>
                  <a:gd name="connsiteX5" fmla="*/ 15473 w 19449"/>
                  <a:gd name="connsiteY5" fmla="*/ 6494 h 31594"/>
                  <a:gd name="connsiteX6" fmla="*/ 18260 w 19449"/>
                  <a:gd name="connsiteY6" fmla="*/ 14729 h 31594"/>
                  <a:gd name="connsiteX7" fmla="*/ 19400 w 19449"/>
                  <a:gd name="connsiteY7" fmla="*/ 21316 h 31594"/>
                  <a:gd name="connsiteX8" fmla="*/ 11166 w 19449"/>
                  <a:gd name="connsiteY8" fmla="*/ 3094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9" h="31594">
                    <a:moveTo>
                      <a:pt x="11166" y="30944"/>
                    </a:moveTo>
                    <a:cubicBezTo>
                      <a:pt x="9013" y="29677"/>
                      <a:pt x="8252" y="26890"/>
                      <a:pt x="6858" y="24990"/>
                    </a:cubicBezTo>
                    <a:cubicBezTo>
                      <a:pt x="5592" y="23216"/>
                      <a:pt x="3691" y="22203"/>
                      <a:pt x="2171" y="20556"/>
                    </a:cubicBezTo>
                    <a:cubicBezTo>
                      <a:pt x="-2009" y="15869"/>
                      <a:pt x="778" y="10295"/>
                      <a:pt x="2804" y="5228"/>
                    </a:cubicBezTo>
                    <a:cubicBezTo>
                      <a:pt x="3818" y="2567"/>
                      <a:pt x="5972" y="-346"/>
                      <a:pt x="9139" y="34"/>
                    </a:cubicBezTo>
                    <a:cubicBezTo>
                      <a:pt x="12306" y="414"/>
                      <a:pt x="13953" y="4087"/>
                      <a:pt x="15473" y="6494"/>
                    </a:cubicBezTo>
                    <a:cubicBezTo>
                      <a:pt x="17120" y="9028"/>
                      <a:pt x="17500" y="11815"/>
                      <a:pt x="18260" y="14729"/>
                    </a:cubicBezTo>
                    <a:cubicBezTo>
                      <a:pt x="18893" y="17009"/>
                      <a:pt x="19653" y="18909"/>
                      <a:pt x="19400" y="21316"/>
                    </a:cubicBezTo>
                    <a:cubicBezTo>
                      <a:pt x="19274" y="24863"/>
                      <a:pt x="16360" y="34111"/>
                      <a:pt x="11166" y="30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4" name="Полилиния: фигура 463">
                <a:extLst>
                  <a:ext uri="{FF2B5EF4-FFF2-40B4-BE49-F238E27FC236}">
                    <a16:creationId xmlns:a16="http://schemas.microsoft.com/office/drawing/2014/main" id="{8CC07797-FCB8-4FF5-B90E-FAB014882B30}"/>
                  </a:ext>
                </a:extLst>
              </p:cNvPr>
              <p:cNvSpPr/>
              <p:nvPr/>
            </p:nvSpPr>
            <p:spPr>
              <a:xfrm>
                <a:off x="10939751" y="445203"/>
                <a:ext cx="1669871" cy="2002531"/>
              </a:xfrm>
              <a:custGeom>
                <a:avLst/>
                <a:gdLst>
                  <a:gd name="connsiteX0" fmla="*/ 1667901 w 1669871"/>
                  <a:gd name="connsiteY0" fmla="*/ 1018535 h 2002531"/>
                  <a:gd name="connsiteX1" fmla="*/ 1633697 w 1669871"/>
                  <a:gd name="connsiteY1" fmla="*/ 1044505 h 2002531"/>
                  <a:gd name="connsiteX2" fmla="*/ 1612668 w 1669871"/>
                  <a:gd name="connsiteY2" fmla="*/ 1081876 h 2002531"/>
                  <a:gd name="connsiteX3" fmla="*/ 1582264 w 1669871"/>
                  <a:gd name="connsiteY3" fmla="*/ 1119881 h 2002531"/>
                  <a:gd name="connsiteX4" fmla="*/ 1543119 w 1669871"/>
                  <a:gd name="connsiteY4" fmla="*/ 1109873 h 2002531"/>
                  <a:gd name="connsiteX5" fmla="*/ 1522217 w 1669871"/>
                  <a:gd name="connsiteY5" fmla="*/ 1133056 h 2002531"/>
                  <a:gd name="connsiteX6" fmla="*/ 1542612 w 1669871"/>
                  <a:gd name="connsiteY6" fmla="*/ 1133816 h 2002531"/>
                  <a:gd name="connsiteX7" fmla="*/ 1564402 w 1669871"/>
                  <a:gd name="connsiteY7" fmla="*/ 1139770 h 2002531"/>
                  <a:gd name="connsiteX8" fmla="*/ 1564655 w 1669871"/>
                  <a:gd name="connsiteY8" fmla="*/ 1186136 h 2002531"/>
                  <a:gd name="connsiteX9" fmla="*/ 1582518 w 1669871"/>
                  <a:gd name="connsiteY9" fmla="*/ 1234275 h 2002531"/>
                  <a:gd name="connsiteX10" fmla="*/ 1574410 w 1669871"/>
                  <a:gd name="connsiteY10" fmla="*/ 1251251 h 2002531"/>
                  <a:gd name="connsiteX11" fmla="*/ 1579477 w 1669871"/>
                  <a:gd name="connsiteY11" fmla="*/ 1272280 h 2002531"/>
                  <a:gd name="connsiteX12" fmla="*/ 1590372 w 1669871"/>
                  <a:gd name="connsiteY12" fmla="*/ 1288242 h 2002531"/>
                  <a:gd name="connsiteX13" fmla="*/ 1581758 w 1669871"/>
                  <a:gd name="connsiteY13" fmla="*/ 1305978 h 2002531"/>
                  <a:gd name="connsiteX14" fmla="*/ 1593412 w 1669871"/>
                  <a:gd name="connsiteY14" fmla="*/ 1344236 h 2002531"/>
                  <a:gd name="connsiteX15" fmla="*/ 1587458 w 1669871"/>
                  <a:gd name="connsiteY15" fmla="*/ 1391108 h 2002531"/>
                  <a:gd name="connsiteX16" fmla="*/ 1587965 w 1669871"/>
                  <a:gd name="connsiteY16" fmla="*/ 1394149 h 2002531"/>
                  <a:gd name="connsiteX17" fmla="*/ 1506761 w 1669871"/>
                  <a:gd name="connsiteY17" fmla="*/ 1378313 h 2002531"/>
                  <a:gd name="connsiteX18" fmla="*/ 1485478 w 1669871"/>
                  <a:gd name="connsiteY18" fmla="*/ 1349176 h 2002531"/>
                  <a:gd name="connsiteX19" fmla="*/ 1465716 w 1669871"/>
                  <a:gd name="connsiteY19" fmla="*/ 1360578 h 2002531"/>
                  <a:gd name="connsiteX20" fmla="*/ 1437466 w 1669871"/>
                  <a:gd name="connsiteY20" fmla="*/ 1388321 h 2002531"/>
                  <a:gd name="connsiteX21" fmla="*/ 1439493 w 1669871"/>
                  <a:gd name="connsiteY21" fmla="*/ 1434307 h 2002531"/>
                  <a:gd name="connsiteX22" fmla="*/ 1429105 w 1669871"/>
                  <a:gd name="connsiteY22" fmla="*/ 1475859 h 2002531"/>
                  <a:gd name="connsiteX23" fmla="*/ 1415297 w 1669871"/>
                  <a:gd name="connsiteY23" fmla="*/ 1504109 h 2002531"/>
                  <a:gd name="connsiteX24" fmla="*/ 1404908 w 1669871"/>
                  <a:gd name="connsiteY24" fmla="*/ 1536793 h 2002531"/>
                  <a:gd name="connsiteX25" fmla="*/ 1395027 w 1669871"/>
                  <a:gd name="connsiteY25" fmla="*/ 1590760 h 2002531"/>
                  <a:gd name="connsiteX26" fmla="*/ 1374758 w 1669871"/>
                  <a:gd name="connsiteY26" fmla="*/ 1646120 h 2002531"/>
                  <a:gd name="connsiteX27" fmla="*/ 1315344 w 1669871"/>
                  <a:gd name="connsiteY27" fmla="*/ 1634212 h 2002531"/>
                  <a:gd name="connsiteX28" fmla="*/ 1263404 w 1669871"/>
                  <a:gd name="connsiteY28" fmla="*/ 1639152 h 2002531"/>
                  <a:gd name="connsiteX29" fmla="*/ 1227807 w 1669871"/>
                  <a:gd name="connsiteY29" fmla="*/ 1653468 h 2002531"/>
                  <a:gd name="connsiteX30" fmla="*/ 1177767 w 1669871"/>
                  <a:gd name="connsiteY30" fmla="*/ 1688179 h 2002531"/>
                  <a:gd name="connsiteX31" fmla="*/ 1138748 w 1669871"/>
                  <a:gd name="connsiteY31" fmla="*/ 1679311 h 2002531"/>
                  <a:gd name="connsiteX32" fmla="*/ 1129880 w 1669871"/>
                  <a:gd name="connsiteY32" fmla="*/ 1565930 h 2002531"/>
                  <a:gd name="connsiteX33" fmla="*/ 1044243 w 1669871"/>
                  <a:gd name="connsiteY33" fmla="*/ 1572898 h 2002531"/>
                  <a:gd name="connsiteX34" fmla="*/ 982423 w 1669871"/>
                  <a:gd name="connsiteY34" fmla="*/ 1563523 h 2002531"/>
                  <a:gd name="connsiteX35" fmla="*/ 938844 w 1669871"/>
                  <a:gd name="connsiteY35" fmla="*/ 1605582 h 2002531"/>
                  <a:gd name="connsiteX36" fmla="*/ 896278 w 1669871"/>
                  <a:gd name="connsiteY36" fmla="*/ 1623951 h 2002531"/>
                  <a:gd name="connsiteX37" fmla="*/ 876515 w 1669871"/>
                  <a:gd name="connsiteY37" fmla="*/ 1664109 h 2002531"/>
                  <a:gd name="connsiteX38" fmla="*/ 857767 w 1669871"/>
                  <a:gd name="connsiteY38" fmla="*/ 1688812 h 2002531"/>
                  <a:gd name="connsiteX39" fmla="*/ 840411 w 1669871"/>
                  <a:gd name="connsiteY39" fmla="*/ 1722890 h 2002531"/>
                  <a:gd name="connsiteX40" fmla="*/ 806713 w 1669871"/>
                  <a:gd name="connsiteY40" fmla="*/ 1723523 h 2002531"/>
                  <a:gd name="connsiteX41" fmla="*/ 787458 w 1669871"/>
                  <a:gd name="connsiteY41" fmla="*/ 1768115 h 2002531"/>
                  <a:gd name="connsiteX42" fmla="*/ 756294 w 1669871"/>
                  <a:gd name="connsiteY42" fmla="*/ 1769129 h 2002531"/>
                  <a:gd name="connsiteX43" fmla="*/ 728044 w 1669871"/>
                  <a:gd name="connsiteY43" fmla="*/ 1792818 h 2002531"/>
                  <a:gd name="connsiteX44" fmla="*/ 715249 w 1669871"/>
                  <a:gd name="connsiteY44" fmla="*/ 1826009 h 2002531"/>
                  <a:gd name="connsiteX45" fmla="*/ 721710 w 1669871"/>
                  <a:gd name="connsiteY45" fmla="*/ 1877696 h 2002531"/>
                  <a:gd name="connsiteX46" fmla="*/ 666602 w 1669871"/>
                  <a:gd name="connsiteY46" fmla="*/ 1904046 h 2002531"/>
                  <a:gd name="connsiteX47" fmla="*/ 594520 w 1669871"/>
                  <a:gd name="connsiteY47" fmla="*/ 1923428 h 2002531"/>
                  <a:gd name="connsiteX48" fmla="*/ 558543 w 1669871"/>
                  <a:gd name="connsiteY48" fmla="*/ 1937870 h 2002531"/>
                  <a:gd name="connsiteX49" fmla="*/ 534093 w 1669871"/>
                  <a:gd name="connsiteY49" fmla="*/ 1964600 h 2002531"/>
                  <a:gd name="connsiteX50" fmla="*/ 457070 w 1669871"/>
                  <a:gd name="connsiteY50" fmla="*/ 1976508 h 2002531"/>
                  <a:gd name="connsiteX51" fmla="*/ 378653 w 1669871"/>
                  <a:gd name="connsiteY51" fmla="*/ 2001211 h 2002531"/>
                  <a:gd name="connsiteX52" fmla="*/ 335961 w 1669871"/>
                  <a:gd name="connsiteY52" fmla="*/ 1947498 h 2002531"/>
                  <a:gd name="connsiteX53" fmla="*/ 281615 w 1669871"/>
                  <a:gd name="connsiteY53" fmla="*/ 1956746 h 2002531"/>
                  <a:gd name="connsiteX54" fmla="*/ 231448 w 1669871"/>
                  <a:gd name="connsiteY54" fmla="*/ 1883776 h 2002531"/>
                  <a:gd name="connsiteX55" fmla="*/ 139730 w 1669871"/>
                  <a:gd name="connsiteY55" fmla="*/ 1865407 h 2002531"/>
                  <a:gd name="connsiteX56" fmla="*/ 68788 w 1669871"/>
                  <a:gd name="connsiteY56" fmla="*/ 1841591 h 2002531"/>
                  <a:gd name="connsiteX57" fmla="*/ 62834 w 1669871"/>
                  <a:gd name="connsiteY57" fmla="*/ 1799026 h 2002531"/>
                  <a:gd name="connsiteX58" fmla="*/ 38764 w 1669871"/>
                  <a:gd name="connsiteY58" fmla="*/ 1791805 h 2002531"/>
                  <a:gd name="connsiteX59" fmla="*/ 54980 w 1669871"/>
                  <a:gd name="connsiteY59" fmla="*/ 1724537 h 2002531"/>
                  <a:gd name="connsiteX60" fmla="*/ 111733 w 1669871"/>
                  <a:gd name="connsiteY60" fmla="*/ 1640419 h 2002531"/>
                  <a:gd name="connsiteX61" fmla="*/ 128836 w 1669871"/>
                  <a:gd name="connsiteY61" fmla="*/ 1570491 h 2002531"/>
                  <a:gd name="connsiteX62" fmla="*/ 149611 w 1669871"/>
                  <a:gd name="connsiteY62" fmla="*/ 1521591 h 2002531"/>
                  <a:gd name="connsiteX63" fmla="*/ 122502 w 1669871"/>
                  <a:gd name="connsiteY63" fmla="*/ 1496255 h 2002531"/>
                  <a:gd name="connsiteX64" fmla="*/ 72716 w 1669871"/>
                  <a:gd name="connsiteY64" fmla="*/ 1459643 h 2002531"/>
                  <a:gd name="connsiteX65" fmla="*/ 7347 w 1669871"/>
                  <a:gd name="connsiteY65" fmla="*/ 1417838 h 2002531"/>
                  <a:gd name="connsiteX66" fmla="*/ 253 w 1669871"/>
                  <a:gd name="connsiteY66" fmla="*/ 1401496 h 2002531"/>
                  <a:gd name="connsiteX67" fmla="*/ 19762 w 1669871"/>
                  <a:gd name="connsiteY67" fmla="*/ 1354370 h 2002531"/>
                  <a:gd name="connsiteX68" fmla="*/ 35977 w 1669871"/>
                  <a:gd name="connsiteY68" fmla="*/ 1302430 h 2002531"/>
                  <a:gd name="connsiteX69" fmla="*/ 74362 w 1669871"/>
                  <a:gd name="connsiteY69" fmla="*/ 1282668 h 2002531"/>
                  <a:gd name="connsiteX70" fmla="*/ 119968 w 1669871"/>
                  <a:gd name="connsiteY70" fmla="*/ 1251757 h 2002531"/>
                  <a:gd name="connsiteX71" fmla="*/ 171021 w 1669871"/>
                  <a:gd name="connsiteY71" fmla="*/ 1156492 h 2002531"/>
                  <a:gd name="connsiteX72" fmla="*/ 187490 w 1669871"/>
                  <a:gd name="connsiteY72" fmla="*/ 1112533 h 2002531"/>
                  <a:gd name="connsiteX73" fmla="*/ 209406 w 1669871"/>
                  <a:gd name="connsiteY73" fmla="*/ 1121908 h 2002531"/>
                  <a:gd name="connsiteX74" fmla="*/ 233222 w 1669871"/>
                  <a:gd name="connsiteY74" fmla="*/ 1122921 h 2002531"/>
                  <a:gd name="connsiteX75" fmla="*/ 240823 w 1669871"/>
                  <a:gd name="connsiteY75" fmla="*/ 1135336 h 2002531"/>
                  <a:gd name="connsiteX76" fmla="*/ 284148 w 1669871"/>
                  <a:gd name="connsiteY76" fmla="*/ 1111393 h 2002531"/>
                  <a:gd name="connsiteX77" fmla="*/ 308091 w 1669871"/>
                  <a:gd name="connsiteY77" fmla="*/ 1099105 h 2002531"/>
                  <a:gd name="connsiteX78" fmla="*/ 331401 w 1669871"/>
                  <a:gd name="connsiteY78" fmla="*/ 1087324 h 2002531"/>
                  <a:gd name="connsiteX79" fmla="*/ 344829 w 1669871"/>
                  <a:gd name="connsiteY79" fmla="*/ 1108480 h 2002531"/>
                  <a:gd name="connsiteX80" fmla="*/ 367886 w 1669871"/>
                  <a:gd name="connsiteY80" fmla="*/ 1107213 h 2002531"/>
                  <a:gd name="connsiteX81" fmla="*/ 383594 w 1669871"/>
                  <a:gd name="connsiteY81" fmla="*/ 1081116 h 2002531"/>
                  <a:gd name="connsiteX82" fmla="*/ 409564 w 1669871"/>
                  <a:gd name="connsiteY82" fmla="*/ 1059327 h 2002531"/>
                  <a:gd name="connsiteX83" fmla="*/ 386761 w 1669871"/>
                  <a:gd name="connsiteY83" fmla="*/ 1023476 h 2002531"/>
                  <a:gd name="connsiteX84" fmla="*/ 363832 w 1669871"/>
                  <a:gd name="connsiteY84" fmla="*/ 1001053 h 2002531"/>
                  <a:gd name="connsiteX85" fmla="*/ 330261 w 1669871"/>
                  <a:gd name="connsiteY85" fmla="*/ 1003206 h 2002531"/>
                  <a:gd name="connsiteX86" fmla="*/ 301630 w 1669871"/>
                  <a:gd name="connsiteY86" fmla="*/ 997506 h 2002531"/>
                  <a:gd name="connsiteX87" fmla="*/ 267553 w 1669871"/>
                  <a:gd name="connsiteY87" fmla="*/ 1005233 h 2002531"/>
                  <a:gd name="connsiteX88" fmla="*/ 236136 w 1669871"/>
                  <a:gd name="connsiteY88" fmla="*/ 959754 h 2002531"/>
                  <a:gd name="connsiteX89" fmla="*/ 196484 w 1669871"/>
                  <a:gd name="connsiteY89" fmla="*/ 926690 h 2002531"/>
                  <a:gd name="connsiteX90" fmla="*/ 226508 w 1669871"/>
                  <a:gd name="connsiteY90" fmla="*/ 916555 h 2002531"/>
                  <a:gd name="connsiteX91" fmla="*/ 243483 w 1669871"/>
                  <a:gd name="connsiteY91" fmla="*/ 905661 h 2002531"/>
                  <a:gd name="connsiteX92" fmla="*/ 247157 w 1669871"/>
                  <a:gd name="connsiteY92" fmla="*/ 901860 h 2002531"/>
                  <a:gd name="connsiteX93" fmla="*/ 250324 w 1669871"/>
                  <a:gd name="connsiteY93" fmla="*/ 899073 h 2002531"/>
                  <a:gd name="connsiteX94" fmla="*/ 256405 w 1669871"/>
                  <a:gd name="connsiteY94" fmla="*/ 889825 h 2002531"/>
                  <a:gd name="connsiteX95" fmla="*/ 274267 w 1669871"/>
                  <a:gd name="connsiteY95" fmla="*/ 864616 h 2002531"/>
                  <a:gd name="connsiteX96" fmla="*/ 295676 w 1669871"/>
                  <a:gd name="connsiteY96" fmla="*/ 844980 h 2002531"/>
                  <a:gd name="connsiteX97" fmla="*/ 312905 w 1669871"/>
                  <a:gd name="connsiteY97" fmla="*/ 837886 h 2002531"/>
                  <a:gd name="connsiteX98" fmla="*/ 334821 w 1669871"/>
                  <a:gd name="connsiteY98" fmla="*/ 821670 h 2002531"/>
                  <a:gd name="connsiteX99" fmla="*/ 322406 w 1669871"/>
                  <a:gd name="connsiteY99" fmla="*/ 799881 h 2002531"/>
                  <a:gd name="connsiteX100" fmla="*/ 339762 w 1669871"/>
                  <a:gd name="connsiteY100" fmla="*/ 757189 h 2002531"/>
                  <a:gd name="connsiteX101" fmla="*/ 347616 w 1669871"/>
                  <a:gd name="connsiteY101" fmla="*/ 736540 h 2002531"/>
                  <a:gd name="connsiteX102" fmla="*/ 368899 w 1669871"/>
                  <a:gd name="connsiteY102" fmla="*/ 724758 h 2002531"/>
                  <a:gd name="connsiteX103" fmla="*/ 376754 w 1669871"/>
                  <a:gd name="connsiteY103" fmla="*/ 675859 h 2002531"/>
                  <a:gd name="connsiteX104" fmla="*/ 407411 w 1669871"/>
                  <a:gd name="connsiteY104" fmla="*/ 646088 h 2002531"/>
                  <a:gd name="connsiteX105" fmla="*/ 441488 w 1669871"/>
                  <a:gd name="connsiteY105" fmla="*/ 617078 h 2002531"/>
                  <a:gd name="connsiteX106" fmla="*/ 460237 w 1669871"/>
                  <a:gd name="connsiteY106" fmla="*/ 603396 h 2002531"/>
                  <a:gd name="connsiteX107" fmla="*/ 485067 w 1669871"/>
                  <a:gd name="connsiteY107" fmla="*/ 599469 h 2002531"/>
                  <a:gd name="connsiteX108" fmla="*/ 491147 w 1669871"/>
                  <a:gd name="connsiteY108" fmla="*/ 578440 h 2002531"/>
                  <a:gd name="connsiteX109" fmla="*/ 517498 w 1669871"/>
                  <a:gd name="connsiteY109" fmla="*/ 550950 h 2002531"/>
                  <a:gd name="connsiteX110" fmla="*/ 529786 w 1669871"/>
                  <a:gd name="connsiteY110" fmla="*/ 536508 h 2002531"/>
                  <a:gd name="connsiteX111" fmla="*/ 544354 w 1669871"/>
                  <a:gd name="connsiteY111" fmla="*/ 529667 h 2002531"/>
                  <a:gd name="connsiteX112" fmla="*/ 557656 w 1669871"/>
                  <a:gd name="connsiteY112" fmla="*/ 540055 h 2002531"/>
                  <a:gd name="connsiteX113" fmla="*/ 593634 w 1669871"/>
                  <a:gd name="connsiteY113" fmla="*/ 519152 h 2002531"/>
                  <a:gd name="connsiteX114" fmla="*/ 660015 w 1669871"/>
                  <a:gd name="connsiteY114" fmla="*/ 476334 h 2002531"/>
                  <a:gd name="connsiteX115" fmla="*/ 690166 w 1669871"/>
                  <a:gd name="connsiteY115" fmla="*/ 461259 h 2002531"/>
                  <a:gd name="connsiteX116" fmla="*/ 728931 w 1669871"/>
                  <a:gd name="connsiteY116" fmla="*/ 456698 h 2002531"/>
                  <a:gd name="connsiteX117" fmla="*/ 781124 w 1669871"/>
                  <a:gd name="connsiteY117" fmla="*/ 411599 h 2002531"/>
                  <a:gd name="connsiteX118" fmla="*/ 811274 w 1669871"/>
                  <a:gd name="connsiteY118" fmla="*/ 391076 h 2002531"/>
                  <a:gd name="connsiteX119" fmla="*/ 853586 w 1669871"/>
                  <a:gd name="connsiteY119" fmla="*/ 364347 h 2002531"/>
                  <a:gd name="connsiteX120" fmla="*/ 855487 w 1669871"/>
                  <a:gd name="connsiteY120" fmla="*/ 391583 h 2002531"/>
                  <a:gd name="connsiteX121" fmla="*/ 888804 w 1669871"/>
                  <a:gd name="connsiteY121" fmla="*/ 337236 h 2002531"/>
                  <a:gd name="connsiteX122" fmla="*/ 933523 w 1669871"/>
                  <a:gd name="connsiteY122" fmla="*/ 346231 h 2002531"/>
                  <a:gd name="connsiteX123" fmla="*/ 931116 w 1669871"/>
                  <a:gd name="connsiteY123" fmla="*/ 323175 h 2002531"/>
                  <a:gd name="connsiteX124" fmla="*/ 929343 w 1669871"/>
                  <a:gd name="connsiteY124" fmla="*/ 295558 h 2002531"/>
                  <a:gd name="connsiteX125" fmla="*/ 968487 w 1669871"/>
                  <a:gd name="connsiteY125" fmla="*/ 300499 h 2002531"/>
                  <a:gd name="connsiteX126" fmla="*/ 987110 w 1669871"/>
                  <a:gd name="connsiteY126" fmla="*/ 307086 h 2002531"/>
                  <a:gd name="connsiteX127" fmla="*/ 991670 w 1669871"/>
                  <a:gd name="connsiteY127" fmla="*/ 291631 h 2002531"/>
                  <a:gd name="connsiteX128" fmla="*/ 1018527 w 1669871"/>
                  <a:gd name="connsiteY128" fmla="*/ 300625 h 2002531"/>
                  <a:gd name="connsiteX129" fmla="*/ 1100744 w 1669871"/>
                  <a:gd name="connsiteY129" fmla="*/ 303792 h 2002531"/>
                  <a:gd name="connsiteX130" fmla="*/ 1132668 w 1669871"/>
                  <a:gd name="connsiteY130" fmla="*/ 316967 h 2002531"/>
                  <a:gd name="connsiteX131" fmla="*/ 1163831 w 1669871"/>
                  <a:gd name="connsiteY131" fmla="*/ 298218 h 2002531"/>
                  <a:gd name="connsiteX132" fmla="*/ 1179160 w 1669871"/>
                  <a:gd name="connsiteY132" fmla="*/ 266674 h 2002531"/>
                  <a:gd name="connsiteX133" fmla="*/ 1142042 w 1669871"/>
                  <a:gd name="connsiteY133" fmla="*/ 275289 h 2002531"/>
                  <a:gd name="connsiteX134" fmla="*/ 1099857 w 1669871"/>
                  <a:gd name="connsiteY134" fmla="*/ 261607 h 2002531"/>
                  <a:gd name="connsiteX135" fmla="*/ 1060965 w 1669871"/>
                  <a:gd name="connsiteY135" fmla="*/ 275415 h 2002531"/>
                  <a:gd name="connsiteX136" fmla="*/ 1066539 w 1669871"/>
                  <a:gd name="connsiteY136" fmla="*/ 239691 h 2002531"/>
                  <a:gd name="connsiteX137" fmla="*/ 1077941 w 1669871"/>
                  <a:gd name="connsiteY137" fmla="*/ 202573 h 2002531"/>
                  <a:gd name="connsiteX138" fmla="*/ 1104924 w 1669871"/>
                  <a:gd name="connsiteY138" fmla="*/ 201053 h 2002531"/>
                  <a:gd name="connsiteX139" fmla="*/ 1108598 w 1669871"/>
                  <a:gd name="connsiteY139" fmla="*/ 182177 h 2002531"/>
                  <a:gd name="connsiteX140" fmla="*/ 1122280 w 1669871"/>
                  <a:gd name="connsiteY140" fmla="*/ 144552 h 2002531"/>
                  <a:gd name="connsiteX141" fmla="*/ 1092889 w 1669871"/>
                  <a:gd name="connsiteY141" fmla="*/ 160008 h 2002531"/>
                  <a:gd name="connsiteX142" fmla="*/ 1116452 w 1669871"/>
                  <a:gd name="connsiteY142" fmla="*/ 108068 h 2002531"/>
                  <a:gd name="connsiteX143" fmla="*/ 1130134 w 1669871"/>
                  <a:gd name="connsiteY143" fmla="*/ 90839 h 2002531"/>
                  <a:gd name="connsiteX144" fmla="*/ 1168772 w 1669871"/>
                  <a:gd name="connsiteY144" fmla="*/ 88305 h 2002531"/>
                  <a:gd name="connsiteX145" fmla="*/ 1207664 w 1669871"/>
                  <a:gd name="connsiteY145" fmla="*/ 71710 h 2002531"/>
                  <a:gd name="connsiteX146" fmla="*/ 1230087 w 1669871"/>
                  <a:gd name="connsiteY146" fmla="*/ 50807 h 2002531"/>
                  <a:gd name="connsiteX147" fmla="*/ 1259603 w 1669871"/>
                  <a:gd name="connsiteY147" fmla="*/ 44473 h 2002531"/>
                  <a:gd name="connsiteX148" fmla="*/ 1303309 w 1669871"/>
                  <a:gd name="connsiteY148" fmla="*/ 1148 h 2002531"/>
                  <a:gd name="connsiteX149" fmla="*/ 1321678 w 1669871"/>
                  <a:gd name="connsiteY149" fmla="*/ 43966 h 2002531"/>
                  <a:gd name="connsiteX150" fmla="*/ 1331560 w 1669871"/>
                  <a:gd name="connsiteY150" fmla="*/ 63982 h 2002531"/>
                  <a:gd name="connsiteX151" fmla="*/ 1353349 w 1669871"/>
                  <a:gd name="connsiteY151" fmla="*/ 73103 h 2002531"/>
                  <a:gd name="connsiteX152" fmla="*/ 1348661 w 1669871"/>
                  <a:gd name="connsiteY152" fmla="*/ 97553 h 2002531"/>
                  <a:gd name="connsiteX153" fmla="*/ 1335487 w 1669871"/>
                  <a:gd name="connsiteY153" fmla="*/ 120609 h 2002531"/>
                  <a:gd name="connsiteX154" fmla="*/ 1368930 w 1669871"/>
                  <a:gd name="connsiteY154" fmla="*/ 120989 h 2002531"/>
                  <a:gd name="connsiteX155" fmla="*/ 1364497 w 1669871"/>
                  <a:gd name="connsiteY155" fmla="*/ 148353 h 2002531"/>
                  <a:gd name="connsiteX156" fmla="*/ 1362470 w 1669871"/>
                  <a:gd name="connsiteY156" fmla="*/ 178250 h 2002531"/>
                  <a:gd name="connsiteX157" fmla="*/ 1331560 w 1669871"/>
                  <a:gd name="connsiteY157" fmla="*/ 194465 h 2002531"/>
                  <a:gd name="connsiteX158" fmla="*/ 1335487 w 1669871"/>
                  <a:gd name="connsiteY158" fmla="*/ 211694 h 2002531"/>
                  <a:gd name="connsiteX159" fmla="*/ 1368044 w 1669871"/>
                  <a:gd name="connsiteY159" fmla="*/ 204600 h 2002531"/>
                  <a:gd name="connsiteX160" fmla="*/ 1395154 w 1669871"/>
                  <a:gd name="connsiteY160" fmla="*/ 214861 h 2002531"/>
                  <a:gd name="connsiteX161" fmla="*/ 1428092 w 1669871"/>
                  <a:gd name="connsiteY161" fmla="*/ 212708 h 2002531"/>
                  <a:gd name="connsiteX162" fmla="*/ 1449121 w 1669871"/>
                  <a:gd name="connsiteY162" fmla="*/ 247039 h 2002531"/>
                  <a:gd name="connsiteX163" fmla="*/ 1482692 w 1669871"/>
                  <a:gd name="connsiteY163" fmla="*/ 287450 h 2002531"/>
                  <a:gd name="connsiteX164" fmla="*/ 1513729 w 1669871"/>
                  <a:gd name="connsiteY164" fmla="*/ 255400 h 2002531"/>
                  <a:gd name="connsiteX165" fmla="*/ 1551100 w 1669871"/>
                  <a:gd name="connsiteY165" fmla="*/ 260847 h 2002531"/>
                  <a:gd name="connsiteX166" fmla="*/ 1538432 w 1669871"/>
                  <a:gd name="connsiteY166" fmla="*/ 287070 h 2002531"/>
                  <a:gd name="connsiteX167" fmla="*/ 1517276 w 1669871"/>
                  <a:gd name="connsiteY167" fmla="*/ 308480 h 2002531"/>
                  <a:gd name="connsiteX168" fmla="*/ 1531718 w 1669871"/>
                  <a:gd name="connsiteY168" fmla="*/ 310380 h 2002531"/>
                  <a:gd name="connsiteX169" fmla="*/ 1534378 w 1669871"/>
                  <a:gd name="connsiteY169" fmla="*/ 333563 h 2002531"/>
                  <a:gd name="connsiteX170" fmla="*/ 1510688 w 1669871"/>
                  <a:gd name="connsiteY170" fmla="*/ 331916 h 2002531"/>
                  <a:gd name="connsiteX171" fmla="*/ 1508535 w 1669871"/>
                  <a:gd name="connsiteY171" fmla="*/ 346611 h 2002531"/>
                  <a:gd name="connsiteX172" fmla="*/ 1515882 w 1669871"/>
                  <a:gd name="connsiteY172" fmla="*/ 367514 h 2002531"/>
                  <a:gd name="connsiteX173" fmla="*/ 1494473 w 1669871"/>
                  <a:gd name="connsiteY173" fmla="*/ 379675 h 2002531"/>
                  <a:gd name="connsiteX174" fmla="*/ 1470150 w 1669871"/>
                  <a:gd name="connsiteY174" fmla="*/ 393230 h 2002531"/>
                  <a:gd name="connsiteX175" fmla="*/ 1423024 w 1669871"/>
                  <a:gd name="connsiteY175" fmla="*/ 446690 h 2002531"/>
                  <a:gd name="connsiteX176" fmla="*/ 1412636 w 1669871"/>
                  <a:gd name="connsiteY176" fmla="*/ 472533 h 2002531"/>
                  <a:gd name="connsiteX177" fmla="*/ 1386539 w 1669871"/>
                  <a:gd name="connsiteY177" fmla="*/ 478234 h 2002531"/>
                  <a:gd name="connsiteX178" fmla="*/ 1367283 w 1669871"/>
                  <a:gd name="connsiteY178" fmla="*/ 496096 h 2002531"/>
                  <a:gd name="connsiteX179" fmla="*/ 1351195 w 1669871"/>
                  <a:gd name="connsiteY179" fmla="*/ 471013 h 2002531"/>
                  <a:gd name="connsiteX180" fmla="*/ 1330926 w 1669871"/>
                  <a:gd name="connsiteY180" fmla="*/ 459232 h 2002531"/>
                  <a:gd name="connsiteX181" fmla="*/ 1302676 w 1669871"/>
                  <a:gd name="connsiteY181" fmla="*/ 457078 h 2002531"/>
                  <a:gd name="connsiteX182" fmla="*/ 1289628 w 1669871"/>
                  <a:gd name="connsiteY182" fmla="*/ 479248 h 2002531"/>
                  <a:gd name="connsiteX183" fmla="*/ 1269612 w 1669871"/>
                  <a:gd name="connsiteY183" fmla="*/ 506864 h 2002531"/>
                  <a:gd name="connsiteX184" fmla="*/ 1246302 w 1669871"/>
                  <a:gd name="connsiteY184" fmla="*/ 564378 h 2002531"/>
                  <a:gd name="connsiteX185" fmla="*/ 1210198 w 1669871"/>
                  <a:gd name="connsiteY185" fmla="*/ 625059 h 2002531"/>
                  <a:gd name="connsiteX186" fmla="*/ 1181188 w 1669871"/>
                  <a:gd name="connsiteY186" fmla="*/ 615938 h 2002531"/>
                  <a:gd name="connsiteX187" fmla="*/ 1154711 w 1669871"/>
                  <a:gd name="connsiteY187" fmla="*/ 626579 h 2002531"/>
                  <a:gd name="connsiteX188" fmla="*/ 1120506 w 1669871"/>
                  <a:gd name="connsiteY188" fmla="*/ 600609 h 2002531"/>
                  <a:gd name="connsiteX189" fmla="*/ 1103531 w 1669871"/>
                  <a:gd name="connsiteY189" fmla="*/ 582747 h 2002531"/>
                  <a:gd name="connsiteX190" fmla="*/ 1080094 w 1669871"/>
                  <a:gd name="connsiteY190" fmla="*/ 580214 h 2002531"/>
                  <a:gd name="connsiteX191" fmla="*/ 1086302 w 1669871"/>
                  <a:gd name="connsiteY191" fmla="*/ 603650 h 2002531"/>
                  <a:gd name="connsiteX192" fmla="*/ 1097323 w 1669871"/>
                  <a:gd name="connsiteY192" fmla="*/ 625059 h 2002531"/>
                  <a:gd name="connsiteX193" fmla="*/ 1059445 w 1669871"/>
                  <a:gd name="connsiteY193" fmla="*/ 642161 h 2002531"/>
                  <a:gd name="connsiteX194" fmla="*/ 1106318 w 1669871"/>
                  <a:gd name="connsiteY194" fmla="*/ 656096 h 2002531"/>
                  <a:gd name="connsiteX195" fmla="*/ 1121393 w 1669871"/>
                  <a:gd name="connsiteY195" fmla="*/ 692074 h 2002531"/>
                  <a:gd name="connsiteX196" fmla="*/ 1174219 w 1669871"/>
                  <a:gd name="connsiteY196" fmla="*/ 666991 h 2002531"/>
                  <a:gd name="connsiteX197" fmla="*/ 1209437 w 1669871"/>
                  <a:gd name="connsiteY197" fmla="*/ 698662 h 2002531"/>
                  <a:gd name="connsiteX198" fmla="*/ 1224640 w 1669871"/>
                  <a:gd name="connsiteY198" fmla="*/ 718551 h 2002531"/>
                  <a:gd name="connsiteX199" fmla="*/ 1250356 w 1669871"/>
                  <a:gd name="connsiteY199" fmla="*/ 738313 h 2002531"/>
                  <a:gd name="connsiteX200" fmla="*/ 1254410 w 1669871"/>
                  <a:gd name="connsiteY200" fmla="*/ 779232 h 2002531"/>
                  <a:gd name="connsiteX201" fmla="*/ 1274426 w 1669871"/>
                  <a:gd name="connsiteY201" fmla="*/ 821544 h 2002531"/>
                  <a:gd name="connsiteX202" fmla="*/ 1264291 w 1669871"/>
                  <a:gd name="connsiteY202" fmla="*/ 922383 h 2002531"/>
                  <a:gd name="connsiteX203" fmla="*/ 1224132 w 1669871"/>
                  <a:gd name="connsiteY203" fmla="*/ 953927 h 2002531"/>
                  <a:gd name="connsiteX204" fmla="*/ 1179160 w 1669871"/>
                  <a:gd name="connsiteY204" fmla="*/ 963301 h 2002531"/>
                  <a:gd name="connsiteX205" fmla="*/ 1150403 w 1669871"/>
                  <a:gd name="connsiteY205" fmla="*/ 992185 h 2002531"/>
                  <a:gd name="connsiteX206" fmla="*/ 1184481 w 1669871"/>
                  <a:gd name="connsiteY206" fmla="*/ 988638 h 2002531"/>
                  <a:gd name="connsiteX207" fmla="*/ 1200696 w 1669871"/>
                  <a:gd name="connsiteY207" fmla="*/ 999659 h 2002531"/>
                  <a:gd name="connsiteX208" fmla="*/ 1178020 w 1669871"/>
                  <a:gd name="connsiteY208" fmla="*/ 1036144 h 2002531"/>
                  <a:gd name="connsiteX209" fmla="*/ 1212858 w 1669871"/>
                  <a:gd name="connsiteY209" fmla="*/ 1037791 h 2002531"/>
                  <a:gd name="connsiteX210" fmla="*/ 1226920 w 1669871"/>
                  <a:gd name="connsiteY210" fmla="*/ 1011061 h 2002531"/>
                  <a:gd name="connsiteX211" fmla="*/ 1244655 w 1669871"/>
                  <a:gd name="connsiteY211" fmla="*/ 970902 h 2002531"/>
                  <a:gd name="connsiteX212" fmla="*/ 1269738 w 1669871"/>
                  <a:gd name="connsiteY212" fmla="*/ 986484 h 2002531"/>
                  <a:gd name="connsiteX213" fmla="*/ 1300649 w 1669871"/>
                  <a:gd name="connsiteY213" fmla="*/ 980910 h 2002531"/>
                  <a:gd name="connsiteX214" fmla="*/ 1327379 w 1669871"/>
                  <a:gd name="connsiteY214" fmla="*/ 968115 h 2002531"/>
                  <a:gd name="connsiteX215" fmla="*/ 1310783 w 1669871"/>
                  <a:gd name="connsiteY215" fmla="*/ 945566 h 2002531"/>
                  <a:gd name="connsiteX216" fmla="*/ 1360823 w 1669871"/>
                  <a:gd name="connsiteY216" fmla="*/ 928590 h 2002531"/>
                  <a:gd name="connsiteX217" fmla="*/ 1366017 w 1669871"/>
                  <a:gd name="connsiteY217" fmla="*/ 945819 h 2002531"/>
                  <a:gd name="connsiteX218" fmla="*/ 1387047 w 1669871"/>
                  <a:gd name="connsiteY218" fmla="*/ 944046 h 2002531"/>
                  <a:gd name="connsiteX219" fmla="*/ 1430372 w 1669871"/>
                  <a:gd name="connsiteY219" fmla="*/ 945819 h 2002531"/>
                  <a:gd name="connsiteX220" fmla="*/ 1445574 w 1669871"/>
                  <a:gd name="connsiteY220" fmla="*/ 989651 h 2002531"/>
                  <a:gd name="connsiteX221" fmla="*/ 1473191 w 1669871"/>
                  <a:gd name="connsiteY221" fmla="*/ 962668 h 2002531"/>
                  <a:gd name="connsiteX222" fmla="*/ 1514996 w 1669871"/>
                  <a:gd name="connsiteY222" fmla="*/ 957981 h 2002531"/>
                  <a:gd name="connsiteX223" fmla="*/ 1553507 w 1669871"/>
                  <a:gd name="connsiteY223" fmla="*/ 950126 h 2002531"/>
                  <a:gd name="connsiteX224" fmla="*/ 1560728 w 1669871"/>
                  <a:gd name="connsiteY224" fmla="*/ 971789 h 2002531"/>
                  <a:gd name="connsiteX225" fmla="*/ 1580744 w 1669871"/>
                  <a:gd name="connsiteY225" fmla="*/ 965708 h 2002531"/>
                  <a:gd name="connsiteX226" fmla="*/ 1636864 w 1669871"/>
                  <a:gd name="connsiteY226" fmla="*/ 957727 h 2002531"/>
                  <a:gd name="connsiteX227" fmla="*/ 1646492 w 1669871"/>
                  <a:gd name="connsiteY227" fmla="*/ 978377 h 2002531"/>
                  <a:gd name="connsiteX228" fmla="*/ 1645859 w 1669871"/>
                  <a:gd name="connsiteY228" fmla="*/ 1001433 h 2002531"/>
                  <a:gd name="connsiteX229" fmla="*/ 1667901 w 1669871"/>
                  <a:gd name="connsiteY229" fmla="*/ 1018535 h 20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669871" h="2002531">
                    <a:moveTo>
                      <a:pt x="1667901" y="1018535"/>
                    </a:moveTo>
                    <a:cubicBezTo>
                      <a:pt x="1660047" y="1031203"/>
                      <a:pt x="1643198" y="1033863"/>
                      <a:pt x="1633697" y="1044505"/>
                    </a:cubicBezTo>
                    <a:cubicBezTo>
                      <a:pt x="1624829" y="1054639"/>
                      <a:pt x="1618495" y="1069968"/>
                      <a:pt x="1612668" y="1081876"/>
                    </a:cubicBezTo>
                    <a:cubicBezTo>
                      <a:pt x="1606080" y="1095305"/>
                      <a:pt x="1596833" y="1113800"/>
                      <a:pt x="1582264" y="1119881"/>
                    </a:cubicBezTo>
                    <a:cubicBezTo>
                      <a:pt x="1564909" y="1127229"/>
                      <a:pt x="1557688" y="1113927"/>
                      <a:pt x="1543119" y="1109873"/>
                    </a:cubicBezTo>
                    <a:cubicBezTo>
                      <a:pt x="1532731" y="1107086"/>
                      <a:pt x="1512082" y="1122541"/>
                      <a:pt x="1522217" y="1133056"/>
                    </a:cubicBezTo>
                    <a:cubicBezTo>
                      <a:pt x="1526523" y="1137617"/>
                      <a:pt x="1537292" y="1133816"/>
                      <a:pt x="1542612" y="1133816"/>
                    </a:cubicBezTo>
                    <a:cubicBezTo>
                      <a:pt x="1550720" y="1133689"/>
                      <a:pt x="1557434" y="1135463"/>
                      <a:pt x="1564402" y="1139770"/>
                    </a:cubicBezTo>
                    <a:cubicBezTo>
                      <a:pt x="1572130" y="1154212"/>
                      <a:pt x="1560474" y="1171187"/>
                      <a:pt x="1564655" y="1186136"/>
                    </a:cubicBezTo>
                    <a:cubicBezTo>
                      <a:pt x="1569215" y="1202351"/>
                      <a:pt x="1585304" y="1216160"/>
                      <a:pt x="1582518" y="1234275"/>
                    </a:cubicBezTo>
                    <a:cubicBezTo>
                      <a:pt x="1581504" y="1240989"/>
                      <a:pt x="1575676" y="1245043"/>
                      <a:pt x="1574410" y="1251251"/>
                    </a:cubicBezTo>
                    <a:cubicBezTo>
                      <a:pt x="1573016" y="1257838"/>
                      <a:pt x="1575803" y="1266833"/>
                      <a:pt x="1579477" y="1272280"/>
                    </a:cubicBezTo>
                    <a:cubicBezTo>
                      <a:pt x="1583531" y="1277981"/>
                      <a:pt x="1589612" y="1279754"/>
                      <a:pt x="1590372" y="1288242"/>
                    </a:cubicBezTo>
                    <a:cubicBezTo>
                      <a:pt x="1591132" y="1296603"/>
                      <a:pt x="1583784" y="1299263"/>
                      <a:pt x="1581758" y="1305978"/>
                    </a:cubicBezTo>
                    <a:cubicBezTo>
                      <a:pt x="1578464" y="1316872"/>
                      <a:pt x="1591892" y="1333088"/>
                      <a:pt x="1593412" y="1344236"/>
                    </a:cubicBezTo>
                    <a:cubicBezTo>
                      <a:pt x="1595819" y="1361211"/>
                      <a:pt x="1586191" y="1374766"/>
                      <a:pt x="1587458" y="1391108"/>
                    </a:cubicBezTo>
                    <a:cubicBezTo>
                      <a:pt x="1587584" y="1392248"/>
                      <a:pt x="1587711" y="1393262"/>
                      <a:pt x="1587965" y="1394149"/>
                    </a:cubicBezTo>
                    <a:cubicBezTo>
                      <a:pt x="1570609" y="1375780"/>
                      <a:pt x="1517149" y="1371852"/>
                      <a:pt x="1506761" y="1378313"/>
                    </a:cubicBezTo>
                    <a:cubicBezTo>
                      <a:pt x="1496373" y="1384774"/>
                      <a:pt x="1490419" y="1357031"/>
                      <a:pt x="1485478" y="1349176"/>
                    </a:cubicBezTo>
                    <a:cubicBezTo>
                      <a:pt x="1480538" y="1341322"/>
                      <a:pt x="1472050" y="1347149"/>
                      <a:pt x="1465716" y="1360578"/>
                    </a:cubicBezTo>
                    <a:cubicBezTo>
                      <a:pt x="1459255" y="1373879"/>
                      <a:pt x="1444940" y="1375906"/>
                      <a:pt x="1437466" y="1388321"/>
                    </a:cubicBezTo>
                    <a:cubicBezTo>
                      <a:pt x="1429991" y="1400736"/>
                      <a:pt x="1435439" y="1417965"/>
                      <a:pt x="1439493" y="1434307"/>
                    </a:cubicBezTo>
                    <a:cubicBezTo>
                      <a:pt x="1443420" y="1450649"/>
                      <a:pt x="1433539" y="1467498"/>
                      <a:pt x="1429105" y="1475859"/>
                    </a:cubicBezTo>
                    <a:cubicBezTo>
                      <a:pt x="1424671" y="1484220"/>
                      <a:pt x="1418717" y="1491694"/>
                      <a:pt x="1415297" y="1504109"/>
                    </a:cubicBezTo>
                    <a:cubicBezTo>
                      <a:pt x="1411876" y="1516524"/>
                      <a:pt x="1413776" y="1522858"/>
                      <a:pt x="1404908" y="1536793"/>
                    </a:cubicBezTo>
                    <a:cubicBezTo>
                      <a:pt x="1396041" y="1550601"/>
                      <a:pt x="1396041" y="1574924"/>
                      <a:pt x="1395027" y="1590760"/>
                    </a:cubicBezTo>
                    <a:cubicBezTo>
                      <a:pt x="1394141" y="1606595"/>
                      <a:pt x="1383626" y="1632818"/>
                      <a:pt x="1374758" y="1646120"/>
                    </a:cubicBezTo>
                    <a:cubicBezTo>
                      <a:pt x="1365890" y="1659422"/>
                      <a:pt x="1336626" y="1639152"/>
                      <a:pt x="1315344" y="1634212"/>
                    </a:cubicBezTo>
                    <a:cubicBezTo>
                      <a:pt x="1294061" y="1629271"/>
                      <a:pt x="1273792" y="1631678"/>
                      <a:pt x="1263404" y="1639152"/>
                    </a:cubicBezTo>
                    <a:cubicBezTo>
                      <a:pt x="1253016" y="1646627"/>
                      <a:pt x="1246049" y="1649541"/>
                      <a:pt x="1227807" y="1653468"/>
                    </a:cubicBezTo>
                    <a:cubicBezTo>
                      <a:pt x="1209437" y="1657395"/>
                      <a:pt x="1196642" y="1668796"/>
                      <a:pt x="1177767" y="1688179"/>
                    </a:cubicBezTo>
                    <a:cubicBezTo>
                      <a:pt x="1159018" y="1707434"/>
                      <a:pt x="1146096" y="1689699"/>
                      <a:pt x="1138748" y="1679311"/>
                    </a:cubicBezTo>
                    <a:cubicBezTo>
                      <a:pt x="1131275" y="1668923"/>
                      <a:pt x="1129374" y="1608495"/>
                      <a:pt x="1129880" y="1565930"/>
                    </a:cubicBezTo>
                    <a:cubicBezTo>
                      <a:pt x="1130388" y="1523365"/>
                      <a:pt x="1062106" y="1562003"/>
                      <a:pt x="1044243" y="1572898"/>
                    </a:cubicBezTo>
                    <a:cubicBezTo>
                      <a:pt x="1026381" y="1583792"/>
                      <a:pt x="1001171" y="1567957"/>
                      <a:pt x="982423" y="1563523"/>
                    </a:cubicBezTo>
                    <a:cubicBezTo>
                      <a:pt x="963546" y="1559089"/>
                      <a:pt x="949231" y="1591267"/>
                      <a:pt x="938844" y="1605582"/>
                    </a:cubicBezTo>
                    <a:cubicBezTo>
                      <a:pt x="928456" y="1620023"/>
                      <a:pt x="908186" y="1621417"/>
                      <a:pt x="896278" y="1623951"/>
                    </a:cubicBezTo>
                    <a:cubicBezTo>
                      <a:pt x="884370" y="1626484"/>
                      <a:pt x="878922" y="1656128"/>
                      <a:pt x="876515" y="1664109"/>
                    </a:cubicBezTo>
                    <a:cubicBezTo>
                      <a:pt x="874108" y="1671963"/>
                      <a:pt x="868661" y="1683365"/>
                      <a:pt x="857767" y="1688812"/>
                    </a:cubicBezTo>
                    <a:cubicBezTo>
                      <a:pt x="846872" y="1694259"/>
                      <a:pt x="844338" y="1710601"/>
                      <a:pt x="840411" y="1722890"/>
                    </a:cubicBezTo>
                    <a:cubicBezTo>
                      <a:pt x="836484" y="1735051"/>
                      <a:pt x="824576" y="1729477"/>
                      <a:pt x="806713" y="1723523"/>
                    </a:cubicBezTo>
                    <a:cubicBezTo>
                      <a:pt x="788851" y="1717569"/>
                      <a:pt x="784418" y="1753674"/>
                      <a:pt x="787458" y="1768115"/>
                    </a:cubicBezTo>
                    <a:cubicBezTo>
                      <a:pt x="790498" y="1782430"/>
                      <a:pt x="769216" y="1774576"/>
                      <a:pt x="756294" y="1769129"/>
                    </a:cubicBezTo>
                    <a:cubicBezTo>
                      <a:pt x="743372" y="1763681"/>
                      <a:pt x="731971" y="1782430"/>
                      <a:pt x="728044" y="1792818"/>
                    </a:cubicBezTo>
                    <a:cubicBezTo>
                      <a:pt x="724117" y="1803206"/>
                      <a:pt x="722089" y="1810681"/>
                      <a:pt x="715249" y="1826009"/>
                    </a:cubicBezTo>
                    <a:cubicBezTo>
                      <a:pt x="708408" y="1840958"/>
                      <a:pt x="721077" y="1876302"/>
                      <a:pt x="721710" y="1877696"/>
                    </a:cubicBezTo>
                    <a:cubicBezTo>
                      <a:pt x="701314" y="1878076"/>
                      <a:pt x="683451" y="1894291"/>
                      <a:pt x="666602" y="1904046"/>
                    </a:cubicBezTo>
                    <a:cubicBezTo>
                      <a:pt x="642913" y="1917727"/>
                      <a:pt x="620997" y="1919628"/>
                      <a:pt x="594520" y="1923428"/>
                    </a:cubicBezTo>
                    <a:cubicBezTo>
                      <a:pt x="581345" y="1925328"/>
                      <a:pt x="568931" y="1929002"/>
                      <a:pt x="558543" y="1937870"/>
                    </a:cubicBezTo>
                    <a:cubicBezTo>
                      <a:pt x="549295" y="1945724"/>
                      <a:pt x="543721" y="1957252"/>
                      <a:pt x="534093" y="1964600"/>
                    </a:cubicBezTo>
                    <a:cubicBezTo>
                      <a:pt x="512050" y="1981575"/>
                      <a:pt x="481900" y="1967894"/>
                      <a:pt x="457070" y="1976508"/>
                    </a:cubicBezTo>
                    <a:cubicBezTo>
                      <a:pt x="430086" y="1985756"/>
                      <a:pt x="410070" y="2008179"/>
                      <a:pt x="378653" y="2001211"/>
                    </a:cubicBezTo>
                    <a:cubicBezTo>
                      <a:pt x="349517" y="1994877"/>
                      <a:pt x="354077" y="1964980"/>
                      <a:pt x="335961" y="1947498"/>
                    </a:cubicBezTo>
                    <a:cubicBezTo>
                      <a:pt x="318100" y="1930269"/>
                      <a:pt x="293903" y="1938630"/>
                      <a:pt x="281615" y="1956746"/>
                    </a:cubicBezTo>
                    <a:cubicBezTo>
                      <a:pt x="260839" y="1944837"/>
                      <a:pt x="243990" y="1911520"/>
                      <a:pt x="231448" y="1883776"/>
                    </a:cubicBezTo>
                    <a:cubicBezTo>
                      <a:pt x="218907" y="1856033"/>
                      <a:pt x="171401" y="1865407"/>
                      <a:pt x="139730" y="1865407"/>
                    </a:cubicBezTo>
                    <a:cubicBezTo>
                      <a:pt x="108060" y="1865407"/>
                      <a:pt x="78669" y="1850586"/>
                      <a:pt x="68788" y="1841591"/>
                    </a:cubicBezTo>
                    <a:cubicBezTo>
                      <a:pt x="58907" y="1832723"/>
                      <a:pt x="56246" y="1808654"/>
                      <a:pt x="62834" y="1799026"/>
                    </a:cubicBezTo>
                    <a:cubicBezTo>
                      <a:pt x="69422" y="1789398"/>
                      <a:pt x="52319" y="1794719"/>
                      <a:pt x="38764" y="1791805"/>
                    </a:cubicBezTo>
                    <a:cubicBezTo>
                      <a:pt x="25210" y="1788764"/>
                      <a:pt x="41678" y="1748986"/>
                      <a:pt x="54980" y="1724537"/>
                    </a:cubicBezTo>
                    <a:cubicBezTo>
                      <a:pt x="68154" y="1700214"/>
                      <a:pt x="97165" y="1653594"/>
                      <a:pt x="111733" y="1640419"/>
                    </a:cubicBezTo>
                    <a:cubicBezTo>
                      <a:pt x="126175" y="1627244"/>
                      <a:pt x="128836" y="1587339"/>
                      <a:pt x="128836" y="1570491"/>
                    </a:cubicBezTo>
                    <a:cubicBezTo>
                      <a:pt x="128836" y="1553642"/>
                      <a:pt x="141757" y="1535526"/>
                      <a:pt x="149611" y="1521591"/>
                    </a:cubicBezTo>
                    <a:cubicBezTo>
                      <a:pt x="157592" y="1507783"/>
                      <a:pt x="129089" y="1498155"/>
                      <a:pt x="122502" y="1496255"/>
                    </a:cubicBezTo>
                    <a:cubicBezTo>
                      <a:pt x="115914" y="1494228"/>
                      <a:pt x="93111" y="1474085"/>
                      <a:pt x="72716" y="1459643"/>
                    </a:cubicBezTo>
                    <a:cubicBezTo>
                      <a:pt x="52319" y="1445075"/>
                      <a:pt x="7347" y="1417838"/>
                      <a:pt x="7347" y="1417838"/>
                    </a:cubicBezTo>
                    <a:cubicBezTo>
                      <a:pt x="4053" y="1413024"/>
                      <a:pt x="1140" y="1407830"/>
                      <a:pt x="253" y="1401496"/>
                    </a:cubicBezTo>
                    <a:cubicBezTo>
                      <a:pt x="-2027" y="1385534"/>
                      <a:pt x="11655" y="1367039"/>
                      <a:pt x="19762" y="1354370"/>
                    </a:cubicBezTo>
                    <a:cubicBezTo>
                      <a:pt x="31037" y="1336888"/>
                      <a:pt x="30530" y="1321813"/>
                      <a:pt x="35977" y="1302430"/>
                    </a:cubicBezTo>
                    <a:cubicBezTo>
                      <a:pt x="42818" y="1277981"/>
                      <a:pt x="54980" y="1284188"/>
                      <a:pt x="74362" y="1282668"/>
                    </a:cubicBezTo>
                    <a:cubicBezTo>
                      <a:pt x="92604" y="1281274"/>
                      <a:pt x="107046" y="1262905"/>
                      <a:pt x="119968" y="1251757"/>
                    </a:cubicBezTo>
                    <a:cubicBezTo>
                      <a:pt x="147964" y="1227181"/>
                      <a:pt x="164307" y="1192597"/>
                      <a:pt x="171021" y="1156492"/>
                    </a:cubicBezTo>
                    <a:cubicBezTo>
                      <a:pt x="173048" y="1145091"/>
                      <a:pt x="169121" y="1110887"/>
                      <a:pt x="187490" y="1112533"/>
                    </a:cubicBezTo>
                    <a:cubicBezTo>
                      <a:pt x="195597" y="1113293"/>
                      <a:pt x="200411" y="1121654"/>
                      <a:pt x="209406" y="1121908"/>
                    </a:cubicBezTo>
                    <a:cubicBezTo>
                      <a:pt x="218274" y="1122161"/>
                      <a:pt x="224354" y="1118614"/>
                      <a:pt x="233222" y="1122921"/>
                    </a:cubicBezTo>
                    <a:cubicBezTo>
                      <a:pt x="234996" y="1126849"/>
                      <a:pt x="237276" y="1132549"/>
                      <a:pt x="240823" y="1135336"/>
                    </a:cubicBezTo>
                    <a:cubicBezTo>
                      <a:pt x="256785" y="1148004"/>
                      <a:pt x="272493" y="1118867"/>
                      <a:pt x="284148" y="1111393"/>
                    </a:cubicBezTo>
                    <a:cubicBezTo>
                      <a:pt x="291749" y="1106579"/>
                      <a:pt x="300490" y="1103792"/>
                      <a:pt x="308091" y="1099105"/>
                    </a:cubicBezTo>
                    <a:cubicBezTo>
                      <a:pt x="313538" y="1095811"/>
                      <a:pt x="324434" y="1084917"/>
                      <a:pt x="331401" y="1087324"/>
                    </a:cubicBezTo>
                    <a:cubicBezTo>
                      <a:pt x="338115" y="1089604"/>
                      <a:pt x="339889" y="1103539"/>
                      <a:pt x="344829" y="1108480"/>
                    </a:cubicBezTo>
                    <a:cubicBezTo>
                      <a:pt x="352430" y="1116080"/>
                      <a:pt x="360665" y="1114687"/>
                      <a:pt x="367886" y="1107213"/>
                    </a:cubicBezTo>
                    <a:cubicBezTo>
                      <a:pt x="374980" y="1099865"/>
                      <a:pt x="377387" y="1089097"/>
                      <a:pt x="383594" y="1081116"/>
                    </a:cubicBezTo>
                    <a:cubicBezTo>
                      <a:pt x="390688" y="1072122"/>
                      <a:pt x="400950" y="1066928"/>
                      <a:pt x="409564" y="1059327"/>
                    </a:cubicBezTo>
                    <a:cubicBezTo>
                      <a:pt x="428947" y="1042351"/>
                      <a:pt x="397909" y="1036144"/>
                      <a:pt x="386761" y="1023476"/>
                    </a:cubicBezTo>
                    <a:cubicBezTo>
                      <a:pt x="379794" y="1015495"/>
                      <a:pt x="374853" y="1004346"/>
                      <a:pt x="363832" y="1001053"/>
                    </a:cubicBezTo>
                    <a:cubicBezTo>
                      <a:pt x="353063" y="997886"/>
                      <a:pt x="341155" y="1003080"/>
                      <a:pt x="330261" y="1003206"/>
                    </a:cubicBezTo>
                    <a:cubicBezTo>
                      <a:pt x="320126" y="1003206"/>
                      <a:pt x="311512" y="998519"/>
                      <a:pt x="301630" y="997506"/>
                    </a:cubicBezTo>
                    <a:cubicBezTo>
                      <a:pt x="289216" y="996239"/>
                      <a:pt x="279335" y="1002700"/>
                      <a:pt x="267553" y="1005233"/>
                    </a:cubicBezTo>
                    <a:cubicBezTo>
                      <a:pt x="239936" y="1011061"/>
                      <a:pt x="253998" y="971409"/>
                      <a:pt x="236136" y="959754"/>
                    </a:cubicBezTo>
                    <a:cubicBezTo>
                      <a:pt x="226634" y="953547"/>
                      <a:pt x="174948" y="950253"/>
                      <a:pt x="196484" y="926690"/>
                    </a:cubicBezTo>
                    <a:cubicBezTo>
                      <a:pt x="203832" y="918709"/>
                      <a:pt x="217006" y="919849"/>
                      <a:pt x="226508" y="916555"/>
                    </a:cubicBezTo>
                    <a:cubicBezTo>
                      <a:pt x="232968" y="914275"/>
                      <a:pt x="238543" y="910348"/>
                      <a:pt x="243483" y="905661"/>
                    </a:cubicBezTo>
                    <a:cubicBezTo>
                      <a:pt x="244623" y="904521"/>
                      <a:pt x="245764" y="902874"/>
                      <a:pt x="247157" y="901860"/>
                    </a:cubicBezTo>
                    <a:cubicBezTo>
                      <a:pt x="248424" y="900847"/>
                      <a:pt x="249310" y="900594"/>
                      <a:pt x="250324" y="899073"/>
                    </a:cubicBezTo>
                    <a:cubicBezTo>
                      <a:pt x="252604" y="896160"/>
                      <a:pt x="254124" y="892739"/>
                      <a:pt x="256405" y="889825"/>
                    </a:cubicBezTo>
                    <a:cubicBezTo>
                      <a:pt x="262739" y="881718"/>
                      <a:pt x="267933" y="872723"/>
                      <a:pt x="274267" y="864616"/>
                    </a:cubicBezTo>
                    <a:cubicBezTo>
                      <a:pt x="280474" y="857015"/>
                      <a:pt x="287189" y="849921"/>
                      <a:pt x="295676" y="844980"/>
                    </a:cubicBezTo>
                    <a:cubicBezTo>
                      <a:pt x="300997" y="841813"/>
                      <a:pt x="306825" y="839406"/>
                      <a:pt x="312905" y="837886"/>
                    </a:cubicBezTo>
                    <a:cubicBezTo>
                      <a:pt x="321646" y="835605"/>
                      <a:pt x="335582" y="832438"/>
                      <a:pt x="334821" y="821670"/>
                    </a:cubicBezTo>
                    <a:cubicBezTo>
                      <a:pt x="334314" y="814323"/>
                      <a:pt x="325194" y="806722"/>
                      <a:pt x="322406" y="799881"/>
                    </a:cubicBezTo>
                    <a:cubicBezTo>
                      <a:pt x="312905" y="775938"/>
                      <a:pt x="333301" y="776191"/>
                      <a:pt x="339762" y="757189"/>
                    </a:cubicBezTo>
                    <a:cubicBezTo>
                      <a:pt x="342929" y="747688"/>
                      <a:pt x="336848" y="743381"/>
                      <a:pt x="347616" y="736540"/>
                    </a:cubicBezTo>
                    <a:cubicBezTo>
                      <a:pt x="354710" y="731979"/>
                      <a:pt x="363072" y="731726"/>
                      <a:pt x="368899" y="724758"/>
                    </a:cubicBezTo>
                    <a:cubicBezTo>
                      <a:pt x="380427" y="710443"/>
                      <a:pt x="368899" y="691567"/>
                      <a:pt x="376754" y="675859"/>
                    </a:cubicBezTo>
                    <a:cubicBezTo>
                      <a:pt x="383594" y="662304"/>
                      <a:pt x="395122" y="653943"/>
                      <a:pt x="407411" y="646088"/>
                    </a:cubicBezTo>
                    <a:cubicBezTo>
                      <a:pt x="421472" y="637094"/>
                      <a:pt x="430594" y="629746"/>
                      <a:pt x="441488" y="617078"/>
                    </a:cubicBezTo>
                    <a:cubicBezTo>
                      <a:pt x="446809" y="610871"/>
                      <a:pt x="452002" y="605423"/>
                      <a:pt x="460237" y="603396"/>
                    </a:cubicBezTo>
                    <a:cubicBezTo>
                      <a:pt x="468851" y="601369"/>
                      <a:pt x="477466" y="605550"/>
                      <a:pt x="485067" y="599469"/>
                    </a:cubicBezTo>
                    <a:cubicBezTo>
                      <a:pt x="493174" y="593135"/>
                      <a:pt x="488994" y="586928"/>
                      <a:pt x="491147" y="578440"/>
                    </a:cubicBezTo>
                    <a:cubicBezTo>
                      <a:pt x="494568" y="564758"/>
                      <a:pt x="507743" y="559058"/>
                      <a:pt x="517498" y="550950"/>
                    </a:cubicBezTo>
                    <a:cubicBezTo>
                      <a:pt x="522564" y="546769"/>
                      <a:pt x="525352" y="541069"/>
                      <a:pt x="529786" y="536508"/>
                    </a:cubicBezTo>
                    <a:cubicBezTo>
                      <a:pt x="531432" y="534861"/>
                      <a:pt x="544861" y="528527"/>
                      <a:pt x="544354" y="529667"/>
                    </a:cubicBezTo>
                    <a:cubicBezTo>
                      <a:pt x="537640" y="544742"/>
                      <a:pt x="546888" y="549810"/>
                      <a:pt x="557656" y="540055"/>
                    </a:cubicBezTo>
                    <a:cubicBezTo>
                      <a:pt x="568424" y="530174"/>
                      <a:pt x="579952" y="524473"/>
                      <a:pt x="593634" y="519152"/>
                    </a:cubicBezTo>
                    <a:cubicBezTo>
                      <a:pt x="618590" y="509398"/>
                      <a:pt x="638353" y="491536"/>
                      <a:pt x="660015" y="476334"/>
                    </a:cubicBezTo>
                    <a:cubicBezTo>
                      <a:pt x="669263" y="469873"/>
                      <a:pt x="679145" y="464046"/>
                      <a:pt x="690166" y="461259"/>
                    </a:cubicBezTo>
                    <a:cubicBezTo>
                      <a:pt x="702834" y="458092"/>
                      <a:pt x="716515" y="460752"/>
                      <a:pt x="728931" y="456698"/>
                    </a:cubicBezTo>
                    <a:cubicBezTo>
                      <a:pt x="753127" y="448717"/>
                      <a:pt x="762628" y="425914"/>
                      <a:pt x="781124" y="411599"/>
                    </a:cubicBezTo>
                    <a:cubicBezTo>
                      <a:pt x="790878" y="404125"/>
                      <a:pt x="802026" y="399438"/>
                      <a:pt x="811274" y="391076"/>
                    </a:cubicBezTo>
                    <a:cubicBezTo>
                      <a:pt x="817861" y="385122"/>
                      <a:pt x="847379" y="350918"/>
                      <a:pt x="853586" y="364347"/>
                    </a:cubicBezTo>
                    <a:cubicBezTo>
                      <a:pt x="855993" y="369540"/>
                      <a:pt x="844972" y="391203"/>
                      <a:pt x="855487" y="391583"/>
                    </a:cubicBezTo>
                    <a:cubicBezTo>
                      <a:pt x="875882" y="392343"/>
                      <a:pt x="864861" y="341037"/>
                      <a:pt x="888804" y="337236"/>
                    </a:cubicBezTo>
                    <a:cubicBezTo>
                      <a:pt x="904386" y="334703"/>
                      <a:pt x="917434" y="350285"/>
                      <a:pt x="933523" y="346231"/>
                    </a:cubicBezTo>
                    <a:cubicBezTo>
                      <a:pt x="952779" y="341417"/>
                      <a:pt x="941251" y="330269"/>
                      <a:pt x="931116" y="323175"/>
                    </a:cubicBezTo>
                    <a:cubicBezTo>
                      <a:pt x="917941" y="313927"/>
                      <a:pt x="914520" y="305819"/>
                      <a:pt x="929343" y="295558"/>
                    </a:cubicBezTo>
                    <a:cubicBezTo>
                      <a:pt x="944164" y="285170"/>
                      <a:pt x="954552" y="292137"/>
                      <a:pt x="968487" y="300499"/>
                    </a:cubicBezTo>
                    <a:cubicBezTo>
                      <a:pt x="972921" y="303159"/>
                      <a:pt x="981536" y="310126"/>
                      <a:pt x="987110" y="307086"/>
                    </a:cubicBezTo>
                    <a:cubicBezTo>
                      <a:pt x="992430" y="304172"/>
                      <a:pt x="989896" y="296191"/>
                      <a:pt x="991670" y="291631"/>
                    </a:cubicBezTo>
                    <a:cubicBezTo>
                      <a:pt x="997751" y="276175"/>
                      <a:pt x="1009405" y="294291"/>
                      <a:pt x="1018527" y="300625"/>
                    </a:cubicBezTo>
                    <a:cubicBezTo>
                      <a:pt x="1047030" y="320768"/>
                      <a:pt x="1075914" y="280229"/>
                      <a:pt x="1100744" y="303792"/>
                    </a:cubicBezTo>
                    <a:cubicBezTo>
                      <a:pt x="1112398" y="314814"/>
                      <a:pt x="1114932" y="320134"/>
                      <a:pt x="1132668" y="316967"/>
                    </a:cubicBezTo>
                    <a:cubicBezTo>
                      <a:pt x="1147490" y="314307"/>
                      <a:pt x="1157497" y="311900"/>
                      <a:pt x="1163831" y="298218"/>
                    </a:cubicBezTo>
                    <a:cubicBezTo>
                      <a:pt x="1166872" y="291504"/>
                      <a:pt x="1182581" y="273515"/>
                      <a:pt x="1179160" y="266674"/>
                    </a:cubicBezTo>
                    <a:cubicBezTo>
                      <a:pt x="1171812" y="252106"/>
                      <a:pt x="1149010" y="271362"/>
                      <a:pt x="1142042" y="275289"/>
                    </a:cubicBezTo>
                    <a:cubicBezTo>
                      <a:pt x="1124306" y="285170"/>
                      <a:pt x="1116073" y="265154"/>
                      <a:pt x="1099857" y="261607"/>
                    </a:cubicBezTo>
                    <a:cubicBezTo>
                      <a:pt x="1085289" y="258440"/>
                      <a:pt x="1074393" y="281496"/>
                      <a:pt x="1060965" y="275415"/>
                    </a:cubicBezTo>
                    <a:cubicBezTo>
                      <a:pt x="1046144" y="268575"/>
                      <a:pt x="1063753" y="248559"/>
                      <a:pt x="1066539" y="239691"/>
                    </a:cubicBezTo>
                    <a:cubicBezTo>
                      <a:pt x="1070214" y="227783"/>
                      <a:pt x="1062359" y="207133"/>
                      <a:pt x="1077941" y="202573"/>
                    </a:cubicBezTo>
                    <a:cubicBezTo>
                      <a:pt x="1086682" y="199913"/>
                      <a:pt x="1098463" y="209667"/>
                      <a:pt x="1104924" y="201053"/>
                    </a:cubicBezTo>
                    <a:cubicBezTo>
                      <a:pt x="1108218" y="196746"/>
                      <a:pt x="1107205" y="187371"/>
                      <a:pt x="1108598" y="182177"/>
                    </a:cubicBezTo>
                    <a:cubicBezTo>
                      <a:pt x="1111765" y="169889"/>
                      <a:pt x="1123546" y="157347"/>
                      <a:pt x="1122280" y="144552"/>
                    </a:cubicBezTo>
                    <a:cubicBezTo>
                      <a:pt x="1107078" y="142779"/>
                      <a:pt x="1106445" y="160641"/>
                      <a:pt x="1092889" y="160008"/>
                    </a:cubicBezTo>
                    <a:cubicBezTo>
                      <a:pt x="1094536" y="143032"/>
                      <a:pt x="1108852" y="123143"/>
                      <a:pt x="1116452" y="108068"/>
                    </a:cubicBezTo>
                    <a:cubicBezTo>
                      <a:pt x="1120760" y="99453"/>
                      <a:pt x="1120760" y="93119"/>
                      <a:pt x="1130134" y="90839"/>
                    </a:cubicBezTo>
                    <a:cubicBezTo>
                      <a:pt x="1142929" y="87799"/>
                      <a:pt x="1156104" y="90332"/>
                      <a:pt x="1168772" y="88305"/>
                    </a:cubicBezTo>
                    <a:cubicBezTo>
                      <a:pt x="1182200" y="86152"/>
                      <a:pt x="1197402" y="80704"/>
                      <a:pt x="1207664" y="71710"/>
                    </a:cubicBezTo>
                    <a:cubicBezTo>
                      <a:pt x="1215518" y="64996"/>
                      <a:pt x="1220205" y="55368"/>
                      <a:pt x="1230087" y="50807"/>
                    </a:cubicBezTo>
                    <a:cubicBezTo>
                      <a:pt x="1239461" y="46500"/>
                      <a:pt x="1250482" y="49414"/>
                      <a:pt x="1259603" y="44473"/>
                    </a:cubicBezTo>
                    <a:cubicBezTo>
                      <a:pt x="1278732" y="34085"/>
                      <a:pt x="1279492" y="8495"/>
                      <a:pt x="1303309" y="1148"/>
                    </a:cubicBezTo>
                    <a:cubicBezTo>
                      <a:pt x="1329405" y="-6833"/>
                      <a:pt x="1322818" y="28891"/>
                      <a:pt x="1321678" y="43966"/>
                    </a:cubicBezTo>
                    <a:cubicBezTo>
                      <a:pt x="1320918" y="54861"/>
                      <a:pt x="1320158" y="61829"/>
                      <a:pt x="1331560" y="63982"/>
                    </a:cubicBezTo>
                    <a:cubicBezTo>
                      <a:pt x="1340301" y="65629"/>
                      <a:pt x="1348028" y="64742"/>
                      <a:pt x="1353349" y="73103"/>
                    </a:cubicBezTo>
                    <a:cubicBezTo>
                      <a:pt x="1358669" y="81718"/>
                      <a:pt x="1355629" y="90966"/>
                      <a:pt x="1348661" y="97553"/>
                    </a:cubicBezTo>
                    <a:cubicBezTo>
                      <a:pt x="1343468" y="102494"/>
                      <a:pt x="1324972" y="112122"/>
                      <a:pt x="1335487" y="120609"/>
                    </a:cubicBezTo>
                    <a:cubicBezTo>
                      <a:pt x="1344101" y="127704"/>
                      <a:pt x="1358923" y="114022"/>
                      <a:pt x="1368930" y="120989"/>
                    </a:cubicBezTo>
                    <a:cubicBezTo>
                      <a:pt x="1382106" y="129984"/>
                      <a:pt x="1367664" y="138978"/>
                      <a:pt x="1364497" y="148353"/>
                    </a:cubicBezTo>
                    <a:cubicBezTo>
                      <a:pt x="1360949" y="158867"/>
                      <a:pt x="1370577" y="169129"/>
                      <a:pt x="1362470" y="178250"/>
                    </a:cubicBezTo>
                    <a:cubicBezTo>
                      <a:pt x="1355376" y="186104"/>
                      <a:pt x="1340301" y="188258"/>
                      <a:pt x="1331560" y="194465"/>
                    </a:cubicBezTo>
                    <a:cubicBezTo>
                      <a:pt x="1319525" y="202953"/>
                      <a:pt x="1320158" y="210427"/>
                      <a:pt x="1335487" y="211694"/>
                    </a:cubicBezTo>
                    <a:cubicBezTo>
                      <a:pt x="1347775" y="212708"/>
                      <a:pt x="1357022" y="208780"/>
                      <a:pt x="1368044" y="204600"/>
                    </a:cubicBezTo>
                    <a:cubicBezTo>
                      <a:pt x="1383753" y="198392"/>
                      <a:pt x="1384386" y="205107"/>
                      <a:pt x="1395154" y="214861"/>
                    </a:cubicBezTo>
                    <a:cubicBezTo>
                      <a:pt x="1407695" y="226136"/>
                      <a:pt x="1416310" y="207133"/>
                      <a:pt x="1428092" y="212708"/>
                    </a:cubicBezTo>
                    <a:cubicBezTo>
                      <a:pt x="1438606" y="217648"/>
                      <a:pt x="1442533" y="238171"/>
                      <a:pt x="1449121" y="247039"/>
                    </a:cubicBezTo>
                    <a:cubicBezTo>
                      <a:pt x="1458749" y="260087"/>
                      <a:pt x="1458875" y="293911"/>
                      <a:pt x="1482692" y="287450"/>
                    </a:cubicBezTo>
                    <a:cubicBezTo>
                      <a:pt x="1498400" y="283143"/>
                      <a:pt x="1499033" y="261354"/>
                      <a:pt x="1513729" y="255400"/>
                    </a:cubicBezTo>
                    <a:cubicBezTo>
                      <a:pt x="1522217" y="251979"/>
                      <a:pt x="1545146" y="252739"/>
                      <a:pt x="1551100" y="260847"/>
                    </a:cubicBezTo>
                    <a:cubicBezTo>
                      <a:pt x="1558574" y="271362"/>
                      <a:pt x="1548186" y="284283"/>
                      <a:pt x="1538432" y="287070"/>
                    </a:cubicBezTo>
                    <a:cubicBezTo>
                      <a:pt x="1526017" y="290617"/>
                      <a:pt x="1510815" y="290237"/>
                      <a:pt x="1517276" y="308480"/>
                    </a:cubicBezTo>
                    <a:cubicBezTo>
                      <a:pt x="1521583" y="308480"/>
                      <a:pt x="1527791" y="308099"/>
                      <a:pt x="1531718" y="310380"/>
                    </a:cubicBezTo>
                    <a:cubicBezTo>
                      <a:pt x="1539699" y="314687"/>
                      <a:pt x="1541092" y="326848"/>
                      <a:pt x="1534378" y="333563"/>
                    </a:cubicBezTo>
                    <a:cubicBezTo>
                      <a:pt x="1525763" y="342177"/>
                      <a:pt x="1519936" y="331536"/>
                      <a:pt x="1510688" y="331916"/>
                    </a:cubicBezTo>
                    <a:cubicBezTo>
                      <a:pt x="1499287" y="332296"/>
                      <a:pt x="1502707" y="340277"/>
                      <a:pt x="1508535" y="346611"/>
                    </a:cubicBezTo>
                    <a:cubicBezTo>
                      <a:pt x="1515249" y="354085"/>
                      <a:pt x="1522343" y="356619"/>
                      <a:pt x="1515882" y="367514"/>
                    </a:cubicBezTo>
                    <a:cubicBezTo>
                      <a:pt x="1510815" y="376001"/>
                      <a:pt x="1502834" y="376888"/>
                      <a:pt x="1494473" y="379675"/>
                    </a:cubicBezTo>
                    <a:cubicBezTo>
                      <a:pt x="1485478" y="382715"/>
                      <a:pt x="1478005" y="388163"/>
                      <a:pt x="1470150" y="393230"/>
                    </a:cubicBezTo>
                    <a:cubicBezTo>
                      <a:pt x="1451654" y="405265"/>
                      <a:pt x="1429231" y="424647"/>
                      <a:pt x="1423024" y="446690"/>
                    </a:cubicBezTo>
                    <a:cubicBezTo>
                      <a:pt x="1420490" y="455685"/>
                      <a:pt x="1422644" y="468099"/>
                      <a:pt x="1412636" y="472533"/>
                    </a:cubicBezTo>
                    <a:cubicBezTo>
                      <a:pt x="1403262" y="476714"/>
                      <a:pt x="1394520" y="469366"/>
                      <a:pt x="1386539" y="478234"/>
                    </a:cubicBezTo>
                    <a:cubicBezTo>
                      <a:pt x="1380078" y="485328"/>
                      <a:pt x="1380205" y="497870"/>
                      <a:pt x="1367283" y="496096"/>
                    </a:cubicBezTo>
                    <a:cubicBezTo>
                      <a:pt x="1354489" y="494323"/>
                      <a:pt x="1354489" y="480388"/>
                      <a:pt x="1351195" y="471013"/>
                    </a:cubicBezTo>
                    <a:cubicBezTo>
                      <a:pt x="1347141" y="459612"/>
                      <a:pt x="1342074" y="458978"/>
                      <a:pt x="1330926" y="459232"/>
                    </a:cubicBezTo>
                    <a:cubicBezTo>
                      <a:pt x="1322058" y="459358"/>
                      <a:pt x="1311163" y="455685"/>
                      <a:pt x="1302676" y="457078"/>
                    </a:cubicBezTo>
                    <a:cubicBezTo>
                      <a:pt x="1290388" y="459232"/>
                      <a:pt x="1291654" y="469240"/>
                      <a:pt x="1289628" y="479248"/>
                    </a:cubicBezTo>
                    <a:cubicBezTo>
                      <a:pt x="1286967" y="492296"/>
                      <a:pt x="1279366" y="498630"/>
                      <a:pt x="1269612" y="506864"/>
                    </a:cubicBezTo>
                    <a:cubicBezTo>
                      <a:pt x="1249089" y="524346"/>
                      <a:pt x="1248202" y="539042"/>
                      <a:pt x="1246302" y="564378"/>
                    </a:cubicBezTo>
                    <a:cubicBezTo>
                      <a:pt x="1244782" y="584521"/>
                      <a:pt x="1238828" y="627719"/>
                      <a:pt x="1210198" y="625059"/>
                    </a:cubicBezTo>
                    <a:cubicBezTo>
                      <a:pt x="1199429" y="624046"/>
                      <a:pt x="1192969" y="613658"/>
                      <a:pt x="1181188" y="615938"/>
                    </a:cubicBezTo>
                    <a:cubicBezTo>
                      <a:pt x="1171686" y="617838"/>
                      <a:pt x="1164845" y="625819"/>
                      <a:pt x="1154711" y="626579"/>
                    </a:cubicBezTo>
                    <a:cubicBezTo>
                      <a:pt x="1134948" y="627973"/>
                      <a:pt x="1124560" y="618345"/>
                      <a:pt x="1120506" y="600609"/>
                    </a:cubicBezTo>
                    <a:cubicBezTo>
                      <a:pt x="1118353" y="590855"/>
                      <a:pt x="1113792" y="587814"/>
                      <a:pt x="1103531" y="582747"/>
                    </a:cubicBezTo>
                    <a:cubicBezTo>
                      <a:pt x="1097197" y="579580"/>
                      <a:pt x="1086682" y="574513"/>
                      <a:pt x="1080094" y="580214"/>
                    </a:cubicBezTo>
                    <a:cubicBezTo>
                      <a:pt x="1071353" y="587814"/>
                      <a:pt x="1080854" y="597696"/>
                      <a:pt x="1086302" y="603650"/>
                    </a:cubicBezTo>
                    <a:cubicBezTo>
                      <a:pt x="1092636" y="610617"/>
                      <a:pt x="1096183" y="615178"/>
                      <a:pt x="1097323" y="625059"/>
                    </a:cubicBezTo>
                    <a:cubicBezTo>
                      <a:pt x="1085415" y="623919"/>
                      <a:pt x="1048931" y="614924"/>
                      <a:pt x="1059445" y="642161"/>
                    </a:cubicBezTo>
                    <a:cubicBezTo>
                      <a:pt x="1064513" y="655210"/>
                      <a:pt x="1094410" y="655083"/>
                      <a:pt x="1106318" y="656096"/>
                    </a:cubicBezTo>
                    <a:cubicBezTo>
                      <a:pt x="1110625" y="668131"/>
                      <a:pt x="1112652" y="682193"/>
                      <a:pt x="1121393" y="692074"/>
                    </a:cubicBezTo>
                    <a:cubicBezTo>
                      <a:pt x="1140395" y="713483"/>
                      <a:pt x="1155977" y="671298"/>
                      <a:pt x="1174219" y="666991"/>
                    </a:cubicBezTo>
                    <a:cubicBezTo>
                      <a:pt x="1192969" y="662557"/>
                      <a:pt x="1202090" y="685867"/>
                      <a:pt x="1209437" y="698662"/>
                    </a:cubicBezTo>
                    <a:cubicBezTo>
                      <a:pt x="1213618" y="706009"/>
                      <a:pt x="1217925" y="712977"/>
                      <a:pt x="1224640" y="718551"/>
                    </a:cubicBezTo>
                    <a:cubicBezTo>
                      <a:pt x="1232873" y="725392"/>
                      <a:pt x="1244782" y="728559"/>
                      <a:pt x="1250356" y="738313"/>
                    </a:cubicBezTo>
                    <a:cubicBezTo>
                      <a:pt x="1257070" y="750095"/>
                      <a:pt x="1251749" y="766310"/>
                      <a:pt x="1254410" y="779232"/>
                    </a:cubicBezTo>
                    <a:cubicBezTo>
                      <a:pt x="1257577" y="794687"/>
                      <a:pt x="1265431" y="808622"/>
                      <a:pt x="1274426" y="821544"/>
                    </a:cubicBezTo>
                    <a:cubicBezTo>
                      <a:pt x="1295075" y="851441"/>
                      <a:pt x="1282280" y="893119"/>
                      <a:pt x="1264291" y="922383"/>
                    </a:cubicBezTo>
                    <a:cubicBezTo>
                      <a:pt x="1255043" y="937205"/>
                      <a:pt x="1241488" y="949873"/>
                      <a:pt x="1224132" y="953927"/>
                    </a:cubicBezTo>
                    <a:cubicBezTo>
                      <a:pt x="1208804" y="957601"/>
                      <a:pt x="1194109" y="956587"/>
                      <a:pt x="1179160" y="963301"/>
                    </a:cubicBezTo>
                    <a:cubicBezTo>
                      <a:pt x="1168392" y="968115"/>
                      <a:pt x="1146983" y="976983"/>
                      <a:pt x="1150403" y="992185"/>
                    </a:cubicBezTo>
                    <a:cubicBezTo>
                      <a:pt x="1155217" y="1013468"/>
                      <a:pt x="1175993" y="995352"/>
                      <a:pt x="1184481" y="988638"/>
                    </a:cubicBezTo>
                    <a:cubicBezTo>
                      <a:pt x="1197023" y="978503"/>
                      <a:pt x="1209437" y="982430"/>
                      <a:pt x="1200696" y="999659"/>
                    </a:cubicBezTo>
                    <a:cubicBezTo>
                      <a:pt x="1193729" y="1013594"/>
                      <a:pt x="1181314" y="1019548"/>
                      <a:pt x="1178020" y="1036144"/>
                    </a:cubicBezTo>
                    <a:cubicBezTo>
                      <a:pt x="1188028" y="1035890"/>
                      <a:pt x="1203737" y="1041464"/>
                      <a:pt x="1212858" y="1037791"/>
                    </a:cubicBezTo>
                    <a:cubicBezTo>
                      <a:pt x="1223245" y="1033610"/>
                      <a:pt x="1224386" y="1020055"/>
                      <a:pt x="1226920" y="1011061"/>
                    </a:cubicBezTo>
                    <a:cubicBezTo>
                      <a:pt x="1229073" y="1003460"/>
                      <a:pt x="1226793" y="946326"/>
                      <a:pt x="1244655" y="970902"/>
                    </a:cubicBezTo>
                    <a:cubicBezTo>
                      <a:pt x="1252636" y="981670"/>
                      <a:pt x="1254030" y="990411"/>
                      <a:pt x="1269738" y="986484"/>
                    </a:cubicBezTo>
                    <a:cubicBezTo>
                      <a:pt x="1280633" y="983697"/>
                      <a:pt x="1289374" y="981670"/>
                      <a:pt x="1300649" y="980910"/>
                    </a:cubicBezTo>
                    <a:cubicBezTo>
                      <a:pt x="1308883" y="980277"/>
                      <a:pt x="1325732" y="979137"/>
                      <a:pt x="1327379" y="968115"/>
                    </a:cubicBezTo>
                    <a:cubicBezTo>
                      <a:pt x="1329026" y="956841"/>
                      <a:pt x="1311923" y="957474"/>
                      <a:pt x="1310783" y="945566"/>
                    </a:cubicBezTo>
                    <a:cubicBezTo>
                      <a:pt x="1309137" y="927957"/>
                      <a:pt x="1348661" y="927197"/>
                      <a:pt x="1360823" y="928590"/>
                    </a:cubicBezTo>
                    <a:cubicBezTo>
                      <a:pt x="1361203" y="935431"/>
                      <a:pt x="1359429" y="942525"/>
                      <a:pt x="1366017" y="945819"/>
                    </a:cubicBezTo>
                    <a:cubicBezTo>
                      <a:pt x="1370071" y="947846"/>
                      <a:pt x="1382612" y="944806"/>
                      <a:pt x="1387047" y="944046"/>
                    </a:cubicBezTo>
                    <a:cubicBezTo>
                      <a:pt x="1401488" y="941385"/>
                      <a:pt x="1417956" y="933531"/>
                      <a:pt x="1430372" y="945819"/>
                    </a:cubicBezTo>
                    <a:cubicBezTo>
                      <a:pt x="1440253" y="955574"/>
                      <a:pt x="1431638" y="984711"/>
                      <a:pt x="1445574" y="989651"/>
                    </a:cubicBezTo>
                    <a:cubicBezTo>
                      <a:pt x="1458749" y="994339"/>
                      <a:pt x="1467363" y="970015"/>
                      <a:pt x="1473191" y="962668"/>
                    </a:cubicBezTo>
                    <a:cubicBezTo>
                      <a:pt x="1484718" y="948480"/>
                      <a:pt x="1501440" y="965328"/>
                      <a:pt x="1514996" y="957981"/>
                    </a:cubicBezTo>
                    <a:cubicBezTo>
                      <a:pt x="1526144" y="952027"/>
                      <a:pt x="1544892" y="926817"/>
                      <a:pt x="1553507" y="950126"/>
                    </a:cubicBezTo>
                    <a:cubicBezTo>
                      <a:pt x="1555914" y="956714"/>
                      <a:pt x="1553634" y="967228"/>
                      <a:pt x="1560728" y="971789"/>
                    </a:cubicBezTo>
                    <a:cubicBezTo>
                      <a:pt x="1568076" y="976476"/>
                      <a:pt x="1575170" y="970142"/>
                      <a:pt x="1580744" y="965708"/>
                    </a:cubicBezTo>
                    <a:cubicBezTo>
                      <a:pt x="1596452" y="952660"/>
                      <a:pt x="1618495" y="942272"/>
                      <a:pt x="1636864" y="957727"/>
                    </a:cubicBezTo>
                    <a:cubicBezTo>
                      <a:pt x="1643198" y="963048"/>
                      <a:pt x="1645732" y="970269"/>
                      <a:pt x="1646492" y="978377"/>
                    </a:cubicBezTo>
                    <a:cubicBezTo>
                      <a:pt x="1646999" y="983951"/>
                      <a:pt x="1643071" y="996872"/>
                      <a:pt x="1645859" y="1001433"/>
                    </a:cubicBezTo>
                    <a:cubicBezTo>
                      <a:pt x="1649659" y="1008400"/>
                      <a:pt x="1677403" y="1003080"/>
                      <a:pt x="1667901" y="101853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5" name="Рисунок 388">
              <a:extLst>
                <a:ext uri="{FF2B5EF4-FFF2-40B4-BE49-F238E27FC236}">
                  <a16:creationId xmlns:a16="http://schemas.microsoft.com/office/drawing/2014/main" id="{1DA397FD-DC6E-439E-BB40-D0F80476817D}"/>
                </a:ext>
              </a:extLst>
            </p:cNvPr>
            <p:cNvGrpSpPr/>
            <p:nvPr/>
          </p:nvGrpSpPr>
          <p:grpSpPr>
            <a:xfrm>
              <a:off x="11070043" y="671430"/>
              <a:ext cx="197679" cy="869657"/>
              <a:chOff x="11070043" y="671430"/>
              <a:chExt cx="197679" cy="869657"/>
            </a:xfrm>
            <a:solidFill>
              <a:srgbClr val="E3E8EC"/>
            </a:solidFill>
          </p:grpSpPr>
          <p:sp>
            <p:nvSpPr>
              <p:cNvPr id="466" name="Полилиния: фигура 465">
                <a:extLst>
                  <a:ext uri="{FF2B5EF4-FFF2-40B4-BE49-F238E27FC236}">
                    <a16:creationId xmlns:a16="http://schemas.microsoft.com/office/drawing/2014/main" id="{697FB032-4C78-4C49-9C1A-740E0C5D0C42}"/>
                  </a:ext>
                </a:extLst>
              </p:cNvPr>
              <p:cNvSpPr/>
              <p:nvPr/>
            </p:nvSpPr>
            <p:spPr>
              <a:xfrm>
                <a:off x="11144983" y="671430"/>
                <a:ext cx="122739" cy="241308"/>
              </a:xfrm>
              <a:custGeom>
                <a:avLst/>
                <a:gdLst>
                  <a:gd name="connsiteX0" fmla="*/ 11774 w 122739"/>
                  <a:gd name="connsiteY0" fmla="*/ 87067 h 241308"/>
                  <a:gd name="connsiteX1" fmla="*/ 10002 w 122739"/>
                  <a:gd name="connsiteY1" fmla="*/ 68951 h 241308"/>
                  <a:gd name="connsiteX2" fmla="*/ 23176 w 122739"/>
                  <a:gd name="connsiteY2" fmla="*/ 33733 h 241308"/>
                  <a:gd name="connsiteX3" fmla="*/ 69162 w 122739"/>
                  <a:gd name="connsiteY3" fmla="*/ 24106 h 241308"/>
                  <a:gd name="connsiteX4" fmla="*/ 112741 w 122739"/>
                  <a:gd name="connsiteY4" fmla="*/ 5863 h 241308"/>
                  <a:gd name="connsiteX5" fmla="*/ 118948 w 122739"/>
                  <a:gd name="connsiteY5" fmla="*/ 37787 h 241308"/>
                  <a:gd name="connsiteX6" fmla="*/ 121988 w 122739"/>
                  <a:gd name="connsiteY6" fmla="*/ 69078 h 241308"/>
                  <a:gd name="connsiteX7" fmla="*/ 115148 w 122739"/>
                  <a:gd name="connsiteY7" fmla="*/ 126338 h 241308"/>
                  <a:gd name="connsiteX8" fmla="*/ 108054 w 122739"/>
                  <a:gd name="connsiteY8" fmla="*/ 181699 h 241308"/>
                  <a:gd name="connsiteX9" fmla="*/ 102480 w 122739"/>
                  <a:gd name="connsiteY9" fmla="*/ 206402 h 241308"/>
                  <a:gd name="connsiteX10" fmla="*/ 97158 w 122739"/>
                  <a:gd name="connsiteY10" fmla="*/ 229204 h 241308"/>
                  <a:gd name="connsiteX11" fmla="*/ 59280 w 122739"/>
                  <a:gd name="connsiteY11" fmla="*/ 230471 h 241308"/>
                  <a:gd name="connsiteX12" fmla="*/ 51173 w 122739"/>
                  <a:gd name="connsiteY12" fmla="*/ 202728 h 241308"/>
                  <a:gd name="connsiteX13" fmla="*/ 40532 w 122739"/>
                  <a:gd name="connsiteY13" fmla="*/ 178658 h 241308"/>
                  <a:gd name="connsiteX14" fmla="*/ 8481 w 122739"/>
                  <a:gd name="connsiteY14" fmla="*/ 140653 h 241308"/>
                  <a:gd name="connsiteX15" fmla="*/ 120 w 122739"/>
                  <a:gd name="connsiteY15" fmla="*/ 127732 h 241308"/>
                  <a:gd name="connsiteX16" fmla="*/ 2654 w 122739"/>
                  <a:gd name="connsiteY16" fmla="*/ 110123 h 241308"/>
                  <a:gd name="connsiteX17" fmla="*/ 11774 w 122739"/>
                  <a:gd name="connsiteY17" fmla="*/ 87067 h 24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39" h="241308">
                    <a:moveTo>
                      <a:pt x="11774" y="87067"/>
                    </a:moveTo>
                    <a:cubicBezTo>
                      <a:pt x="15449" y="80986"/>
                      <a:pt x="11141" y="75539"/>
                      <a:pt x="10002" y="68951"/>
                    </a:cubicBezTo>
                    <a:cubicBezTo>
                      <a:pt x="7721" y="55396"/>
                      <a:pt x="11648" y="41968"/>
                      <a:pt x="23176" y="33733"/>
                    </a:cubicBezTo>
                    <a:cubicBezTo>
                      <a:pt x="37618" y="23472"/>
                      <a:pt x="55226" y="34240"/>
                      <a:pt x="69162" y="24106"/>
                    </a:cubicBezTo>
                    <a:cubicBezTo>
                      <a:pt x="78663" y="17138"/>
                      <a:pt x="100833" y="-12379"/>
                      <a:pt x="112741" y="5863"/>
                    </a:cubicBezTo>
                    <a:cubicBezTo>
                      <a:pt x="118568" y="14731"/>
                      <a:pt x="118315" y="27653"/>
                      <a:pt x="118948" y="37787"/>
                    </a:cubicBezTo>
                    <a:cubicBezTo>
                      <a:pt x="119581" y="48302"/>
                      <a:pt x="120595" y="58690"/>
                      <a:pt x="121988" y="69078"/>
                    </a:cubicBezTo>
                    <a:cubicBezTo>
                      <a:pt x="124776" y="89474"/>
                      <a:pt x="119202" y="106576"/>
                      <a:pt x="115148" y="126338"/>
                    </a:cubicBezTo>
                    <a:cubicBezTo>
                      <a:pt x="111348" y="144581"/>
                      <a:pt x="112487" y="163456"/>
                      <a:pt x="108054" y="181699"/>
                    </a:cubicBezTo>
                    <a:cubicBezTo>
                      <a:pt x="106026" y="189933"/>
                      <a:pt x="103746" y="198041"/>
                      <a:pt x="102480" y="206402"/>
                    </a:cubicBezTo>
                    <a:cubicBezTo>
                      <a:pt x="101212" y="214003"/>
                      <a:pt x="100833" y="222237"/>
                      <a:pt x="97158" y="229204"/>
                    </a:cubicBezTo>
                    <a:cubicBezTo>
                      <a:pt x="89178" y="244406"/>
                      <a:pt x="67895" y="245800"/>
                      <a:pt x="59280" y="230471"/>
                    </a:cubicBezTo>
                    <a:cubicBezTo>
                      <a:pt x="54593" y="222110"/>
                      <a:pt x="53580" y="211976"/>
                      <a:pt x="51173" y="202728"/>
                    </a:cubicBezTo>
                    <a:cubicBezTo>
                      <a:pt x="49019" y="193987"/>
                      <a:pt x="45599" y="186006"/>
                      <a:pt x="40532" y="178658"/>
                    </a:cubicBezTo>
                    <a:cubicBezTo>
                      <a:pt x="31030" y="164850"/>
                      <a:pt x="20263" y="152562"/>
                      <a:pt x="8481" y="140653"/>
                    </a:cubicBezTo>
                    <a:cubicBezTo>
                      <a:pt x="4807" y="136980"/>
                      <a:pt x="626" y="133179"/>
                      <a:pt x="120" y="127732"/>
                    </a:cubicBezTo>
                    <a:cubicBezTo>
                      <a:pt x="-513" y="122158"/>
                      <a:pt x="1513" y="115570"/>
                      <a:pt x="2654" y="110123"/>
                    </a:cubicBezTo>
                    <a:cubicBezTo>
                      <a:pt x="4427" y="101762"/>
                      <a:pt x="7468" y="94541"/>
                      <a:pt x="11774" y="87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67" name="Полилиния: фигура 466">
                <a:extLst>
                  <a:ext uri="{FF2B5EF4-FFF2-40B4-BE49-F238E27FC236}">
                    <a16:creationId xmlns:a16="http://schemas.microsoft.com/office/drawing/2014/main" id="{8CE5A64D-F95E-491F-AECB-2F8DBEFBDAD5}"/>
                  </a:ext>
                </a:extLst>
              </p:cNvPr>
              <p:cNvSpPr/>
              <p:nvPr/>
            </p:nvSpPr>
            <p:spPr>
              <a:xfrm>
                <a:off x="11070043" y="1467281"/>
                <a:ext cx="101552" cy="73806"/>
              </a:xfrm>
              <a:custGeom>
                <a:avLst/>
                <a:gdLst>
                  <a:gd name="connsiteX0" fmla="*/ 9312 w 101552"/>
                  <a:gd name="connsiteY0" fmla="*/ 71453 h 73806"/>
                  <a:gd name="connsiteX1" fmla="*/ 6145 w 101552"/>
                  <a:gd name="connsiteY1" fmla="*/ 69427 h 73806"/>
                  <a:gd name="connsiteX2" fmla="*/ 14379 w 101552"/>
                  <a:gd name="connsiteY2" fmla="*/ 38643 h 73806"/>
                  <a:gd name="connsiteX3" fmla="*/ 40095 w 101552"/>
                  <a:gd name="connsiteY3" fmla="*/ 30408 h 73806"/>
                  <a:gd name="connsiteX4" fmla="*/ 58844 w 101552"/>
                  <a:gd name="connsiteY4" fmla="*/ 4818 h 73806"/>
                  <a:gd name="connsiteX5" fmla="*/ 96342 w 101552"/>
                  <a:gd name="connsiteY5" fmla="*/ 23947 h 73806"/>
                  <a:gd name="connsiteX6" fmla="*/ 95456 w 101552"/>
                  <a:gd name="connsiteY6" fmla="*/ 59672 h 73806"/>
                  <a:gd name="connsiteX7" fmla="*/ 64799 w 101552"/>
                  <a:gd name="connsiteY7" fmla="*/ 68160 h 73806"/>
                  <a:gd name="connsiteX8" fmla="*/ 9312 w 101552"/>
                  <a:gd name="connsiteY8" fmla="*/ 71453 h 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52" h="73806">
                    <a:moveTo>
                      <a:pt x="9312" y="71453"/>
                    </a:moveTo>
                    <a:cubicBezTo>
                      <a:pt x="8171" y="70947"/>
                      <a:pt x="7031" y="70187"/>
                      <a:pt x="6145" y="69427"/>
                    </a:cubicBezTo>
                    <a:cubicBezTo>
                      <a:pt x="-5764" y="59292"/>
                      <a:pt x="1077" y="42697"/>
                      <a:pt x="14379" y="38643"/>
                    </a:cubicBezTo>
                    <a:cubicBezTo>
                      <a:pt x="23246" y="35982"/>
                      <a:pt x="32495" y="36616"/>
                      <a:pt x="40095" y="30408"/>
                    </a:cubicBezTo>
                    <a:cubicBezTo>
                      <a:pt x="48330" y="23567"/>
                      <a:pt x="51117" y="12039"/>
                      <a:pt x="58844" y="4818"/>
                    </a:cubicBezTo>
                    <a:cubicBezTo>
                      <a:pt x="73667" y="-9243"/>
                      <a:pt x="89755" y="10646"/>
                      <a:pt x="96342" y="23947"/>
                    </a:cubicBezTo>
                    <a:cubicBezTo>
                      <a:pt x="101537" y="34335"/>
                      <a:pt x="105210" y="51438"/>
                      <a:pt x="95456" y="59672"/>
                    </a:cubicBezTo>
                    <a:cubicBezTo>
                      <a:pt x="87475" y="66386"/>
                      <a:pt x="74933" y="68160"/>
                      <a:pt x="64799" y="68160"/>
                    </a:cubicBezTo>
                    <a:cubicBezTo>
                      <a:pt x="50610" y="68033"/>
                      <a:pt x="23373" y="78294"/>
                      <a:pt x="9312" y="7145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468" name="Рисунок 388">
              <a:extLst>
                <a:ext uri="{FF2B5EF4-FFF2-40B4-BE49-F238E27FC236}">
                  <a16:creationId xmlns:a16="http://schemas.microsoft.com/office/drawing/2014/main" id="{1DA397FD-DC6E-439E-BB40-D0F80476817D}"/>
                </a:ext>
              </a:extLst>
            </p:cNvPr>
            <p:cNvGrpSpPr/>
            <p:nvPr/>
          </p:nvGrpSpPr>
          <p:grpSpPr>
            <a:xfrm>
              <a:off x="8007621" y="1230515"/>
              <a:ext cx="3212350" cy="4239781"/>
              <a:chOff x="8007621" y="1230515"/>
              <a:chExt cx="3212350" cy="4239781"/>
            </a:xfrm>
            <a:solidFill>
              <a:srgbClr val="E3E8EC"/>
            </a:solidFill>
          </p:grpSpPr>
          <p:sp>
            <p:nvSpPr>
              <p:cNvPr id="469" name="Полилиния: фигура 468">
                <a:extLst>
                  <a:ext uri="{FF2B5EF4-FFF2-40B4-BE49-F238E27FC236}">
                    <a16:creationId xmlns:a16="http://schemas.microsoft.com/office/drawing/2014/main" id="{6B4891A8-C4C7-4987-B078-9691A377356E}"/>
                  </a:ext>
                </a:extLst>
              </p:cNvPr>
              <p:cNvSpPr/>
              <p:nvPr/>
            </p:nvSpPr>
            <p:spPr>
              <a:xfrm>
                <a:off x="8007621" y="1862788"/>
                <a:ext cx="3212350" cy="3607509"/>
              </a:xfrm>
              <a:custGeom>
                <a:avLst/>
                <a:gdLst>
                  <a:gd name="connsiteX0" fmla="*/ 3209818 w 3212350"/>
                  <a:gd name="connsiteY0" fmla="*/ 544101 h 3607509"/>
                  <a:gd name="connsiteX1" fmla="*/ 3200570 w 3212350"/>
                  <a:gd name="connsiteY1" fmla="*/ 622771 h 3607509"/>
                  <a:gd name="connsiteX2" fmla="*/ 3149770 w 3212350"/>
                  <a:gd name="connsiteY2" fmla="*/ 659002 h 3607509"/>
                  <a:gd name="connsiteX3" fmla="*/ 3121393 w 3212350"/>
                  <a:gd name="connsiteY3" fmla="*/ 704862 h 3607509"/>
                  <a:gd name="connsiteX4" fmla="*/ 3062486 w 3212350"/>
                  <a:gd name="connsiteY4" fmla="*/ 733618 h 3607509"/>
                  <a:gd name="connsiteX5" fmla="*/ 3060206 w 3212350"/>
                  <a:gd name="connsiteY5" fmla="*/ 805067 h 3607509"/>
                  <a:gd name="connsiteX6" fmla="*/ 3068060 w 3212350"/>
                  <a:gd name="connsiteY6" fmla="*/ 831291 h 3607509"/>
                  <a:gd name="connsiteX7" fmla="*/ 3036642 w 3212350"/>
                  <a:gd name="connsiteY7" fmla="*/ 843199 h 3607509"/>
                  <a:gd name="connsiteX8" fmla="*/ 3068693 w 3212350"/>
                  <a:gd name="connsiteY8" fmla="*/ 879050 h 3607509"/>
                  <a:gd name="connsiteX9" fmla="*/ 3089343 w 3212350"/>
                  <a:gd name="connsiteY9" fmla="*/ 893872 h 3607509"/>
                  <a:gd name="connsiteX10" fmla="*/ 3070593 w 3212350"/>
                  <a:gd name="connsiteY10" fmla="*/ 931750 h 3607509"/>
                  <a:gd name="connsiteX11" fmla="*/ 3132414 w 3212350"/>
                  <a:gd name="connsiteY11" fmla="*/ 1058052 h 3607509"/>
                  <a:gd name="connsiteX12" fmla="*/ 3130767 w 3212350"/>
                  <a:gd name="connsiteY12" fmla="*/ 1123040 h 3607509"/>
                  <a:gd name="connsiteX13" fmla="*/ 3104545 w 3212350"/>
                  <a:gd name="connsiteY13" fmla="*/ 1166872 h 3607509"/>
                  <a:gd name="connsiteX14" fmla="*/ 3074521 w 3212350"/>
                  <a:gd name="connsiteY14" fmla="*/ 1198036 h 3607509"/>
                  <a:gd name="connsiteX15" fmla="*/ 3060332 w 3212350"/>
                  <a:gd name="connsiteY15" fmla="*/ 1224766 h 3607509"/>
                  <a:gd name="connsiteX16" fmla="*/ 3022327 w 3212350"/>
                  <a:gd name="connsiteY16" fmla="*/ 1213238 h 3607509"/>
                  <a:gd name="connsiteX17" fmla="*/ 2990910 w 3212350"/>
                  <a:gd name="connsiteY17" fmla="*/ 1267965 h 3607509"/>
                  <a:gd name="connsiteX18" fmla="*/ 2925289 w 3212350"/>
                  <a:gd name="connsiteY18" fmla="*/ 1283927 h 3607509"/>
                  <a:gd name="connsiteX19" fmla="*/ 2950879 w 3212350"/>
                  <a:gd name="connsiteY19" fmla="*/ 1333207 h 3607509"/>
                  <a:gd name="connsiteX20" fmla="*/ 2946444 w 3212350"/>
                  <a:gd name="connsiteY20" fmla="*/ 1387300 h 3607509"/>
                  <a:gd name="connsiteX21" fmla="*/ 2903753 w 3212350"/>
                  <a:gd name="connsiteY21" fmla="*/ 1377419 h 3607509"/>
                  <a:gd name="connsiteX22" fmla="*/ 2892604 w 3212350"/>
                  <a:gd name="connsiteY22" fmla="*/ 1404022 h 3607509"/>
                  <a:gd name="connsiteX23" fmla="*/ 2858780 w 3212350"/>
                  <a:gd name="connsiteY23" fmla="*/ 1404782 h 3607509"/>
                  <a:gd name="connsiteX24" fmla="*/ 2845479 w 3212350"/>
                  <a:gd name="connsiteY24" fmla="*/ 1446461 h 3607509"/>
                  <a:gd name="connsiteX25" fmla="*/ 2857767 w 3212350"/>
                  <a:gd name="connsiteY25" fmla="*/ 1472051 h 3607509"/>
                  <a:gd name="connsiteX26" fmla="*/ 2860681 w 3212350"/>
                  <a:gd name="connsiteY26" fmla="*/ 1506382 h 3607509"/>
                  <a:gd name="connsiteX27" fmla="*/ 2897799 w 3212350"/>
                  <a:gd name="connsiteY27" fmla="*/ 1546413 h 3607509"/>
                  <a:gd name="connsiteX28" fmla="*/ 2889058 w 3212350"/>
                  <a:gd name="connsiteY28" fmla="*/ 1576057 h 3607509"/>
                  <a:gd name="connsiteX29" fmla="*/ 2903246 w 3212350"/>
                  <a:gd name="connsiteY29" fmla="*/ 1604814 h 3607509"/>
                  <a:gd name="connsiteX30" fmla="*/ 2927823 w 3212350"/>
                  <a:gd name="connsiteY30" fmla="*/ 1645859 h 3607509"/>
                  <a:gd name="connsiteX31" fmla="*/ 2932889 w 3212350"/>
                  <a:gd name="connsiteY31" fmla="*/ 1667395 h 3607509"/>
                  <a:gd name="connsiteX32" fmla="*/ 2950879 w 3212350"/>
                  <a:gd name="connsiteY32" fmla="*/ 1685004 h 3607509"/>
                  <a:gd name="connsiteX33" fmla="*/ 2963674 w 3212350"/>
                  <a:gd name="connsiteY33" fmla="*/ 1702866 h 3607509"/>
                  <a:gd name="connsiteX34" fmla="*/ 2979256 w 3212350"/>
                  <a:gd name="connsiteY34" fmla="*/ 1735424 h 3607509"/>
                  <a:gd name="connsiteX35" fmla="*/ 2962280 w 3212350"/>
                  <a:gd name="connsiteY35" fmla="*/ 1779636 h 3607509"/>
                  <a:gd name="connsiteX36" fmla="*/ 2965194 w 3212350"/>
                  <a:gd name="connsiteY36" fmla="*/ 1793064 h 3607509"/>
                  <a:gd name="connsiteX37" fmla="*/ 2965194 w 3212350"/>
                  <a:gd name="connsiteY37" fmla="*/ 1793064 h 3607509"/>
                  <a:gd name="connsiteX38" fmla="*/ 2985336 w 3212350"/>
                  <a:gd name="connsiteY38" fmla="*/ 1815487 h 3607509"/>
                  <a:gd name="connsiteX39" fmla="*/ 2979889 w 3212350"/>
                  <a:gd name="connsiteY39" fmla="*/ 1858052 h 3607509"/>
                  <a:gd name="connsiteX40" fmla="*/ 2941251 w 3212350"/>
                  <a:gd name="connsiteY40" fmla="*/ 1830309 h 3607509"/>
                  <a:gd name="connsiteX41" fmla="*/ 2932383 w 3212350"/>
                  <a:gd name="connsiteY41" fmla="*/ 1840697 h 3607509"/>
                  <a:gd name="connsiteX42" fmla="*/ 2883863 w 3212350"/>
                  <a:gd name="connsiteY42" fmla="*/ 1843230 h 3607509"/>
                  <a:gd name="connsiteX43" fmla="*/ 2870055 w 3212350"/>
                  <a:gd name="connsiteY43" fmla="*/ 1907078 h 3607509"/>
                  <a:gd name="connsiteX44" fmla="*/ 2774536 w 3212350"/>
                  <a:gd name="connsiteY44" fmla="*/ 1917466 h 3607509"/>
                  <a:gd name="connsiteX45" fmla="*/ 2688519 w 3212350"/>
                  <a:gd name="connsiteY45" fmla="*/ 1917466 h 3607509"/>
                  <a:gd name="connsiteX46" fmla="*/ 2692953 w 3212350"/>
                  <a:gd name="connsiteY46" fmla="*/ 1995629 h 3607509"/>
                  <a:gd name="connsiteX47" fmla="*/ 2696880 w 3212350"/>
                  <a:gd name="connsiteY47" fmla="*/ 2105083 h 3607509"/>
                  <a:gd name="connsiteX48" fmla="*/ 2682565 w 3212350"/>
                  <a:gd name="connsiteY48" fmla="*/ 2129280 h 3607509"/>
                  <a:gd name="connsiteX49" fmla="*/ 2678638 w 3212350"/>
                  <a:gd name="connsiteY49" fmla="*/ 2162470 h 3607509"/>
                  <a:gd name="connsiteX50" fmla="*/ 2662803 w 3212350"/>
                  <a:gd name="connsiteY50" fmla="*/ 2203009 h 3607509"/>
                  <a:gd name="connsiteX51" fmla="*/ 2661282 w 3212350"/>
                  <a:gd name="connsiteY51" fmla="*/ 2262930 h 3607509"/>
                  <a:gd name="connsiteX52" fmla="*/ 2697387 w 3212350"/>
                  <a:gd name="connsiteY52" fmla="*/ 2294600 h 3607509"/>
                  <a:gd name="connsiteX53" fmla="*/ 2716263 w 3212350"/>
                  <a:gd name="connsiteY53" fmla="*/ 2351987 h 3607509"/>
                  <a:gd name="connsiteX54" fmla="*/ 2780491 w 3212350"/>
                  <a:gd name="connsiteY54" fmla="*/ 2439652 h 3607509"/>
                  <a:gd name="connsiteX55" fmla="*/ 2742866 w 3212350"/>
                  <a:gd name="connsiteY55" fmla="*/ 2479683 h 3607509"/>
                  <a:gd name="connsiteX56" fmla="*/ 2729058 w 3212350"/>
                  <a:gd name="connsiteY56" fmla="*/ 2512874 h 3607509"/>
                  <a:gd name="connsiteX57" fmla="*/ 2711195 w 3212350"/>
                  <a:gd name="connsiteY57" fmla="*/ 2565321 h 3607509"/>
                  <a:gd name="connsiteX58" fmla="*/ 2628091 w 3212350"/>
                  <a:gd name="connsiteY58" fmla="*/ 2610926 h 3607509"/>
                  <a:gd name="connsiteX59" fmla="*/ 2616183 w 3212350"/>
                  <a:gd name="connsiteY59" fmla="*/ 2634616 h 3607509"/>
                  <a:gd name="connsiteX60" fmla="*/ 2619604 w 3212350"/>
                  <a:gd name="connsiteY60" fmla="*/ 2679082 h 3607509"/>
                  <a:gd name="connsiteX61" fmla="*/ 2601361 w 3212350"/>
                  <a:gd name="connsiteY61" fmla="*/ 2694537 h 3607509"/>
                  <a:gd name="connsiteX62" fmla="*/ 2562723 w 3212350"/>
                  <a:gd name="connsiteY62" fmla="*/ 2681235 h 3607509"/>
                  <a:gd name="connsiteX63" fmla="*/ 2537514 w 3212350"/>
                  <a:gd name="connsiteY63" fmla="*/ 2708345 h 3607509"/>
                  <a:gd name="connsiteX64" fmla="*/ 2500396 w 3212350"/>
                  <a:gd name="connsiteY64" fmla="*/ 2710879 h 3607509"/>
                  <a:gd name="connsiteX65" fmla="*/ 2476580 w 3212350"/>
                  <a:gd name="connsiteY65" fmla="*/ 2740016 h 3607509"/>
                  <a:gd name="connsiteX66" fmla="*/ 2443895 w 3212350"/>
                  <a:gd name="connsiteY66" fmla="*/ 2734062 h 3607509"/>
                  <a:gd name="connsiteX67" fmla="*/ 2420206 w 3212350"/>
                  <a:gd name="connsiteY67" fmla="*/ 2774220 h 3607509"/>
                  <a:gd name="connsiteX68" fmla="*/ 2441995 w 3212350"/>
                  <a:gd name="connsiteY68" fmla="*/ 2797530 h 3607509"/>
                  <a:gd name="connsiteX69" fmla="*/ 2419699 w 3212350"/>
                  <a:gd name="connsiteY69" fmla="*/ 2826287 h 3607509"/>
                  <a:gd name="connsiteX70" fmla="*/ 2424639 w 3212350"/>
                  <a:gd name="connsiteY70" fmla="*/ 2881267 h 3607509"/>
                  <a:gd name="connsiteX71" fmla="*/ 2419699 w 3212350"/>
                  <a:gd name="connsiteY71" fmla="*/ 2921298 h 3607509"/>
                  <a:gd name="connsiteX72" fmla="*/ 2436041 w 3212350"/>
                  <a:gd name="connsiteY72" fmla="*/ 2936120 h 3607509"/>
                  <a:gd name="connsiteX73" fmla="*/ 2448456 w 3212350"/>
                  <a:gd name="connsiteY73" fmla="*/ 2960443 h 3607509"/>
                  <a:gd name="connsiteX74" fmla="*/ 2420712 w 3212350"/>
                  <a:gd name="connsiteY74" fmla="*/ 2963357 h 3607509"/>
                  <a:gd name="connsiteX75" fmla="*/ 2413365 w 3212350"/>
                  <a:gd name="connsiteY75" fmla="*/ 2980713 h 3607509"/>
                  <a:gd name="connsiteX76" fmla="*/ 2465305 w 3212350"/>
                  <a:gd name="connsiteY76" fmla="*/ 3013903 h 3607509"/>
                  <a:gd name="connsiteX77" fmla="*/ 2454917 w 3212350"/>
                  <a:gd name="connsiteY77" fmla="*/ 3054442 h 3607509"/>
                  <a:gd name="connsiteX78" fmla="*/ 2484561 w 3212350"/>
                  <a:gd name="connsiteY78" fmla="*/ 3101948 h 3607509"/>
                  <a:gd name="connsiteX79" fmla="*/ 2462771 w 3212350"/>
                  <a:gd name="connsiteY79" fmla="*/ 3146540 h 3607509"/>
                  <a:gd name="connsiteX80" fmla="*/ 2481013 w 3212350"/>
                  <a:gd name="connsiteY80" fmla="*/ 3172256 h 3607509"/>
                  <a:gd name="connsiteX81" fmla="*/ 2514711 w 3212350"/>
                  <a:gd name="connsiteY81" fmla="*/ 3186065 h 3607509"/>
                  <a:gd name="connsiteX82" fmla="*/ 2520158 w 3212350"/>
                  <a:gd name="connsiteY82" fmla="*/ 3226097 h 3607509"/>
                  <a:gd name="connsiteX83" fmla="*/ 2524085 w 3212350"/>
                  <a:gd name="connsiteY83" fmla="*/ 3242439 h 3607509"/>
                  <a:gd name="connsiteX84" fmla="*/ 2502803 w 3212350"/>
                  <a:gd name="connsiteY84" fmla="*/ 3282597 h 3607509"/>
                  <a:gd name="connsiteX85" fmla="*/ 2529025 w 3212350"/>
                  <a:gd name="connsiteY85" fmla="*/ 3326682 h 3607509"/>
                  <a:gd name="connsiteX86" fmla="*/ 2543341 w 3212350"/>
                  <a:gd name="connsiteY86" fmla="*/ 3375708 h 3607509"/>
                  <a:gd name="connsiteX87" fmla="*/ 2539794 w 3212350"/>
                  <a:gd name="connsiteY87" fmla="*/ 3389264 h 3607509"/>
                  <a:gd name="connsiteX88" fmla="*/ 2509137 w 3212350"/>
                  <a:gd name="connsiteY88" fmla="*/ 3400412 h 3607509"/>
                  <a:gd name="connsiteX89" fmla="*/ 2446809 w 3212350"/>
                  <a:gd name="connsiteY89" fmla="*/ 3429042 h 3607509"/>
                  <a:gd name="connsiteX90" fmla="*/ 2400063 w 3212350"/>
                  <a:gd name="connsiteY90" fmla="*/ 3456279 h 3607509"/>
                  <a:gd name="connsiteX91" fmla="*/ 2399810 w 3212350"/>
                  <a:gd name="connsiteY91" fmla="*/ 3506825 h 3607509"/>
                  <a:gd name="connsiteX92" fmla="*/ 2314679 w 3212350"/>
                  <a:gd name="connsiteY92" fmla="*/ 3516199 h 3607509"/>
                  <a:gd name="connsiteX93" fmla="*/ 2258305 w 3212350"/>
                  <a:gd name="connsiteY93" fmla="*/ 3547364 h 3607509"/>
                  <a:gd name="connsiteX94" fmla="*/ 2209279 w 3212350"/>
                  <a:gd name="connsiteY94" fmla="*/ 3544450 h 3607509"/>
                  <a:gd name="connsiteX95" fmla="*/ 2148345 w 3212350"/>
                  <a:gd name="connsiteY95" fmla="*/ 3591449 h 3607509"/>
                  <a:gd name="connsiteX96" fmla="*/ 2078542 w 3212350"/>
                  <a:gd name="connsiteY96" fmla="*/ 3588028 h 3607509"/>
                  <a:gd name="connsiteX97" fmla="*/ 1965669 w 3212350"/>
                  <a:gd name="connsiteY97" fmla="*/ 3605891 h 3607509"/>
                  <a:gd name="connsiteX98" fmla="*/ 1901821 w 3212350"/>
                  <a:gd name="connsiteY98" fmla="*/ 3567506 h 3607509"/>
                  <a:gd name="connsiteX99" fmla="*/ 1750815 w 3212350"/>
                  <a:gd name="connsiteY99" fmla="*/ 3566239 h 3607509"/>
                  <a:gd name="connsiteX100" fmla="*/ 1694188 w 3212350"/>
                  <a:gd name="connsiteY100" fmla="*/ 3542930 h 3607509"/>
                  <a:gd name="connsiteX101" fmla="*/ 1649976 w 3212350"/>
                  <a:gd name="connsiteY101" fmla="*/ 3540649 h 3607509"/>
                  <a:gd name="connsiteX102" fmla="*/ 1619318 w 3212350"/>
                  <a:gd name="connsiteY102" fmla="*/ 3526714 h 3607509"/>
                  <a:gd name="connsiteX103" fmla="*/ 1554584 w 3212350"/>
                  <a:gd name="connsiteY103" fmla="*/ 3545210 h 3607509"/>
                  <a:gd name="connsiteX104" fmla="*/ 1471734 w 3212350"/>
                  <a:gd name="connsiteY104" fmla="*/ 3557751 h 3607509"/>
                  <a:gd name="connsiteX105" fmla="*/ 1471607 w 3212350"/>
                  <a:gd name="connsiteY105" fmla="*/ 3557751 h 3607509"/>
                  <a:gd name="connsiteX106" fmla="*/ 1441456 w 3212350"/>
                  <a:gd name="connsiteY106" fmla="*/ 3548757 h 3607509"/>
                  <a:gd name="connsiteX107" fmla="*/ 1423595 w 3212350"/>
                  <a:gd name="connsiteY107" fmla="*/ 3516453 h 3607509"/>
                  <a:gd name="connsiteX108" fmla="*/ 1419287 w 3212350"/>
                  <a:gd name="connsiteY108" fmla="*/ 3477435 h 3607509"/>
                  <a:gd name="connsiteX109" fmla="*/ 1399905 w 3212350"/>
                  <a:gd name="connsiteY109" fmla="*/ 3467680 h 3607509"/>
                  <a:gd name="connsiteX110" fmla="*/ 1381536 w 3212350"/>
                  <a:gd name="connsiteY110" fmla="*/ 3474647 h 3607509"/>
                  <a:gd name="connsiteX111" fmla="*/ 1355313 w 3212350"/>
                  <a:gd name="connsiteY111" fmla="*/ 3433983 h 3607509"/>
                  <a:gd name="connsiteX112" fmla="*/ 1337324 w 3212350"/>
                  <a:gd name="connsiteY112" fmla="*/ 3382549 h 3607509"/>
                  <a:gd name="connsiteX113" fmla="*/ 1324908 w 3212350"/>
                  <a:gd name="connsiteY113" fmla="*/ 3380776 h 3607509"/>
                  <a:gd name="connsiteX114" fmla="*/ 1299065 w 3212350"/>
                  <a:gd name="connsiteY114" fmla="*/ 3318701 h 3607509"/>
                  <a:gd name="connsiteX115" fmla="*/ 1286144 w 3212350"/>
                  <a:gd name="connsiteY115" fmla="*/ 3277530 h 3607509"/>
                  <a:gd name="connsiteX116" fmla="*/ 1249532 w 3212350"/>
                  <a:gd name="connsiteY116" fmla="*/ 3245859 h 3607509"/>
                  <a:gd name="connsiteX117" fmla="*/ 1250926 w 3212350"/>
                  <a:gd name="connsiteY117" fmla="*/ 3209881 h 3607509"/>
                  <a:gd name="connsiteX118" fmla="*/ 1213934 w 3212350"/>
                  <a:gd name="connsiteY118" fmla="*/ 3164655 h 3607509"/>
                  <a:gd name="connsiteX119" fmla="*/ 1192145 w 3212350"/>
                  <a:gd name="connsiteY119" fmla="*/ 3195946 h 3607509"/>
                  <a:gd name="connsiteX120" fmla="*/ 1172003 w 3212350"/>
                  <a:gd name="connsiteY120" fmla="*/ 3189359 h 3607509"/>
                  <a:gd name="connsiteX121" fmla="*/ 1154141 w 3212350"/>
                  <a:gd name="connsiteY121" fmla="*/ 3199240 h 3607509"/>
                  <a:gd name="connsiteX122" fmla="*/ 1110562 w 3212350"/>
                  <a:gd name="connsiteY122" fmla="*/ 3209121 h 3607509"/>
                  <a:gd name="connsiteX123" fmla="*/ 1087506 w 3212350"/>
                  <a:gd name="connsiteY123" fmla="*/ 3139192 h 3607509"/>
                  <a:gd name="connsiteX124" fmla="*/ 932193 w 3212350"/>
                  <a:gd name="connsiteY124" fmla="*/ 3065463 h 3607509"/>
                  <a:gd name="connsiteX125" fmla="*/ 893555 w 3212350"/>
                  <a:gd name="connsiteY125" fmla="*/ 3108282 h 3607509"/>
                  <a:gd name="connsiteX126" fmla="*/ 875946 w 3212350"/>
                  <a:gd name="connsiteY126" fmla="*/ 3145147 h 3607509"/>
                  <a:gd name="connsiteX127" fmla="*/ 877973 w 3212350"/>
                  <a:gd name="connsiteY127" fmla="*/ 3208234 h 3607509"/>
                  <a:gd name="connsiteX128" fmla="*/ 822359 w 3212350"/>
                  <a:gd name="connsiteY128" fmla="*/ 3257007 h 3607509"/>
                  <a:gd name="connsiteX129" fmla="*/ 796389 w 3212350"/>
                  <a:gd name="connsiteY129" fmla="*/ 3328583 h 3607509"/>
                  <a:gd name="connsiteX130" fmla="*/ 767505 w 3212350"/>
                  <a:gd name="connsiteY130" fmla="*/ 3373175 h 3607509"/>
                  <a:gd name="connsiteX131" fmla="*/ 745463 w 3212350"/>
                  <a:gd name="connsiteY131" fmla="*/ 3406999 h 3607509"/>
                  <a:gd name="connsiteX132" fmla="*/ 736848 w 3212350"/>
                  <a:gd name="connsiteY132" fmla="*/ 3363927 h 3607509"/>
                  <a:gd name="connsiteX133" fmla="*/ 723800 w 3212350"/>
                  <a:gd name="connsiteY133" fmla="*/ 3353539 h 3607509"/>
                  <a:gd name="connsiteX134" fmla="*/ 708978 w 3212350"/>
                  <a:gd name="connsiteY134" fmla="*/ 3318575 h 3607509"/>
                  <a:gd name="connsiteX135" fmla="*/ 681235 w 3212350"/>
                  <a:gd name="connsiteY135" fmla="*/ 3336944 h 3607509"/>
                  <a:gd name="connsiteX136" fmla="*/ 652478 w 3212350"/>
                  <a:gd name="connsiteY136" fmla="*/ 3349232 h 3607509"/>
                  <a:gd name="connsiteX137" fmla="*/ 623721 w 3212350"/>
                  <a:gd name="connsiteY137" fmla="*/ 3360887 h 3607509"/>
                  <a:gd name="connsiteX138" fmla="*/ 577735 w 3212350"/>
                  <a:gd name="connsiteY138" fmla="*/ 3366841 h 3607509"/>
                  <a:gd name="connsiteX139" fmla="*/ 515660 w 3212350"/>
                  <a:gd name="connsiteY139" fmla="*/ 3419794 h 3607509"/>
                  <a:gd name="connsiteX140" fmla="*/ 469168 w 3212350"/>
                  <a:gd name="connsiteY140" fmla="*/ 3371148 h 3607509"/>
                  <a:gd name="connsiteX141" fmla="*/ 468155 w 3212350"/>
                  <a:gd name="connsiteY141" fmla="*/ 3308187 h 3607509"/>
                  <a:gd name="connsiteX142" fmla="*/ 458020 w 3212350"/>
                  <a:gd name="connsiteY142" fmla="*/ 3260934 h 3607509"/>
                  <a:gd name="connsiteX143" fmla="*/ 469675 w 3212350"/>
                  <a:gd name="connsiteY143" fmla="*/ 3199113 h 3607509"/>
                  <a:gd name="connsiteX144" fmla="*/ 479810 w 3212350"/>
                  <a:gd name="connsiteY144" fmla="*/ 3165415 h 3607509"/>
                  <a:gd name="connsiteX145" fmla="*/ 501599 w 3212350"/>
                  <a:gd name="connsiteY145" fmla="*/ 3138432 h 3607509"/>
                  <a:gd name="connsiteX146" fmla="*/ 516421 w 3212350"/>
                  <a:gd name="connsiteY146" fmla="*/ 3072811 h 3607509"/>
                  <a:gd name="connsiteX147" fmla="*/ 474363 w 3212350"/>
                  <a:gd name="connsiteY147" fmla="*/ 3028979 h 3607509"/>
                  <a:gd name="connsiteX148" fmla="*/ 413935 w 3212350"/>
                  <a:gd name="connsiteY148" fmla="*/ 2966904 h 3607509"/>
                  <a:gd name="connsiteX149" fmla="*/ 415455 w 3212350"/>
                  <a:gd name="connsiteY149" fmla="*/ 2927126 h 3607509"/>
                  <a:gd name="connsiteX150" fmla="*/ 423563 w 3212350"/>
                  <a:gd name="connsiteY150" fmla="*/ 2874933 h 3607509"/>
                  <a:gd name="connsiteX151" fmla="*/ 378970 w 3212350"/>
                  <a:gd name="connsiteY151" fmla="*/ 2813618 h 3607509"/>
                  <a:gd name="connsiteX152" fmla="*/ 383658 w 3212350"/>
                  <a:gd name="connsiteY152" fmla="*/ 2753064 h 3607509"/>
                  <a:gd name="connsiteX153" fmla="*/ 369216 w 3212350"/>
                  <a:gd name="connsiteY153" fmla="*/ 2707712 h 3607509"/>
                  <a:gd name="connsiteX154" fmla="*/ 331084 w 3212350"/>
                  <a:gd name="connsiteY154" fmla="*/ 2643610 h 3607509"/>
                  <a:gd name="connsiteX155" fmla="*/ 265463 w 3212350"/>
                  <a:gd name="connsiteY155" fmla="*/ 2647538 h 3607509"/>
                  <a:gd name="connsiteX156" fmla="*/ 261789 w 3212350"/>
                  <a:gd name="connsiteY156" fmla="*/ 2593571 h 3607509"/>
                  <a:gd name="connsiteX157" fmla="*/ 308028 w 3212350"/>
                  <a:gd name="connsiteY157" fmla="*/ 2593571 h 3607509"/>
                  <a:gd name="connsiteX158" fmla="*/ 287252 w 3212350"/>
                  <a:gd name="connsiteY158" fmla="*/ 2553032 h 3607509"/>
                  <a:gd name="connsiteX159" fmla="*/ 275091 w 3212350"/>
                  <a:gd name="connsiteY159" fmla="*/ 2521869 h 3607509"/>
                  <a:gd name="connsiteX160" fmla="*/ 232905 w 3212350"/>
                  <a:gd name="connsiteY160" fmla="*/ 2529596 h 3607509"/>
                  <a:gd name="connsiteX161" fmla="*/ 180459 w 3212350"/>
                  <a:gd name="connsiteY161" fmla="*/ 2516675 h 3607509"/>
                  <a:gd name="connsiteX162" fmla="*/ 144861 w 3212350"/>
                  <a:gd name="connsiteY162" fmla="*/ 2512367 h 3607509"/>
                  <a:gd name="connsiteX163" fmla="*/ 121045 w 3212350"/>
                  <a:gd name="connsiteY163" fmla="*/ 2498432 h 3607509"/>
                  <a:gd name="connsiteX164" fmla="*/ 98242 w 3212350"/>
                  <a:gd name="connsiteY164" fmla="*/ 2510974 h 3607509"/>
                  <a:gd name="connsiteX165" fmla="*/ 67585 w 3212350"/>
                  <a:gd name="connsiteY165" fmla="*/ 2487538 h 3607509"/>
                  <a:gd name="connsiteX166" fmla="*/ 80380 w 3212350"/>
                  <a:gd name="connsiteY166" fmla="*/ 2450546 h 3607509"/>
                  <a:gd name="connsiteX167" fmla="*/ 96848 w 3212350"/>
                  <a:gd name="connsiteY167" fmla="*/ 2432811 h 3607509"/>
                  <a:gd name="connsiteX168" fmla="*/ 83673 w 3212350"/>
                  <a:gd name="connsiteY168" fmla="*/ 2400887 h 3607509"/>
                  <a:gd name="connsiteX169" fmla="*/ 102803 w 3212350"/>
                  <a:gd name="connsiteY169" fmla="*/ 2379351 h 3607509"/>
                  <a:gd name="connsiteX170" fmla="*/ 122565 w 3212350"/>
                  <a:gd name="connsiteY170" fmla="*/ 2346413 h 3607509"/>
                  <a:gd name="connsiteX171" fmla="*/ 137133 w 3212350"/>
                  <a:gd name="connsiteY171" fmla="*/ 2314489 h 3607509"/>
                  <a:gd name="connsiteX172" fmla="*/ 111671 w 3212350"/>
                  <a:gd name="connsiteY172" fmla="*/ 2282439 h 3607509"/>
                  <a:gd name="connsiteX173" fmla="*/ 94188 w 3212350"/>
                  <a:gd name="connsiteY173" fmla="*/ 2244180 h 3607509"/>
                  <a:gd name="connsiteX174" fmla="*/ 57577 w 3212350"/>
                  <a:gd name="connsiteY174" fmla="*/ 2207189 h 3607509"/>
                  <a:gd name="connsiteX175" fmla="*/ 53016 w 3212350"/>
                  <a:gd name="connsiteY175" fmla="*/ 2154109 h 3607509"/>
                  <a:gd name="connsiteX176" fmla="*/ 62518 w 3212350"/>
                  <a:gd name="connsiteY176" fmla="*/ 2114204 h 3607509"/>
                  <a:gd name="connsiteX177" fmla="*/ 24893 w 3212350"/>
                  <a:gd name="connsiteY177" fmla="*/ 2075946 h 3607509"/>
                  <a:gd name="connsiteX178" fmla="*/ 19952 w 3212350"/>
                  <a:gd name="connsiteY178" fmla="*/ 2055170 h 3607509"/>
                  <a:gd name="connsiteX179" fmla="*/ 53903 w 3212350"/>
                  <a:gd name="connsiteY179" fmla="*/ 2045922 h 3607509"/>
                  <a:gd name="connsiteX180" fmla="*/ 93554 w 3212350"/>
                  <a:gd name="connsiteY180" fmla="*/ 2023880 h 3607509"/>
                  <a:gd name="connsiteX181" fmla="*/ 74045 w 3212350"/>
                  <a:gd name="connsiteY181" fmla="*/ 1825875 h 3607509"/>
                  <a:gd name="connsiteX182" fmla="*/ 44022 w 3212350"/>
                  <a:gd name="connsiteY182" fmla="*/ 1687664 h 3607509"/>
                  <a:gd name="connsiteX183" fmla="*/ 5511 w 3212350"/>
                  <a:gd name="connsiteY183" fmla="*/ 1614442 h 3607509"/>
                  <a:gd name="connsiteX184" fmla="*/ 28440 w 3212350"/>
                  <a:gd name="connsiteY184" fmla="*/ 1613302 h 3607509"/>
                  <a:gd name="connsiteX185" fmla="*/ 83420 w 3212350"/>
                  <a:gd name="connsiteY185" fmla="*/ 1596453 h 3607509"/>
                  <a:gd name="connsiteX186" fmla="*/ 134726 w 3212350"/>
                  <a:gd name="connsiteY186" fmla="*/ 1554648 h 3607509"/>
                  <a:gd name="connsiteX187" fmla="*/ 191100 w 3212350"/>
                  <a:gd name="connsiteY187" fmla="*/ 1562249 h 3607509"/>
                  <a:gd name="connsiteX188" fmla="*/ 197054 w 3212350"/>
                  <a:gd name="connsiteY188" fmla="*/ 1493967 h 3607509"/>
                  <a:gd name="connsiteX189" fmla="*/ 233285 w 3212350"/>
                  <a:gd name="connsiteY189" fmla="*/ 1445574 h 3607509"/>
                  <a:gd name="connsiteX190" fmla="*/ 255961 w 3212350"/>
                  <a:gd name="connsiteY190" fmla="*/ 1433286 h 3607509"/>
                  <a:gd name="connsiteX191" fmla="*/ 264829 w 3212350"/>
                  <a:gd name="connsiteY191" fmla="*/ 1404276 h 3607509"/>
                  <a:gd name="connsiteX192" fmla="*/ 278891 w 3212350"/>
                  <a:gd name="connsiteY192" fmla="*/ 1375772 h 3607509"/>
                  <a:gd name="connsiteX193" fmla="*/ 317656 w 3212350"/>
                  <a:gd name="connsiteY193" fmla="*/ 1344228 h 3607509"/>
                  <a:gd name="connsiteX194" fmla="*/ 355787 w 3212350"/>
                  <a:gd name="connsiteY194" fmla="*/ 1300142 h 3607509"/>
                  <a:gd name="connsiteX195" fmla="*/ 335898 w 3212350"/>
                  <a:gd name="connsiteY195" fmla="*/ 1253903 h 3607509"/>
                  <a:gd name="connsiteX196" fmla="*/ 310942 w 3212350"/>
                  <a:gd name="connsiteY196" fmla="*/ 1217039 h 3607509"/>
                  <a:gd name="connsiteX197" fmla="*/ 304101 w 3212350"/>
                  <a:gd name="connsiteY197" fmla="*/ 1160538 h 3607509"/>
                  <a:gd name="connsiteX198" fmla="*/ 268123 w 3212350"/>
                  <a:gd name="connsiteY198" fmla="*/ 1123420 h 3607509"/>
                  <a:gd name="connsiteX199" fmla="*/ 226318 w 3212350"/>
                  <a:gd name="connsiteY199" fmla="*/ 1089976 h 3607509"/>
                  <a:gd name="connsiteX200" fmla="*/ 212509 w 3212350"/>
                  <a:gd name="connsiteY200" fmla="*/ 1043357 h 3607509"/>
                  <a:gd name="connsiteX201" fmla="*/ 200221 w 3212350"/>
                  <a:gd name="connsiteY201" fmla="*/ 1019161 h 3607509"/>
                  <a:gd name="connsiteX202" fmla="*/ 190594 w 3212350"/>
                  <a:gd name="connsiteY202" fmla="*/ 994711 h 3607509"/>
                  <a:gd name="connsiteX203" fmla="*/ 199081 w 3212350"/>
                  <a:gd name="connsiteY203" fmla="*/ 954046 h 3607509"/>
                  <a:gd name="connsiteX204" fmla="*/ 185146 w 3212350"/>
                  <a:gd name="connsiteY204" fmla="*/ 933270 h 3607509"/>
                  <a:gd name="connsiteX205" fmla="*/ 173998 w 3212350"/>
                  <a:gd name="connsiteY205" fmla="*/ 917941 h 3607509"/>
                  <a:gd name="connsiteX206" fmla="*/ 173238 w 3212350"/>
                  <a:gd name="connsiteY206" fmla="*/ 894758 h 3607509"/>
                  <a:gd name="connsiteX207" fmla="*/ 192240 w 3212350"/>
                  <a:gd name="connsiteY207" fmla="*/ 874616 h 3607509"/>
                  <a:gd name="connsiteX208" fmla="*/ 190213 w 3212350"/>
                  <a:gd name="connsiteY208" fmla="*/ 866508 h 3607509"/>
                  <a:gd name="connsiteX209" fmla="*/ 207442 w 3212350"/>
                  <a:gd name="connsiteY209" fmla="*/ 847759 h 3607509"/>
                  <a:gd name="connsiteX210" fmla="*/ 215803 w 3212350"/>
                  <a:gd name="connsiteY210" fmla="*/ 851813 h 3607509"/>
                  <a:gd name="connsiteX211" fmla="*/ 238733 w 3212350"/>
                  <a:gd name="connsiteY211" fmla="*/ 854474 h 3607509"/>
                  <a:gd name="connsiteX212" fmla="*/ 258876 w 3212350"/>
                  <a:gd name="connsiteY212" fmla="*/ 858021 h 3607509"/>
                  <a:gd name="connsiteX213" fmla="*/ 282312 w 3212350"/>
                  <a:gd name="connsiteY213" fmla="*/ 837878 h 3607509"/>
                  <a:gd name="connsiteX214" fmla="*/ 286112 w 3212350"/>
                  <a:gd name="connsiteY214" fmla="*/ 803674 h 3607509"/>
                  <a:gd name="connsiteX215" fmla="*/ 304354 w 3212350"/>
                  <a:gd name="connsiteY215" fmla="*/ 839652 h 3607509"/>
                  <a:gd name="connsiteX216" fmla="*/ 316643 w 3212350"/>
                  <a:gd name="connsiteY216" fmla="*/ 857641 h 3607509"/>
                  <a:gd name="connsiteX217" fmla="*/ 311702 w 3212350"/>
                  <a:gd name="connsiteY217" fmla="*/ 876390 h 3607509"/>
                  <a:gd name="connsiteX218" fmla="*/ 307268 w 3212350"/>
                  <a:gd name="connsiteY218" fmla="*/ 896785 h 3607509"/>
                  <a:gd name="connsiteX219" fmla="*/ 332985 w 3212350"/>
                  <a:gd name="connsiteY219" fmla="*/ 920728 h 3607509"/>
                  <a:gd name="connsiteX220" fmla="*/ 358067 w 3212350"/>
                  <a:gd name="connsiteY220" fmla="*/ 916041 h 3607509"/>
                  <a:gd name="connsiteX221" fmla="*/ 339445 w 3212350"/>
                  <a:gd name="connsiteY221" fmla="*/ 876516 h 3607509"/>
                  <a:gd name="connsiteX222" fmla="*/ 385431 w 3212350"/>
                  <a:gd name="connsiteY222" fmla="*/ 860934 h 3607509"/>
                  <a:gd name="connsiteX223" fmla="*/ 421916 w 3212350"/>
                  <a:gd name="connsiteY223" fmla="*/ 824703 h 3607509"/>
                  <a:gd name="connsiteX224" fmla="*/ 473222 w 3212350"/>
                  <a:gd name="connsiteY224" fmla="*/ 824956 h 3607509"/>
                  <a:gd name="connsiteX225" fmla="*/ 521869 w 3212350"/>
                  <a:gd name="connsiteY225" fmla="*/ 819636 h 3607509"/>
                  <a:gd name="connsiteX226" fmla="*/ 546951 w 3212350"/>
                  <a:gd name="connsiteY226" fmla="*/ 816215 h 3607509"/>
                  <a:gd name="connsiteX227" fmla="*/ 589643 w 3212350"/>
                  <a:gd name="connsiteY227" fmla="*/ 827363 h 3607509"/>
                  <a:gd name="connsiteX228" fmla="*/ 586856 w 3212350"/>
                  <a:gd name="connsiteY228" fmla="*/ 848899 h 3607509"/>
                  <a:gd name="connsiteX229" fmla="*/ 599398 w 3212350"/>
                  <a:gd name="connsiteY229" fmla="*/ 874109 h 3607509"/>
                  <a:gd name="connsiteX230" fmla="*/ 652731 w 3212350"/>
                  <a:gd name="connsiteY230" fmla="*/ 881584 h 3607509"/>
                  <a:gd name="connsiteX231" fmla="*/ 678448 w 3212350"/>
                  <a:gd name="connsiteY231" fmla="*/ 886144 h 3607509"/>
                  <a:gd name="connsiteX232" fmla="*/ 696183 w 3212350"/>
                  <a:gd name="connsiteY232" fmla="*/ 897672 h 3607509"/>
                  <a:gd name="connsiteX233" fmla="*/ 734822 w 3212350"/>
                  <a:gd name="connsiteY233" fmla="*/ 878163 h 3607509"/>
                  <a:gd name="connsiteX234" fmla="*/ 783848 w 3212350"/>
                  <a:gd name="connsiteY234" fmla="*/ 858781 h 3607509"/>
                  <a:gd name="connsiteX235" fmla="*/ 834014 w 3212350"/>
                  <a:gd name="connsiteY235" fmla="*/ 838258 h 3607509"/>
                  <a:gd name="connsiteX236" fmla="*/ 837688 w 3212350"/>
                  <a:gd name="connsiteY236" fmla="*/ 798226 h 3607509"/>
                  <a:gd name="connsiteX237" fmla="*/ 817799 w 3212350"/>
                  <a:gd name="connsiteY237" fmla="*/ 756168 h 3607509"/>
                  <a:gd name="connsiteX238" fmla="*/ 815011 w 3212350"/>
                  <a:gd name="connsiteY238" fmla="*/ 717403 h 3607509"/>
                  <a:gd name="connsiteX239" fmla="*/ 844402 w 3212350"/>
                  <a:gd name="connsiteY239" fmla="*/ 695867 h 3607509"/>
                  <a:gd name="connsiteX240" fmla="*/ 868472 w 3212350"/>
                  <a:gd name="connsiteY240" fmla="*/ 683199 h 3607509"/>
                  <a:gd name="connsiteX241" fmla="*/ 891021 w 3212350"/>
                  <a:gd name="connsiteY241" fmla="*/ 703088 h 3607509"/>
                  <a:gd name="connsiteX242" fmla="*/ 936500 w 3212350"/>
                  <a:gd name="connsiteY242" fmla="*/ 704608 h 3607509"/>
                  <a:gd name="connsiteX243" fmla="*/ 978305 w 3212350"/>
                  <a:gd name="connsiteY243" fmla="*/ 694220 h 3607509"/>
                  <a:gd name="connsiteX244" fmla="*/ 1016437 w 3212350"/>
                  <a:gd name="connsiteY244" fmla="*/ 654442 h 3607509"/>
                  <a:gd name="connsiteX245" fmla="*/ 1041393 w 3212350"/>
                  <a:gd name="connsiteY245" fmla="*/ 660903 h 3607509"/>
                  <a:gd name="connsiteX246" fmla="*/ 1067616 w 3212350"/>
                  <a:gd name="connsiteY246" fmla="*/ 671544 h 3607509"/>
                  <a:gd name="connsiteX247" fmla="*/ 1089152 w 3212350"/>
                  <a:gd name="connsiteY247" fmla="*/ 694220 h 3607509"/>
                  <a:gd name="connsiteX248" fmla="*/ 1111068 w 3212350"/>
                  <a:gd name="connsiteY248" fmla="*/ 706508 h 3607509"/>
                  <a:gd name="connsiteX249" fmla="*/ 1127284 w 3212350"/>
                  <a:gd name="connsiteY249" fmla="*/ 726524 h 3607509"/>
                  <a:gd name="connsiteX250" fmla="*/ 1143246 w 3212350"/>
                  <a:gd name="connsiteY250" fmla="*/ 746413 h 3607509"/>
                  <a:gd name="connsiteX251" fmla="*/ 1154267 w 3212350"/>
                  <a:gd name="connsiteY251" fmla="*/ 772130 h 3607509"/>
                  <a:gd name="connsiteX252" fmla="*/ 1135518 w 3212350"/>
                  <a:gd name="connsiteY252" fmla="*/ 790245 h 3607509"/>
                  <a:gd name="connsiteX253" fmla="*/ 1179097 w 3212350"/>
                  <a:gd name="connsiteY253" fmla="*/ 805067 h 3607509"/>
                  <a:gd name="connsiteX254" fmla="*/ 1189358 w 3212350"/>
                  <a:gd name="connsiteY254" fmla="*/ 846492 h 3607509"/>
                  <a:gd name="connsiteX255" fmla="*/ 1160981 w 3212350"/>
                  <a:gd name="connsiteY255" fmla="*/ 863848 h 3607509"/>
                  <a:gd name="connsiteX256" fmla="*/ 1141852 w 3212350"/>
                  <a:gd name="connsiteY256" fmla="*/ 882724 h 3607509"/>
                  <a:gd name="connsiteX257" fmla="*/ 1162122 w 3212350"/>
                  <a:gd name="connsiteY257" fmla="*/ 907554 h 3607509"/>
                  <a:gd name="connsiteX258" fmla="*/ 1186698 w 3212350"/>
                  <a:gd name="connsiteY258" fmla="*/ 907807 h 3607509"/>
                  <a:gd name="connsiteX259" fmla="*/ 1184798 w 3212350"/>
                  <a:gd name="connsiteY259" fmla="*/ 885891 h 3607509"/>
                  <a:gd name="connsiteX260" fmla="*/ 1211275 w 3212350"/>
                  <a:gd name="connsiteY260" fmla="*/ 887411 h 3607509"/>
                  <a:gd name="connsiteX261" fmla="*/ 1235851 w 3212350"/>
                  <a:gd name="connsiteY261" fmla="*/ 892478 h 3607509"/>
                  <a:gd name="connsiteX262" fmla="*/ 1219762 w 3212350"/>
                  <a:gd name="connsiteY262" fmla="*/ 940111 h 3607509"/>
                  <a:gd name="connsiteX263" fmla="*/ 1250546 w 3212350"/>
                  <a:gd name="connsiteY263" fmla="*/ 963294 h 3607509"/>
                  <a:gd name="connsiteX264" fmla="*/ 1285131 w 3212350"/>
                  <a:gd name="connsiteY264" fmla="*/ 991290 h 3607509"/>
                  <a:gd name="connsiteX265" fmla="*/ 1323515 w 3212350"/>
                  <a:gd name="connsiteY265" fmla="*/ 1010420 h 3607509"/>
                  <a:gd name="connsiteX266" fmla="*/ 1357593 w 3212350"/>
                  <a:gd name="connsiteY266" fmla="*/ 1024861 h 3607509"/>
                  <a:gd name="connsiteX267" fmla="*/ 1361520 w 3212350"/>
                  <a:gd name="connsiteY267" fmla="*/ 1012573 h 3607509"/>
                  <a:gd name="connsiteX268" fmla="*/ 1403452 w 3212350"/>
                  <a:gd name="connsiteY268" fmla="*/ 1029169 h 3607509"/>
                  <a:gd name="connsiteX269" fmla="*/ 1418907 w 3212350"/>
                  <a:gd name="connsiteY269" fmla="*/ 1016374 h 3607509"/>
                  <a:gd name="connsiteX270" fmla="*/ 1407759 w 3212350"/>
                  <a:gd name="connsiteY270" fmla="*/ 991164 h 3607509"/>
                  <a:gd name="connsiteX271" fmla="*/ 1398004 w 3212350"/>
                  <a:gd name="connsiteY271" fmla="*/ 938591 h 3607509"/>
                  <a:gd name="connsiteX272" fmla="*/ 1401045 w 3212350"/>
                  <a:gd name="connsiteY272" fmla="*/ 914014 h 3607509"/>
                  <a:gd name="connsiteX273" fmla="*/ 1390023 w 3212350"/>
                  <a:gd name="connsiteY273" fmla="*/ 892478 h 3607509"/>
                  <a:gd name="connsiteX274" fmla="*/ 1377482 w 3212350"/>
                  <a:gd name="connsiteY274" fmla="*/ 836865 h 3607509"/>
                  <a:gd name="connsiteX275" fmla="*/ 1377228 w 3212350"/>
                  <a:gd name="connsiteY275" fmla="*/ 805067 h 3607509"/>
                  <a:gd name="connsiteX276" fmla="*/ 1399525 w 3212350"/>
                  <a:gd name="connsiteY276" fmla="*/ 811275 h 3607509"/>
                  <a:gd name="connsiteX277" fmla="*/ 1433983 w 3212350"/>
                  <a:gd name="connsiteY277" fmla="*/ 840285 h 3607509"/>
                  <a:gd name="connsiteX278" fmla="*/ 1484782 w 3212350"/>
                  <a:gd name="connsiteY278" fmla="*/ 849660 h 3607509"/>
                  <a:gd name="connsiteX279" fmla="*/ 1517593 w 3212350"/>
                  <a:gd name="connsiteY279" fmla="*/ 817609 h 3607509"/>
                  <a:gd name="connsiteX280" fmla="*/ 1529247 w 3212350"/>
                  <a:gd name="connsiteY280" fmla="*/ 791892 h 3607509"/>
                  <a:gd name="connsiteX281" fmla="*/ 1570546 w 3212350"/>
                  <a:gd name="connsiteY281" fmla="*/ 747680 h 3607509"/>
                  <a:gd name="connsiteX282" fmla="*/ 1610324 w 3212350"/>
                  <a:gd name="connsiteY282" fmla="*/ 761742 h 3607509"/>
                  <a:gd name="connsiteX283" fmla="*/ 1652130 w 3212350"/>
                  <a:gd name="connsiteY283" fmla="*/ 769850 h 3607509"/>
                  <a:gd name="connsiteX284" fmla="*/ 1692921 w 3212350"/>
                  <a:gd name="connsiteY284" fmla="*/ 767949 h 3607509"/>
                  <a:gd name="connsiteX285" fmla="*/ 1710024 w 3212350"/>
                  <a:gd name="connsiteY285" fmla="*/ 754648 h 3607509"/>
                  <a:gd name="connsiteX286" fmla="*/ 1716737 w 3212350"/>
                  <a:gd name="connsiteY286" fmla="*/ 747680 h 3607509"/>
                  <a:gd name="connsiteX287" fmla="*/ 1716864 w 3212350"/>
                  <a:gd name="connsiteY287" fmla="*/ 738052 h 3607509"/>
                  <a:gd name="connsiteX288" fmla="*/ 1705843 w 3212350"/>
                  <a:gd name="connsiteY288" fmla="*/ 745146 h 3607509"/>
                  <a:gd name="connsiteX289" fmla="*/ 1672525 w 3212350"/>
                  <a:gd name="connsiteY289" fmla="*/ 713476 h 3607509"/>
                  <a:gd name="connsiteX290" fmla="*/ 1683040 w 3212350"/>
                  <a:gd name="connsiteY290" fmla="*/ 688013 h 3607509"/>
                  <a:gd name="connsiteX291" fmla="*/ 1714204 w 3212350"/>
                  <a:gd name="connsiteY291" fmla="*/ 679398 h 3607509"/>
                  <a:gd name="connsiteX292" fmla="*/ 1743214 w 3212350"/>
                  <a:gd name="connsiteY292" fmla="*/ 688646 h 3607509"/>
                  <a:gd name="connsiteX293" fmla="*/ 1755883 w 3212350"/>
                  <a:gd name="connsiteY293" fmla="*/ 664703 h 3607509"/>
                  <a:gd name="connsiteX294" fmla="*/ 1741188 w 3212350"/>
                  <a:gd name="connsiteY294" fmla="*/ 635059 h 3607509"/>
                  <a:gd name="connsiteX295" fmla="*/ 1710403 w 3212350"/>
                  <a:gd name="connsiteY295" fmla="*/ 623405 h 3607509"/>
                  <a:gd name="connsiteX296" fmla="*/ 1715851 w 3212350"/>
                  <a:gd name="connsiteY296" fmla="*/ 558796 h 3607509"/>
                  <a:gd name="connsiteX297" fmla="*/ 1667584 w 3212350"/>
                  <a:gd name="connsiteY297" fmla="*/ 580586 h 3607509"/>
                  <a:gd name="connsiteX298" fmla="*/ 1656183 w 3212350"/>
                  <a:gd name="connsiteY298" fmla="*/ 560697 h 3607509"/>
                  <a:gd name="connsiteX299" fmla="*/ 1664038 w 3212350"/>
                  <a:gd name="connsiteY299" fmla="*/ 531560 h 3607509"/>
                  <a:gd name="connsiteX300" fmla="*/ 1674426 w 3212350"/>
                  <a:gd name="connsiteY300" fmla="*/ 505463 h 3607509"/>
                  <a:gd name="connsiteX301" fmla="*/ 1696975 w 3212350"/>
                  <a:gd name="connsiteY301" fmla="*/ 486714 h 3607509"/>
                  <a:gd name="connsiteX302" fmla="*/ 1686461 w 3212350"/>
                  <a:gd name="connsiteY302" fmla="*/ 436168 h 3607509"/>
                  <a:gd name="connsiteX303" fmla="*/ 1664544 w 3212350"/>
                  <a:gd name="connsiteY303" fmla="*/ 419572 h 3607509"/>
                  <a:gd name="connsiteX304" fmla="*/ 1683927 w 3212350"/>
                  <a:gd name="connsiteY304" fmla="*/ 413745 h 3607509"/>
                  <a:gd name="connsiteX305" fmla="*/ 1719652 w 3212350"/>
                  <a:gd name="connsiteY305" fmla="*/ 416405 h 3607509"/>
                  <a:gd name="connsiteX306" fmla="*/ 1753982 w 3212350"/>
                  <a:gd name="connsiteY306" fmla="*/ 399303 h 3607509"/>
                  <a:gd name="connsiteX307" fmla="*/ 1789960 w 3212350"/>
                  <a:gd name="connsiteY307" fmla="*/ 381948 h 3607509"/>
                  <a:gd name="connsiteX308" fmla="*/ 1825558 w 3212350"/>
                  <a:gd name="connsiteY308" fmla="*/ 363452 h 3607509"/>
                  <a:gd name="connsiteX309" fmla="*/ 1853935 w 3212350"/>
                  <a:gd name="connsiteY309" fmla="*/ 346857 h 3607509"/>
                  <a:gd name="connsiteX310" fmla="*/ 1882438 w 3212350"/>
                  <a:gd name="connsiteY310" fmla="*/ 337355 h 3607509"/>
                  <a:gd name="connsiteX311" fmla="*/ 1964275 w 3212350"/>
                  <a:gd name="connsiteY311" fmla="*/ 311639 h 3607509"/>
                  <a:gd name="connsiteX312" fmla="*/ 1944133 w 3212350"/>
                  <a:gd name="connsiteY312" fmla="*/ 337355 h 3607509"/>
                  <a:gd name="connsiteX313" fmla="*/ 1907141 w 3212350"/>
                  <a:gd name="connsiteY313" fmla="*/ 352304 h 3607509"/>
                  <a:gd name="connsiteX314" fmla="*/ 1897767 w 3212350"/>
                  <a:gd name="connsiteY314" fmla="*/ 381821 h 3607509"/>
                  <a:gd name="connsiteX315" fmla="*/ 1885732 w 3212350"/>
                  <a:gd name="connsiteY315" fmla="*/ 407791 h 3607509"/>
                  <a:gd name="connsiteX316" fmla="*/ 1916896 w 3212350"/>
                  <a:gd name="connsiteY316" fmla="*/ 406017 h 3607509"/>
                  <a:gd name="connsiteX317" fmla="*/ 1934631 w 3212350"/>
                  <a:gd name="connsiteY317" fmla="*/ 381694 h 3607509"/>
                  <a:gd name="connsiteX318" fmla="*/ 1954141 w 3212350"/>
                  <a:gd name="connsiteY318" fmla="*/ 356231 h 3607509"/>
                  <a:gd name="connsiteX319" fmla="*/ 1976690 w 3212350"/>
                  <a:gd name="connsiteY319" fmla="*/ 332541 h 3607509"/>
                  <a:gd name="connsiteX320" fmla="*/ 1990118 w 3212350"/>
                  <a:gd name="connsiteY320" fmla="*/ 359905 h 3607509"/>
                  <a:gd name="connsiteX321" fmla="*/ 1978970 w 3212350"/>
                  <a:gd name="connsiteY321" fmla="*/ 381188 h 3607509"/>
                  <a:gd name="connsiteX322" fmla="*/ 1972509 w 3212350"/>
                  <a:gd name="connsiteY322" fmla="*/ 364846 h 3607509"/>
                  <a:gd name="connsiteX323" fmla="*/ 1962248 w 3212350"/>
                  <a:gd name="connsiteY323" fmla="*/ 368519 h 3607509"/>
                  <a:gd name="connsiteX324" fmla="*/ 1968076 w 3212350"/>
                  <a:gd name="connsiteY324" fmla="*/ 413238 h 3607509"/>
                  <a:gd name="connsiteX325" fmla="*/ 1958194 w 3212350"/>
                  <a:gd name="connsiteY325" fmla="*/ 440728 h 3607509"/>
                  <a:gd name="connsiteX326" fmla="*/ 1971749 w 3212350"/>
                  <a:gd name="connsiteY326" fmla="*/ 451497 h 3607509"/>
                  <a:gd name="connsiteX327" fmla="*/ 1981250 w 3212350"/>
                  <a:gd name="connsiteY327" fmla="*/ 463151 h 3607509"/>
                  <a:gd name="connsiteX328" fmla="*/ 2013175 w 3212350"/>
                  <a:gd name="connsiteY328" fmla="*/ 407538 h 3607509"/>
                  <a:gd name="connsiteX329" fmla="*/ 2014695 w 3212350"/>
                  <a:gd name="connsiteY329" fmla="*/ 359905 h 3607509"/>
                  <a:gd name="connsiteX330" fmla="*/ 2005574 w 3212350"/>
                  <a:gd name="connsiteY330" fmla="*/ 324941 h 3607509"/>
                  <a:gd name="connsiteX331" fmla="*/ 2002407 w 3212350"/>
                  <a:gd name="connsiteY331" fmla="*/ 291243 h 3607509"/>
                  <a:gd name="connsiteX332" fmla="*/ 2029643 w 3212350"/>
                  <a:gd name="connsiteY332" fmla="*/ 265146 h 3607509"/>
                  <a:gd name="connsiteX333" fmla="*/ 2098559 w 3212350"/>
                  <a:gd name="connsiteY333" fmla="*/ 237910 h 3607509"/>
                  <a:gd name="connsiteX334" fmla="*/ 2166334 w 3212350"/>
                  <a:gd name="connsiteY334" fmla="*/ 234616 h 3607509"/>
                  <a:gd name="connsiteX335" fmla="*/ 2163420 w 3212350"/>
                  <a:gd name="connsiteY335" fmla="*/ 265273 h 3607509"/>
                  <a:gd name="connsiteX336" fmla="*/ 2134410 w 3212350"/>
                  <a:gd name="connsiteY336" fmla="*/ 283642 h 3607509"/>
                  <a:gd name="connsiteX337" fmla="*/ 2142011 w 3212350"/>
                  <a:gd name="connsiteY337" fmla="*/ 308852 h 3607509"/>
                  <a:gd name="connsiteX338" fmla="*/ 2173554 w 3212350"/>
                  <a:gd name="connsiteY338" fmla="*/ 294410 h 3607509"/>
                  <a:gd name="connsiteX339" fmla="*/ 2206872 w 3212350"/>
                  <a:gd name="connsiteY339" fmla="*/ 290356 h 3607509"/>
                  <a:gd name="connsiteX340" fmla="*/ 2238923 w 3212350"/>
                  <a:gd name="connsiteY340" fmla="*/ 283895 h 3607509"/>
                  <a:gd name="connsiteX341" fmla="*/ 2265526 w 3212350"/>
                  <a:gd name="connsiteY341" fmla="*/ 270087 h 3607509"/>
                  <a:gd name="connsiteX342" fmla="*/ 2288836 w 3212350"/>
                  <a:gd name="connsiteY342" fmla="*/ 270341 h 3607509"/>
                  <a:gd name="connsiteX343" fmla="*/ 2300617 w 3212350"/>
                  <a:gd name="connsiteY343" fmla="*/ 265020 h 3607509"/>
                  <a:gd name="connsiteX344" fmla="*/ 2314299 w 3212350"/>
                  <a:gd name="connsiteY344" fmla="*/ 270721 h 3607509"/>
                  <a:gd name="connsiteX345" fmla="*/ 2342803 w 3212350"/>
                  <a:gd name="connsiteY345" fmla="*/ 275408 h 3607509"/>
                  <a:gd name="connsiteX346" fmla="*/ 2358385 w 3212350"/>
                  <a:gd name="connsiteY346" fmla="*/ 292763 h 3607509"/>
                  <a:gd name="connsiteX347" fmla="*/ 2372953 w 3212350"/>
                  <a:gd name="connsiteY347" fmla="*/ 288076 h 3607509"/>
                  <a:gd name="connsiteX348" fmla="*/ 2417545 w 3212350"/>
                  <a:gd name="connsiteY348" fmla="*/ 243484 h 3607509"/>
                  <a:gd name="connsiteX349" fmla="*/ 2449089 w 3212350"/>
                  <a:gd name="connsiteY349" fmla="*/ 192431 h 3607509"/>
                  <a:gd name="connsiteX350" fmla="*/ 2484180 w 3212350"/>
                  <a:gd name="connsiteY350" fmla="*/ 117815 h 3607509"/>
                  <a:gd name="connsiteX351" fmla="*/ 2537260 w 3212350"/>
                  <a:gd name="connsiteY351" fmla="*/ 70689 h 3607509"/>
                  <a:gd name="connsiteX352" fmla="*/ 2573872 w 3212350"/>
                  <a:gd name="connsiteY352" fmla="*/ 29010 h 3607509"/>
                  <a:gd name="connsiteX353" fmla="*/ 2643293 w 3212350"/>
                  <a:gd name="connsiteY353" fmla="*/ 7348 h 3607509"/>
                  <a:gd name="connsiteX354" fmla="*/ 2704354 w 3212350"/>
                  <a:gd name="connsiteY354" fmla="*/ 2660 h 3607509"/>
                  <a:gd name="connsiteX355" fmla="*/ 2758701 w 3212350"/>
                  <a:gd name="connsiteY355" fmla="*/ 21789 h 3607509"/>
                  <a:gd name="connsiteX356" fmla="*/ 2787585 w 3212350"/>
                  <a:gd name="connsiteY356" fmla="*/ 78797 h 3607509"/>
                  <a:gd name="connsiteX357" fmla="*/ 2863341 w 3212350"/>
                  <a:gd name="connsiteY357" fmla="*/ 68789 h 3607509"/>
                  <a:gd name="connsiteX358" fmla="*/ 2902486 w 3212350"/>
                  <a:gd name="connsiteY358" fmla="*/ 65115 h 3607509"/>
                  <a:gd name="connsiteX359" fmla="*/ 2905399 w 3212350"/>
                  <a:gd name="connsiteY359" fmla="*/ 51306 h 3607509"/>
                  <a:gd name="connsiteX360" fmla="*/ 2949232 w 3212350"/>
                  <a:gd name="connsiteY360" fmla="*/ 33317 h 3607509"/>
                  <a:gd name="connsiteX361" fmla="*/ 2938084 w 3212350"/>
                  <a:gd name="connsiteY361" fmla="*/ 0 h 3607509"/>
                  <a:gd name="connsiteX362" fmla="*/ 3003452 w 3212350"/>
                  <a:gd name="connsiteY362" fmla="*/ 41805 h 3607509"/>
                  <a:gd name="connsiteX363" fmla="*/ 3053238 w 3212350"/>
                  <a:gd name="connsiteY363" fmla="*/ 78416 h 3607509"/>
                  <a:gd name="connsiteX364" fmla="*/ 3080348 w 3212350"/>
                  <a:gd name="connsiteY364" fmla="*/ 103753 h 3607509"/>
                  <a:gd name="connsiteX365" fmla="*/ 3059572 w 3212350"/>
                  <a:gd name="connsiteY365" fmla="*/ 152652 h 3607509"/>
                  <a:gd name="connsiteX366" fmla="*/ 3042470 w 3212350"/>
                  <a:gd name="connsiteY366" fmla="*/ 222581 h 3607509"/>
                  <a:gd name="connsiteX367" fmla="*/ 2985717 w 3212350"/>
                  <a:gd name="connsiteY367" fmla="*/ 306698 h 3607509"/>
                  <a:gd name="connsiteX368" fmla="*/ 2969501 w 3212350"/>
                  <a:gd name="connsiteY368" fmla="*/ 373967 h 3607509"/>
                  <a:gd name="connsiteX369" fmla="*/ 2993571 w 3212350"/>
                  <a:gd name="connsiteY369" fmla="*/ 381188 h 3607509"/>
                  <a:gd name="connsiteX370" fmla="*/ 2999524 w 3212350"/>
                  <a:gd name="connsiteY370" fmla="*/ 423753 h 3607509"/>
                  <a:gd name="connsiteX371" fmla="*/ 3070467 w 3212350"/>
                  <a:gd name="connsiteY371" fmla="*/ 447569 h 3607509"/>
                  <a:gd name="connsiteX372" fmla="*/ 3162185 w 3212350"/>
                  <a:gd name="connsiteY372" fmla="*/ 465938 h 3607509"/>
                  <a:gd name="connsiteX373" fmla="*/ 3212351 w 3212350"/>
                  <a:gd name="connsiteY373" fmla="*/ 538907 h 3607509"/>
                  <a:gd name="connsiteX374" fmla="*/ 3209818 w 3212350"/>
                  <a:gd name="connsiteY374" fmla="*/ 544101 h 36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3212350" h="3607509">
                    <a:moveTo>
                      <a:pt x="3209818" y="544101"/>
                    </a:moveTo>
                    <a:cubicBezTo>
                      <a:pt x="3197403" y="568931"/>
                      <a:pt x="3204877" y="596548"/>
                      <a:pt x="3200570" y="622771"/>
                    </a:cubicBezTo>
                    <a:cubicBezTo>
                      <a:pt x="3195249" y="654822"/>
                      <a:pt x="3167126" y="640887"/>
                      <a:pt x="3149770" y="659002"/>
                    </a:cubicBezTo>
                    <a:cubicBezTo>
                      <a:pt x="3134061" y="675344"/>
                      <a:pt x="3150783" y="701061"/>
                      <a:pt x="3121393" y="704862"/>
                    </a:cubicBezTo>
                    <a:cubicBezTo>
                      <a:pt x="3094157" y="708282"/>
                      <a:pt x="3077054" y="707395"/>
                      <a:pt x="3062486" y="733618"/>
                    </a:cubicBezTo>
                    <a:cubicBezTo>
                      <a:pt x="3048424" y="758575"/>
                      <a:pt x="3047157" y="779097"/>
                      <a:pt x="3060206" y="805067"/>
                    </a:cubicBezTo>
                    <a:cubicBezTo>
                      <a:pt x="3063753" y="812035"/>
                      <a:pt x="3073507" y="823563"/>
                      <a:pt x="3068060" y="831291"/>
                    </a:cubicBezTo>
                    <a:cubicBezTo>
                      <a:pt x="3063119" y="838385"/>
                      <a:pt x="3044117" y="839018"/>
                      <a:pt x="3036642" y="843199"/>
                    </a:cubicBezTo>
                    <a:cubicBezTo>
                      <a:pt x="3000538" y="862961"/>
                      <a:pt x="3052478" y="876136"/>
                      <a:pt x="3068693" y="879050"/>
                    </a:cubicBezTo>
                    <a:cubicBezTo>
                      <a:pt x="3078828" y="880824"/>
                      <a:pt x="3089596" y="881584"/>
                      <a:pt x="3089343" y="893872"/>
                    </a:cubicBezTo>
                    <a:cubicBezTo>
                      <a:pt x="3088962" y="906413"/>
                      <a:pt x="3075788" y="920855"/>
                      <a:pt x="3070593" y="931750"/>
                    </a:cubicBezTo>
                    <a:cubicBezTo>
                      <a:pt x="3047284" y="980396"/>
                      <a:pt x="3104164" y="1024228"/>
                      <a:pt x="3132414" y="1058052"/>
                    </a:cubicBezTo>
                    <a:cubicBezTo>
                      <a:pt x="3151670" y="1081109"/>
                      <a:pt x="3141916" y="1098717"/>
                      <a:pt x="3130767" y="1123040"/>
                    </a:cubicBezTo>
                    <a:cubicBezTo>
                      <a:pt x="3123673" y="1138496"/>
                      <a:pt x="3117593" y="1155091"/>
                      <a:pt x="3104545" y="1166872"/>
                    </a:cubicBezTo>
                    <a:cubicBezTo>
                      <a:pt x="3094790" y="1175487"/>
                      <a:pt x="3076927" y="1184101"/>
                      <a:pt x="3074521" y="1198036"/>
                    </a:cubicBezTo>
                    <a:cubicBezTo>
                      <a:pt x="3072367" y="1210451"/>
                      <a:pt x="3078701" y="1225020"/>
                      <a:pt x="3060332" y="1224766"/>
                    </a:cubicBezTo>
                    <a:cubicBezTo>
                      <a:pt x="3047538" y="1224640"/>
                      <a:pt x="3035122" y="1214632"/>
                      <a:pt x="3022327" y="1213238"/>
                    </a:cubicBezTo>
                    <a:cubicBezTo>
                      <a:pt x="2986983" y="1209438"/>
                      <a:pt x="2992430" y="1244909"/>
                      <a:pt x="2990910" y="1267965"/>
                    </a:cubicBezTo>
                    <a:cubicBezTo>
                      <a:pt x="2971528" y="1276199"/>
                      <a:pt x="2935677" y="1262138"/>
                      <a:pt x="2925289" y="1283927"/>
                    </a:cubicBezTo>
                    <a:cubicBezTo>
                      <a:pt x="2912494" y="1310784"/>
                      <a:pt x="2937451" y="1317498"/>
                      <a:pt x="2950879" y="1333207"/>
                    </a:cubicBezTo>
                    <a:cubicBezTo>
                      <a:pt x="2960633" y="1344608"/>
                      <a:pt x="2969881" y="1385273"/>
                      <a:pt x="2946444" y="1387300"/>
                    </a:cubicBezTo>
                    <a:cubicBezTo>
                      <a:pt x="2928583" y="1388820"/>
                      <a:pt x="2909707" y="1346255"/>
                      <a:pt x="2903753" y="1377419"/>
                    </a:cubicBezTo>
                    <a:cubicBezTo>
                      <a:pt x="2901853" y="1387047"/>
                      <a:pt x="2902613" y="1398955"/>
                      <a:pt x="2892604" y="1404022"/>
                    </a:cubicBezTo>
                    <a:cubicBezTo>
                      <a:pt x="2883103" y="1408836"/>
                      <a:pt x="2868915" y="1404402"/>
                      <a:pt x="2858780" y="1404782"/>
                    </a:cubicBezTo>
                    <a:cubicBezTo>
                      <a:pt x="2830783" y="1405796"/>
                      <a:pt x="2836738" y="1426572"/>
                      <a:pt x="2845479" y="1446461"/>
                    </a:cubicBezTo>
                    <a:cubicBezTo>
                      <a:pt x="2849279" y="1455075"/>
                      <a:pt x="2854726" y="1463056"/>
                      <a:pt x="2857767" y="1472051"/>
                    </a:cubicBezTo>
                    <a:cubicBezTo>
                      <a:pt x="2861694" y="1483705"/>
                      <a:pt x="2859414" y="1494600"/>
                      <a:pt x="2860681" y="1506382"/>
                    </a:cubicBezTo>
                    <a:cubicBezTo>
                      <a:pt x="2863214" y="1529311"/>
                      <a:pt x="2901853" y="1523737"/>
                      <a:pt x="2897799" y="1546413"/>
                    </a:cubicBezTo>
                    <a:cubicBezTo>
                      <a:pt x="2895898" y="1557561"/>
                      <a:pt x="2886651" y="1563389"/>
                      <a:pt x="2889058" y="1576057"/>
                    </a:cubicBezTo>
                    <a:cubicBezTo>
                      <a:pt x="2890958" y="1586065"/>
                      <a:pt x="2898432" y="1595946"/>
                      <a:pt x="2903246" y="1604814"/>
                    </a:cubicBezTo>
                    <a:cubicBezTo>
                      <a:pt x="2910720" y="1618876"/>
                      <a:pt x="2921995" y="1630910"/>
                      <a:pt x="2927823" y="1645859"/>
                    </a:cubicBezTo>
                    <a:cubicBezTo>
                      <a:pt x="2930482" y="1652446"/>
                      <a:pt x="2929596" y="1661568"/>
                      <a:pt x="2932889" y="1667395"/>
                    </a:cubicBezTo>
                    <a:cubicBezTo>
                      <a:pt x="2936437" y="1673729"/>
                      <a:pt x="2945938" y="1679430"/>
                      <a:pt x="2950879" y="1685004"/>
                    </a:cubicBezTo>
                    <a:cubicBezTo>
                      <a:pt x="2956072" y="1690705"/>
                      <a:pt x="2960126" y="1696279"/>
                      <a:pt x="2963674" y="1702866"/>
                    </a:cubicBezTo>
                    <a:cubicBezTo>
                      <a:pt x="2969121" y="1712874"/>
                      <a:pt x="2978115" y="1723389"/>
                      <a:pt x="2979256" y="1735424"/>
                    </a:cubicBezTo>
                    <a:cubicBezTo>
                      <a:pt x="2981029" y="1752526"/>
                      <a:pt x="2965574" y="1763294"/>
                      <a:pt x="2962280" y="1779636"/>
                    </a:cubicBezTo>
                    <a:cubicBezTo>
                      <a:pt x="2960760" y="1787110"/>
                      <a:pt x="2962153" y="1791291"/>
                      <a:pt x="2965194" y="1793064"/>
                    </a:cubicBezTo>
                    <a:lnTo>
                      <a:pt x="2965194" y="1793064"/>
                    </a:lnTo>
                    <a:cubicBezTo>
                      <a:pt x="2968614" y="1802185"/>
                      <a:pt x="2971528" y="1803579"/>
                      <a:pt x="2985336" y="1815487"/>
                    </a:cubicBezTo>
                    <a:cubicBezTo>
                      <a:pt x="2999145" y="1827395"/>
                      <a:pt x="2996738" y="1853618"/>
                      <a:pt x="2979889" y="1858052"/>
                    </a:cubicBezTo>
                    <a:cubicBezTo>
                      <a:pt x="2963040" y="1862486"/>
                      <a:pt x="2950245" y="1840190"/>
                      <a:pt x="2941251" y="1830309"/>
                    </a:cubicBezTo>
                    <a:cubicBezTo>
                      <a:pt x="2932383" y="1820428"/>
                      <a:pt x="2929343" y="1834236"/>
                      <a:pt x="2932383" y="1840697"/>
                    </a:cubicBezTo>
                    <a:cubicBezTo>
                      <a:pt x="2935296" y="1847157"/>
                      <a:pt x="2903626" y="1843737"/>
                      <a:pt x="2883863" y="1843230"/>
                    </a:cubicBezTo>
                    <a:cubicBezTo>
                      <a:pt x="2864101" y="1842724"/>
                      <a:pt x="2868028" y="1878322"/>
                      <a:pt x="2870055" y="1907078"/>
                    </a:cubicBezTo>
                    <a:cubicBezTo>
                      <a:pt x="2872082" y="1935709"/>
                      <a:pt x="2787839" y="1920887"/>
                      <a:pt x="2774536" y="1917466"/>
                    </a:cubicBezTo>
                    <a:cubicBezTo>
                      <a:pt x="2761235" y="1914046"/>
                      <a:pt x="2707268" y="1912526"/>
                      <a:pt x="2688519" y="1917466"/>
                    </a:cubicBezTo>
                    <a:cubicBezTo>
                      <a:pt x="2669644" y="1922407"/>
                      <a:pt x="2687505" y="1969913"/>
                      <a:pt x="2692953" y="1995629"/>
                    </a:cubicBezTo>
                    <a:cubicBezTo>
                      <a:pt x="2698401" y="2021346"/>
                      <a:pt x="2699414" y="2090135"/>
                      <a:pt x="2696880" y="2105083"/>
                    </a:cubicBezTo>
                    <a:cubicBezTo>
                      <a:pt x="2694474" y="2119905"/>
                      <a:pt x="2688519" y="2124339"/>
                      <a:pt x="2682565" y="2129280"/>
                    </a:cubicBezTo>
                    <a:cubicBezTo>
                      <a:pt x="2676611" y="2134220"/>
                      <a:pt x="2678131" y="2151575"/>
                      <a:pt x="2678638" y="2162470"/>
                    </a:cubicBezTo>
                    <a:cubicBezTo>
                      <a:pt x="2679145" y="2173365"/>
                      <a:pt x="2671164" y="2190594"/>
                      <a:pt x="2662803" y="2203009"/>
                    </a:cubicBezTo>
                    <a:cubicBezTo>
                      <a:pt x="2654315" y="2215424"/>
                      <a:pt x="2660776" y="2248108"/>
                      <a:pt x="2661282" y="2262930"/>
                    </a:cubicBezTo>
                    <a:cubicBezTo>
                      <a:pt x="2661789" y="2277752"/>
                      <a:pt x="2677625" y="2285732"/>
                      <a:pt x="2697387" y="2294600"/>
                    </a:cubicBezTo>
                    <a:cubicBezTo>
                      <a:pt x="2717149" y="2303468"/>
                      <a:pt x="2712335" y="2333238"/>
                      <a:pt x="2716263" y="2351987"/>
                    </a:cubicBezTo>
                    <a:cubicBezTo>
                      <a:pt x="2720190" y="2370863"/>
                      <a:pt x="2765795" y="2420269"/>
                      <a:pt x="2780491" y="2439652"/>
                    </a:cubicBezTo>
                    <a:cubicBezTo>
                      <a:pt x="2795439" y="2458907"/>
                      <a:pt x="2758701" y="2475756"/>
                      <a:pt x="2742866" y="2479683"/>
                    </a:cubicBezTo>
                    <a:cubicBezTo>
                      <a:pt x="2727030" y="2483611"/>
                      <a:pt x="2730957" y="2502486"/>
                      <a:pt x="2729058" y="2512874"/>
                    </a:cubicBezTo>
                    <a:cubicBezTo>
                      <a:pt x="2727030" y="2523262"/>
                      <a:pt x="2732478" y="2530230"/>
                      <a:pt x="2711195" y="2565321"/>
                    </a:cubicBezTo>
                    <a:cubicBezTo>
                      <a:pt x="2689912" y="2600538"/>
                      <a:pt x="2645827" y="2608393"/>
                      <a:pt x="2628091" y="2610926"/>
                    </a:cubicBezTo>
                    <a:cubicBezTo>
                      <a:pt x="2610229" y="2613333"/>
                      <a:pt x="2613776" y="2625242"/>
                      <a:pt x="2616183" y="2634616"/>
                    </a:cubicBezTo>
                    <a:cubicBezTo>
                      <a:pt x="2618717" y="2643991"/>
                      <a:pt x="2620617" y="2659446"/>
                      <a:pt x="2619604" y="2679082"/>
                    </a:cubicBezTo>
                    <a:cubicBezTo>
                      <a:pt x="2618590" y="2698844"/>
                      <a:pt x="2607696" y="2688583"/>
                      <a:pt x="2601361" y="2694537"/>
                    </a:cubicBezTo>
                    <a:cubicBezTo>
                      <a:pt x="2594901" y="2700491"/>
                      <a:pt x="2576531" y="2689596"/>
                      <a:pt x="2562723" y="2681235"/>
                    </a:cubicBezTo>
                    <a:cubicBezTo>
                      <a:pt x="2548915" y="2672747"/>
                      <a:pt x="2547395" y="2691623"/>
                      <a:pt x="2537514" y="2708345"/>
                    </a:cubicBezTo>
                    <a:cubicBezTo>
                      <a:pt x="2527632" y="2725194"/>
                      <a:pt x="2510277" y="2711892"/>
                      <a:pt x="2500396" y="2710879"/>
                    </a:cubicBezTo>
                    <a:cubicBezTo>
                      <a:pt x="2490514" y="2709865"/>
                      <a:pt x="2478100" y="2726207"/>
                      <a:pt x="2476580" y="2740016"/>
                    </a:cubicBezTo>
                    <a:cubicBezTo>
                      <a:pt x="2475059" y="2753824"/>
                      <a:pt x="2451370" y="2736089"/>
                      <a:pt x="2443895" y="2734062"/>
                    </a:cubicBezTo>
                    <a:cubicBezTo>
                      <a:pt x="2436547" y="2732035"/>
                      <a:pt x="2420585" y="2759778"/>
                      <a:pt x="2420206" y="2774220"/>
                    </a:cubicBezTo>
                    <a:cubicBezTo>
                      <a:pt x="2419699" y="2788535"/>
                      <a:pt x="2431607" y="2792082"/>
                      <a:pt x="2441995" y="2797530"/>
                    </a:cubicBezTo>
                    <a:cubicBezTo>
                      <a:pt x="2452383" y="2802977"/>
                      <a:pt x="2430594" y="2811971"/>
                      <a:pt x="2419699" y="2826287"/>
                    </a:cubicBezTo>
                    <a:cubicBezTo>
                      <a:pt x="2408804" y="2840602"/>
                      <a:pt x="2421219" y="2861884"/>
                      <a:pt x="2424639" y="2881267"/>
                    </a:cubicBezTo>
                    <a:cubicBezTo>
                      <a:pt x="2428060" y="2900523"/>
                      <a:pt x="2421219" y="2902549"/>
                      <a:pt x="2419699" y="2921298"/>
                    </a:cubicBezTo>
                    <a:cubicBezTo>
                      <a:pt x="2418178" y="2940174"/>
                      <a:pt x="2426667" y="2933713"/>
                      <a:pt x="2436041" y="2936120"/>
                    </a:cubicBezTo>
                    <a:cubicBezTo>
                      <a:pt x="2445415" y="2938654"/>
                      <a:pt x="2443515" y="2948029"/>
                      <a:pt x="2448456" y="2960443"/>
                    </a:cubicBezTo>
                    <a:cubicBezTo>
                      <a:pt x="2453396" y="2972732"/>
                      <a:pt x="2433128" y="2965891"/>
                      <a:pt x="2420712" y="2963357"/>
                    </a:cubicBezTo>
                    <a:cubicBezTo>
                      <a:pt x="2408297" y="2960950"/>
                      <a:pt x="2409818" y="2969818"/>
                      <a:pt x="2413365" y="2980713"/>
                    </a:cubicBezTo>
                    <a:cubicBezTo>
                      <a:pt x="2416785" y="2991607"/>
                      <a:pt x="2447949" y="3004909"/>
                      <a:pt x="2465305" y="3013903"/>
                    </a:cubicBezTo>
                    <a:cubicBezTo>
                      <a:pt x="2482660" y="3022771"/>
                      <a:pt x="2467331" y="3043041"/>
                      <a:pt x="2454917" y="3054442"/>
                    </a:cubicBezTo>
                    <a:cubicBezTo>
                      <a:pt x="2442502" y="3065843"/>
                      <a:pt x="2465305" y="3076738"/>
                      <a:pt x="2484561" y="3101948"/>
                    </a:cubicBezTo>
                    <a:cubicBezTo>
                      <a:pt x="2503816" y="3127158"/>
                      <a:pt x="2477592" y="3127158"/>
                      <a:pt x="2462771" y="3146540"/>
                    </a:cubicBezTo>
                    <a:cubicBezTo>
                      <a:pt x="2447822" y="3165796"/>
                      <a:pt x="2468725" y="3171243"/>
                      <a:pt x="2481013" y="3172256"/>
                    </a:cubicBezTo>
                    <a:cubicBezTo>
                      <a:pt x="2493302" y="3173143"/>
                      <a:pt x="2495835" y="3179097"/>
                      <a:pt x="2514711" y="3186065"/>
                    </a:cubicBezTo>
                    <a:cubicBezTo>
                      <a:pt x="2533460" y="3192906"/>
                      <a:pt x="2525606" y="3216215"/>
                      <a:pt x="2520158" y="3226097"/>
                    </a:cubicBezTo>
                    <a:cubicBezTo>
                      <a:pt x="2514711" y="3235978"/>
                      <a:pt x="2519651" y="3235978"/>
                      <a:pt x="2524085" y="3242439"/>
                    </a:cubicBezTo>
                    <a:cubicBezTo>
                      <a:pt x="2528519" y="3248900"/>
                      <a:pt x="2504323" y="3263214"/>
                      <a:pt x="2502803" y="3282597"/>
                    </a:cubicBezTo>
                    <a:cubicBezTo>
                      <a:pt x="2501283" y="3301853"/>
                      <a:pt x="2517118" y="3317181"/>
                      <a:pt x="2529025" y="3326682"/>
                    </a:cubicBezTo>
                    <a:cubicBezTo>
                      <a:pt x="2540934" y="3336057"/>
                      <a:pt x="2543975" y="3350372"/>
                      <a:pt x="2543341" y="3375708"/>
                    </a:cubicBezTo>
                    <a:cubicBezTo>
                      <a:pt x="2543215" y="3381916"/>
                      <a:pt x="2541821" y="3386223"/>
                      <a:pt x="2539794" y="3389264"/>
                    </a:cubicBezTo>
                    <a:cubicBezTo>
                      <a:pt x="2533333" y="3398892"/>
                      <a:pt x="2519271" y="3396738"/>
                      <a:pt x="2509137" y="3400412"/>
                    </a:cubicBezTo>
                    <a:cubicBezTo>
                      <a:pt x="2495835" y="3405352"/>
                      <a:pt x="2460617" y="3416754"/>
                      <a:pt x="2446809" y="3429042"/>
                    </a:cubicBezTo>
                    <a:cubicBezTo>
                      <a:pt x="2433001" y="3441457"/>
                      <a:pt x="2408677" y="3450831"/>
                      <a:pt x="2400063" y="3456279"/>
                    </a:cubicBezTo>
                    <a:cubicBezTo>
                      <a:pt x="2391448" y="3461726"/>
                      <a:pt x="2394869" y="3488456"/>
                      <a:pt x="2399810" y="3506825"/>
                    </a:cubicBezTo>
                    <a:cubicBezTo>
                      <a:pt x="2404750" y="3525067"/>
                      <a:pt x="2332921" y="3515693"/>
                      <a:pt x="2314679" y="3516199"/>
                    </a:cubicBezTo>
                    <a:cubicBezTo>
                      <a:pt x="2296437" y="3516706"/>
                      <a:pt x="2275027" y="3535455"/>
                      <a:pt x="2258305" y="3547364"/>
                    </a:cubicBezTo>
                    <a:cubicBezTo>
                      <a:pt x="2241457" y="3559272"/>
                      <a:pt x="2229168" y="3552811"/>
                      <a:pt x="2209279" y="3544450"/>
                    </a:cubicBezTo>
                    <a:cubicBezTo>
                      <a:pt x="2189517" y="3535962"/>
                      <a:pt x="2165194" y="3573586"/>
                      <a:pt x="2148345" y="3591449"/>
                    </a:cubicBezTo>
                    <a:cubicBezTo>
                      <a:pt x="2131497" y="3609311"/>
                      <a:pt x="2104766" y="3602850"/>
                      <a:pt x="2078542" y="3588028"/>
                    </a:cubicBezTo>
                    <a:cubicBezTo>
                      <a:pt x="2052320" y="3573080"/>
                      <a:pt x="2002280" y="3597403"/>
                      <a:pt x="1965669" y="3605891"/>
                    </a:cubicBezTo>
                    <a:cubicBezTo>
                      <a:pt x="1929057" y="3614252"/>
                      <a:pt x="1922596" y="3588535"/>
                      <a:pt x="1901821" y="3567506"/>
                    </a:cubicBezTo>
                    <a:cubicBezTo>
                      <a:pt x="1881045" y="3546603"/>
                      <a:pt x="1777672" y="3559778"/>
                      <a:pt x="1750815" y="3566239"/>
                    </a:cubicBezTo>
                    <a:cubicBezTo>
                      <a:pt x="1724085" y="3572700"/>
                      <a:pt x="1703816" y="3554204"/>
                      <a:pt x="1694188" y="3542930"/>
                    </a:cubicBezTo>
                    <a:cubicBezTo>
                      <a:pt x="1684687" y="3531781"/>
                      <a:pt x="1659857" y="3540016"/>
                      <a:pt x="1649976" y="3540649"/>
                    </a:cubicBezTo>
                    <a:cubicBezTo>
                      <a:pt x="1640095" y="3541409"/>
                      <a:pt x="1629833" y="3537609"/>
                      <a:pt x="1619318" y="3526714"/>
                    </a:cubicBezTo>
                    <a:cubicBezTo>
                      <a:pt x="1608804" y="3515819"/>
                      <a:pt x="1572826" y="3536975"/>
                      <a:pt x="1554584" y="3545210"/>
                    </a:cubicBezTo>
                    <a:cubicBezTo>
                      <a:pt x="1536975" y="3553318"/>
                      <a:pt x="1475028" y="3557498"/>
                      <a:pt x="1471734" y="3557751"/>
                    </a:cubicBezTo>
                    <a:cubicBezTo>
                      <a:pt x="1471607" y="3557751"/>
                      <a:pt x="1471607" y="3557751"/>
                      <a:pt x="1471607" y="3557751"/>
                    </a:cubicBezTo>
                    <a:cubicBezTo>
                      <a:pt x="1461219" y="3555471"/>
                      <a:pt x="1449438" y="3556358"/>
                      <a:pt x="1441456" y="3548757"/>
                    </a:cubicBezTo>
                    <a:cubicBezTo>
                      <a:pt x="1432589" y="3540269"/>
                      <a:pt x="1424861" y="3528868"/>
                      <a:pt x="1423595" y="3516453"/>
                    </a:cubicBezTo>
                    <a:cubicBezTo>
                      <a:pt x="1422200" y="3502898"/>
                      <a:pt x="1427901" y="3489216"/>
                      <a:pt x="1419287" y="3477435"/>
                    </a:cubicBezTo>
                    <a:cubicBezTo>
                      <a:pt x="1414219" y="3470467"/>
                      <a:pt x="1409153" y="3466540"/>
                      <a:pt x="1399905" y="3467680"/>
                    </a:cubicBezTo>
                    <a:cubicBezTo>
                      <a:pt x="1393190" y="3468567"/>
                      <a:pt x="1388123" y="3473507"/>
                      <a:pt x="1381536" y="3474647"/>
                    </a:cubicBezTo>
                    <a:cubicBezTo>
                      <a:pt x="1360633" y="3478321"/>
                      <a:pt x="1357466" y="3447664"/>
                      <a:pt x="1355313" y="3433983"/>
                    </a:cubicBezTo>
                    <a:cubicBezTo>
                      <a:pt x="1352779" y="3417894"/>
                      <a:pt x="1353412" y="3392177"/>
                      <a:pt x="1337324" y="3382549"/>
                    </a:cubicBezTo>
                    <a:cubicBezTo>
                      <a:pt x="1332889" y="3379889"/>
                      <a:pt x="1328836" y="3379636"/>
                      <a:pt x="1324908" y="3380776"/>
                    </a:cubicBezTo>
                    <a:cubicBezTo>
                      <a:pt x="1334157" y="3336310"/>
                      <a:pt x="1308060" y="3326556"/>
                      <a:pt x="1299065" y="3318701"/>
                    </a:cubicBezTo>
                    <a:cubicBezTo>
                      <a:pt x="1290198" y="3310720"/>
                      <a:pt x="1287537" y="3302486"/>
                      <a:pt x="1286144" y="3277530"/>
                    </a:cubicBezTo>
                    <a:cubicBezTo>
                      <a:pt x="1284877" y="3252447"/>
                      <a:pt x="1256500" y="3250420"/>
                      <a:pt x="1249532" y="3245859"/>
                    </a:cubicBezTo>
                    <a:cubicBezTo>
                      <a:pt x="1242565" y="3241299"/>
                      <a:pt x="1246872" y="3227110"/>
                      <a:pt x="1250926" y="3209881"/>
                    </a:cubicBezTo>
                    <a:cubicBezTo>
                      <a:pt x="1254853" y="3192779"/>
                      <a:pt x="1226477" y="3172256"/>
                      <a:pt x="1213934" y="3164655"/>
                    </a:cubicBezTo>
                    <a:cubicBezTo>
                      <a:pt x="1201393" y="3157055"/>
                      <a:pt x="1197466" y="3183405"/>
                      <a:pt x="1192145" y="3195946"/>
                    </a:cubicBezTo>
                    <a:cubicBezTo>
                      <a:pt x="1186825" y="3208488"/>
                      <a:pt x="1178590" y="3195313"/>
                      <a:pt x="1172003" y="3189359"/>
                    </a:cubicBezTo>
                    <a:cubicBezTo>
                      <a:pt x="1165416" y="3183405"/>
                      <a:pt x="1163135" y="3187965"/>
                      <a:pt x="1154141" y="3199240"/>
                    </a:cubicBezTo>
                    <a:cubicBezTo>
                      <a:pt x="1145273" y="3210388"/>
                      <a:pt x="1130705" y="3210388"/>
                      <a:pt x="1110562" y="3209121"/>
                    </a:cubicBezTo>
                    <a:cubicBezTo>
                      <a:pt x="1090419" y="3207728"/>
                      <a:pt x="1100047" y="3204180"/>
                      <a:pt x="1087506" y="3139192"/>
                    </a:cubicBezTo>
                    <a:cubicBezTo>
                      <a:pt x="1074964" y="3074204"/>
                      <a:pt x="963863" y="3067490"/>
                      <a:pt x="932193" y="3065463"/>
                    </a:cubicBezTo>
                    <a:cubicBezTo>
                      <a:pt x="900522" y="3063436"/>
                      <a:pt x="894568" y="3093207"/>
                      <a:pt x="893555" y="3108282"/>
                    </a:cubicBezTo>
                    <a:cubicBezTo>
                      <a:pt x="892541" y="3123357"/>
                      <a:pt x="887854" y="3127538"/>
                      <a:pt x="875946" y="3145147"/>
                    </a:cubicBezTo>
                    <a:cubicBezTo>
                      <a:pt x="864037" y="3162755"/>
                      <a:pt x="878479" y="3185685"/>
                      <a:pt x="877973" y="3208234"/>
                    </a:cubicBezTo>
                    <a:cubicBezTo>
                      <a:pt x="877466" y="3230657"/>
                      <a:pt x="837814" y="3247379"/>
                      <a:pt x="822359" y="3257007"/>
                    </a:cubicBezTo>
                    <a:cubicBezTo>
                      <a:pt x="806777" y="3266635"/>
                      <a:pt x="799809" y="3297799"/>
                      <a:pt x="796389" y="3328583"/>
                    </a:cubicBezTo>
                    <a:cubicBezTo>
                      <a:pt x="792969" y="3359240"/>
                      <a:pt x="776120" y="3371148"/>
                      <a:pt x="767505" y="3373175"/>
                    </a:cubicBezTo>
                    <a:cubicBezTo>
                      <a:pt x="758764" y="3375075"/>
                      <a:pt x="756864" y="3402185"/>
                      <a:pt x="745463" y="3406999"/>
                    </a:cubicBezTo>
                    <a:cubicBezTo>
                      <a:pt x="734062" y="3411940"/>
                      <a:pt x="739002" y="3382803"/>
                      <a:pt x="736848" y="3363927"/>
                    </a:cubicBezTo>
                    <a:cubicBezTo>
                      <a:pt x="734568" y="3345052"/>
                      <a:pt x="728488" y="3349105"/>
                      <a:pt x="723800" y="3353539"/>
                    </a:cubicBezTo>
                    <a:cubicBezTo>
                      <a:pt x="719113" y="3357973"/>
                      <a:pt x="715693" y="3337957"/>
                      <a:pt x="708978" y="3318575"/>
                    </a:cubicBezTo>
                    <a:cubicBezTo>
                      <a:pt x="702264" y="3299319"/>
                      <a:pt x="689216" y="3327189"/>
                      <a:pt x="681235" y="3336944"/>
                    </a:cubicBezTo>
                    <a:cubicBezTo>
                      <a:pt x="673254" y="3346572"/>
                      <a:pt x="663879" y="3348852"/>
                      <a:pt x="652478" y="3349232"/>
                    </a:cubicBezTo>
                    <a:cubicBezTo>
                      <a:pt x="641076" y="3349739"/>
                      <a:pt x="643357" y="3349739"/>
                      <a:pt x="623721" y="3360887"/>
                    </a:cubicBezTo>
                    <a:cubicBezTo>
                      <a:pt x="604085" y="3372035"/>
                      <a:pt x="591290" y="3368614"/>
                      <a:pt x="577735" y="3366841"/>
                    </a:cubicBezTo>
                    <a:cubicBezTo>
                      <a:pt x="564180" y="3365067"/>
                      <a:pt x="538844" y="3419541"/>
                      <a:pt x="515660" y="3419794"/>
                    </a:cubicBezTo>
                    <a:cubicBezTo>
                      <a:pt x="492351" y="3420047"/>
                      <a:pt x="475502" y="3382676"/>
                      <a:pt x="469168" y="3371148"/>
                    </a:cubicBezTo>
                    <a:cubicBezTo>
                      <a:pt x="462707" y="3359620"/>
                      <a:pt x="465241" y="3330230"/>
                      <a:pt x="468155" y="3308187"/>
                    </a:cubicBezTo>
                    <a:cubicBezTo>
                      <a:pt x="471069" y="3286144"/>
                      <a:pt x="459921" y="3273476"/>
                      <a:pt x="458020" y="3260934"/>
                    </a:cubicBezTo>
                    <a:cubicBezTo>
                      <a:pt x="455994" y="3248266"/>
                      <a:pt x="469168" y="3215962"/>
                      <a:pt x="469675" y="3199113"/>
                    </a:cubicBezTo>
                    <a:cubicBezTo>
                      <a:pt x="470182" y="3182264"/>
                      <a:pt x="478923" y="3174663"/>
                      <a:pt x="479810" y="3165415"/>
                    </a:cubicBezTo>
                    <a:cubicBezTo>
                      <a:pt x="480823" y="3156294"/>
                      <a:pt x="494125" y="3143626"/>
                      <a:pt x="501599" y="3138432"/>
                    </a:cubicBezTo>
                    <a:cubicBezTo>
                      <a:pt x="509074" y="3133238"/>
                      <a:pt x="510846" y="3094600"/>
                      <a:pt x="516421" y="3072811"/>
                    </a:cubicBezTo>
                    <a:cubicBezTo>
                      <a:pt x="522121" y="3051021"/>
                      <a:pt x="483990" y="3037973"/>
                      <a:pt x="474363" y="3028979"/>
                    </a:cubicBezTo>
                    <a:cubicBezTo>
                      <a:pt x="464735" y="3020111"/>
                      <a:pt x="425336" y="2980966"/>
                      <a:pt x="413935" y="2966904"/>
                    </a:cubicBezTo>
                    <a:cubicBezTo>
                      <a:pt x="402533" y="2952842"/>
                      <a:pt x="407220" y="2942328"/>
                      <a:pt x="415455" y="2927126"/>
                    </a:cubicBezTo>
                    <a:cubicBezTo>
                      <a:pt x="423563" y="2911797"/>
                      <a:pt x="423563" y="2890261"/>
                      <a:pt x="423563" y="2874933"/>
                    </a:cubicBezTo>
                    <a:cubicBezTo>
                      <a:pt x="423563" y="2859604"/>
                      <a:pt x="387965" y="2827427"/>
                      <a:pt x="378970" y="2813618"/>
                    </a:cubicBezTo>
                    <a:cubicBezTo>
                      <a:pt x="370102" y="2799683"/>
                      <a:pt x="382644" y="2771560"/>
                      <a:pt x="383658" y="2753064"/>
                    </a:cubicBezTo>
                    <a:cubicBezTo>
                      <a:pt x="384671" y="2734442"/>
                      <a:pt x="376437" y="2717213"/>
                      <a:pt x="369216" y="2707712"/>
                    </a:cubicBezTo>
                    <a:cubicBezTo>
                      <a:pt x="361995" y="2698337"/>
                      <a:pt x="340332" y="2661726"/>
                      <a:pt x="331084" y="2643610"/>
                    </a:cubicBezTo>
                    <a:cubicBezTo>
                      <a:pt x="321963" y="2625622"/>
                      <a:pt x="280285" y="2645384"/>
                      <a:pt x="265463" y="2647538"/>
                    </a:cubicBezTo>
                    <a:cubicBezTo>
                      <a:pt x="250641" y="2649818"/>
                      <a:pt x="261029" y="2605225"/>
                      <a:pt x="261789" y="2593571"/>
                    </a:cubicBezTo>
                    <a:cubicBezTo>
                      <a:pt x="262549" y="2581916"/>
                      <a:pt x="294220" y="2598005"/>
                      <a:pt x="308028" y="2593571"/>
                    </a:cubicBezTo>
                    <a:cubicBezTo>
                      <a:pt x="321836" y="2589137"/>
                      <a:pt x="294980" y="2562153"/>
                      <a:pt x="287252" y="2553032"/>
                    </a:cubicBezTo>
                    <a:cubicBezTo>
                      <a:pt x="279525" y="2543785"/>
                      <a:pt x="279144" y="2536691"/>
                      <a:pt x="275091" y="2521869"/>
                    </a:cubicBezTo>
                    <a:cubicBezTo>
                      <a:pt x="271163" y="2507047"/>
                      <a:pt x="232905" y="2529596"/>
                      <a:pt x="232905" y="2529596"/>
                    </a:cubicBezTo>
                    <a:cubicBezTo>
                      <a:pt x="214283" y="2520728"/>
                      <a:pt x="190467" y="2515788"/>
                      <a:pt x="180459" y="2516675"/>
                    </a:cubicBezTo>
                    <a:cubicBezTo>
                      <a:pt x="166524" y="2518068"/>
                      <a:pt x="154362" y="2524909"/>
                      <a:pt x="144861" y="2512367"/>
                    </a:cubicBezTo>
                    <a:cubicBezTo>
                      <a:pt x="135233" y="2499826"/>
                      <a:pt x="131939" y="2488931"/>
                      <a:pt x="121045" y="2498432"/>
                    </a:cubicBezTo>
                    <a:cubicBezTo>
                      <a:pt x="110150" y="2507933"/>
                      <a:pt x="111163" y="2516548"/>
                      <a:pt x="98242" y="2510974"/>
                    </a:cubicBezTo>
                    <a:cubicBezTo>
                      <a:pt x="85320" y="2505400"/>
                      <a:pt x="69231" y="2506033"/>
                      <a:pt x="67585" y="2487538"/>
                    </a:cubicBezTo>
                    <a:cubicBezTo>
                      <a:pt x="65938" y="2469042"/>
                      <a:pt x="71259" y="2455487"/>
                      <a:pt x="80380" y="2450546"/>
                    </a:cubicBezTo>
                    <a:cubicBezTo>
                      <a:pt x="89627" y="2445606"/>
                      <a:pt x="106476" y="2440285"/>
                      <a:pt x="96848" y="2432811"/>
                    </a:cubicBezTo>
                    <a:cubicBezTo>
                      <a:pt x="87220" y="2425210"/>
                      <a:pt x="70752" y="2407094"/>
                      <a:pt x="83673" y="2400887"/>
                    </a:cubicBezTo>
                    <a:cubicBezTo>
                      <a:pt x="96468" y="2394553"/>
                      <a:pt x="96848" y="2390626"/>
                      <a:pt x="102803" y="2379351"/>
                    </a:cubicBezTo>
                    <a:cubicBezTo>
                      <a:pt x="108756" y="2368203"/>
                      <a:pt x="109770" y="2357941"/>
                      <a:pt x="122565" y="2346413"/>
                    </a:cubicBezTo>
                    <a:cubicBezTo>
                      <a:pt x="135487" y="2334885"/>
                      <a:pt x="144354" y="2321964"/>
                      <a:pt x="137133" y="2314489"/>
                    </a:cubicBezTo>
                    <a:cubicBezTo>
                      <a:pt x="129913" y="2306888"/>
                      <a:pt x="113697" y="2294980"/>
                      <a:pt x="111671" y="2282439"/>
                    </a:cubicBezTo>
                    <a:cubicBezTo>
                      <a:pt x="109643" y="2269897"/>
                      <a:pt x="105083" y="2253682"/>
                      <a:pt x="94188" y="2244180"/>
                    </a:cubicBezTo>
                    <a:cubicBezTo>
                      <a:pt x="83293" y="2234553"/>
                      <a:pt x="66445" y="2222771"/>
                      <a:pt x="57577" y="2207189"/>
                    </a:cubicBezTo>
                    <a:cubicBezTo>
                      <a:pt x="48709" y="2191734"/>
                      <a:pt x="43768" y="2160063"/>
                      <a:pt x="53016" y="2154109"/>
                    </a:cubicBezTo>
                    <a:cubicBezTo>
                      <a:pt x="62264" y="2148155"/>
                      <a:pt x="72146" y="2128646"/>
                      <a:pt x="62518" y="2114204"/>
                    </a:cubicBezTo>
                    <a:cubicBezTo>
                      <a:pt x="53016" y="2099762"/>
                      <a:pt x="30847" y="2078860"/>
                      <a:pt x="24893" y="2075946"/>
                    </a:cubicBezTo>
                    <a:cubicBezTo>
                      <a:pt x="18939" y="2073033"/>
                      <a:pt x="9057" y="2062391"/>
                      <a:pt x="19952" y="2055170"/>
                    </a:cubicBezTo>
                    <a:cubicBezTo>
                      <a:pt x="30847" y="2047822"/>
                      <a:pt x="42121" y="2044529"/>
                      <a:pt x="53903" y="2045922"/>
                    </a:cubicBezTo>
                    <a:cubicBezTo>
                      <a:pt x="65812" y="2047316"/>
                      <a:pt x="92161" y="2043895"/>
                      <a:pt x="93554" y="2023880"/>
                    </a:cubicBezTo>
                    <a:cubicBezTo>
                      <a:pt x="94822" y="2003737"/>
                      <a:pt x="72399" y="1845004"/>
                      <a:pt x="74045" y="1825875"/>
                    </a:cubicBezTo>
                    <a:cubicBezTo>
                      <a:pt x="75692" y="1806746"/>
                      <a:pt x="76326" y="1722629"/>
                      <a:pt x="44022" y="1687664"/>
                    </a:cubicBezTo>
                    <a:cubicBezTo>
                      <a:pt x="11718" y="1652700"/>
                      <a:pt x="-10959" y="1638258"/>
                      <a:pt x="5511" y="1614442"/>
                    </a:cubicBezTo>
                    <a:cubicBezTo>
                      <a:pt x="13111" y="1613682"/>
                      <a:pt x="21092" y="1613682"/>
                      <a:pt x="28440" y="1613302"/>
                    </a:cubicBezTo>
                    <a:cubicBezTo>
                      <a:pt x="47822" y="1612288"/>
                      <a:pt x="67711" y="1608741"/>
                      <a:pt x="83420" y="1596453"/>
                    </a:cubicBezTo>
                    <a:cubicBezTo>
                      <a:pt x="100522" y="1583025"/>
                      <a:pt x="110910" y="1557941"/>
                      <a:pt x="134726" y="1554648"/>
                    </a:cubicBezTo>
                    <a:cubicBezTo>
                      <a:pt x="153476" y="1552114"/>
                      <a:pt x="173745" y="1575423"/>
                      <a:pt x="191100" y="1562249"/>
                    </a:cubicBezTo>
                    <a:cubicBezTo>
                      <a:pt x="210483" y="1547427"/>
                      <a:pt x="194774" y="1514109"/>
                      <a:pt x="197054" y="1493967"/>
                    </a:cubicBezTo>
                    <a:cubicBezTo>
                      <a:pt x="199714" y="1469264"/>
                      <a:pt x="211876" y="1456722"/>
                      <a:pt x="233285" y="1445574"/>
                    </a:cubicBezTo>
                    <a:cubicBezTo>
                      <a:pt x="240760" y="1441774"/>
                      <a:pt x="249627" y="1438987"/>
                      <a:pt x="255961" y="1433286"/>
                    </a:cubicBezTo>
                    <a:cubicBezTo>
                      <a:pt x="264450" y="1425811"/>
                      <a:pt x="264450" y="1414790"/>
                      <a:pt x="264829" y="1404276"/>
                    </a:cubicBezTo>
                    <a:cubicBezTo>
                      <a:pt x="265336" y="1391734"/>
                      <a:pt x="268504" y="1383246"/>
                      <a:pt x="278891" y="1375772"/>
                    </a:cubicBezTo>
                    <a:cubicBezTo>
                      <a:pt x="292700" y="1365891"/>
                      <a:pt x="306001" y="1356516"/>
                      <a:pt x="317656" y="1344228"/>
                    </a:cubicBezTo>
                    <a:cubicBezTo>
                      <a:pt x="329691" y="1331560"/>
                      <a:pt x="350213" y="1317498"/>
                      <a:pt x="355787" y="1300142"/>
                    </a:cubicBezTo>
                    <a:cubicBezTo>
                      <a:pt x="361615" y="1282154"/>
                      <a:pt x="347553" y="1265938"/>
                      <a:pt x="335898" y="1253903"/>
                    </a:cubicBezTo>
                    <a:cubicBezTo>
                      <a:pt x="325130" y="1242755"/>
                      <a:pt x="314869" y="1232494"/>
                      <a:pt x="310942" y="1217039"/>
                    </a:cubicBezTo>
                    <a:cubicBezTo>
                      <a:pt x="306255" y="1198543"/>
                      <a:pt x="309549" y="1178781"/>
                      <a:pt x="304101" y="1160538"/>
                    </a:cubicBezTo>
                    <a:cubicBezTo>
                      <a:pt x="298907" y="1143056"/>
                      <a:pt x="282185" y="1133428"/>
                      <a:pt x="268123" y="1123420"/>
                    </a:cubicBezTo>
                    <a:cubicBezTo>
                      <a:pt x="254568" y="1113919"/>
                      <a:pt x="232652" y="1106445"/>
                      <a:pt x="226318" y="1089976"/>
                    </a:cubicBezTo>
                    <a:cubicBezTo>
                      <a:pt x="220490" y="1074901"/>
                      <a:pt x="218591" y="1058559"/>
                      <a:pt x="212509" y="1043357"/>
                    </a:cubicBezTo>
                    <a:cubicBezTo>
                      <a:pt x="209089" y="1034996"/>
                      <a:pt x="204909" y="1027015"/>
                      <a:pt x="200221" y="1019161"/>
                    </a:cubicBezTo>
                    <a:cubicBezTo>
                      <a:pt x="195914" y="1011813"/>
                      <a:pt x="189960" y="1003579"/>
                      <a:pt x="190594" y="994711"/>
                    </a:cubicBezTo>
                    <a:cubicBezTo>
                      <a:pt x="191480" y="978876"/>
                      <a:pt x="207822" y="970895"/>
                      <a:pt x="199081" y="954046"/>
                    </a:cubicBezTo>
                    <a:cubicBezTo>
                      <a:pt x="195281" y="946572"/>
                      <a:pt x="190467" y="939731"/>
                      <a:pt x="185146" y="933270"/>
                    </a:cubicBezTo>
                    <a:cubicBezTo>
                      <a:pt x="180839" y="928203"/>
                      <a:pt x="175138" y="924656"/>
                      <a:pt x="173998" y="917941"/>
                    </a:cubicBezTo>
                    <a:cubicBezTo>
                      <a:pt x="172605" y="910594"/>
                      <a:pt x="172731" y="902613"/>
                      <a:pt x="173238" y="894758"/>
                    </a:cubicBezTo>
                    <a:cubicBezTo>
                      <a:pt x="181092" y="889691"/>
                      <a:pt x="191227" y="884117"/>
                      <a:pt x="192240" y="874616"/>
                    </a:cubicBezTo>
                    <a:cubicBezTo>
                      <a:pt x="192620" y="871449"/>
                      <a:pt x="191733" y="868789"/>
                      <a:pt x="190213" y="866508"/>
                    </a:cubicBezTo>
                    <a:lnTo>
                      <a:pt x="207442" y="847759"/>
                    </a:lnTo>
                    <a:cubicBezTo>
                      <a:pt x="209469" y="849786"/>
                      <a:pt x="212130" y="851180"/>
                      <a:pt x="215803" y="851813"/>
                    </a:cubicBezTo>
                    <a:cubicBezTo>
                      <a:pt x="223531" y="853333"/>
                      <a:pt x="231005" y="852193"/>
                      <a:pt x="238733" y="854474"/>
                    </a:cubicBezTo>
                    <a:cubicBezTo>
                      <a:pt x="246081" y="856754"/>
                      <a:pt x="251021" y="858147"/>
                      <a:pt x="258876" y="858021"/>
                    </a:cubicBezTo>
                    <a:cubicBezTo>
                      <a:pt x="272557" y="858021"/>
                      <a:pt x="290799" y="857007"/>
                      <a:pt x="282312" y="837878"/>
                    </a:cubicBezTo>
                    <a:cubicBezTo>
                      <a:pt x="279271" y="831037"/>
                      <a:pt x="268377" y="800760"/>
                      <a:pt x="286112" y="803674"/>
                    </a:cubicBezTo>
                    <a:cubicBezTo>
                      <a:pt x="300681" y="805954"/>
                      <a:pt x="297767" y="830151"/>
                      <a:pt x="304354" y="839652"/>
                    </a:cubicBezTo>
                    <a:cubicBezTo>
                      <a:pt x="308535" y="845732"/>
                      <a:pt x="314236" y="850166"/>
                      <a:pt x="316643" y="857641"/>
                    </a:cubicBezTo>
                    <a:cubicBezTo>
                      <a:pt x="319429" y="866382"/>
                      <a:pt x="315756" y="869295"/>
                      <a:pt x="311702" y="876390"/>
                    </a:cubicBezTo>
                    <a:cubicBezTo>
                      <a:pt x="308154" y="882470"/>
                      <a:pt x="306888" y="889944"/>
                      <a:pt x="307268" y="896785"/>
                    </a:cubicBezTo>
                    <a:cubicBezTo>
                      <a:pt x="308281" y="915028"/>
                      <a:pt x="319429" y="915534"/>
                      <a:pt x="332985" y="920728"/>
                    </a:cubicBezTo>
                    <a:cubicBezTo>
                      <a:pt x="339825" y="923389"/>
                      <a:pt x="361234" y="931623"/>
                      <a:pt x="358067" y="916041"/>
                    </a:cubicBezTo>
                    <a:cubicBezTo>
                      <a:pt x="355787" y="904640"/>
                      <a:pt x="326904" y="888171"/>
                      <a:pt x="339445" y="876516"/>
                    </a:cubicBezTo>
                    <a:cubicBezTo>
                      <a:pt x="350847" y="866001"/>
                      <a:pt x="372509" y="871069"/>
                      <a:pt x="385431" y="860934"/>
                    </a:cubicBezTo>
                    <a:cubicBezTo>
                      <a:pt x="399113" y="850293"/>
                      <a:pt x="406207" y="833444"/>
                      <a:pt x="421916" y="824703"/>
                    </a:cubicBezTo>
                    <a:cubicBezTo>
                      <a:pt x="438764" y="815455"/>
                      <a:pt x="455867" y="821536"/>
                      <a:pt x="473222" y="824956"/>
                    </a:cubicBezTo>
                    <a:cubicBezTo>
                      <a:pt x="490324" y="828377"/>
                      <a:pt x="505272" y="823943"/>
                      <a:pt x="521869" y="819636"/>
                    </a:cubicBezTo>
                    <a:cubicBezTo>
                      <a:pt x="530102" y="817482"/>
                      <a:pt x="538464" y="816595"/>
                      <a:pt x="546951" y="816215"/>
                    </a:cubicBezTo>
                    <a:cubicBezTo>
                      <a:pt x="559493" y="815709"/>
                      <a:pt x="581536" y="814568"/>
                      <a:pt x="589643" y="827363"/>
                    </a:cubicBezTo>
                    <a:cubicBezTo>
                      <a:pt x="594331" y="834711"/>
                      <a:pt x="588883" y="841425"/>
                      <a:pt x="586856" y="848899"/>
                    </a:cubicBezTo>
                    <a:cubicBezTo>
                      <a:pt x="583816" y="860048"/>
                      <a:pt x="588883" y="868915"/>
                      <a:pt x="599398" y="874109"/>
                    </a:cubicBezTo>
                    <a:cubicBezTo>
                      <a:pt x="616754" y="882597"/>
                      <a:pt x="633982" y="881584"/>
                      <a:pt x="652731" y="881584"/>
                    </a:cubicBezTo>
                    <a:cubicBezTo>
                      <a:pt x="661599" y="881584"/>
                      <a:pt x="670340" y="882217"/>
                      <a:pt x="678448" y="886144"/>
                    </a:cubicBezTo>
                    <a:cubicBezTo>
                      <a:pt x="684782" y="889184"/>
                      <a:pt x="689723" y="895138"/>
                      <a:pt x="696183" y="897672"/>
                    </a:cubicBezTo>
                    <a:cubicBezTo>
                      <a:pt x="711766" y="903500"/>
                      <a:pt x="723674" y="886144"/>
                      <a:pt x="734822" y="878163"/>
                    </a:cubicBezTo>
                    <a:cubicBezTo>
                      <a:pt x="749263" y="867902"/>
                      <a:pt x="767759" y="865495"/>
                      <a:pt x="783848" y="858781"/>
                    </a:cubicBezTo>
                    <a:cubicBezTo>
                      <a:pt x="800190" y="851940"/>
                      <a:pt x="818305" y="846492"/>
                      <a:pt x="834014" y="838258"/>
                    </a:cubicBezTo>
                    <a:cubicBezTo>
                      <a:pt x="854030" y="827744"/>
                      <a:pt x="849596" y="813682"/>
                      <a:pt x="837688" y="798226"/>
                    </a:cubicBezTo>
                    <a:cubicBezTo>
                      <a:pt x="827173" y="784671"/>
                      <a:pt x="824006" y="771750"/>
                      <a:pt x="817799" y="756168"/>
                    </a:cubicBezTo>
                    <a:cubicBezTo>
                      <a:pt x="812225" y="742486"/>
                      <a:pt x="802723" y="730451"/>
                      <a:pt x="815011" y="717403"/>
                    </a:cubicBezTo>
                    <a:cubicBezTo>
                      <a:pt x="823119" y="708915"/>
                      <a:pt x="834647" y="702328"/>
                      <a:pt x="844402" y="695867"/>
                    </a:cubicBezTo>
                    <a:cubicBezTo>
                      <a:pt x="850989" y="691433"/>
                      <a:pt x="860110" y="681045"/>
                      <a:pt x="868472" y="683199"/>
                    </a:cubicBezTo>
                    <a:cubicBezTo>
                      <a:pt x="877592" y="685606"/>
                      <a:pt x="883167" y="698021"/>
                      <a:pt x="891021" y="703088"/>
                    </a:cubicBezTo>
                    <a:cubicBezTo>
                      <a:pt x="902929" y="710689"/>
                      <a:pt x="922945" y="705748"/>
                      <a:pt x="936500" y="704608"/>
                    </a:cubicBezTo>
                    <a:cubicBezTo>
                      <a:pt x="950942" y="703341"/>
                      <a:pt x="970324" y="709295"/>
                      <a:pt x="978305" y="694220"/>
                    </a:cubicBezTo>
                    <a:cubicBezTo>
                      <a:pt x="987806" y="676231"/>
                      <a:pt x="993887" y="659889"/>
                      <a:pt x="1016437" y="654442"/>
                    </a:cubicBezTo>
                    <a:cubicBezTo>
                      <a:pt x="1026318" y="652162"/>
                      <a:pt x="1032905" y="656469"/>
                      <a:pt x="1041393" y="660903"/>
                    </a:cubicBezTo>
                    <a:cubicBezTo>
                      <a:pt x="1049754" y="665336"/>
                      <a:pt x="1059256" y="667110"/>
                      <a:pt x="1067616" y="671544"/>
                    </a:cubicBezTo>
                    <a:cubicBezTo>
                      <a:pt x="1077498" y="676865"/>
                      <a:pt x="1082058" y="686239"/>
                      <a:pt x="1089152" y="694220"/>
                    </a:cubicBezTo>
                    <a:cubicBezTo>
                      <a:pt x="1095613" y="701568"/>
                      <a:pt x="1102708" y="702455"/>
                      <a:pt x="1111068" y="706508"/>
                    </a:cubicBezTo>
                    <a:cubicBezTo>
                      <a:pt x="1120063" y="710942"/>
                      <a:pt x="1123357" y="717910"/>
                      <a:pt x="1127284" y="726524"/>
                    </a:cubicBezTo>
                    <a:cubicBezTo>
                      <a:pt x="1131211" y="735265"/>
                      <a:pt x="1136279" y="739952"/>
                      <a:pt x="1143246" y="746413"/>
                    </a:cubicBezTo>
                    <a:cubicBezTo>
                      <a:pt x="1150214" y="752874"/>
                      <a:pt x="1159461" y="761995"/>
                      <a:pt x="1154267" y="772130"/>
                    </a:cubicBezTo>
                    <a:cubicBezTo>
                      <a:pt x="1150847" y="778844"/>
                      <a:pt x="1136152" y="782645"/>
                      <a:pt x="1135518" y="790245"/>
                    </a:cubicBezTo>
                    <a:cubicBezTo>
                      <a:pt x="1134378" y="805574"/>
                      <a:pt x="1171242" y="796833"/>
                      <a:pt x="1179097" y="805067"/>
                    </a:cubicBezTo>
                    <a:cubicBezTo>
                      <a:pt x="1189992" y="816469"/>
                      <a:pt x="1193286" y="831544"/>
                      <a:pt x="1189358" y="846492"/>
                    </a:cubicBezTo>
                    <a:cubicBezTo>
                      <a:pt x="1185051" y="862834"/>
                      <a:pt x="1176310" y="861314"/>
                      <a:pt x="1160981" y="863848"/>
                    </a:cubicBezTo>
                    <a:cubicBezTo>
                      <a:pt x="1150974" y="865495"/>
                      <a:pt x="1141346" y="870815"/>
                      <a:pt x="1141852" y="882724"/>
                    </a:cubicBezTo>
                    <a:cubicBezTo>
                      <a:pt x="1142359" y="893998"/>
                      <a:pt x="1154774" y="900586"/>
                      <a:pt x="1162122" y="907554"/>
                    </a:cubicBezTo>
                    <a:cubicBezTo>
                      <a:pt x="1169343" y="914521"/>
                      <a:pt x="1189105" y="927569"/>
                      <a:pt x="1186698" y="907807"/>
                    </a:cubicBezTo>
                    <a:cubicBezTo>
                      <a:pt x="1185938" y="901346"/>
                      <a:pt x="1180364" y="891845"/>
                      <a:pt x="1184798" y="885891"/>
                    </a:cubicBezTo>
                    <a:cubicBezTo>
                      <a:pt x="1191005" y="877530"/>
                      <a:pt x="1203673" y="886651"/>
                      <a:pt x="1211275" y="887411"/>
                    </a:cubicBezTo>
                    <a:cubicBezTo>
                      <a:pt x="1220395" y="888424"/>
                      <a:pt x="1227237" y="889564"/>
                      <a:pt x="1235851" y="892478"/>
                    </a:cubicBezTo>
                    <a:cubicBezTo>
                      <a:pt x="1236738" y="909960"/>
                      <a:pt x="1217101" y="923895"/>
                      <a:pt x="1219762" y="940111"/>
                    </a:cubicBezTo>
                    <a:cubicBezTo>
                      <a:pt x="1221789" y="952652"/>
                      <a:pt x="1241678" y="956326"/>
                      <a:pt x="1250546" y="963294"/>
                    </a:cubicBezTo>
                    <a:cubicBezTo>
                      <a:pt x="1262327" y="972542"/>
                      <a:pt x="1272715" y="982803"/>
                      <a:pt x="1285131" y="991290"/>
                    </a:cubicBezTo>
                    <a:cubicBezTo>
                      <a:pt x="1297292" y="999652"/>
                      <a:pt x="1310340" y="1003959"/>
                      <a:pt x="1323515" y="1010420"/>
                    </a:cubicBezTo>
                    <a:cubicBezTo>
                      <a:pt x="1335170" y="1016120"/>
                      <a:pt x="1344164" y="1024355"/>
                      <a:pt x="1357593" y="1024861"/>
                    </a:cubicBezTo>
                    <a:cubicBezTo>
                      <a:pt x="1358226" y="1020681"/>
                      <a:pt x="1359113" y="1016120"/>
                      <a:pt x="1361520" y="1012573"/>
                    </a:cubicBezTo>
                    <a:cubicBezTo>
                      <a:pt x="1377988" y="989010"/>
                      <a:pt x="1390657" y="1024355"/>
                      <a:pt x="1403452" y="1029169"/>
                    </a:cubicBezTo>
                    <a:cubicBezTo>
                      <a:pt x="1412699" y="1032716"/>
                      <a:pt x="1418527" y="1025241"/>
                      <a:pt x="1418907" y="1016374"/>
                    </a:cubicBezTo>
                    <a:cubicBezTo>
                      <a:pt x="1419287" y="1006493"/>
                      <a:pt x="1412953" y="998891"/>
                      <a:pt x="1407759" y="991164"/>
                    </a:cubicBezTo>
                    <a:cubicBezTo>
                      <a:pt x="1397371" y="975582"/>
                      <a:pt x="1397244" y="956960"/>
                      <a:pt x="1398004" y="938591"/>
                    </a:cubicBezTo>
                    <a:cubicBezTo>
                      <a:pt x="1398384" y="930356"/>
                      <a:pt x="1401551" y="922249"/>
                      <a:pt x="1401045" y="914014"/>
                    </a:cubicBezTo>
                    <a:cubicBezTo>
                      <a:pt x="1400411" y="904893"/>
                      <a:pt x="1395091" y="899446"/>
                      <a:pt x="1390023" y="892478"/>
                    </a:cubicBezTo>
                    <a:cubicBezTo>
                      <a:pt x="1378115" y="876136"/>
                      <a:pt x="1381663" y="855614"/>
                      <a:pt x="1377482" y="836865"/>
                    </a:cubicBezTo>
                    <a:cubicBezTo>
                      <a:pt x="1375708" y="829137"/>
                      <a:pt x="1369374" y="811401"/>
                      <a:pt x="1377228" y="805067"/>
                    </a:cubicBezTo>
                    <a:cubicBezTo>
                      <a:pt x="1383816" y="799747"/>
                      <a:pt x="1394077" y="807474"/>
                      <a:pt x="1399525" y="811275"/>
                    </a:cubicBezTo>
                    <a:cubicBezTo>
                      <a:pt x="1412193" y="819889"/>
                      <a:pt x="1419667" y="834078"/>
                      <a:pt x="1433983" y="840285"/>
                    </a:cubicBezTo>
                    <a:cubicBezTo>
                      <a:pt x="1451845" y="848013"/>
                      <a:pt x="1465146" y="851940"/>
                      <a:pt x="1484782" y="849660"/>
                    </a:cubicBezTo>
                    <a:cubicBezTo>
                      <a:pt x="1504798" y="847126"/>
                      <a:pt x="1512525" y="836991"/>
                      <a:pt x="1517593" y="817609"/>
                    </a:cubicBezTo>
                    <a:cubicBezTo>
                      <a:pt x="1520127" y="807728"/>
                      <a:pt x="1523167" y="800253"/>
                      <a:pt x="1529247" y="791892"/>
                    </a:cubicBezTo>
                    <a:cubicBezTo>
                      <a:pt x="1539002" y="778591"/>
                      <a:pt x="1550530" y="745780"/>
                      <a:pt x="1570546" y="747680"/>
                    </a:cubicBezTo>
                    <a:cubicBezTo>
                      <a:pt x="1585241" y="748947"/>
                      <a:pt x="1594996" y="760855"/>
                      <a:pt x="1610324" y="761742"/>
                    </a:cubicBezTo>
                    <a:cubicBezTo>
                      <a:pt x="1627173" y="762755"/>
                      <a:pt x="1637561" y="760222"/>
                      <a:pt x="1652130" y="769850"/>
                    </a:cubicBezTo>
                    <a:cubicBezTo>
                      <a:pt x="1664925" y="778464"/>
                      <a:pt x="1680379" y="775170"/>
                      <a:pt x="1692921" y="767949"/>
                    </a:cubicBezTo>
                    <a:cubicBezTo>
                      <a:pt x="1699255" y="764275"/>
                      <a:pt x="1704829" y="759715"/>
                      <a:pt x="1710024" y="754648"/>
                    </a:cubicBezTo>
                    <a:cubicBezTo>
                      <a:pt x="1711797" y="753001"/>
                      <a:pt x="1715598" y="749960"/>
                      <a:pt x="1716737" y="747680"/>
                    </a:cubicBezTo>
                    <a:cubicBezTo>
                      <a:pt x="1717118" y="746667"/>
                      <a:pt x="1717624" y="737672"/>
                      <a:pt x="1716864" y="738052"/>
                    </a:cubicBezTo>
                    <a:cubicBezTo>
                      <a:pt x="1712937" y="740079"/>
                      <a:pt x="1709643" y="742739"/>
                      <a:pt x="1705843" y="745146"/>
                    </a:cubicBezTo>
                    <a:cubicBezTo>
                      <a:pt x="1684560" y="758321"/>
                      <a:pt x="1672398" y="731845"/>
                      <a:pt x="1672525" y="713476"/>
                    </a:cubicBezTo>
                    <a:cubicBezTo>
                      <a:pt x="1672525" y="703721"/>
                      <a:pt x="1673285" y="692573"/>
                      <a:pt x="1683040" y="688013"/>
                    </a:cubicBezTo>
                    <a:cubicBezTo>
                      <a:pt x="1691275" y="684212"/>
                      <a:pt x="1705210" y="680918"/>
                      <a:pt x="1714204" y="679398"/>
                    </a:cubicBezTo>
                    <a:cubicBezTo>
                      <a:pt x="1725986" y="677245"/>
                      <a:pt x="1732193" y="688899"/>
                      <a:pt x="1743214" y="688646"/>
                    </a:cubicBezTo>
                    <a:cubicBezTo>
                      <a:pt x="1755376" y="688393"/>
                      <a:pt x="1758416" y="674204"/>
                      <a:pt x="1755883" y="664703"/>
                    </a:cubicBezTo>
                    <a:cubicBezTo>
                      <a:pt x="1753602" y="656089"/>
                      <a:pt x="1748535" y="640633"/>
                      <a:pt x="1741188" y="635059"/>
                    </a:cubicBezTo>
                    <a:cubicBezTo>
                      <a:pt x="1732447" y="628219"/>
                      <a:pt x="1719525" y="630752"/>
                      <a:pt x="1710403" y="623405"/>
                    </a:cubicBezTo>
                    <a:cubicBezTo>
                      <a:pt x="1684814" y="602882"/>
                      <a:pt x="1725605" y="581473"/>
                      <a:pt x="1715851" y="558796"/>
                    </a:cubicBezTo>
                    <a:cubicBezTo>
                      <a:pt x="1703309" y="529533"/>
                      <a:pt x="1679240" y="576912"/>
                      <a:pt x="1667584" y="580586"/>
                    </a:cubicBezTo>
                    <a:cubicBezTo>
                      <a:pt x="1654916" y="584640"/>
                      <a:pt x="1653396" y="569565"/>
                      <a:pt x="1656183" y="560697"/>
                    </a:cubicBezTo>
                    <a:cubicBezTo>
                      <a:pt x="1659604" y="549675"/>
                      <a:pt x="1665431" y="543848"/>
                      <a:pt x="1664038" y="531560"/>
                    </a:cubicBezTo>
                    <a:cubicBezTo>
                      <a:pt x="1662518" y="518131"/>
                      <a:pt x="1663024" y="514078"/>
                      <a:pt x="1674426" y="505463"/>
                    </a:cubicBezTo>
                    <a:cubicBezTo>
                      <a:pt x="1681900" y="499889"/>
                      <a:pt x="1691781" y="494695"/>
                      <a:pt x="1696975" y="486714"/>
                    </a:cubicBezTo>
                    <a:cubicBezTo>
                      <a:pt x="1706856" y="471766"/>
                      <a:pt x="1701282" y="445669"/>
                      <a:pt x="1686461" y="436168"/>
                    </a:cubicBezTo>
                    <a:cubicBezTo>
                      <a:pt x="1680760" y="432494"/>
                      <a:pt x="1664291" y="428440"/>
                      <a:pt x="1664544" y="419572"/>
                    </a:cubicBezTo>
                    <a:cubicBezTo>
                      <a:pt x="1664798" y="410198"/>
                      <a:pt x="1678099" y="412732"/>
                      <a:pt x="1683927" y="413745"/>
                    </a:cubicBezTo>
                    <a:cubicBezTo>
                      <a:pt x="1695708" y="415899"/>
                      <a:pt x="1707490" y="418939"/>
                      <a:pt x="1719652" y="416405"/>
                    </a:cubicBezTo>
                    <a:cubicBezTo>
                      <a:pt x="1731687" y="413998"/>
                      <a:pt x="1742454" y="403610"/>
                      <a:pt x="1753982" y="399303"/>
                    </a:cubicBezTo>
                    <a:cubicBezTo>
                      <a:pt x="1767031" y="394363"/>
                      <a:pt x="1778052" y="389169"/>
                      <a:pt x="1789960" y="381948"/>
                    </a:cubicBezTo>
                    <a:cubicBezTo>
                      <a:pt x="1801362" y="375107"/>
                      <a:pt x="1813650" y="369406"/>
                      <a:pt x="1825558" y="363452"/>
                    </a:cubicBezTo>
                    <a:cubicBezTo>
                      <a:pt x="1835313" y="358511"/>
                      <a:pt x="1844054" y="351797"/>
                      <a:pt x="1853935" y="346857"/>
                    </a:cubicBezTo>
                    <a:cubicBezTo>
                      <a:pt x="1863436" y="342043"/>
                      <a:pt x="1873191" y="342169"/>
                      <a:pt x="1882438" y="337355"/>
                    </a:cubicBezTo>
                    <a:cubicBezTo>
                      <a:pt x="1907395" y="324307"/>
                      <a:pt x="1935391" y="309612"/>
                      <a:pt x="1964275" y="311639"/>
                    </a:cubicBezTo>
                    <a:cubicBezTo>
                      <a:pt x="1960095" y="322280"/>
                      <a:pt x="1954521" y="331781"/>
                      <a:pt x="1944133" y="337355"/>
                    </a:cubicBezTo>
                    <a:cubicBezTo>
                      <a:pt x="1932732" y="343310"/>
                      <a:pt x="1915756" y="341663"/>
                      <a:pt x="1907141" y="352304"/>
                    </a:cubicBezTo>
                    <a:cubicBezTo>
                      <a:pt x="1900427" y="360412"/>
                      <a:pt x="1902454" y="372573"/>
                      <a:pt x="1897767" y="381821"/>
                    </a:cubicBezTo>
                    <a:cubicBezTo>
                      <a:pt x="1894473" y="388408"/>
                      <a:pt x="1880538" y="399683"/>
                      <a:pt x="1885732" y="407791"/>
                    </a:cubicBezTo>
                    <a:cubicBezTo>
                      <a:pt x="1891306" y="416659"/>
                      <a:pt x="1910562" y="410451"/>
                      <a:pt x="1916896" y="406017"/>
                    </a:cubicBezTo>
                    <a:cubicBezTo>
                      <a:pt x="1925003" y="400190"/>
                      <a:pt x="1928678" y="389549"/>
                      <a:pt x="1934631" y="381694"/>
                    </a:cubicBezTo>
                    <a:cubicBezTo>
                      <a:pt x="1941219" y="373080"/>
                      <a:pt x="1948440" y="365479"/>
                      <a:pt x="1954141" y="356231"/>
                    </a:cubicBezTo>
                    <a:cubicBezTo>
                      <a:pt x="1959461" y="347617"/>
                      <a:pt x="1965796" y="335075"/>
                      <a:pt x="1976690" y="332541"/>
                    </a:cubicBezTo>
                    <a:cubicBezTo>
                      <a:pt x="1992525" y="328868"/>
                      <a:pt x="1990878" y="350657"/>
                      <a:pt x="1990118" y="359905"/>
                    </a:cubicBezTo>
                    <a:cubicBezTo>
                      <a:pt x="1989739" y="365099"/>
                      <a:pt x="1986951" y="399557"/>
                      <a:pt x="1978970" y="381188"/>
                    </a:cubicBezTo>
                    <a:cubicBezTo>
                      <a:pt x="1976817" y="376120"/>
                      <a:pt x="1976310" y="369153"/>
                      <a:pt x="1972509" y="364846"/>
                    </a:cubicBezTo>
                    <a:cubicBezTo>
                      <a:pt x="1966682" y="358258"/>
                      <a:pt x="1962375" y="360285"/>
                      <a:pt x="1962248" y="368519"/>
                    </a:cubicBezTo>
                    <a:cubicBezTo>
                      <a:pt x="1961868" y="385115"/>
                      <a:pt x="1978083" y="396643"/>
                      <a:pt x="1968076" y="413238"/>
                    </a:cubicBezTo>
                    <a:cubicBezTo>
                      <a:pt x="1962502" y="422360"/>
                      <a:pt x="1948567" y="430467"/>
                      <a:pt x="1958194" y="440728"/>
                    </a:cubicBezTo>
                    <a:cubicBezTo>
                      <a:pt x="1961995" y="444909"/>
                      <a:pt x="1967822" y="447316"/>
                      <a:pt x="1971749" y="451497"/>
                    </a:cubicBezTo>
                    <a:cubicBezTo>
                      <a:pt x="1974916" y="454664"/>
                      <a:pt x="1977450" y="460998"/>
                      <a:pt x="1981250" y="463151"/>
                    </a:cubicBezTo>
                    <a:cubicBezTo>
                      <a:pt x="2003167" y="475820"/>
                      <a:pt x="2011021" y="419319"/>
                      <a:pt x="2013175" y="407538"/>
                    </a:cubicBezTo>
                    <a:cubicBezTo>
                      <a:pt x="2016088" y="391449"/>
                      <a:pt x="2018749" y="376120"/>
                      <a:pt x="2014695" y="359905"/>
                    </a:cubicBezTo>
                    <a:cubicBezTo>
                      <a:pt x="2011781" y="348124"/>
                      <a:pt x="2007854" y="336975"/>
                      <a:pt x="2005574" y="324941"/>
                    </a:cubicBezTo>
                    <a:cubicBezTo>
                      <a:pt x="2003547" y="314426"/>
                      <a:pt x="1998226" y="301884"/>
                      <a:pt x="2002407" y="291243"/>
                    </a:cubicBezTo>
                    <a:cubicBezTo>
                      <a:pt x="2006841" y="280095"/>
                      <a:pt x="2019889" y="271227"/>
                      <a:pt x="2029643" y="265146"/>
                    </a:cubicBezTo>
                    <a:cubicBezTo>
                      <a:pt x="2049532" y="252605"/>
                      <a:pt x="2076009" y="244244"/>
                      <a:pt x="2098559" y="237910"/>
                    </a:cubicBezTo>
                    <a:cubicBezTo>
                      <a:pt x="2117055" y="232716"/>
                      <a:pt x="2149485" y="219034"/>
                      <a:pt x="2166334" y="234616"/>
                    </a:cubicBezTo>
                    <a:cubicBezTo>
                      <a:pt x="2175835" y="243357"/>
                      <a:pt x="2170895" y="256785"/>
                      <a:pt x="2163420" y="265273"/>
                    </a:cubicBezTo>
                    <a:cubicBezTo>
                      <a:pt x="2155439" y="274268"/>
                      <a:pt x="2142518" y="275281"/>
                      <a:pt x="2134410" y="283642"/>
                    </a:cubicBezTo>
                    <a:cubicBezTo>
                      <a:pt x="2125922" y="292383"/>
                      <a:pt x="2129090" y="306825"/>
                      <a:pt x="2142011" y="308852"/>
                    </a:cubicBezTo>
                    <a:cubicBezTo>
                      <a:pt x="2154679" y="310879"/>
                      <a:pt x="2162533" y="297957"/>
                      <a:pt x="2173554" y="294410"/>
                    </a:cubicBezTo>
                    <a:cubicBezTo>
                      <a:pt x="2184450" y="290990"/>
                      <a:pt x="2195851" y="294537"/>
                      <a:pt x="2206872" y="290356"/>
                    </a:cubicBezTo>
                    <a:cubicBezTo>
                      <a:pt x="2218274" y="285922"/>
                      <a:pt x="2227142" y="285416"/>
                      <a:pt x="2238923" y="283895"/>
                    </a:cubicBezTo>
                    <a:cubicBezTo>
                      <a:pt x="2249944" y="282375"/>
                      <a:pt x="2255772" y="274268"/>
                      <a:pt x="2265526" y="270087"/>
                    </a:cubicBezTo>
                    <a:cubicBezTo>
                      <a:pt x="2275408" y="265780"/>
                      <a:pt x="2280348" y="271607"/>
                      <a:pt x="2288836" y="270341"/>
                    </a:cubicBezTo>
                    <a:cubicBezTo>
                      <a:pt x="2293270" y="269580"/>
                      <a:pt x="2294790" y="265020"/>
                      <a:pt x="2300617" y="265020"/>
                    </a:cubicBezTo>
                    <a:cubicBezTo>
                      <a:pt x="2306698" y="265020"/>
                      <a:pt x="2309105" y="268314"/>
                      <a:pt x="2314299" y="270721"/>
                    </a:cubicBezTo>
                    <a:cubicBezTo>
                      <a:pt x="2324053" y="275281"/>
                      <a:pt x="2332668" y="273634"/>
                      <a:pt x="2342803" y="275408"/>
                    </a:cubicBezTo>
                    <a:cubicBezTo>
                      <a:pt x="2353444" y="277308"/>
                      <a:pt x="2353444" y="283642"/>
                      <a:pt x="2358385" y="292763"/>
                    </a:cubicBezTo>
                    <a:cubicBezTo>
                      <a:pt x="2363325" y="291370"/>
                      <a:pt x="2368266" y="289976"/>
                      <a:pt x="2372953" y="288076"/>
                    </a:cubicBezTo>
                    <a:cubicBezTo>
                      <a:pt x="2394236" y="279588"/>
                      <a:pt x="2405510" y="261979"/>
                      <a:pt x="2417545" y="243484"/>
                    </a:cubicBezTo>
                    <a:cubicBezTo>
                      <a:pt x="2428440" y="226508"/>
                      <a:pt x="2440855" y="210800"/>
                      <a:pt x="2449089" y="192431"/>
                    </a:cubicBezTo>
                    <a:cubicBezTo>
                      <a:pt x="2460364" y="167221"/>
                      <a:pt x="2467205" y="139984"/>
                      <a:pt x="2484180" y="117815"/>
                    </a:cubicBezTo>
                    <a:cubicBezTo>
                      <a:pt x="2498876" y="98432"/>
                      <a:pt x="2520032" y="87031"/>
                      <a:pt x="2537260" y="70689"/>
                    </a:cubicBezTo>
                    <a:cubicBezTo>
                      <a:pt x="2550815" y="57767"/>
                      <a:pt x="2559050" y="40538"/>
                      <a:pt x="2573872" y="29010"/>
                    </a:cubicBezTo>
                    <a:cubicBezTo>
                      <a:pt x="2593507" y="13808"/>
                      <a:pt x="2618971" y="8614"/>
                      <a:pt x="2643293" y="7348"/>
                    </a:cubicBezTo>
                    <a:cubicBezTo>
                      <a:pt x="2663816" y="6207"/>
                      <a:pt x="2683832" y="4434"/>
                      <a:pt x="2704354" y="2660"/>
                    </a:cubicBezTo>
                    <a:cubicBezTo>
                      <a:pt x="2724750" y="887"/>
                      <a:pt x="2747806" y="1647"/>
                      <a:pt x="2758701" y="21789"/>
                    </a:cubicBezTo>
                    <a:cubicBezTo>
                      <a:pt x="2769089" y="41299"/>
                      <a:pt x="2768456" y="64228"/>
                      <a:pt x="2787585" y="78797"/>
                    </a:cubicBezTo>
                    <a:cubicBezTo>
                      <a:pt x="2810514" y="96279"/>
                      <a:pt x="2841931" y="81964"/>
                      <a:pt x="2863341" y="68789"/>
                    </a:cubicBezTo>
                    <a:cubicBezTo>
                      <a:pt x="2877656" y="60047"/>
                      <a:pt x="2887538" y="70435"/>
                      <a:pt x="2902486" y="65115"/>
                    </a:cubicBezTo>
                    <a:cubicBezTo>
                      <a:pt x="2902739" y="60934"/>
                      <a:pt x="2902866" y="54980"/>
                      <a:pt x="2905399" y="51306"/>
                    </a:cubicBezTo>
                    <a:cubicBezTo>
                      <a:pt x="2916548" y="35344"/>
                      <a:pt x="2943785" y="57387"/>
                      <a:pt x="2949232" y="33317"/>
                    </a:cubicBezTo>
                    <a:cubicBezTo>
                      <a:pt x="2952652" y="18242"/>
                      <a:pt x="2944545" y="9755"/>
                      <a:pt x="2938084" y="0"/>
                    </a:cubicBezTo>
                    <a:cubicBezTo>
                      <a:pt x="2938084" y="0"/>
                      <a:pt x="2983056" y="27237"/>
                      <a:pt x="3003452" y="41805"/>
                    </a:cubicBezTo>
                    <a:cubicBezTo>
                      <a:pt x="3023974" y="56247"/>
                      <a:pt x="3046651" y="76516"/>
                      <a:pt x="3053238" y="78416"/>
                    </a:cubicBezTo>
                    <a:cubicBezTo>
                      <a:pt x="3059825" y="80443"/>
                      <a:pt x="3088202" y="89945"/>
                      <a:pt x="3080348" y="103753"/>
                    </a:cubicBezTo>
                    <a:cubicBezTo>
                      <a:pt x="3072494" y="117561"/>
                      <a:pt x="3059572" y="135804"/>
                      <a:pt x="3059572" y="152652"/>
                    </a:cubicBezTo>
                    <a:cubicBezTo>
                      <a:pt x="3059572" y="169501"/>
                      <a:pt x="3056912" y="209406"/>
                      <a:pt x="3042470" y="222581"/>
                    </a:cubicBezTo>
                    <a:cubicBezTo>
                      <a:pt x="3027901" y="235756"/>
                      <a:pt x="2998891" y="282375"/>
                      <a:pt x="2985717" y="306698"/>
                    </a:cubicBezTo>
                    <a:cubicBezTo>
                      <a:pt x="2972541" y="331148"/>
                      <a:pt x="2956072" y="371053"/>
                      <a:pt x="2969501" y="373967"/>
                    </a:cubicBezTo>
                    <a:cubicBezTo>
                      <a:pt x="2983056" y="376880"/>
                      <a:pt x="3000158" y="371687"/>
                      <a:pt x="2993571" y="381188"/>
                    </a:cubicBezTo>
                    <a:cubicBezTo>
                      <a:pt x="2986983" y="390689"/>
                      <a:pt x="2989644" y="414885"/>
                      <a:pt x="2999524" y="423753"/>
                    </a:cubicBezTo>
                    <a:cubicBezTo>
                      <a:pt x="3009406" y="432621"/>
                      <a:pt x="3038797" y="447569"/>
                      <a:pt x="3070467" y="447569"/>
                    </a:cubicBezTo>
                    <a:cubicBezTo>
                      <a:pt x="3102138" y="447569"/>
                      <a:pt x="3149644" y="438321"/>
                      <a:pt x="3162185" y="465938"/>
                    </a:cubicBezTo>
                    <a:cubicBezTo>
                      <a:pt x="3174727" y="493682"/>
                      <a:pt x="3191576" y="526999"/>
                      <a:pt x="3212351" y="538907"/>
                    </a:cubicBezTo>
                    <a:cubicBezTo>
                      <a:pt x="3211844" y="540428"/>
                      <a:pt x="3210831" y="542201"/>
                      <a:pt x="3209818" y="54410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470" name="Рисунок 388">
                <a:extLst>
                  <a:ext uri="{FF2B5EF4-FFF2-40B4-BE49-F238E27FC236}">
                    <a16:creationId xmlns:a16="http://schemas.microsoft.com/office/drawing/2014/main" id="{1DA397FD-DC6E-439E-BB40-D0F80476817D}"/>
                  </a:ext>
                </a:extLst>
              </p:cNvPr>
              <p:cNvGrpSpPr/>
              <p:nvPr/>
            </p:nvGrpSpPr>
            <p:grpSpPr>
              <a:xfrm>
                <a:off x="8213743" y="1230515"/>
                <a:ext cx="2708144" cy="1505748"/>
                <a:chOff x="8213743" y="1230515"/>
                <a:chExt cx="2708144" cy="1505748"/>
              </a:xfrm>
              <a:solidFill>
                <a:srgbClr val="E3E8EC"/>
              </a:solidFill>
            </p:grpSpPr>
            <p:sp>
              <p:nvSpPr>
                <p:cNvPr id="471" name="Полилиния: фигура 470">
                  <a:extLst>
                    <a:ext uri="{FF2B5EF4-FFF2-40B4-BE49-F238E27FC236}">
                      <a16:creationId xmlns:a16="http://schemas.microsoft.com/office/drawing/2014/main" id="{50BFA220-DF38-41F8-8AF2-FA7A58237AE6}"/>
                    </a:ext>
                  </a:extLst>
                </p:cNvPr>
                <p:cNvSpPr/>
                <p:nvPr/>
              </p:nvSpPr>
              <p:spPr>
                <a:xfrm>
                  <a:off x="10911500" y="1855567"/>
                  <a:ext cx="10388" cy="13935"/>
                </a:xfrm>
                <a:custGeom>
                  <a:avLst/>
                  <a:gdLst>
                    <a:gd name="connsiteX0" fmla="*/ 10388 w 10388"/>
                    <a:gd name="connsiteY0" fmla="*/ 6968 h 13935"/>
                    <a:gd name="connsiteX1" fmla="*/ 5194 w 10388"/>
                    <a:gd name="connsiteY1" fmla="*/ 13935 h 13935"/>
                    <a:gd name="connsiteX2" fmla="*/ 0 w 10388"/>
                    <a:gd name="connsiteY2" fmla="*/ 6968 h 13935"/>
                    <a:gd name="connsiteX3" fmla="*/ 5194 w 10388"/>
                    <a:gd name="connsiteY3" fmla="*/ 0 h 13935"/>
                    <a:gd name="connsiteX4" fmla="*/ 10388 w 10388"/>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935">
                      <a:moveTo>
                        <a:pt x="10388" y="6968"/>
                      </a:moveTo>
                      <a:cubicBezTo>
                        <a:pt x="10388" y="10768"/>
                        <a:pt x="8108" y="13935"/>
                        <a:pt x="5194" y="13935"/>
                      </a:cubicBezTo>
                      <a:cubicBezTo>
                        <a:pt x="2280" y="13935"/>
                        <a:pt x="0" y="10895"/>
                        <a:pt x="0" y="6968"/>
                      </a:cubicBezTo>
                      <a:cubicBezTo>
                        <a:pt x="0" y="3167"/>
                        <a:pt x="2280" y="0"/>
                        <a:pt x="5194" y="0"/>
                      </a:cubicBezTo>
                      <a:cubicBezTo>
                        <a:pt x="8108" y="0"/>
                        <a:pt x="10388" y="3167"/>
                        <a:pt x="10388"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2" name="Полилиния: фигура 471">
                  <a:extLst>
                    <a:ext uri="{FF2B5EF4-FFF2-40B4-BE49-F238E27FC236}">
                      <a16:creationId xmlns:a16="http://schemas.microsoft.com/office/drawing/2014/main" id="{19A85F6A-0AD7-45D8-A1EE-3B48373B8584}"/>
                    </a:ext>
                  </a:extLst>
                </p:cNvPr>
                <p:cNvSpPr/>
                <p:nvPr/>
              </p:nvSpPr>
              <p:spPr>
                <a:xfrm>
                  <a:off x="10899592" y="1876343"/>
                  <a:ext cx="11908" cy="10894"/>
                </a:xfrm>
                <a:custGeom>
                  <a:avLst/>
                  <a:gdLst>
                    <a:gd name="connsiteX0" fmla="*/ 11908 w 11908"/>
                    <a:gd name="connsiteY0" fmla="*/ 5447 h 10894"/>
                    <a:gd name="connsiteX1" fmla="*/ 5954 w 11908"/>
                    <a:gd name="connsiteY1" fmla="*/ 10895 h 10894"/>
                    <a:gd name="connsiteX2" fmla="*/ 0 w 11908"/>
                    <a:gd name="connsiteY2" fmla="*/ 5447 h 10894"/>
                    <a:gd name="connsiteX3" fmla="*/ 5954 w 11908"/>
                    <a:gd name="connsiteY3" fmla="*/ 0 h 10894"/>
                    <a:gd name="connsiteX4" fmla="*/ 11908 w 1190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894">
                      <a:moveTo>
                        <a:pt x="11908" y="5447"/>
                      </a:moveTo>
                      <a:cubicBezTo>
                        <a:pt x="11908" y="8488"/>
                        <a:pt x="9248" y="10895"/>
                        <a:pt x="5954" y="10895"/>
                      </a:cubicBezTo>
                      <a:cubicBezTo>
                        <a:pt x="2661" y="10895"/>
                        <a:pt x="0" y="8488"/>
                        <a:pt x="0" y="5447"/>
                      </a:cubicBezTo>
                      <a:cubicBezTo>
                        <a:pt x="0" y="2407"/>
                        <a:pt x="2661" y="0"/>
                        <a:pt x="5954" y="0"/>
                      </a:cubicBezTo>
                      <a:cubicBezTo>
                        <a:pt x="9248" y="0"/>
                        <a:pt x="11908" y="2407"/>
                        <a:pt x="1190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3" name="Полилиния: фигура 472">
                  <a:extLst>
                    <a:ext uri="{FF2B5EF4-FFF2-40B4-BE49-F238E27FC236}">
                      <a16:creationId xmlns:a16="http://schemas.microsoft.com/office/drawing/2014/main" id="{CA1CCC29-EF7D-4E76-A4BE-FEE8C5EC0ECA}"/>
                    </a:ext>
                  </a:extLst>
                </p:cNvPr>
                <p:cNvSpPr/>
                <p:nvPr/>
              </p:nvSpPr>
              <p:spPr>
                <a:xfrm>
                  <a:off x="10798119" y="1731418"/>
                  <a:ext cx="9374" cy="16215"/>
                </a:xfrm>
                <a:custGeom>
                  <a:avLst/>
                  <a:gdLst>
                    <a:gd name="connsiteX0" fmla="*/ 9374 w 9374"/>
                    <a:gd name="connsiteY0" fmla="*/ 8108 h 16215"/>
                    <a:gd name="connsiteX1" fmla="*/ 4687 w 9374"/>
                    <a:gd name="connsiteY1" fmla="*/ 16215 h 16215"/>
                    <a:gd name="connsiteX2" fmla="*/ 0 w 9374"/>
                    <a:gd name="connsiteY2" fmla="*/ 8108 h 16215"/>
                    <a:gd name="connsiteX3" fmla="*/ 4687 w 9374"/>
                    <a:gd name="connsiteY3" fmla="*/ 0 h 16215"/>
                    <a:gd name="connsiteX4" fmla="*/ 9374 w 9374"/>
                    <a:gd name="connsiteY4" fmla="*/ 8108 h 1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6215">
                      <a:moveTo>
                        <a:pt x="9374" y="8108"/>
                      </a:moveTo>
                      <a:cubicBezTo>
                        <a:pt x="9374" y="12668"/>
                        <a:pt x="7221" y="16215"/>
                        <a:pt x="4687" y="16215"/>
                      </a:cubicBezTo>
                      <a:cubicBezTo>
                        <a:pt x="2027" y="16215"/>
                        <a:pt x="0" y="12542"/>
                        <a:pt x="0" y="8108"/>
                      </a:cubicBezTo>
                      <a:cubicBezTo>
                        <a:pt x="0" y="3547"/>
                        <a:pt x="2154" y="0"/>
                        <a:pt x="4687" y="0"/>
                      </a:cubicBezTo>
                      <a:cubicBezTo>
                        <a:pt x="7348" y="0"/>
                        <a:pt x="9374" y="3547"/>
                        <a:pt x="9374"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4" name="Полилиния: фигура 473">
                  <a:extLst>
                    <a:ext uri="{FF2B5EF4-FFF2-40B4-BE49-F238E27FC236}">
                      <a16:creationId xmlns:a16="http://schemas.microsoft.com/office/drawing/2014/main" id="{38250A4E-F1B3-4353-BB80-5B65F2C0AEC3}"/>
                    </a:ext>
                  </a:extLst>
                </p:cNvPr>
                <p:cNvSpPr/>
                <p:nvPr/>
              </p:nvSpPr>
              <p:spPr>
                <a:xfrm>
                  <a:off x="10756568" y="1767903"/>
                  <a:ext cx="9880" cy="13935"/>
                </a:xfrm>
                <a:custGeom>
                  <a:avLst/>
                  <a:gdLst>
                    <a:gd name="connsiteX0" fmla="*/ 9881 w 9880"/>
                    <a:gd name="connsiteY0" fmla="*/ 6967 h 13935"/>
                    <a:gd name="connsiteX1" fmla="*/ 4940 w 9880"/>
                    <a:gd name="connsiteY1" fmla="*/ 13935 h 13935"/>
                    <a:gd name="connsiteX2" fmla="*/ 0 w 9880"/>
                    <a:gd name="connsiteY2" fmla="*/ 6967 h 13935"/>
                    <a:gd name="connsiteX3" fmla="*/ 4940 w 9880"/>
                    <a:gd name="connsiteY3" fmla="*/ 0 h 13935"/>
                    <a:gd name="connsiteX4" fmla="*/ 9881 w 9880"/>
                    <a:gd name="connsiteY4" fmla="*/ 6967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13935">
                      <a:moveTo>
                        <a:pt x="9881" y="6967"/>
                      </a:moveTo>
                      <a:cubicBezTo>
                        <a:pt x="9881" y="10768"/>
                        <a:pt x="7727" y="13935"/>
                        <a:pt x="4940" y="13935"/>
                      </a:cubicBezTo>
                      <a:cubicBezTo>
                        <a:pt x="2153" y="13935"/>
                        <a:pt x="0" y="10895"/>
                        <a:pt x="0" y="6967"/>
                      </a:cubicBezTo>
                      <a:cubicBezTo>
                        <a:pt x="0" y="3167"/>
                        <a:pt x="2153" y="0"/>
                        <a:pt x="4940" y="0"/>
                      </a:cubicBezTo>
                      <a:cubicBezTo>
                        <a:pt x="7727" y="127"/>
                        <a:pt x="9881" y="3167"/>
                        <a:pt x="9881" y="69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5" name="Полилиния: фигура 474">
                  <a:extLst>
                    <a:ext uri="{FF2B5EF4-FFF2-40B4-BE49-F238E27FC236}">
                      <a16:creationId xmlns:a16="http://schemas.microsoft.com/office/drawing/2014/main" id="{60D29F2A-E2E2-4E10-9407-25D83DFF5D7D}"/>
                    </a:ext>
                  </a:extLst>
                </p:cNvPr>
                <p:cNvSpPr/>
                <p:nvPr/>
              </p:nvSpPr>
              <p:spPr>
                <a:xfrm>
                  <a:off x="10715902" y="1753587"/>
                  <a:ext cx="14441" cy="11401"/>
                </a:xfrm>
                <a:custGeom>
                  <a:avLst/>
                  <a:gdLst>
                    <a:gd name="connsiteX0" fmla="*/ 14442 w 14441"/>
                    <a:gd name="connsiteY0" fmla="*/ 5701 h 11401"/>
                    <a:gd name="connsiteX1" fmla="*/ 7221 w 14441"/>
                    <a:gd name="connsiteY1" fmla="*/ 11401 h 11401"/>
                    <a:gd name="connsiteX2" fmla="*/ 0 w 14441"/>
                    <a:gd name="connsiteY2" fmla="*/ 5701 h 11401"/>
                    <a:gd name="connsiteX3" fmla="*/ 7221 w 14441"/>
                    <a:gd name="connsiteY3" fmla="*/ 0 h 11401"/>
                    <a:gd name="connsiteX4" fmla="*/ 14442 w 14441"/>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1401">
                      <a:moveTo>
                        <a:pt x="14442" y="5701"/>
                      </a:moveTo>
                      <a:cubicBezTo>
                        <a:pt x="14442" y="8868"/>
                        <a:pt x="11275" y="11401"/>
                        <a:pt x="7221" y="11401"/>
                      </a:cubicBezTo>
                      <a:cubicBezTo>
                        <a:pt x="3167" y="11401"/>
                        <a:pt x="0" y="8868"/>
                        <a:pt x="0" y="5701"/>
                      </a:cubicBezTo>
                      <a:cubicBezTo>
                        <a:pt x="0" y="2534"/>
                        <a:pt x="3167" y="0"/>
                        <a:pt x="7221" y="0"/>
                      </a:cubicBezTo>
                      <a:cubicBezTo>
                        <a:pt x="11275" y="0"/>
                        <a:pt x="14442" y="2534"/>
                        <a:pt x="14442"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6" name="Полилиния: фигура 475">
                  <a:extLst>
                    <a:ext uri="{FF2B5EF4-FFF2-40B4-BE49-F238E27FC236}">
                      <a16:creationId xmlns:a16="http://schemas.microsoft.com/office/drawing/2014/main" id="{5D0CCF4E-DD46-45BC-8569-0BF7B6A9592E}"/>
                    </a:ext>
                  </a:extLst>
                </p:cNvPr>
                <p:cNvSpPr/>
                <p:nvPr/>
              </p:nvSpPr>
              <p:spPr>
                <a:xfrm>
                  <a:off x="10697787" y="1797166"/>
                  <a:ext cx="18242" cy="16342"/>
                </a:xfrm>
                <a:custGeom>
                  <a:avLst/>
                  <a:gdLst>
                    <a:gd name="connsiteX0" fmla="*/ 18242 w 18242"/>
                    <a:gd name="connsiteY0" fmla="*/ 8108 h 16342"/>
                    <a:gd name="connsiteX1" fmla="*/ 9121 w 18242"/>
                    <a:gd name="connsiteY1" fmla="*/ 16342 h 16342"/>
                    <a:gd name="connsiteX2" fmla="*/ 0 w 18242"/>
                    <a:gd name="connsiteY2" fmla="*/ 8108 h 16342"/>
                    <a:gd name="connsiteX3" fmla="*/ 9121 w 18242"/>
                    <a:gd name="connsiteY3" fmla="*/ 0 h 16342"/>
                    <a:gd name="connsiteX4" fmla="*/ 18242 w 18242"/>
                    <a:gd name="connsiteY4" fmla="*/ 8108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6342">
                      <a:moveTo>
                        <a:pt x="18242" y="8108"/>
                      </a:moveTo>
                      <a:cubicBezTo>
                        <a:pt x="18242" y="12668"/>
                        <a:pt x="14188" y="16342"/>
                        <a:pt x="9121" y="16342"/>
                      </a:cubicBezTo>
                      <a:cubicBezTo>
                        <a:pt x="4054" y="16342"/>
                        <a:pt x="0" y="12668"/>
                        <a:pt x="0" y="8108"/>
                      </a:cubicBezTo>
                      <a:cubicBezTo>
                        <a:pt x="0" y="3547"/>
                        <a:pt x="4054" y="0"/>
                        <a:pt x="9121" y="0"/>
                      </a:cubicBezTo>
                      <a:cubicBezTo>
                        <a:pt x="14062" y="0"/>
                        <a:pt x="18242" y="3674"/>
                        <a:pt x="18242" y="81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7" name="Полилиния: фигура 476">
                  <a:extLst>
                    <a:ext uri="{FF2B5EF4-FFF2-40B4-BE49-F238E27FC236}">
                      <a16:creationId xmlns:a16="http://schemas.microsoft.com/office/drawing/2014/main" id="{27FFDF5C-97C4-464B-B643-06AB6A30CD9F}"/>
                    </a:ext>
                  </a:extLst>
                </p:cNvPr>
                <p:cNvSpPr/>
                <p:nvPr/>
              </p:nvSpPr>
              <p:spPr>
                <a:xfrm>
                  <a:off x="9520748" y="2093207"/>
                  <a:ext cx="53069" cy="59253"/>
                </a:xfrm>
                <a:custGeom>
                  <a:avLst/>
                  <a:gdLst>
                    <a:gd name="connsiteX0" fmla="*/ 6112 w 53069"/>
                    <a:gd name="connsiteY0" fmla="*/ 42708 h 59253"/>
                    <a:gd name="connsiteX1" fmla="*/ 2438 w 53069"/>
                    <a:gd name="connsiteY1" fmla="*/ 12684 h 59253"/>
                    <a:gd name="connsiteX2" fmla="*/ 27901 w 53069"/>
                    <a:gd name="connsiteY2" fmla="*/ 523 h 59253"/>
                    <a:gd name="connsiteX3" fmla="*/ 50705 w 53069"/>
                    <a:gd name="connsiteY3" fmla="*/ 21552 h 59253"/>
                    <a:gd name="connsiteX4" fmla="*/ 51084 w 53069"/>
                    <a:gd name="connsiteY4" fmla="*/ 52589 h 59253"/>
                    <a:gd name="connsiteX5" fmla="*/ 30941 w 53069"/>
                    <a:gd name="connsiteY5" fmla="*/ 58797 h 59253"/>
                    <a:gd name="connsiteX6" fmla="*/ 6112 w 53069"/>
                    <a:gd name="connsiteY6" fmla="*/ 42708 h 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9" h="59253">
                      <a:moveTo>
                        <a:pt x="6112" y="42708"/>
                      </a:moveTo>
                      <a:cubicBezTo>
                        <a:pt x="284" y="32700"/>
                        <a:pt x="-2249" y="23959"/>
                        <a:pt x="2438" y="12684"/>
                      </a:cubicBezTo>
                      <a:cubicBezTo>
                        <a:pt x="7379" y="650"/>
                        <a:pt x="15993" y="-1124"/>
                        <a:pt x="27901" y="523"/>
                      </a:cubicBezTo>
                      <a:cubicBezTo>
                        <a:pt x="41837" y="2423"/>
                        <a:pt x="48424" y="7617"/>
                        <a:pt x="50705" y="21552"/>
                      </a:cubicBezTo>
                      <a:cubicBezTo>
                        <a:pt x="52351" y="31687"/>
                        <a:pt x="54885" y="42581"/>
                        <a:pt x="51084" y="52589"/>
                      </a:cubicBezTo>
                      <a:cubicBezTo>
                        <a:pt x="48424" y="59684"/>
                        <a:pt x="37402" y="59810"/>
                        <a:pt x="30941" y="58797"/>
                      </a:cubicBezTo>
                      <a:cubicBezTo>
                        <a:pt x="19287" y="57150"/>
                        <a:pt x="12066" y="52843"/>
                        <a:pt x="6112" y="4270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8" name="Полилиния: фигура 477">
                  <a:extLst>
                    <a:ext uri="{FF2B5EF4-FFF2-40B4-BE49-F238E27FC236}">
                      <a16:creationId xmlns:a16="http://schemas.microsoft.com/office/drawing/2014/main" id="{64F29EDD-E47E-4804-976E-8AC53AC659E8}"/>
                    </a:ext>
                  </a:extLst>
                </p:cNvPr>
                <p:cNvSpPr/>
                <p:nvPr/>
              </p:nvSpPr>
              <p:spPr>
                <a:xfrm>
                  <a:off x="9580658" y="2105325"/>
                  <a:ext cx="182931" cy="138187"/>
                </a:xfrm>
                <a:custGeom>
                  <a:avLst/>
                  <a:gdLst>
                    <a:gd name="connsiteX0" fmla="*/ 18412 w 182931"/>
                    <a:gd name="connsiteY0" fmla="*/ 137637 h 138187"/>
                    <a:gd name="connsiteX1" fmla="*/ 296 w 182931"/>
                    <a:gd name="connsiteY1" fmla="*/ 130670 h 138187"/>
                    <a:gd name="connsiteX2" fmla="*/ 9671 w 182931"/>
                    <a:gd name="connsiteY2" fmla="*/ 110020 h 138187"/>
                    <a:gd name="connsiteX3" fmla="*/ 17018 w 182931"/>
                    <a:gd name="connsiteY3" fmla="*/ 83290 h 138187"/>
                    <a:gd name="connsiteX4" fmla="*/ 13471 w 182931"/>
                    <a:gd name="connsiteY4" fmla="*/ 56434 h 138187"/>
                    <a:gd name="connsiteX5" fmla="*/ 17525 w 182931"/>
                    <a:gd name="connsiteY5" fmla="*/ 35151 h 138187"/>
                    <a:gd name="connsiteX6" fmla="*/ 28546 w 182931"/>
                    <a:gd name="connsiteY6" fmla="*/ 9054 h 138187"/>
                    <a:gd name="connsiteX7" fmla="*/ 50335 w 182931"/>
                    <a:gd name="connsiteY7" fmla="*/ 1707 h 138187"/>
                    <a:gd name="connsiteX8" fmla="*/ 97588 w 182931"/>
                    <a:gd name="connsiteY8" fmla="*/ 5254 h 138187"/>
                    <a:gd name="connsiteX9" fmla="*/ 123558 w 182931"/>
                    <a:gd name="connsiteY9" fmla="*/ 19569 h 138187"/>
                    <a:gd name="connsiteX10" fmla="*/ 145601 w 182931"/>
                    <a:gd name="connsiteY10" fmla="*/ 26030 h 138187"/>
                    <a:gd name="connsiteX11" fmla="*/ 161436 w 182931"/>
                    <a:gd name="connsiteY11" fmla="*/ 42245 h 138187"/>
                    <a:gd name="connsiteX12" fmla="*/ 180819 w 182931"/>
                    <a:gd name="connsiteY12" fmla="*/ 60741 h 138187"/>
                    <a:gd name="connsiteX13" fmla="*/ 176258 w 182931"/>
                    <a:gd name="connsiteY13" fmla="*/ 78857 h 138187"/>
                    <a:gd name="connsiteX14" fmla="*/ 151681 w 182931"/>
                    <a:gd name="connsiteY14" fmla="*/ 82657 h 138187"/>
                    <a:gd name="connsiteX15" fmla="*/ 107090 w 182931"/>
                    <a:gd name="connsiteY15" fmla="*/ 106093 h 138187"/>
                    <a:gd name="connsiteX16" fmla="*/ 73392 w 182931"/>
                    <a:gd name="connsiteY16" fmla="*/ 123702 h 138187"/>
                    <a:gd name="connsiteX17" fmla="*/ 56669 w 182931"/>
                    <a:gd name="connsiteY17" fmla="*/ 116988 h 138187"/>
                    <a:gd name="connsiteX18" fmla="*/ 34247 w 182931"/>
                    <a:gd name="connsiteY18" fmla="*/ 127376 h 138187"/>
                    <a:gd name="connsiteX19" fmla="*/ 18412 w 182931"/>
                    <a:gd name="connsiteY19" fmla="*/ 137637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931" h="138187">
                      <a:moveTo>
                        <a:pt x="18412" y="137637"/>
                      </a:moveTo>
                      <a:cubicBezTo>
                        <a:pt x="12204" y="139031"/>
                        <a:pt x="2196" y="138144"/>
                        <a:pt x="296" y="130670"/>
                      </a:cubicBezTo>
                      <a:cubicBezTo>
                        <a:pt x="-1604" y="123322"/>
                        <a:pt x="6123" y="115594"/>
                        <a:pt x="9671" y="110020"/>
                      </a:cubicBezTo>
                      <a:cubicBezTo>
                        <a:pt x="15118" y="101786"/>
                        <a:pt x="17652" y="93172"/>
                        <a:pt x="17018" y="83290"/>
                      </a:cubicBezTo>
                      <a:cubicBezTo>
                        <a:pt x="16511" y="74296"/>
                        <a:pt x="13851" y="65555"/>
                        <a:pt x="13471" y="56434"/>
                      </a:cubicBezTo>
                      <a:cubicBezTo>
                        <a:pt x="13217" y="49086"/>
                        <a:pt x="15371" y="42119"/>
                        <a:pt x="17525" y="35151"/>
                      </a:cubicBezTo>
                      <a:cubicBezTo>
                        <a:pt x="20185" y="26410"/>
                        <a:pt x="22719" y="16275"/>
                        <a:pt x="28546" y="9054"/>
                      </a:cubicBezTo>
                      <a:cubicBezTo>
                        <a:pt x="34120" y="2087"/>
                        <a:pt x="41975" y="1580"/>
                        <a:pt x="50335" y="1707"/>
                      </a:cubicBezTo>
                      <a:cubicBezTo>
                        <a:pt x="66551" y="1960"/>
                        <a:pt x="83273" y="-4120"/>
                        <a:pt x="97588" y="5254"/>
                      </a:cubicBezTo>
                      <a:cubicBezTo>
                        <a:pt x="105949" y="10828"/>
                        <a:pt x="113803" y="16529"/>
                        <a:pt x="123558" y="19569"/>
                      </a:cubicBezTo>
                      <a:cubicBezTo>
                        <a:pt x="130779" y="21849"/>
                        <a:pt x="139140" y="21976"/>
                        <a:pt x="145601" y="26030"/>
                      </a:cubicBezTo>
                      <a:cubicBezTo>
                        <a:pt x="151935" y="30084"/>
                        <a:pt x="156116" y="37051"/>
                        <a:pt x="161436" y="42245"/>
                      </a:cubicBezTo>
                      <a:cubicBezTo>
                        <a:pt x="167643" y="48326"/>
                        <a:pt x="176258" y="53267"/>
                        <a:pt x="180819" y="60741"/>
                      </a:cubicBezTo>
                      <a:cubicBezTo>
                        <a:pt x="184999" y="67455"/>
                        <a:pt x="182719" y="74549"/>
                        <a:pt x="176258" y="78857"/>
                      </a:cubicBezTo>
                      <a:cubicBezTo>
                        <a:pt x="168911" y="83670"/>
                        <a:pt x="160043" y="83164"/>
                        <a:pt x="151681" y="82657"/>
                      </a:cubicBezTo>
                      <a:cubicBezTo>
                        <a:pt x="132679" y="81770"/>
                        <a:pt x="120264" y="93932"/>
                        <a:pt x="107090" y="106093"/>
                      </a:cubicBezTo>
                      <a:cubicBezTo>
                        <a:pt x="98095" y="114454"/>
                        <a:pt x="87707" y="129403"/>
                        <a:pt x="73392" y="123702"/>
                      </a:cubicBezTo>
                      <a:cubicBezTo>
                        <a:pt x="67057" y="121169"/>
                        <a:pt x="64017" y="115468"/>
                        <a:pt x="56669" y="116988"/>
                      </a:cubicBezTo>
                      <a:cubicBezTo>
                        <a:pt x="49069" y="118635"/>
                        <a:pt x="40328" y="122562"/>
                        <a:pt x="34247" y="127376"/>
                      </a:cubicBezTo>
                      <a:cubicBezTo>
                        <a:pt x="29180" y="131683"/>
                        <a:pt x="25506" y="136117"/>
                        <a:pt x="18412" y="1376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79" name="Полилиния: фигура 478">
                  <a:extLst>
                    <a:ext uri="{FF2B5EF4-FFF2-40B4-BE49-F238E27FC236}">
                      <a16:creationId xmlns:a16="http://schemas.microsoft.com/office/drawing/2014/main" id="{3F2C7B5B-0058-49B6-865B-33A9F938549F}"/>
                    </a:ext>
                  </a:extLst>
                </p:cNvPr>
                <p:cNvSpPr/>
                <p:nvPr/>
              </p:nvSpPr>
              <p:spPr>
                <a:xfrm>
                  <a:off x="9175012" y="1987116"/>
                  <a:ext cx="56049" cy="81559"/>
                </a:xfrm>
                <a:custGeom>
                  <a:avLst/>
                  <a:gdLst>
                    <a:gd name="connsiteX0" fmla="*/ 7145 w 56049"/>
                    <a:gd name="connsiteY0" fmla="*/ 31998 h 81559"/>
                    <a:gd name="connsiteX1" fmla="*/ 4232 w 56049"/>
                    <a:gd name="connsiteY1" fmla="*/ 74 h 81559"/>
                    <a:gd name="connsiteX2" fmla="*/ 18420 w 56049"/>
                    <a:gd name="connsiteY2" fmla="*/ 14263 h 81559"/>
                    <a:gd name="connsiteX3" fmla="*/ 34762 w 56049"/>
                    <a:gd name="connsiteY3" fmla="*/ 21357 h 81559"/>
                    <a:gd name="connsiteX4" fmla="*/ 38182 w 56049"/>
                    <a:gd name="connsiteY4" fmla="*/ 40233 h 81559"/>
                    <a:gd name="connsiteX5" fmla="*/ 44010 w 56049"/>
                    <a:gd name="connsiteY5" fmla="*/ 57968 h 81559"/>
                    <a:gd name="connsiteX6" fmla="*/ 56044 w 56049"/>
                    <a:gd name="connsiteY6" fmla="*/ 73804 h 81559"/>
                    <a:gd name="connsiteX7" fmla="*/ 39449 w 56049"/>
                    <a:gd name="connsiteY7" fmla="*/ 81151 h 81559"/>
                    <a:gd name="connsiteX8" fmla="*/ 28681 w 56049"/>
                    <a:gd name="connsiteY8" fmla="*/ 71650 h 81559"/>
                    <a:gd name="connsiteX9" fmla="*/ 20067 w 56049"/>
                    <a:gd name="connsiteY9" fmla="*/ 60755 h 81559"/>
                    <a:gd name="connsiteX10" fmla="*/ 7145 w 56049"/>
                    <a:gd name="connsiteY10" fmla="*/ 31998 h 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049" h="81559">
                      <a:moveTo>
                        <a:pt x="7145" y="31998"/>
                      </a:moveTo>
                      <a:cubicBezTo>
                        <a:pt x="5371" y="26931"/>
                        <a:pt x="-6030" y="2355"/>
                        <a:pt x="4232" y="74"/>
                      </a:cubicBezTo>
                      <a:cubicBezTo>
                        <a:pt x="9552" y="-1066"/>
                        <a:pt x="15126" y="11222"/>
                        <a:pt x="18420" y="14263"/>
                      </a:cubicBezTo>
                      <a:cubicBezTo>
                        <a:pt x="23234" y="18697"/>
                        <a:pt x="30201" y="17303"/>
                        <a:pt x="34762" y="21357"/>
                      </a:cubicBezTo>
                      <a:cubicBezTo>
                        <a:pt x="39702" y="25664"/>
                        <a:pt x="38182" y="34405"/>
                        <a:pt x="38182" y="40233"/>
                      </a:cubicBezTo>
                      <a:cubicBezTo>
                        <a:pt x="38309" y="46947"/>
                        <a:pt x="39702" y="52774"/>
                        <a:pt x="44010" y="57968"/>
                      </a:cubicBezTo>
                      <a:cubicBezTo>
                        <a:pt x="47937" y="62782"/>
                        <a:pt x="56298" y="66709"/>
                        <a:pt x="56044" y="73804"/>
                      </a:cubicBezTo>
                      <a:cubicBezTo>
                        <a:pt x="55791" y="81405"/>
                        <a:pt x="45277" y="82291"/>
                        <a:pt x="39449" y="81151"/>
                      </a:cubicBezTo>
                      <a:cubicBezTo>
                        <a:pt x="34382" y="80138"/>
                        <a:pt x="31342" y="75831"/>
                        <a:pt x="28681" y="71650"/>
                      </a:cubicBezTo>
                      <a:cubicBezTo>
                        <a:pt x="26021" y="67470"/>
                        <a:pt x="23234" y="64556"/>
                        <a:pt x="20067" y="60755"/>
                      </a:cubicBezTo>
                      <a:cubicBezTo>
                        <a:pt x="13099" y="52648"/>
                        <a:pt x="10566" y="41880"/>
                        <a:pt x="7145" y="319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0" name="Полилиния: фигура 479">
                  <a:extLst>
                    <a:ext uri="{FF2B5EF4-FFF2-40B4-BE49-F238E27FC236}">
                      <a16:creationId xmlns:a16="http://schemas.microsoft.com/office/drawing/2014/main" id="{69C74E87-713D-48B2-ABB2-8CCCEA28BC3F}"/>
                    </a:ext>
                  </a:extLst>
                </p:cNvPr>
                <p:cNvSpPr/>
                <p:nvPr/>
              </p:nvSpPr>
              <p:spPr>
                <a:xfrm>
                  <a:off x="9322323" y="2241043"/>
                  <a:ext cx="57903" cy="28526"/>
                </a:xfrm>
                <a:custGeom>
                  <a:avLst/>
                  <a:gdLst>
                    <a:gd name="connsiteX0" fmla="*/ 2859 w 57903"/>
                    <a:gd name="connsiteY0" fmla="*/ 1539 h 28526"/>
                    <a:gd name="connsiteX1" fmla="*/ 30096 w 57903"/>
                    <a:gd name="connsiteY1" fmla="*/ 5719 h 28526"/>
                    <a:gd name="connsiteX2" fmla="*/ 53658 w 57903"/>
                    <a:gd name="connsiteY2" fmla="*/ 12686 h 28526"/>
                    <a:gd name="connsiteX3" fmla="*/ 50998 w 57903"/>
                    <a:gd name="connsiteY3" fmla="*/ 28522 h 28526"/>
                    <a:gd name="connsiteX4" fmla="*/ 16414 w 57903"/>
                    <a:gd name="connsiteY4" fmla="*/ 19401 h 28526"/>
                    <a:gd name="connsiteX5" fmla="*/ 2859 w 57903"/>
                    <a:gd name="connsiteY5" fmla="*/ 1539 h 2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3" h="28526">
                      <a:moveTo>
                        <a:pt x="2859" y="1539"/>
                      </a:moveTo>
                      <a:cubicBezTo>
                        <a:pt x="11600" y="-2769"/>
                        <a:pt x="21862" y="3059"/>
                        <a:pt x="30096" y="5719"/>
                      </a:cubicBezTo>
                      <a:cubicBezTo>
                        <a:pt x="37317" y="7999"/>
                        <a:pt x="47705" y="7619"/>
                        <a:pt x="53658" y="12686"/>
                      </a:cubicBezTo>
                      <a:cubicBezTo>
                        <a:pt x="59232" y="17627"/>
                        <a:pt x="60246" y="28775"/>
                        <a:pt x="50998" y="28522"/>
                      </a:cubicBezTo>
                      <a:cubicBezTo>
                        <a:pt x="39090" y="28269"/>
                        <a:pt x="26042" y="27002"/>
                        <a:pt x="16414" y="19401"/>
                      </a:cubicBezTo>
                      <a:cubicBezTo>
                        <a:pt x="12486" y="16234"/>
                        <a:pt x="-7276" y="6479"/>
                        <a:pt x="2859" y="153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1" name="Полилиния: фигура 480">
                  <a:extLst>
                    <a:ext uri="{FF2B5EF4-FFF2-40B4-BE49-F238E27FC236}">
                      <a16:creationId xmlns:a16="http://schemas.microsoft.com/office/drawing/2014/main" id="{A7DF0495-52E7-4BC1-A24F-399B41897AC6}"/>
                    </a:ext>
                  </a:extLst>
                </p:cNvPr>
                <p:cNvSpPr/>
                <p:nvPr/>
              </p:nvSpPr>
              <p:spPr>
                <a:xfrm>
                  <a:off x="9247423" y="1777191"/>
                  <a:ext cx="355592" cy="316568"/>
                </a:xfrm>
                <a:custGeom>
                  <a:avLst/>
                  <a:gdLst>
                    <a:gd name="connsiteX0" fmla="*/ 181638 w 355592"/>
                    <a:gd name="connsiteY0" fmla="*/ 271820 h 316568"/>
                    <a:gd name="connsiteX1" fmla="*/ 185439 w 355592"/>
                    <a:gd name="connsiteY1" fmla="*/ 295509 h 316568"/>
                    <a:gd name="connsiteX2" fmla="*/ 167957 w 355592"/>
                    <a:gd name="connsiteY2" fmla="*/ 306657 h 316568"/>
                    <a:gd name="connsiteX3" fmla="*/ 150221 w 355592"/>
                    <a:gd name="connsiteY3" fmla="*/ 311471 h 316568"/>
                    <a:gd name="connsiteX4" fmla="*/ 138440 w 355592"/>
                    <a:gd name="connsiteY4" fmla="*/ 316539 h 316568"/>
                    <a:gd name="connsiteX5" fmla="*/ 112723 w 355592"/>
                    <a:gd name="connsiteY5" fmla="*/ 294242 h 316568"/>
                    <a:gd name="connsiteX6" fmla="*/ 75352 w 355592"/>
                    <a:gd name="connsiteY6" fmla="*/ 290695 h 316568"/>
                    <a:gd name="connsiteX7" fmla="*/ 39880 w 355592"/>
                    <a:gd name="connsiteY7" fmla="*/ 276380 h 316568"/>
                    <a:gd name="connsiteX8" fmla="*/ 31899 w 355592"/>
                    <a:gd name="connsiteY8" fmla="*/ 246737 h 316568"/>
                    <a:gd name="connsiteX9" fmla="*/ 35953 w 355592"/>
                    <a:gd name="connsiteY9" fmla="*/ 230521 h 316568"/>
                    <a:gd name="connsiteX10" fmla="*/ 23159 w 355592"/>
                    <a:gd name="connsiteY10" fmla="*/ 219373 h 316568"/>
                    <a:gd name="connsiteX11" fmla="*/ 7703 w 355592"/>
                    <a:gd name="connsiteY11" fmla="*/ 208605 h 316568"/>
                    <a:gd name="connsiteX12" fmla="*/ 12771 w 355592"/>
                    <a:gd name="connsiteY12" fmla="*/ 192896 h 316568"/>
                    <a:gd name="connsiteX13" fmla="*/ 18978 w 355592"/>
                    <a:gd name="connsiteY13" fmla="*/ 179468 h 316568"/>
                    <a:gd name="connsiteX14" fmla="*/ 7324 w 355592"/>
                    <a:gd name="connsiteY14" fmla="*/ 172121 h 316568"/>
                    <a:gd name="connsiteX15" fmla="*/ 7197 w 355592"/>
                    <a:gd name="connsiteY15" fmla="*/ 147924 h 316568"/>
                    <a:gd name="connsiteX16" fmla="*/ 13784 w 355592"/>
                    <a:gd name="connsiteY16" fmla="*/ 125248 h 316568"/>
                    <a:gd name="connsiteX17" fmla="*/ 14671 w 355592"/>
                    <a:gd name="connsiteY17" fmla="*/ 109286 h 316568"/>
                    <a:gd name="connsiteX18" fmla="*/ 22145 w 355592"/>
                    <a:gd name="connsiteY18" fmla="*/ 100545 h 316568"/>
                    <a:gd name="connsiteX19" fmla="*/ 37347 w 355592"/>
                    <a:gd name="connsiteY19" fmla="*/ 79516 h 316568"/>
                    <a:gd name="connsiteX20" fmla="*/ 53056 w 355592"/>
                    <a:gd name="connsiteY20" fmla="*/ 86230 h 316568"/>
                    <a:gd name="connsiteX21" fmla="*/ 63570 w 355592"/>
                    <a:gd name="connsiteY21" fmla="*/ 94591 h 316568"/>
                    <a:gd name="connsiteX22" fmla="*/ 91187 w 355592"/>
                    <a:gd name="connsiteY22" fmla="*/ 94591 h 316568"/>
                    <a:gd name="connsiteX23" fmla="*/ 121084 w 355592"/>
                    <a:gd name="connsiteY23" fmla="*/ 111946 h 316568"/>
                    <a:gd name="connsiteX24" fmla="*/ 136033 w 355592"/>
                    <a:gd name="connsiteY24" fmla="*/ 126895 h 316568"/>
                    <a:gd name="connsiteX25" fmla="*/ 161496 w 355592"/>
                    <a:gd name="connsiteY25" fmla="*/ 125628 h 316568"/>
                    <a:gd name="connsiteX26" fmla="*/ 167957 w 355592"/>
                    <a:gd name="connsiteY26" fmla="*/ 102952 h 316568"/>
                    <a:gd name="connsiteX27" fmla="*/ 151741 w 355592"/>
                    <a:gd name="connsiteY27" fmla="*/ 90030 h 316568"/>
                    <a:gd name="connsiteX28" fmla="*/ 133499 w 355592"/>
                    <a:gd name="connsiteY28" fmla="*/ 81669 h 316568"/>
                    <a:gd name="connsiteX29" fmla="*/ 132866 w 355592"/>
                    <a:gd name="connsiteY29" fmla="*/ 60007 h 316568"/>
                    <a:gd name="connsiteX30" fmla="*/ 127165 w 355592"/>
                    <a:gd name="connsiteY30" fmla="*/ 42524 h 316568"/>
                    <a:gd name="connsiteX31" fmla="*/ 148701 w 355592"/>
                    <a:gd name="connsiteY31" fmla="*/ 33657 h 316568"/>
                    <a:gd name="connsiteX32" fmla="*/ 197347 w 355592"/>
                    <a:gd name="connsiteY32" fmla="*/ 42398 h 316568"/>
                    <a:gd name="connsiteX33" fmla="*/ 234085 w 355592"/>
                    <a:gd name="connsiteY33" fmla="*/ 24535 h 316568"/>
                    <a:gd name="connsiteX34" fmla="*/ 250807 w 355592"/>
                    <a:gd name="connsiteY34" fmla="*/ 12501 h 316568"/>
                    <a:gd name="connsiteX35" fmla="*/ 265249 w 355592"/>
                    <a:gd name="connsiteY35" fmla="*/ 7433 h 316568"/>
                    <a:gd name="connsiteX36" fmla="*/ 277157 w 355592"/>
                    <a:gd name="connsiteY36" fmla="*/ 14274 h 316568"/>
                    <a:gd name="connsiteX37" fmla="*/ 313261 w 355592"/>
                    <a:gd name="connsiteY37" fmla="*/ 1479 h 316568"/>
                    <a:gd name="connsiteX38" fmla="*/ 330110 w 355592"/>
                    <a:gd name="connsiteY38" fmla="*/ 38977 h 316568"/>
                    <a:gd name="connsiteX39" fmla="*/ 341385 w 355592"/>
                    <a:gd name="connsiteY39" fmla="*/ 57600 h 316568"/>
                    <a:gd name="connsiteX40" fmla="*/ 343285 w 355592"/>
                    <a:gd name="connsiteY40" fmla="*/ 70395 h 316568"/>
                    <a:gd name="connsiteX41" fmla="*/ 345692 w 355592"/>
                    <a:gd name="connsiteY41" fmla="*/ 91044 h 316568"/>
                    <a:gd name="connsiteX42" fmla="*/ 355193 w 355592"/>
                    <a:gd name="connsiteY42" fmla="*/ 111566 h 316568"/>
                    <a:gd name="connsiteX43" fmla="*/ 335051 w 355592"/>
                    <a:gd name="connsiteY43" fmla="*/ 131836 h 316568"/>
                    <a:gd name="connsiteX44" fmla="*/ 291979 w 355592"/>
                    <a:gd name="connsiteY44" fmla="*/ 129682 h 316568"/>
                    <a:gd name="connsiteX45" fmla="*/ 255367 w 355592"/>
                    <a:gd name="connsiteY45" fmla="*/ 121574 h 316568"/>
                    <a:gd name="connsiteX46" fmla="*/ 238645 w 355592"/>
                    <a:gd name="connsiteY46" fmla="*/ 98138 h 316568"/>
                    <a:gd name="connsiteX47" fmla="*/ 233452 w 355592"/>
                    <a:gd name="connsiteY47" fmla="*/ 76602 h 316568"/>
                    <a:gd name="connsiteX48" fmla="*/ 232311 w 355592"/>
                    <a:gd name="connsiteY48" fmla="*/ 61020 h 316568"/>
                    <a:gd name="connsiteX49" fmla="*/ 221797 w 355592"/>
                    <a:gd name="connsiteY49" fmla="*/ 62033 h 316568"/>
                    <a:gd name="connsiteX50" fmla="*/ 217489 w 355592"/>
                    <a:gd name="connsiteY50" fmla="*/ 116507 h 316568"/>
                    <a:gd name="connsiteX51" fmla="*/ 241052 w 355592"/>
                    <a:gd name="connsiteY51" fmla="*/ 137156 h 316568"/>
                    <a:gd name="connsiteX52" fmla="*/ 256127 w 355592"/>
                    <a:gd name="connsiteY52" fmla="*/ 147797 h 316568"/>
                    <a:gd name="connsiteX53" fmla="*/ 279564 w 355592"/>
                    <a:gd name="connsiteY53" fmla="*/ 149064 h 316568"/>
                    <a:gd name="connsiteX54" fmla="*/ 320736 w 355592"/>
                    <a:gd name="connsiteY54" fmla="*/ 155145 h 316568"/>
                    <a:gd name="connsiteX55" fmla="*/ 322509 w 355592"/>
                    <a:gd name="connsiteY55" fmla="*/ 168193 h 316568"/>
                    <a:gd name="connsiteX56" fmla="*/ 314529 w 355592"/>
                    <a:gd name="connsiteY56" fmla="*/ 180228 h 316568"/>
                    <a:gd name="connsiteX57" fmla="*/ 302240 w 355592"/>
                    <a:gd name="connsiteY57" fmla="*/ 195303 h 316568"/>
                    <a:gd name="connsiteX58" fmla="*/ 295146 w 355592"/>
                    <a:gd name="connsiteY58" fmla="*/ 196064 h 316568"/>
                    <a:gd name="connsiteX59" fmla="*/ 279817 w 355592"/>
                    <a:gd name="connsiteY59" fmla="*/ 192896 h 316568"/>
                    <a:gd name="connsiteX60" fmla="*/ 261068 w 355592"/>
                    <a:gd name="connsiteY60" fmla="*/ 185422 h 316568"/>
                    <a:gd name="connsiteX61" fmla="*/ 253087 w 355592"/>
                    <a:gd name="connsiteY61" fmla="*/ 206832 h 316568"/>
                    <a:gd name="connsiteX62" fmla="*/ 235099 w 355592"/>
                    <a:gd name="connsiteY62" fmla="*/ 220767 h 316568"/>
                    <a:gd name="connsiteX63" fmla="*/ 223444 w 355592"/>
                    <a:gd name="connsiteY63" fmla="*/ 232928 h 316568"/>
                    <a:gd name="connsiteX64" fmla="*/ 216983 w 355592"/>
                    <a:gd name="connsiteY64" fmla="*/ 247117 h 316568"/>
                    <a:gd name="connsiteX65" fmla="*/ 207988 w 355592"/>
                    <a:gd name="connsiteY65" fmla="*/ 256364 h 316568"/>
                    <a:gd name="connsiteX66" fmla="*/ 198107 w 355592"/>
                    <a:gd name="connsiteY66" fmla="*/ 262192 h 316568"/>
                    <a:gd name="connsiteX67" fmla="*/ 191013 w 355592"/>
                    <a:gd name="connsiteY67" fmla="*/ 257251 h 316568"/>
                    <a:gd name="connsiteX68" fmla="*/ 183412 w 355592"/>
                    <a:gd name="connsiteY68" fmla="*/ 238882 h 316568"/>
                    <a:gd name="connsiteX69" fmla="*/ 180245 w 355592"/>
                    <a:gd name="connsiteY69" fmla="*/ 229381 h 316568"/>
                    <a:gd name="connsiteX70" fmla="*/ 174291 w 355592"/>
                    <a:gd name="connsiteY70" fmla="*/ 234702 h 316568"/>
                    <a:gd name="connsiteX71" fmla="*/ 170237 w 355592"/>
                    <a:gd name="connsiteY71" fmla="*/ 249017 h 316568"/>
                    <a:gd name="connsiteX72" fmla="*/ 177965 w 355592"/>
                    <a:gd name="connsiteY72" fmla="*/ 262065 h 316568"/>
                    <a:gd name="connsiteX73" fmla="*/ 181638 w 355592"/>
                    <a:gd name="connsiteY73" fmla="*/ 271820 h 31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592" h="316568">
                      <a:moveTo>
                        <a:pt x="181638" y="271820"/>
                      </a:moveTo>
                      <a:cubicBezTo>
                        <a:pt x="184426" y="279674"/>
                        <a:pt x="186959" y="287908"/>
                        <a:pt x="185439" y="295509"/>
                      </a:cubicBezTo>
                      <a:cubicBezTo>
                        <a:pt x="183285" y="306151"/>
                        <a:pt x="177078" y="306404"/>
                        <a:pt x="167957" y="306657"/>
                      </a:cubicBezTo>
                      <a:cubicBezTo>
                        <a:pt x="161623" y="306911"/>
                        <a:pt x="155795" y="308304"/>
                        <a:pt x="150221" y="311471"/>
                      </a:cubicBezTo>
                      <a:cubicBezTo>
                        <a:pt x="146548" y="313625"/>
                        <a:pt x="143000" y="316919"/>
                        <a:pt x="138440" y="316539"/>
                      </a:cubicBezTo>
                      <a:cubicBezTo>
                        <a:pt x="127165" y="315779"/>
                        <a:pt x="120957" y="300323"/>
                        <a:pt x="112723" y="294242"/>
                      </a:cubicBezTo>
                      <a:cubicBezTo>
                        <a:pt x="102588" y="286642"/>
                        <a:pt x="87133" y="291329"/>
                        <a:pt x="75352" y="290695"/>
                      </a:cubicBezTo>
                      <a:cubicBezTo>
                        <a:pt x="61924" y="289935"/>
                        <a:pt x="49889" y="285375"/>
                        <a:pt x="39880" y="276380"/>
                      </a:cubicBezTo>
                      <a:cubicBezTo>
                        <a:pt x="30379" y="267893"/>
                        <a:pt x="27466" y="258771"/>
                        <a:pt x="31899" y="246737"/>
                      </a:cubicBezTo>
                      <a:cubicBezTo>
                        <a:pt x="33800" y="241796"/>
                        <a:pt x="37221" y="235969"/>
                        <a:pt x="35953" y="230521"/>
                      </a:cubicBezTo>
                      <a:cubicBezTo>
                        <a:pt x="34687" y="224567"/>
                        <a:pt x="28099" y="221780"/>
                        <a:pt x="23159" y="219373"/>
                      </a:cubicBezTo>
                      <a:cubicBezTo>
                        <a:pt x="18091" y="216839"/>
                        <a:pt x="10110" y="214432"/>
                        <a:pt x="7703" y="208605"/>
                      </a:cubicBezTo>
                      <a:cubicBezTo>
                        <a:pt x="5423" y="203031"/>
                        <a:pt x="9730" y="197204"/>
                        <a:pt x="12771" y="192896"/>
                      </a:cubicBezTo>
                      <a:cubicBezTo>
                        <a:pt x="15178" y="189476"/>
                        <a:pt x="20625" y="184029"/>
                        <a:pt x="18978" y="179468"/>
                      </a:cubicBezTo>
                      <a:cubicBezTo>
                        <a:pt x="17458" y="175288"/>
                        <a:pt x="10744" y="173894"/>
                        <a:pt x="7324" y="172121"/>
                      </a:cubicBezTo>
                      <a:cubicBezTo>
                        <a:pt x="-5345" y="165786"/>
                        <a:pt x="990" y="157045"/>
                        <a:pt x="7197" y="147924"/>
                      </a:cubicBezTo>
                      <a:cubicBezTo>
                        <a:pt x="11757" y="141083"/>
                        <a:pt x="14037" y="133356"/>
                        <a:pt x="13784" y="125248"/>
                      </a:cubicBezTo>
                      <a:cubicBezTo>
                        <a:pt x="13658" y="119927"/>
                        <a:pt x="12011" y="114227"/>
                        <a:pt x="14671" y="109286"/>
                      </a:cubicBezTo>
                      <a:cubicBezTo>
                        <a:pt x="16444" y="105866"/>
                        <a:pt x="19992" y="103585"/>
                        <a:pt x="22145" y="100545"/>
                      </a:cubicBezTo>
                      <a:cubicBezTo>
                        <a:pt x="28353" y="91677"/>
                        <a:pt x="21638" y="77109"/>
                        <a:pt x="37347" y="79516"/>
                      </a:cubicBezTo>
                      <a:cubicBezTo>
                        <a:pt x="43555" y="80402"/>
                        <a:pt x="49256" y="80656"/>
                        <a:pt x="53056" y="86230"/>
                      </a:cubicBezTo>
                      <a:cubicBezTo>
                        <a:pt x="56096" y="90917"/>
                        <a:pt x="57743" y="93197"/>
                        <a:pt x="63570" y="94591"/>
                      </a:cubicBezTo>
                      <a:cubicBezTo>
                        <a:pt x="72818" y="96871"/>
                        <a:pt x="81939" y="93577"/>
                        <a:pt x="91187" y="94591"/>
                      </a:cubicBezTo>
                      <a:cubicBezTo>
                        <a:pt x="103222" y="95984"/>
                        <a:pt x="112216" y="104599"/>
                        <a:pt x="121084" y="111946"/>
                      </a:cubicBezTo>
                      <a:cubicBezTo>
                        <a:pt x="126278" y="116380"/>
                        <a:pt x="130205" y="123474"/>
                        <a:pt x="136033" y="126895"/>
                      </a:cubicBezTo>
                      <a:cubicBezTo>
                        <a:pt x="142240" y="130442"/>
                        <a:pt x="156302" y="131582"/>
                        <a:pt x="161496" y="125628"/>
                      </a:cubicBezTo>
                      <a:cubicBezTo>
                        <a:pt x="165930" y="120561"/>
                        <a:pt x="169350" y="109539"/>
                        <a:pt x="167957" y="102952"/>
                      </a:cubicBezTo>
                      <a:cubicBezTo>
                        <a:pt x="166563" y="95604"/>
                        <a:pt x="157949" y="92184"/>
                        <a:pt x="151741" y="90030"/>
                      </a:cubicBezTo>
                      <a:cubicBezTo>
                        <a:pt x="146294" y="88257"/>
                        <a:pt x="136033" y="87243"/>
                        <a:pt x="133499" y="81669"/>
                      </a:cubicBezTo>
                      <a:cubicBezTo>
                        <a:pt x="130332" y="74828"/>
                        <a:pt x="133626" y="67227"/>
                        <a:pt x="132866" y="60007"/>
                      </a:cubicBezTo>
                      <a:cubicBezTo>
                        <a:pt x="132106" y="53546"/>
                        <a:pt x="127545" y="49619"/>
                        <a:pt x="127165" y="42524"/>
                      </a:cubicBezTo>
                      <a:cubicBezTo>
                        <a:pt x="126658" y="29476"/>
                        <a:pt x="139579" y="31503"/>
                        <a:pt x="148701" y="33657"/>
                      </a:cubicBezTo>
                      <a:cubicBezTo>
                        <a:pt x="164663" y="37584"/>
                        <a:pt x="180498" y="43538"/>
                        <a:pt x="197347" y="42398"/>
                      </a:cubicBezTo>
                      <a:cubicBezTo>
                        <a:pt x="212042" y="41384"/>
                        <a:pt x="223317" y="34037"/>
                        <a:pt x="234085" y="24535"/>
                      </a:cubicBezTo>
                      <a:cubicBezTo>
                        <a:pt x="239405" y="19848"/>
                        <a:pt x="244853" y="16301"/>
                        <a:pt x="250807" y="12501"/>
                      </a:cubicBezTo>
                      <a:cubicBezTo>
                        <a:pt x="255115" y="9714"/>
                        <a:pt x="259675" y="5153"/>
                        <a:pt x="265249" y="7433"/>
                      </a:cubicBezTo>
                      <a:cubicBezTo>
                        <a:pt x="269303" y="9080"/>
                        <a:pt x="273610" y="11740"/>
                        <a:pt x="277157" y="14274"/>
                      </a:cubicBezTo>
                      <a:cubicBezTo>
                        <a:pt x="292106" y="24789"/>
                        <a:pt x="300466" y="6673"/>
                        <a:pt x="313261" y="1479"/>
                      </a:cubicBezTo>
                      <a:cubicBezTo>
                        <a:pt x="335431" y="-7642"/>
                        <a:pt x="329224" y="27956"/>
                        <a:pt x="330110" y="38977"/>
                      </a:cubicBezTo>
                      <a:cubicBezTo>
                        <a:pt x="330744" y="46325"/>
                        <a:pt x="337205" y="51645"/>
                        <a:pt x="341385" y="57600"/>
                      </a:cubicBezTo>
                      <a:cubicBezTo>
                        <a:pt x="343918" y="61147"/>
                        <a:pt x="343539" y="66214"/>
                        <a:pt x="343285" y="70395"/>
                      </a:cubicBezTo>
                      <a:cubicBezTo>
                        <a:pt x="342779" y="78249"/>
                        <a:pt x="341892" y="83696"/>
                        <a:pt x="345692" y="91044"/>
                      </a:cubicBezTo>
                      <a:cubicBezTo>
                        <a:pt x="349113" y="97631"/>
                        <a:pt x="353294" y="104345"/>
                        <a:pt x="355193" y="111566"/>
                      </a:cubicBezTo>
                      <a:cubicBezTo>
                        <a:pt x="358107" y="122714"/>
                        <a:pt x="344426" y="130949"/>
                        <a:pt x="335051" y="131836"/>
                      </a:cubicBezTo>
                      <a:cubicBezTo>
                        <a:pt x="321242" y="133229"/>
                        <a:pt x="305788" y="131709"/>
                        <a:pt x="291979" y="129682"/>
                      </a:cubicBezTo>
                      <a:cubicBezTo>
                        <a:pt x="280071" y="127908"/>
                        <a:pt x="266389" y="126768"/>
                        <a:pt x="255367" y="121574"/>
                      </a:cubicBezTo>
                      <a:cubicBezTo>
                        <a:pt x="245739" y="117140"/>
                        <a:pt x="242193" y="107513"/>
                        <a:pt x="238645" y="98138"/>
                      </a:cubicBezTo>
                      <a:cubicBezTo>
                        <a:pt x="235985" y="91297"/>
                        <a:pt x="231424" y="83569"/>
                        <a:pt x="233452" y="76602"/>
                      </a:cubicBezTo>
                      <a:cubicBezTo>
                        <a:pt x="234718" y="72675"/>
                        <a:pt x="236998" y="63680"/>
                        <a:pt x="232311" y="61020"/>
                      </a:cubicBezTo>
                      <a:cubicBezTo>
                        <a:pt x="230538" y="60007"/>
                        <a:pt x="223697" y="61400"/>
                        <a:pt x="221797" y="62033"/>
                      </a:cubicBezTo>
                      <a:cubicBezTo>
                        <a:pt x="201908" y="68874"/>
                        <a:pt x="211662" y="103332"/>
                        <a:pt x="217489" y="116507"/>
                      </a:cubicBezTo>
                      <a:cubicBezTo>
                        <a:pt x="221923" y="126515"/>
                        <a:pt x="232058" y="131836"/>
                        <a:pt x="241052" y="137156"/>
                      </a:cubicBezTo>
                      <a:cubicBezTo>
                        <a:pt x="246626" y="140450"/>
                        <a:pt x="251187" y="143997"/>
                        <a:pt x="256127" y="147797"/>
                      </a:cubicBezTo>
                      <a:cubicBezTo>
                        <a:pt x="261449" y="151851"/>
                        <a:pt x="272976" y="149318"/>
                        <a:pt x="279564" y="149064"/>
                      </a:cubicBezTo>
                      <a:cubicBezTo>
                        <a:pt x="291852" y="148684"/>
                        <a:pt x="310094" y="147544"/>
                        <a:pt x="320736" y="155145"/>
                      </a:cubicBezTo>
                      <a:cubicBezTo>
                        <a:pt x="325550" y="158566"/>
                        <a:pt x="324916" y="163253"/>
                        <a:pt x="322509" y="168193"/>
                      </a:cubicBezTo>
                      <a:cubicBezTo>
                        <a:pt x="320482" y="172501"/>
                        <a:pt x="317442" y="176428"/>
                        <a:pt x="314529" y="180228"/>
                      </a:cubicBezTo>
                      <a:cubicBezTo>
                        <a:pt x="311235" y="184535"/>
                        <a:pt x="306927" y="192516"/>
                        <a:pt x="302240" y="195303"/>
                      </a:cubicBezTo>
                      <a:cubicBezTo>
                        <a:pt x="299706" y="196950"/>
                        <a:pt x="298059" y="196317"/>
                        <a:pt x="295146" y="196064"/>
                      </a:cubicBezTo>
                      <a:cubicBezTo>
                        <a:pt x="289065" y="195684"/>
                        <a:pt x="284885" y="196317"/>
                        <a:pt x="279817" y="192896"/>
                      </a:cubicBezTo>
                      <a:cubicBezTo>
                        <a:pt x="274370" y="189223"/>
                        <a:pt x="267656" y="178455"/>
                        <a:pt x="261068" y="185422"/>
                      </a:cubicBezTo>
                      <a:cubicBezTo>
                        <a:pt x="255748" y="190996"/>
                        <a:pt x="256127" y="200117"/>
                        <a:pt x="253087" y="206832"/>
                      </a:cubicBezTo>
                      <a:cubicBezTo>
                        <a:pt x="249541" y="215066"/>
                        <a:pt x="242320" y="216586"/>
                        <a:pt x="235099" y="220767"/>
                      </a:cubicBezTo>
                      <a:cubicBezTo>
                        <a:pt x="230158" y="223554"/>
                        <a:pt x="226357" y="228114"/>
                        <a:pt x="223444" y="232928"/>
                      </a:cubicBezTo>
                      <a:cubicBezTo>
                        <a:pt x="220910" y="237362"/>
                        <a:pt x="220023" y="242936"/>
                        <a:pt x="216983" y="247117"/>
                      </a:cubicBezTo>
                      <a:cubicBezTo>
                        <a:pt x="214449" y="250537"/>
                        <a:pt x="210776" y="253071"/>
                        <a:pt x="207988" y="256364"/>
                      </a:cubicBezTo>
                      <a:cubicBezTo>
                        <a:pt x="205328" y="259532"/>
                        <a:pt x="202921" y="263965"/>
                        <a:pt x="198107" y="262192"/>
                      </a:cubicBezTo>
                      <a:cubicBezTo>
                        <a:pt x="195574" y="261178"/>
                        <a:pt x="192786" y="259151"/>
                        <a:pt x="191013" y="257251"/>
                      </a:cubicBezTo>
                      <a:cubicBezTo>
                        <a:pt x="185692" y="251424"/>
                        <a:pt x="183792" y="246737"/>
                        <a:pt x="183412" y="238882"/>
                      </a:cubicBezTo>
                      <a:cubicBezTo>
                        <a:pt x="183285" y="236349"/>
                        <a:pt x="183918" y="229761"/>
                        <a:pt x="180245" y="229381"/>
                      </a:cubicBezTo>
                      <a:cubicBezTo>
                        <a:pt x="177838" y="229128"/>
                        <a:pt x="175558" y="233182"/>
                        <a:pt x="174291" y="234702"/>
                      </a:cubicBezTo>
                      <a:cubicBezTo>
                        <a:pt x="170744" y="239389"/>
                        <a:pt x="166690" y="243063"/>
                        <a:pt x="170237" y="249017"/>
                      </a:cubicBezTo>
                      <a:cubicBezTo>
                        <a:pt x="173024" y="253577"/>
                        <a:pt x="176318" y="256871"/>
                        <a:pt x="177965" y="262065"/>
                      </a:cubicBezTo>
                      <a:cubicBezTo>
                        <a:pt x="179105" y="265232"/>
                        <a:pt x="180372" y="268526"/>
                        <a:pt x="181638" y="2718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2" name="Полилиния: фигура 481">
                  <a:extLst>
                    <a:ext uri="{FF2B5EF4-FFF2-40B4-BE49-F238E27FC236}">
                      <a16:creationId xmlns:a16="http://schemas.microsoft.com/office/drawing/2014/main" id="{B3B8B0E7-93FC-41EE-A4D3-17FE7E760719}"/>
                    </a:ext>
                  </a:extLst>
                </p:cNvPr>
                <p:cNvSpPr/>
                <p:nvPr/>
              </p:nvSpPr>
              <p:spPr>
                <a:xfrm>
                  <a:off x="9616676" y="1682411"/>
                  <a:ext cx="214632" cy="125511"/>
                </a:xfrm>
                <a:custGeom>
                  <a:avLst/>
                  <a:gdLst>
                    <a:gd name="connsiteX0" fmla="*/ 50422 w 214632"/>
                    <a:gd name="connsiteY0" fmla="*/ 44699 h 125511"/>
                    <a:gd name="connsiteX1" fmla="*/ 80318 w 214632"/>
                    <a:gd name="connsiteY1" fmla="*/ 37479 h 125511"/>
                    <a:gd name="connsiteX2" fmla="*/ 119464 w 214632"/>
                    <a:gd name="connsiteY2" fmla="*/ 43433 h 125511"/>
                    <a:gd name="connsiteX3" fmla="*/ 147587 w 214632"/>
                    <a:gd name="connsiteY3" fmla="*/ 13916 h 125511"/>
                    <a:gd name="connsiteX4" fmla="*/ 183818 w 214632"/>
                    <a:gd name="connsiteY4" fmla="*/ 9608 h 125511"/>
                    <a:gd name="connsiteX5" fmla="*/ 209914 w 214632"/>
                    <a:gd name="connsiteY5" fmla="*/ 4161 h 125511"/>
                    <a:gd name="connsiteX6" fmla="*/ 209154 w 214632"/>
                    <a:gd name="connsiteY6" fmla="*/ 49767 h 125511"/>
                    <a:gd name="connsiteX7" fmla="*/ 187365 w 214632"/>
                    <a:gd name="connsiteY7" fmla="*/ 76370 h 125511"/>
                    <a:gd name="connsiteX8" fmla="*/ 162029 w 214632"/>
                    <a:gd name="connsiteY8" fmla="*/ 104874 h 125511"/>
                    <a:gd name="connsiteX9" fmla="*/ 145307 w 214632"/>
                    <a:gd name="connsiteY9" fmla="*/ 119062 h 125511"/>
                    <a:gd name="connsiteX10" fmla="*/ 126431 w 214632"/>
                    <a:gd name="connsiteY10" fmla="*/ 115768 h 125511"/>
                    <a:gd name="connsiteX11" fmla="*/ 104641 w 214632"/>
                    <a:gd name="connsiteY11" fmla="*/ 109434 h 125511"/>
                    <a:gd name="connsiteX12" fmla="*/ 51815 w 214632"/>
                    <a:gd name="connsiteY12" fmla="*/ 125016 h 125511"/>
                    <a:gd name="connsiteX13" fmla="*/ 8490 w 214632"/>
                    <a:gd name="connsiteY13" fmla="*/ 107281 h 125511"/>
                    <a:gd name="connsiteX14" fmla="*/ 128 w 214632"/>
                    <a:gd name="connsiteY14" fmla="*/ 86505 h 125511"/>
                    <a:gd name="connsiteX15" fmla="*/ 13557 w 214632"/>
                    <a:gd name="connsiteY15" fmla="*/ 78904 h 125511"/>
                    <a:gd name="connsiteX16" fmla="*/ 29772 w 214632"/>
                    <a:gd name="connsiteY16" fmla="*/ 83844 h 125511"/>
                    <a:gd name="connsiteX17" fmla="*/ 40287 w 214632"/>
                    <a:gd name="connsiteY17" fmla="*/ 67122 h 125511"/>
                    <a:gd name="connsiteX18" fmla="*/ 50422 w 214632"/>
                    <a:gd name="connsiteY18" fmla="*/ 44699 h 12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632" h="125511">
                      <a:moveTo>
                        <a:pt x="50422" y="44699"/>
                      </a:moveTo>
                      <a:cubicBezTo>
                        <a:pt x="58529" y="34818"/>
                        <a:pt x="68537" y="33045"/>
                        <a:pt x="80318" y="37479"/>
                      </a:cubicBezTo>
                      <a:cubicBezTo>
                        <a:pt x="92227" y="41912"/>
                        <a:pt x="107302" y="52807"/>
                        <a:pt x="119464" y="43433"/>
                      </a:cubicBezTo>
                      <a:cubicBezTo>
                        <a:pt x="130358" y="35072"/>
                        <a:pt x="133398" y="18223"/>
                        <a:pt x="147587" y="13916"/>
                      </a:cubicBezTo>
                      <a:cubicBezTo>
                        <a:pt x="159622" y="10242"/>
                        <a:pt x="171910" y="15562"/>
                        <a:pt x="183818" y="9608"/>
                      </a:cubicBezTo>
                      <a:cubicBezTo>
                        <a:pt x="191292" y="5935"/>
                        <a:pt x="202820" y="-6354"/>
                        <a:pt x="209914" y="4161"/>
                      </a:cubicBezTo>
                      <a:cubicBezTo>
                        <a:pt x="218149" y="16323"/>
                        <a:pt x="214095" y="37225"/>
                        <a:pt x="209154" y="49767"/>
                      </a:cubicBezTo>
                      <a:cubicBezTo>
                        <a:pt x="204848" y="60788"/>
                        <a:pt x="196359" y="69023"/>
                        <a:pt x="187365" y="76370"/>
                      </a:cubicBezTo>
                      <a:cubicBezTo>
                        <a:pt x="177484" y="84351"/>
                        <a:pt x="171023" y="95753"/>
                        <a:pt x="162029" y="104874"/>
                      </a:cubicBezTo>
                      <a:cubicBezTo>
                        <a:pt x="157215" y="109814"/>
                        <a:pt x="151894" y="116528"/>
                        <a:pt x="145307" y="119062"/>
                      </a:cubicBezTo>
                      <a:cubicBezTo>
                        <a:pt x="138719" y="121596"/>
                        <a:pt x="132258" y="118935"/>
                        <a:pt x="126431" y="115768"/>
                      </a:cubicBezTo>
                      <a:cubicBezTo>
                        <a:pt x="119210" y="111841"/>
                        <a:pt x="113130" y="108674"/>
                        <a:pt x="104641" y="109434"/>
                      </a:cubicBezTo>
                      <a:cubicBezTo>
                        <a:pt x="86019" y="111081"/>
                        <a:pt x="70437" y="122989"/>
                        <a:pt x="51815" y="125016"/>
                      </a:cubicBezTo>
                      <a:cubicBezTo>
                        <a:pt x="33066" y="127170"/>
                        <a:pt x="19764" y="122483"/>
                        <a:pt x="8490" y="107281"/>
                      </a:cubicBezTo>
                      <a:cubicBezTo>
                        <a:pt x="4309" y="101580"/>
                        <a:pt x="-885" y="93852"/>
                        <a:pt x="128" y="86505"/>
                      </a:cubicBezTo>
                      <a:cubicBezTo>
                        <a:pt x="1142" y="79664"/>
                        <a:pt x="7856" y="78270"/>
                        <a:pt x="13557" y="78904"/>
                      </a:cubicBezTo>
                      <a:cubicBezTo>
                        <a:pt x="18751" y="79410"/>
                        <a:pt x="24831" y="84351"/>
                        <a:pt x="29772" y="83844"/>
                      </a:cubicBezTo>
                      <a:cubicBezTo>
                        <a:pt x="36359" y="83084"/>
                        <a:pt x="38640" y="72190"/>
                        <a:pt x="40287" y="67122"/>
                      </a:cubicBezTo>
                      <a:cubicBezTo>
                        <a:pt x="42693" y="59141"/>
                        <a:pt x="44974" y="51287"/>
                        <a:pt x="50422" y="4469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3" name="Полилиния: фигура 482">
                  <a:extLst>
                    <a:ext uri="{FF2B5EF4-FFF2-40B4-BE49-F238E27FC236}">
                      <a16:creationId xmlns:a16="http://schemas.microsoft.com/office/drawing/2014/main" id="{0BF2280D-60A9-4B70-B81D-73138F8F6FCB}"/>
                    </a:ext>
                  </a:extLst>
                </p:cNvPr>
                <p:cNvSpPr/>
                <p:nvPr/>
              </p:nvSpPr>
              <p:spPr>
                <a:xfrm>
                  <a:off x="9557106" y="1498976"/>
                  <a:ext cx="32701" cy="52651"/>
                </a:xfrm>
                <a:custGeom>
                  <a:avLst/>
                  <a:gdLst>
                    <a:gd name="connsiteX0" fmla="*/ 538 w 32701"/>
                    <a:gd name="connsiteY0" fmla="*/ 35578 h 52651"/>
                    <a:gd name="connsiteX1" fmla="*/ 3959 w 32701"/>
                    <a:gd name="connsiteY1" fmla="*/ 25570 h 52651"/>
                    <a:gd name="connsiteX2" fmla="*/ 3451 w 32701"/>
                    <a:gd name="connsiteY2" fmla="*/ 15435 h 52651"/>
                    <a:gd name="connsiteX3" fmla="*/ 16880 w 32701"/>
                    <a:gd name="connsiteY3" fmla="*/ 360 h 52651"/>
                    <a:gd name="connsiteX4" fmla="*/ 32462 w 32701"/>
                    <a:gd name="connsiteY4" fmla="*/ 22276 h 52651"/>
                    <a:gd name="connsiteX5" fmla="*/ 17766 w 32701"/>
                    <a:gd name="connsiteY5" fmla="*/ 52046 h 52651"/>
                    <a:gd name="connsiteX6" fmla="*/ 538 w 32701"/>
                    <a:gd name="connsiteY6" fmla="*/ 35578 h 5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01" h="52651">
                      <a:moveTo>
                        <a:pt x="538" y="35578"/>
                      </a:moveTo>
                      <a:cubicBezTo>
                        <a:pt x="1425" y="32157"/>
                        <a:pt x="3578" y="29117"/>
                        <a:pt x="3959" y="25570"/>
                      </a:cubicBezTo>
                      <a:cubicBezTo>
                        <a:pt x="4338" y="22149"/>
                        <a:pt x="3072" y="18856"/>
                        <a:pt x="3451" y="15435"/>
                      </a:cubicBezTo>
                      <a:cubicBezTo>
                        <a:pt x="4085" y="9228"/>
                        <a:pt x="10672" y="1627"/>
                        <a:pt x="16880" y="360"/>
                      </a:cubicBezTo>
                      <a:cubicBezTo>
                        <a:pt x="30688" y="-2554"/>
                        <a:pt x="30942" y="12902"/>
                        <a:pt x="32462" y="22276"/>
                      </a:cubicBezTo>
                      <a:cubicBezTo>
                        <a:pt x="33982" y="32031"/>
                        <a:pt x="28155" y="48879"/>
                        <a:pt x="17766" y="52046"/>
                      </a:cubicBezTo>
                      <a:cubicBezTo>
                        <a:pt x="6999" y="55087"/>
                        <a:pt x="-2376" y="46219"/>
                        <a:pt x="538" y="3557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4" name="Полилиния: фигура 483">
                  <a:extLst>
                    <a:ext uri="{FF2B5EF4-FFF2-40B4-BE49-F238E27FC236}">
                      <a16:creationId xmlns:a16="http://schemas.microsoft.com/office/drawing/2014/main" id="{78C886D6-BBFE-4508-8438-657E9F10D0BC}"/>
                    </a:ext>
                  </a:extLst>
                </p:cNvPr>
                <p:cNvSpPr/>
                <p:nvPr/>
              </p:nvSpPr>
              <p:spPr>
                <a:xfrm>
                  <a:off x="9792767" y="1542281"/>
                  <a:ext cx="14441" cy="16342"/>
                </a:xfrm>
                <a:custGeom>
                  <a:avLst/>
                  <a:gdLst>
                    <a:gd name="connsiteX0" fmla="*/ 14442 w 14441"/>
                    <a:gd name="connsiteY0" fmla="*/ 8234 h 16342"/>
                    <a:gd name="connsiteX1" fmla="*/ 7221 w 14441"/>
                    <a:gd name="connsiteY1" fmla="*/ 16342 h 16342"/>
                    <a:gd name="connsiteX2" fmla="*/ 0 w 14441"/>
                    <a:gd name="connsiteY2" fmla="*/ 8234 h 16342"/>
                    <a:gd name="connsiteX3" fmla="*/ 7221 w 14441"/>
                    <a:gd name="connsiteY3" fmla="*/ 0 h 16342"/>
                    <a:gd name="connsiteX4" fmla="*/ 14442 w 14441"/>
                    <a:gd name="connsiteY4" fmla="*/ 8234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6342">
                      <a:moveTo>
                        <a:pt x="14442" y="8234"/>
                      </a:moveTo>
                      <a:cubicBezTo>
                        <a:pt x="14442" y="12668"/>
                        <a:pt x="11275" y="16342"/>
                        <a:pt x="7221" y="16342"/>
                      </a:cubicBezTo>
                      <a:cubicBezTo>
                        <a:pt x="3294" y="16342"/>
                        <a:pt x="0" y="12668"/>
                        <a:pt x="0" y="8234"/>
                      </a:cubicBezTo>
                      <a:cubicBezTo>
                        <a:pt x="0" y="3674"/>
                        <a:pt x="3167" y="0"/>
                        <a:pt x="7221" y="0"/>
                      </a:cubicBezTo>
                      <a:cubicBezTo>
                        <a:pt x="11275" y="0"/>
                        <a:pt x="14442" y="3674"/>
                        <a:pt x="14442"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5" name="Полилиния: фигура 484">
                  <a:extLst>
                    <a:ext uri="{FF2B5EF4-FFF2-40B4-BE49-F238E27FC236}">
                      <a16:creationId xmlns:a16="http://schemas.microsoft.com/office/drawing/2014/main" id="{C3BF0555-3558-445F-9B2E-16A66FAD3F32}"/>
                    </a:ext>
                  </a:extLst>
                </p:cNvPr>
                <p:cNvSpPr/>
                <p:nvPr/>
              </p:nvSpPr>
              <p:spPr>
                <a:xfrm>
                  <a:off x="9748934" y="1480460"/>
                  <a:ext cx="28630" cy="23309"/>
                </a:xfrm>
                <a:custGeom>
                  <a:avLst/>
                  <a:gdLst>
                    <a:gd name="connsiteX0" fmla="*/ 28630 w 28630"/>
                    <a:gd name="connsiteY0" fmla="*/ 11655 h 23309"/>
                    <a:gd name="connsiteX1" fmla="*/ 14315 w 28630"/>
                    <a:gd name="connsiteY1" fmla="*/ 23310 h 23309"/>
                    <a:gd name="connsiteX2" fmla="*/ 0 w 28630"/>
                    <a:gd name="connsiteY2" fmla="*/ 11655 h 23309"/>
                    <a:gd name="connsiteX3" fmla="*/ 14315 w 28630"/>
                    <a:gd name="connsiteY3" fmla="*/ 0 h 23309"/>
                    <a:gd name="connsiteX4" fmla="*/ 28630 w 28630"/>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0" h="23309">
                      <a:moveTo>
                        <a:pt x="28630" y="11655"/>
                      </a:moveTo>
                      <a:cubicBezTo>
                        <a:pt x="28630" y="18116"/>
                        <a:pt x="22169" y="23310"/>
                        <a:pt x="14315" y="23310"/>
                      </a:cubicBezTo>
                      <a:cubicBezTo>
                        <a:pt x="6334" y="23310"/>
                        <a:pt x="0" y="18116"/>
                        <a:pt x="0" y="11655"/>
                      </a:cubicBezTo>
                      <a:cubicBezTo>
                        <a:pt x="0" y="5194"/>
                        <a:pt x="6461" y="0"/>
                        <a:pt x="14315" y="0"/>
                      </a:cubicBezTo>
                      <a:cubicBezTo>
                        <a:pt x="22296" y="0"/>
                        <a:pt x="28630" y="5194"/>
                        <a:pt x="28630"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6" name="Полилиния: фигура 485">
                  <a:extLst>
                    <a:ext uri="{FF2B5EF4-FFF2-40B4-BE49-F238E27FC236}">
                      <a16:creationId xmlns:a16="http://schemas.microsoft.com/office/drawing/2014/main" id="{329C59B8-7F24-483F-93D0-2EA07C3496F3}"/>
                    </a:ext>
                  </a:extLst>
                </p:cNvPr>
                <p:cNvSpPr/>
                <p:nvPr/>
              </p:nvSpPr>
              <p:spPr>
                <a:xfrm>
                  <a:off x="9821017" y="1230515"/>
                  <a:ext cx="13428" cy="14441"/>
                </a:xfrm>
                <a:custGeom>
                  <a:avLst/>
                  <a:gdLst>
                    <a:gd name="connsiteX0" fmla="*/ 13428 w 13428"/>
                    <a:gd name="connsiteY0" fmla="*/ 7221 h 14441"/>
                    <a:gd name="connsiteX1" fmla="*/ 6715 w 13428"/>
                    <a:gd name="connsiteY1" fmla="*/ 14442 h 14441"/>
                    <a:gd name="connsiteX2" fmla="*/ 0 w 13428"/>
                    <a:gd name="connsiteY2" fmla="*/ 7221 h 14441"/>
                    <a:gd name="connsiteX3" fmla="*/ 6715 w 13428"/>
                    <a:gd name="connsiteY3" fmla="*/ 0 h 14441"/>
                    <a:gd name="connsiteX4" fmla="*/ 13428 w 13428"/>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8" h="14441">
                      <a:moveTo>
                        <a:pt x="13428" y="7221"/>
                      </a:moveTo>
                      <a:cubicBezTo>
                        <a:pt x="13428" y="11148"/>
                        <a:pt x="10388" y="14442"/>
                        <a:pt x="6715" y="14442"/>
                      </a:cubicBezTo>
                      <a:cubicBezTo>
                        <a:pt x="3040" y="14442"/>
                        <a:pt x="0" y="11275"/>
                        <a:pt x="0" y="7221"/>
                      </a:cubicBezTo>
                      <a:cubicBezTo>
                        <a:pt x="0" y="3294"/>
                        <a:pt x="3040" y="0"/>
                        <a:pt x="6715" y="0"/>
                      </a:cubicBezTo>
                      <a:cubicBezTo>
                        <a:pt x="10515" y="0"/>
                        <a:pt x="13428" y="3167"/>
                        <a:pt x="1342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7" name="Полилиния: фигура 486">
                  <a:extLst>
                    <a:ext uri="{FF2B5EF4-FFF2-40B4-BE49-F238E27FC236}">
                      <a16:creationId xmlns:a16="http://schemas.microsoft.com/office/drawing/2014/main" id="{D4093C31-82B4-4522-853E-0DD566FE6C56}"/>
                    </a:ext>
                  </a:extLst>
                </p:cNvPr>
                <p:cNvSpPr/>
                <p:nvPr/>
              </p:nvSpPr>
              <p:spPr>
                <a:xfrm>
                  <a:off x="8780954" y="2697119"/>
                  <a:ext cx="12921" cy="9627"/>
                </a:xfrm>
                <a:custGeom>
                  <a:avLst/>
                  <a:gdLst>
                    <a:gd name="connsiteX0" fmla="*/ 12922 w 12921"/>
                    <a:gd name="connsiteY0" fmla="*/ 4814 h 9627"/>
                    <a:gd name="connsiteX1" fmla="*/ 6461 w 12921"/>
                    <a:gd name="connsiteY1" fmla="*/ 9628 h 9627"/>
                    <a:gd name="connsiteX2" fmla="*/ 0 w 12921"/>
                    <a:gd name="connsiteY2" fmla="*/ 4814 h 9627"/>
                    <a:gd name="connsiteX3" fmla="*/ 6461 w 12921"/>
                    <a:gd name="connsiteY3" fmla="*/ 0 h 9627"/>
                    <a:gd name="connsiteX4" fmla="*/ 12922 w 12921"/>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9627">
                      <a:moveTo>
                        <a:pt x="12922" y="4814"/>
                      </a:moveTo>
                      <a:cubicBezTo>
                        <a:pt x="12922" y="7474"/>
                        <a:pt x="10008" y="9628"/>
                        <a:pt x="6461" y="9628"/>
                      </a:cubicBezTo>
                      <a:cubicBezTo>
                        <a:pt x="2913" y="9628"/>
                        <a:pt x="0" y="7474"/>
                        <a:pt x="0" y="4814"/>
                      </a:cubicBezTo>
                      <a:cubicBezTo>
                        <a:pt x="0" y="2154"/>
                        <a:pt x="2913" y="0"/>
                        <a:pt x="6461" y="0"/>
                      </a:cubicBezTo>
                      <a:cubicBezTo>
                        <a:pt x="10008" y="0"/>
                        <a:pt x="12922" y="2154"/>
                        <a:pt x="12922"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8" name="Полилиния: фигура 487">
                  <a:extLst>
                    <a:ext uri="{FF2B5EF4-FFF2-40B4-BE49-F238E27FC236}">
                      <a16:creationId xmlns:a16="http://schemas.microsoft.com/office/drawing/2014/main" id="{4272791D-A97F-43EF-83C6-0DB9D621354A}"/>
                    </a:ext>
                  </a:extLst>
                </p:cNvPr>
                <p:cNvSpPr/>
                <p:nvPr/>
              </p:nvSpPr>
              <p:spPr>
                <a:xfrm>
                  <a:off x="8801476" y="2687491"/>
                  <a:ext cx="6840" cy="9627"/>
                </a:xfrm>
                <a:custGeom>
                  <a:avLst/>
                  <a:gdLst>
                    <a:gd name="connsiteX0" fmla="*/ 6841 w 6840"/>
                    <a:gd name="connsiteY0" fmla="*/ 4814 h 9627"/>
                    <a:gd name="connsiteX1" fmla="*/ 3421 w 6840"/>
                    <a:gd name="connsiteY1" fmla="*/ 9628 h 9627"/>
                    <a:gd name="connsiteX2" fmla="*/ 0 w 6840"/>
                    <a:gd name="connsiteY2" fmla="*/ 4814 h 9627"/>
                    <a:gd name="connsiteX3" fmla="*/ 3421 w 6840"/>
                    <a:gd name="connsiteY3" fmla="*/ 0 h 9627"/>
                    <a:gd name="connsiteX4" fmla="*/ 6841 w 6840"/>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9627">
                      <a:moveTo>
                        <a:pt x="6841" y="4814"/>
                      </a:moveTo>
                      <a:cubicBezTo>
                        <a:pt x="6841" y="7474"/>
                        <a:pt x="5320" y="9628"/>
                        <a:pt x="3421" y="9628"/>
                      </a:cubicBezTo>
                      <a:cubicBezTo>
                        <a:pt x="1520" y="9628"/>
                        <a:pt x="0" y="7474"/>
                        <a:pt x="0" y="4814"/>
                      </a:cubicBezTo>
                      <a:cubicBezTo>
                        <a:pt x="0" y="2154"/>
                        <a:pt x="1520" y="0"/>
                        <a:pt x="3421" y="0"/>
                      </a:cubicBezTo>
                      <a:cubicBezTo>
                        <a:pt x="5320" y="0"/>
                        <a:pt x="6841" y="2154"/>
                        <a:pt x="6841"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89" name="Полилиния: фигура 488">
                  <a:extLst>
                    <a:ext uri="{FF2B5EF4-FFF2-40B4-BE49-F238E27FC236}">
                      <a16:creationId xmlns:a16="http://schemas.microsoft.com/office/drawing/2014/main" id="{C1BE98B4-46BE-4334-A589-C8C38BBA2892}"/>
                    </a:ext>
                  </a:extLst>
                </p:cNvPr>
                <p:cNvSpPr/>
                <p:nvPr/>
              </p:nvSpPr>
              <p:spPr>
                <a:xfrm>
                  <a:off x="8792355" y="2602107"/>
                  <a:ext cx="9120" cy="8867"/>
                </a:xfrm>
                <a:custGeom>
                  <a:avLst/>
                  <a:gdLst>
                    <a:gd name="connsiteX0" fmla="*/ 9121 w 9120"/>
                    <a:gd name="connsiteY0" fmla="*/ 4434 h 8867"/>
                    <a:gd name="connsiteX1" fmla="*/ 4560 w 9120"/>
                    <a:gd name="connsiteY1" fmla="*/ 8868 h 8867"/>
                    <a:gd name="connsiteX2" fmla="*/ 0 w 9120"/>
                    <a:gd name="connsiteY2" fmla="*/ 4434 h 8867"/>
                    <a:gd name="connsiteX3" fmla="*/ 4560 w 9120"/>
                    <a:gd name="connsiteY3" fmla="*/ 0 h 8867"/>
                    <a:gd name="connsiteX4" fmla="*/ 9121 w 912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8867">
                      <a:moveTo>
                        <a:pt x="9121" y="4434"/>
                      </a:moveTo>
                      <a:cubicBezTo>
                        <a:pt x="9121" y="6841"/>
                        <a:pt x="7094" y="8868"/>
                        <a:pt x="4560" y="8868"/>
                      </a:cubicBezTo>
                      <a:cubicBezTo>
                        <a:pt x="2027" y="8868"/>
                        <a:pt x="0" y="6841"/>
                        <a:pt x="0" y="4434"/>
                      </a:cubicBezTo>
                      <a:cubicBezTo>
                        <a:pt x="0" y="2027"/>
                        <a:pt x="2027" y="0"/>
                        <a:pt x="4560" y="0"/>
                      </a:cubicBezTo>
                      <a:cubicBezTo>
                        <a:pt x="6967" y="0"/>
                        <a:pt x="9121" y="2027"/>
                        <a:pt x="912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0" name="Полилиния: фигура 489">
                  <a:extLst>
                    <a:ext uri="{FF2B5EF4-FFF2-40B4-BE49-F238E27FC236}">
                      <a16:creationId xmlns:a16="http://schemas.microsoft.com/office/drawing/2014/main" id="{F9CDE4D3-65C6-42DC-81C3-CFB2FE9CA1FE}"/>
                    </a:ext>
                  </a:extLst>
                </p:cNvPr>
                <p:cNvSpPr/>
                <p:nvPr/>
              </p:nvSpPr>
              <p:spPr>
                <a:xfrm>
                  <a:off x="8793749" y="2568663"/>
                  <a:ext cx="9627" cy="10641"/>
                </a:xfrm>
                <a:custGeom>
                  <a:avLst/>
                  <a:gdLst>
                    <a:gd name="connsiteX0" fmla="*/ 9628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8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8" y="5321"/>
                      </a:moveTo>
                      <a:cubicBezTo>
                        <a:pt x="9628" y="8234"/>
                        <a:pt x="7474" y="10641"/>
                        <a:pt x="4814" y="10641"/>
                      </a:cubicBezTo>
                      <a:cubicBezTo>
                        <a:pt x="2153" y="10641"/>
                        <a:pt x="0" y="8234"/>
                        <a:pt x="0" y="5321"/>
                      </a:cubicBezTo>
                      <a:cubicBezTo>
                        <a:pt x="0" y="2407"/>
                        <a:pt x="2153" y="0"/>
                        <a:pt x="4814" y="0"/>
                      </a:cubicBezTo>
                      <a:cubicBezTo>
                        <a:pt x="7601" y="127"/>
                        <a:pt x="9628" y="2407"/>
                        <a:pt x="9628"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1" name="Полилиния: фигура 490">
                  <a:extLst>
                    <a:ext uri="{FF2B5EF4-FFF2-40B4-BE49-F238E27FC236}">
                      <a16:creationId xmlns:a16="http://schemas.microsoft.com/office/drawing/2014/main" id="{35151620-E301-4360-8C2A-2B4C43BF0E3A}"/>
                    </a:ext>
                  </a:extLst>
                </p:cNvPr>
                <p:cNvSpPr/>
                <p:nvPr/>
              </p:nvSpPr>
              <p:spPr>
                <a:xfrm>
                  <a:off x="8818325" y="2563849"/>
                  <a:ext cx="5574" cy="6587"/>
                </a:xfrm>
                <a:custGeom>
                  <a:avLst/>
                  <a:gdLst>
                    <a:gd name="connsiteX0" fmla="*/ 5574 w 5574"/>
                    <a:gd name="connsiteY0" fmla="*/ 3294 h 6587"/>
                    <a:gd name="connsiteX1" fmla="*/ 2787 w 5574"/>
                    <a:gd name="connsiteY1" fmla="*/ 6587 h 6587"/>
                    <a:gd name="connsiteX2" fmla="*/ 0 w 5574"/>
                    <a:gd name="connsiteY2" fmla="*/ 3294 h 6587"/>
                    <a:gd name="connsiteX3" fmla="*/ 2787 w 5574"/>
                    <a:gd name="connsiteY3" fmla="*/ 0 h 6587"/>
                    <a:gd name="connsiteX4" fmla="*/ 5574 w 5574"/>
                    <a:gd name="connsiteY4" fmla="*/ 3294 h 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 h="6587">
                      <a:moveTo>
                        <a:pt x="5574" y="3294"/>
                      </a:moveTo>
                      <a:cubicBezTo>
                        <a:pt x="5574" y="5067"/>
                        <a:pt x="4307" y="6587"/>
                        <a:pt x="2787" y="6587"/>
                      </a:cubicBezTo>
                      <a:cubicBezTo>
                        <a:pt x="1267" y="6587"/>
                        <a:pt x="0" y="5067"/>
                        <a:pt x="0" y="3294"/>
                      </a:cubicBezTo>
                      <a:cubicBezTo>
                        <a:pt x="0" y="1394"/>
                        <a:pt x="1267" y="0"/>
                        <a:pt x="2787" y="0"/>
                      </a:cubicBezTo>
                      <a:cubicBezTo>
                        <a:pt x="4307" y="0"/>
                        <a:pt x="5574" y="1394"/>
                        <a:pt x="5574" y="32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2" name="Полилиния: фигура 491">
                  <a:extLst>
                    <a:ext uri="{FF2B5EF4-FFF2-40B4-BE49-F238E27FC236}">
                      <a16:creationId xmlns:a16="http://schemas.microsoft.com/office/drawing/2014/main" id="{22A8F236-2DF5-45ED-BC11-667081AB521A}"/>
                    </a:ext>
                  </a:extLst>
                </p:cNvPr>
                <p:cNvSpPr/>
                <p:nvPr/>
              </p:nvSpPr>
              <p:spPr>
                <a:xfrm>
                  <a:off x="8830360" y="2552954"/>
                  <a:ext cx="5066" cy="6840"/>
                </a:xfrm>
                <a:custGeom>
                  <a:avLst/>
                  <a:gdLst>
                    <a:gd name="connsiteX0" fmla="*/ 5067 w 5066"/>
                    <a:gd name="connsiteY0" fmla="*/ 3420 h 6840"/>
                    <a:gd name="connsiteX1" fmla="*/ 2533 w 5066"/>
                    <a:gd name="connsiteY1" fmla="*/ 6841 h 6840"/>
                    <a:gd name="connsiteX2" fmla="*/ 0 w 5066"/>
                    <a:gd name="connsiteY2" fmla="*/ 3420 h 6840"/>
                    <a:gd name="connsiteX3" fmla="*/ 2533 w 5066"/>
                    <a:gd name="connsiteY3" fmla="*/ 0 h 6840"/>
                    <a:gd name="connsiteX4" fmla="*/ 5067 w 5066"/>
                    <a:gd name="connsiteY4" fmla="*/ 3420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6" h="6840">
                      <a:moveTo>
                        <a:pt x="5067" y="3420"/>
                      </a:moveTo>
                      <a:cubicBezTo>
                        <a:pt x="5067" y="5321"/>
                        <a:pt x="3927" y="6841"/>
                        <a:pt x="2533" y="6841"/>
                      </a:cubicBezTo>
                      <a:cubicBezTo>
                        <a:pt x="1140" y="6841"/>
                        <a:pt x="0" y="5321"/>
                        <a:pt x="0" y="3420"/>
                      </a:cubicBezTo>
                      <a:cubicBezTo>
                        <a:pt x="0" y="1520"/>
                        <a:pt x="1140" y="0"/>
                        <a:pt x="2533" y="0"/>
                      </a:cubicBezTo>
                      <a:cubicBezTo>
                        <a:pt x="3927" y="0"/>
                        <a:pt x="5067" y="1520"/>
                        <a:pt x="5067" y="34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3" name="Полилиния: фигура 492">
                  <a:extLst>
                    <a:ext uri="{FF2B5EF4-FFF2-40B4-BE49-F238E27FC236}">
                      <a16:creationId xmlns:a16="http://schemas.microsoft.com/office/drawing/2014/main" id="{EBC4B2E1-0DA3-44DC-BE9C-3EF5BA2046EF}"/>
                    </a:ext>
                  </a:extLst>
                </p:cNvPr>
                <p:cNvSpPr/>
                <p:nvPr/>
              </p:nvSpPr>
              <p:spPr>
                <a:xfrm>
                  <a:off x="8808444" y="2547887"/>
                  <a:ext cx="6587" cy="5067"/>
                </a:xfrm>
                <a:custGeom>
                  <a:avLst/>
                  <a:gdLst>
                    <a:gd name="connsiteX0" fmla="*/ 6588 w 6587"/>
                    <a:gd name="connsiteY0" fmla="*/ 2534 h 5067"/>
                    <a:gd name="connsiteX1" fmla="*/ 3294 w 6587"/>
                    <a:gd name="connsiteY1" fmla="*/ 5067 h 5067"/>
                    <a:gd name="connsiteX2" fmla="*/ 0 w 6587"/>
                    <a:gd name="connsiteY2" fmla="*/ 2534 h 5067"/>
                    <a:gd name="connsiteX3" fmla="*/ 3294 w 6587"/>
                    <a:gd name="connsiteY3" fmla="*/ 0 h 5067"/>
                    <a:gd name="connsiteX4" fmla="*/ 6588 w 6587"/>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7" h="5067">
                      <a:moveTo>
                        <a:pt x="6588" y="2534"/>
                      </a:moveTo>
                      <a:cubicBezTo>
                        <a:pt x="6588" y="3927"/>
                        <a:pt x="5068" y="5067"/>
                        <a:pt x="3294" y="5067"/>
                      </a:cubicBezTo>
                      <a:cubicBezTo>
                        <a:pt x="1393" y="5067"/>
                        <a:pt x="0" y="3927"/>
                        <a:pt x="0" y="2534"/>
                      </a:cubicBezTo>
                      <a:cubicBezTo>
                        <a:pt x="0" y="1140"/>
                        <a:pt x="1520" y="0"/>
                        <a:pt x="3294" y="0"/>
                      </a:cubicBezTo>
                      <a:cubicBezTo>
                        <a:pt x="5068" y="127"/>
                        <a:pt x="6588" y="1140"/>
                        <a:pt x="6588"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4" name="Полилиния: фигура 493">
                  <a:extLst>
                    <a:ext uri="{FF2B5EF4-FFF2-40B4-BE49-F238E27FC236}">
                      <a16:creationId xmlns:a16="http://schemas.microsoft.com/office/drawing/2014/main" id="{1CEC0344-2427-4479-B718-370D38993A02}"/>
                    </a:ext>
                  </a:extLst>
                </p:cNvPr>
                <p:cNvSpPr/>
                <p:nvPr/>
              </p:nvSpPr>
              <p:spPr>
                <a:xfrm>
                  <a:off x="8770312" y="2528504"/>
                  <a:ext cx="13935" cy="7601"/>
                </a:xfrm>
                <a:custGeom>
                  <a:avLst/>
                  <a:gdLst>
                    <a:gd name="connsiteX0" fmla="*/ 13936 w 13935"/>
                    <a:gd name="connsiteY0" fmla="*/ 3801 h 7601"/>
                    <a:gd name="connsiteX1" fmla="*/ 6968 w 13935"/>
                    <a:gd name="connsiteY1" fmla="*/ 7601 h 7601"/>
                    <a:gd name="connsiteX2" fmla="*/ 0 w 13935"/>
                    <a:gd name="connsiteY2" fmla="*/ 3801 h 7601"/>
                    <a:gd name="connsiteX3" fmla="*/ 6968 w 13935"/>
                    <a:gd name="connsiteY3" fmla="*/ 0 h 7601"/>
                    <a:gd name="connsiteX4" fmla="*/ 13936 w 13935"/>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7601">
                      <a:moveTo>
                        <a:pt x="13936" y="3801"/>
                      </a:moveTo>
                      <a:cubicBezTo>
                        <a:pt x="13936" y="5827"/>
                        <a:pt x="10895" y="7601"/>
                        <a:pt x="6968" y="7601"/>
                      </a:cubicBezTo>
                      <a:cubicBezTo>
                        <a:pt x="3167" y="7601"/>
                        <a:pt x="0" y="5954"/>
                        <a:pt x="0" y="3801"/>
                      </a:cubicBezTo>
                      <a:cubicBezTo>
                        <a:pt x="0" y="1647"/>
                        <a:pt x="3167" y="0"/>
                        <a:pt x="6968" y="0"/>
                      </a:cubicBezTo>
                      <a:cubicBezTo>
                        <a:pt x="10895" y="0"/>
                        <a:pt x="13936" y="1647"/>
                        <a:pt x="13936"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5" name="Полилиния: фигура 494">
                  <a:extLst>
                    <a:ext uri="{FF2B5EF4-FFF2-40B4-BE49-F238E27FC236}">
                      <a16:creationId xmlns:a16="http://schemas.microsoft.com/office/drawing/2014/main" id="{36541E4E-5F42-463B-991C-C9DC3BA4D9CB}"/>
                    </a:ext>
                  </a:extLst>
                </p:cNvPr>
                <p:cNvSpPr/>
                <p:nvPr/>
              </p:nvSpPr>
              <p:spPr>
                <a:xfrm>
                  <a:off x="8838088" y="2515709"/>
                  <a:ext cx="19508" cy="19128"/>
                </a:xfrm>
                <a:custGeom>
                  <a:avLst/>
                  <a:gdLst>
                    <a:gd name="connsiteX0" fmla="*/ 19509 w 19508"/>
                    <a:gd name="connsiteY0" fmla="*/ 9501 h 19128"/>
                    <a:gd name="connsiteX1" fmla="*/ 9754 w 19508"/>
                    <a:gd name="connsiteY1" fmla="*/ 19129 h 19128"/>
                    <a:gd name="connsiteX2" fmla="*/ 0 w 19508"/>
                    <a:gd name="connsiteY2" fmla="*/ 9501 h 19128"/>
                    <a:gd name="connsiteX3" fmla="*/ 9754 w 19508"/>
                    <a:gd name="connsiteY3" fmla="*/ 0 h 19128"/>
                    <a:gd name="connsiteX4" fmla="*/ 19509 w 19508"/>
                    <a:gd name="connsiteY4" fmla="*/ 9501 h 1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8" h="19128">
                      <a:moveTo>
                        <a:pt x="19509" y="9501"/>
                      </a:moveTo>
                      <a:cubicBezTo>
                        <a:pt x="19509" y="14822"/>
                        <a:pt x="15075" y="19129"/>
                        <a:pt x="9754" y="19129"/>
                      </a:cubicBezTo>
                      <a:cubicBezTo>
                        <a:pt x="4434" y="19129"/>
                        <a:pt x="0" y="14822"/>
                        <a:pt x="0" y="9501"/>
                      </a:cubicBezTo>
                      <a:cubicBezTo>
                        <a:pt x="0" y="4181"/>
                        <a:pt x="4307" y="0"/>
                        <a:pt x="9754" y="0"/>
                      </a:cubicBezTo>
                      <a:cubicBezTo>
                        <a:pt x="15075" y="0"/>
                        <a:pt x="19509" y="4181"/>
                        <a:pt x="19509" y="95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6" name="Полилиния: фигура 495">
                  <a:extLst>
                    <a:ext uri="{FF2B5EF4-FFF2-40B4-BE49-F238E27FC236}">
                      <a16:creationId xmlns:a16="http://schemas.microsoft.com/office/drawing/2014/main" id="{DA71D2B6-0253-436C-A351-A247C941AE5A}"/>
                    </a:ext>
                  </a:extLst>
                </p:cNvPr>
                <p:cNvSpPr/>
                <p:nvPr/>
              </p:nvSpPr>
              <p:spPr>
                <a:xfrm>
                  <a:off x="8871658" y="2512669"/>
                  <a:ext cx="10641" cy="10641"/>
                </a:xfrm>
                <a:custGeom>
                  <a:avLst/>
                  <a:gdLst>
                    <a:gd name="connsiteX0" fmla="*/ 10642 w 10641"/>
                    <a:gd name="connsiteY0" fmla="*/ 5321 h 10641"/>
                    <a:gd name="connsiteX1" fmla="*/ 5321 w 10641"/>
                    <a:gd name="connsiteY1" fmla="*/ 10641 h 10641"/>
                    <a:gd name="connsiteX2" fmla="*/ 0 w 10641"/>
                    <a:gd name="connsiteY2" fmla="*/ 5321 h 10641"/>
                    <a:gd name="connsiteX3" fmla="*/ 5321 w 10641"/>
                    <a:gd name="connsiteY3" fmla="*/ 0 h 10641"/>
                    <a:gd name="connsiteX4" fmla="*/ 10642 w 10641"/>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0641">
                      <a:moveTo>
                        <a:pt x="10642" y="5321"/>
                      </a:moveTo>
                      <a:cubicBezTo>
                        <a:pt x="10642" y="8234"/>
                        <a:pt x="8235" y="10641"/>
                        <a:pt x="5321" y="10641"/>
                      </a:cubicBezTo>
                      <a:cubicBezTo>
                        <a:pt x="2407" y="10641"/>
                        <a:pt x="0" y="8234"/>
                        <a:pt x="0" y="5321"/>
                      </a:cubicBezTo>
                      <a:cubicBezTo>
                        <a:pt x="0" y="2407"/>
                        <a:pt x="2407" y="0"/>
                        <a:pt x="5321" y="0"/>
                      </a:cubicBezTo>
                      <a:cubicBezTo>
                        <a:pt x="8235" y="0"/>
                        <a:pt x="10642" y="2407"/>
                        <a:pt x="10642"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7" name="Полилиния: фигура 496">
                  <a:extLst>
                    <a:ext uri="{FF2B5EF4-FFF2-40B4-BE49-F238E27FC236}">
                      <a16:creationId xmlns:a16="http://schemas.microsoft.com/office/drawing/2014/main" id="{C72CFAE0-2718-4909-965E-7C2A32A6EAF9}"/>
                    </a:ext>
                  </a:extLst>
                </p:cNvPr>
                <p:cNvSpPr/>
                <p:nvPr/>
              </p:nvSpPr>
              <p:spPr>
                <a:xfrm>
                  <a:off x="8692149" y="2726129"/>
                  <a:ext cx="11908" cy="10134"/>
                </a:xfrm>
                <a:custGeom>
                  <a:avLst/>
                  <a:gdLst>
                    <a:gd name="connsiteX0" fmla="*/ 11908 w 11908"/>
                    <a:gd name="connsiteY0" fmla="*/ 5067 h 10134"/>
                    <a:gd name="connsiteX1" fmla="*/ 5954 w 11908"/>
                    <a:gd name="connsiteY1" fmla="*/ 10135 h 10134"/>
                    <a:gd name="connsiteX2" fmla="*/ 0 w 11908"/>
                    <a:gd name="connsiteY2" fmla="*/ 5067 h 10134"/>
                    <a:gd name="connsiteX3" fmla="*/ 5954 w 11908"/>
                    <a:gd name="connsiteY3" fmla="*/ 0 h 10134"/>
                    <a:gd name="connsiteX4" fmla="*/ 11908 w 11908"/>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134">
                      <a:moveTo>
                        <a:pt x="11908" y="5067"/>
                      </a:moveTo>
                      <a:cubicBezTo>
                        <a:pt x="11908" y="7854"/>
                        <a:pt x="9248" y="10135"/>
                        <a:pt x="5954" y="10135"/>
                      </a:cubicBezTo>
                      <a:cubicBezTo>
                        <a:pt x="2661" y="10135"/>
                        <a:pt x="0" y="7854"/>
                        <a:pt x="0" y="5067"/>
                      </a:cubicBezTo>
                      <a:cubicBezTo>
                        <a:pt x="0" y="2280"/>
                        <a:pt x="2661" y="0"/>
                        <a:pt x="5954" y="0"/>
                      </a:cubicBezTo>
                      <a:cubicBezTo>
                        <a:pt x="9248" y="0"/>
                        <a:pt x="11908" y="2280"/>
                        <a:pt x="11908"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8" name="Полилиния: фигура 497">
                  <a:extLst>
                    <a:ext uri="{FF2B5EF4-FFF2-40B4-BE49-F238E27FC236}">
                      <a16:creationId xmlns:a16="http://schemas.microsoft.com/office/drawing/2014/main" id="{05F97183-F69C-4AA1-BACF-7B7F2F4EAC70}"/>
                    </a:ext>
                  </a:extLst>
                </p:cNvPr>
                <p:cNvSpPr/>
                <p:nvPr/>
              </p:nvSpPr>
              <p:spPr>
                <a:xfrm>
                  <a:off x="8671500" y="2726256"/>
                  <a:ext cx="9121" cy="7094"/>
                </a:xfrm>
                <a:custGeom>
                  <a:avLst/>
                  <a:gdLst>
                    <a:gd name="connsiteX0" fmla="*/ 9122 w 9121"/>
                    <a:gd name="connsiteY0" fmla="*/ 3547 h 7094"/>
                    <a:gd name="connsiteX1" fmla="*/ 4560 w 9121"/>
                    <a:gd name="connsiteY1" fmla="*/ 7094 h 7094"/>
                    <a:gd name="connsiteX2" fmla="*/ 0 w 9121"/>
                    <a:gd name="connsiteY2" fmla="*/ 3547 h 7094"/>
                    <a:gd name="connsiteX3" fmla="*/ 4560 w 9121"/>
                    <a:gd name="connsiteY3" fmla="*/ 0 h 7094"/>
                    <a:gd name="connsiteX4" fmla="*/ 9122 w 9121"/>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7094">
                      <a:moveTo>
                        <a:pt x="9122" y="3547"/>
                      </a:moveTo>
                      <a:cubicBezTo>
                        <a:pt x="9122" y="5574"/>
                        <a:pt x="7094" y="7094"/>
                        <a:pt x="4560" y="7094"/>
                      </a:cubicBezTo>
                      <a:cubicBezTo>
                        <a:pt x="2027" y="7094"/>
                        <a:pt x="0" y="5447"/>
                        <a:pt x="0" y="3547"/>
                      </a:cubicBezTo>
                      <a:cubicBezTo>
                        <a:pt x="0" y="1520"/>
                        <a:pt x="2027" y="0"/>
                        <a:pt x="4560" y="0"/>
                      </a:cubicBezTo>
                      <a:cubicBezTo>
                        <a:pt x="7094" y="0"/>
                        <a:pt x="9122" y="1520"/>
                        <a:pt x="9122"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499" name="Полилиния: фигура 498">
                  <a:extLst>
                    <a:ext uri="{FF2B5EF4-FFF2-40B4-BE49-F238E27FC236}">
                      <a16:creationId xmlns:a16="http://schemas.microsoft.com/office/drawing/2014/main" id="{08D7CC55-0D1A-4AAB-A256-4C84936B4D59}"/>
                    </a:ext>
                  </a:extLst>
                </p:cNvPr>
                <p:cNvSpPr/>
                <p:nvPr/>
              </p:nvSpPr>
              <p:spPr>
                <a:xfrm>
                  <a:off x="8650598" y="2714221"/>
                  <a:ext cx="12414" cy="14188"/>
                </a:xfrm>
                <a:custGeom>
                  <a:avLst/>
                  <a:gdLst>
                    <a:gd name="connsiteX0" fmla="*/ 12415 w 12414"/>
                    <a:gd name="connsiteY0" fmla="*/ 7094 h 14188"/>
                    <a:gd name="connsiteX1" fmla="*/ 6207 w 12414"/>
                    <a:gd name="connsiteY1" fmla="*/ 14188 h 14188"/>
                    <a:gd name="connsiteX2" fmla="*/ 0 w 12414"/>
                    <a:gd name="connsiteY2" fmla="*/ 7094 h 14188"/>
                    <a:gd name="connsiteX3" fmla="*/ 6207 w 12414"/>
                    <a:gd name="connsiteY3" fmla="*/ 0 h 14188"/>
                    <a:gd name="connsiteX4" fmla="*/ 12415 w 12414"/>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14188">
                      <a:moveTo>
                        <a:pt x="12415" y="7094"/>
                      </a:moveTo>
                      <a:cubicBezTo>
                        <a:pt x="12415" y="11021"/>
                        <a:pt x="9627" y="14188"/>
                        <a:pt x="6207" y="14188"/>
                      </a:cubicBezTo>
                      <a:cubicBezTo>
                        <a:pt x="2787" y="14188"/>
                        <a:pt x="0" y="11021"/>
                        <a:pt x="0" y="7094"/>
                      </a:cubicBezTo>
                      <a:cubicBezTo>
                        <a:pt x="0" y="3167"/>
                        <a:pt x="2787" y="0"/>
                        <a:pt x="6207" y="0"/>
                      </a:cubicBezTo>
                      <a:cubicBezTo>
                        <a:pt x="9627" y="0"/>
                        <a:pt x="12415" y="3167"/>
                        <a:pt x="12415"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0" name="Полилиния: фигура 499">
                  <a:extLst>
                    <a:ext uri="{FF2B5EF4-FFF2-40B4-BE49-F238E27FC236}">
                      <a16:creationId xmlns:a16="http://schemas.microsoft.com/office/drawing/2014/main" id="{05719D79-EE28-40FF-998E-F6795F3980F8}"/>
                    </a:ext>
                  </a:extLst>
                </p:cNvPr>
                <p:cNvSpPr/>
                <p:nvPr/>
              </p:nvSpPr>
              <p:spPr>
                <a:xfrm>
                  <a:off x="8630835" y="2698000"/>
                  <a:ext cx="10894" cy="9632"/>
                </a:xfrm>
                <a:custGeom>
                  <a:avLst/>
                  <a:gdLst>
                    <a:gd name="connsiteX0" fmla="*/ 10895 w 10894"/>
                    <a:gd name="connsiteY0" fmla="*/ 4819 h 9632"/>
                    <a:gd name="connsiteX1" fmla="*/ 5447 w 10894"/>
                    <a:gd name="connsiteY1" fmla="*/ 9633 h 9632"/>
                    <a:gd name="connsiteX2" fmla="*/ 0 w 10894"/>
                    <a:gd name="connsiteY2" fmla="*/ 4819 h 9632"/>
                    <a:gd name="connsiteX3" fmla="*/ 5447 w 10894"/>
                    <a:gd name="connsiteY3" fmla="*/ 5 h 9632"/>
                    <a:gd name="connsiteX4" fmla="*/ 10895 w 10894"/>
                    <a:gd name="connsiteY4" fmla="*/ 4819 h 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9632">
                      <a:moveTo>
                        <a:pt x="10895" y="4819"/>
                      </a:moveTo>
                      <a:cubicBezTo>
                        <a:pt x="10895" y="7479"/>
                        <a:pt x="8488" y="9633"/>
                        <a:pt x="5447" y="9633"/>
                      </a:cubicBezTo>
                      <a:cubicBezTo>
                        <a:pt x="2406" y="9633"/>
                        <a:pt x="0" y="7479"/>
                        <a:pt x="0" y="4819"/>
                      </a:cubicBezTo>
                      <a:cubicBezTo>
                        <a:pt x="0" y="2159"/>
                        <a:pt x="2406" y="5"/>
                        <a:pt x="5447" y="5"/>
                      </a:cubicBezTo>
                      <a:cubicBezTo>
                        <a:pt x="8488" y="-122"/>
                        <a:pt x="10895" y="2159"/>
                        <a:pt x="10895" y="48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1" name="Полилиния: фигура 500">
                  <a:extLst>
                    <a:ext uri="{FF2B5EF4-FFF2-40B4-BE49-F238E27FC236}">
                      <a16:creationId xmlns:a16="http://schemas.microsoft.com/office/drawing/2014/main" id="{B330B9B9-4341-4788-A2A5-961B205A104A}"/>
                    </a:ext>
                  </a:extLst>
                </p:cNvPr>
                <p:cNvSpPr/>
                <p:nvPr/>
              </p:nvSpPr>
              <p:spPr>
                <a:xfrm>
                  <a:off x="8633622" y="2731196"/>
                  <a:ext cx="9881" cy="5067"/>
                </a:xfrm>
                <a:custGeom>
                  <a:avLst/>
                  <a:gdLst>
                    <a:gd name="connsiteX0" fmla="*/ 9882 w 9881"/>
                    <a:gd name="connsiteY0" fmla="*/ 2534 h 5067"/>
                    <a:gd name="connsiteX1" fmla="*/ 4941 w 9881"/>
                    <a:gd name="connsiteY1" fmla="*/ 5067 h 5067"/>
                    <a:gd name="connsiteX2" fmla="*/ 0 w 9881"/>
                    <a:gd name="connsiteY2" fmla="*/ 2534 h 5067"/>
                    <a:gd name="connsiteX3" fmla="*/ 4941 w 9881"/>
                    <a:gd name="connsiteY3" fmla="*/ 0 h 5067"/>
                    <a:gd name="connsiteX4" fmla="*/ 9882 w 9881"/>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5067">
                      <a:moveTo>
                        <a:pt x="9882" y="2534"/>
                      </a:moveTo>
                      <a:cubicBezTo>
                        <a:pt x="9882" y="3927"/>
                        <a:pt x="7601" y="5067"/>
                        <a:pt x="4941" y="5067"/>
                      </a:cubicBezTo>
                      <a:cubicBezTo>
                        <a:pt x="2280" y="5067"/>
                        <a:pt x="0" y="3927"/>
                        <a:pt x="0" y="2534"/>
                      </a:cubicBezTo>
                      <a:cubicBezTo>
                        <a:pt x="0" y="1140"/>
                        <a:pt x="2153" y="0"/>
                        <a:pt x="4941" y="0"/>
                      </a:cubicBezTo>
                      <a:cubicBezTo>
                        <a:pt x="7727" y="0"/>
                        <a:pt x="9882" y="1140"/>
                        <a:pt x="9882" y="25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2" name="Полилиния: фигура 501">
                  <a:extLst>
                    <a:ext uri="{FF2B5EF4-FFF2-40B4-BE49-F238E27FC236}">
                      <a16:creationId xmlns:a16="http://schemas.microsoft.com/office/drawing/2014/main" id="{3F59E53D-858D-4641-9DCD-0C2FDFEB65FC}"/>
                    </a:ext>
                  </a:extLst>
                </p:cNvPr>
                <p:cNvSpPr/>
                <p:nvPr/>
              </p:nvSpPr>
              <p:spPr>
                <a:xfrm>
                  <a:off x="8606765" y="2716248"/>
                  <a:ext cx="14441" cy="9881"/>
                </a:xfrm>
                <a:custGeom>
                  <a:avLst/>
                  <a:gdLst>
                    <a:gd name="connsiteX0" fmla="*/ 14442 w 14441"/>
                    <a:gd name="connsiteY0" fmla="*/ 4941 h 9881"/>
                    <a:gd name="connsiteX1" fmla="*/ 7221 w 14441"/>
                    <a:gd name="connsiteY1" fmla="*/ 9881 h 9881"/>
                    <a:gd name="connsiteX2" fmla="*/ 0 w 14441"/>
                    <a:gd name="connsiteY2" fmla="*/ 4941 h 9881"/>
                    <a:gd name="connsiteX3" fmla="*/ 7221 w 14441"/>
                    <a:gd name="connsiteY3" fmla="*/ 0 h 9881"/>
                    <a:gd name="connsiteX4" fmla="*/ 14442 w 14441"/>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9881">
                      <a:moveTo>
                        <a:pt x="14442" y="4941"/>
                      </a:moveTo>
                      <a:cubicBezTo>
                        <a:pt x="14442" y="7601"/>
                        <a:pt x="11275" y="9881"/>
                        <a:pt x="7221" y="9881"/>
                      </a:cubicBezTo>
                      <a:cubicBezTo>
                        <a:pt x="3294" y="9881"/>
                        <a:pt x="0" y="7601"/>
                        <a:pt x="0" y="4941"/>
                      </a:cubicBezTo>
                      <a:cubicBezTo>
                        <a:pt x="0" y="2154"/>
                        <a:pt x="3294" y="0"/>
                        <a:pt x="7221" y="0"/>
                      </a:cubicBezTo>
                      <a:cubicBezTo>
                        <a:pt x="11275" y="0"/>
                        <a:pt x="14442" y="2154"/>
                        <a:pt x="14442"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3" name="Полилиния: фигура 502">
                  <a:extLst>
                    <a:ext uri="{FF2B5EF4-FFF2-40B4-BE49-F238E27FC236}">
                      <a16:creationId xmlns:a16="http://schemas.microsoft.com/office/drawing/2014/main" id="{CF650CFC-ABA8-4A0B-83F6-75996FB939A2}"/>
                    </a:ext>
                  </a:extLst>
                </p:cNvPr>
                <p:cNvSpPr/>
                <p:nvPr/>
              </p:nvSpPr>
              <p:spPr>
                <a:xfrm>
                  <a:off x="8403820" y="2577911"/>
                  <a:ext cx="15202" cy="23436"/>
                </a:xfrm>
                <a:custGeom>
                  <a:avLst/>
                  <a:gdLst>
                    <a:gd name="connsiteX0" fmla="*/ 15202 w 15202"/>
                    <a:gd name="connsiteY0" fmla="*/ 11781 h 23436"/>
                    <a:gd name="connsiteX1" fmla="*/ 7601 w 15202"/>
                    <a:gd name="connsiteY1" fmla="*/ 23436 h 23436"/>
                    <a:gd name="connsiteX2" fmla="*/ 0 w 15202"/>
                    <a:gd name="connsiteY2" fmla="*/ 11781 h 23436"/>
                    <a:gd name="connsiteX3" fmla="*/ 7601 w 15202"/>
                    <a:gd name="connsiteY3" fmla="*/ 0 h 23436"/>
                    <a:gd name="connsiteX4" fmla="*/ 15202 w 15202"/>
                    <a:gd name="connsiteY4" fmla="*/ 11781 h 2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2" h="23436">
                      <a:moveTo>
                        <a:pt x="15202" y="11781"/>
                      </a:moveTo>
                      <a:cubicBezTo>
                        <a:pt x="15202" y="18242"/>
                        <a:pt x="11781" y="23436"/>
                        <a:pt x="7601" y="23436"/>
                      </a:cubicBezTo>
                      <a:cubicBezTo>
                        <a:pt x="3421" y="23436"/>
                        <a:pt x="0" y="18116"/>
                        <a:pt x="0" y="11781"/>
                      </a:cubicBezTo>
                      <a:cubicBezTo>
                        <a:pt x="0" y="5321"/>
                        <a:pt x="3421" y="0"/>
                        <a:pt x="7601" y="0"/>
                      </a:cubicBezTo>
                      <a:cubicBezTo>
                        <a:pt x="11781" y="127"/>
                        <a:pt x="15202" y="5321"/>
                        <a:pt x="15202" y="117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4" name="Полилиния: фигура 503">
                  <a:extLst>
                    <a:ext uri="{FF2B5EF4-FFF2-40B4-BE49-F238E27FC236}">
                      <a16:creationId xmlns:a16="http://schemas.microsoft.com/office/drawing/2014/main" id="{454E7DF4-3785-4692-BB34-AFC7D690007A}"/>
                    </a:ext>
                  </a:extLst>
                </p:cNvPr>
                <p:cNvSpPr/>
                <p:nvPr/>
              </p:nvSpPr>
              <p:spPr>
                <a:xfrm>
                  <a:off x="8213743" y="2577073"/>
                  <a:ext cx="91493" cy="75562"/>
                </a:xfrm>
                <a:custGeom>
                  <a:avLst/>
                  <a:gdLst>
                    <a:gd name="connsiteX0" fmla="*/ 180 w 91493"/>
                    <a:gd name="connsiteY0" fmla="*/ 53411 h 75562"/>
                    <a:gd name="connsiteX1" fmla="*/ 4107 w 91493"/>
                    <a:gd name="connsiteY1" fmla="*/ 45937 h 75562"/>
                    <a:gd name="connsiteX2" fmla="*/ 12341 w 91493"/>
                    <a:gd name="connsiteY2" fmla="*/ 25794 h 75562"/>
                    <a:gd name="connsiteX3" fmla="*/ 9554 w 91493"/>
                    <a:gd name="connsiteY3" fmla="*/ 2991 h 75562"/>
                    <a:gd name="connsiteX4" fmla="*/ 33878 w 91493"/>
                    <a:gd name="connsiteY4" fmla="*/ 7678 h 75562"/>
                    <a:gd name="connsiteX5" fmla="*/ 60481 w 91493"/>
                    <a:gd name="connsiteY5" fmla="*/ 331 h 75562"/>
                    <a:gd name="connsiteX6" fmla="*/ 85817 w 91493"/>
                    <a:gd name="connsiteY6" fmla="*/ 12366 h 75562"/>
                    <a:gd name="connsiteX7" fmla="*/ 88857 w 91493"/>
                    <a:gd name="connsiteY7" fmla="*/ 38082 h 75562"/>
                    <a:gd name="connsiteX8" fmla="*/ 74669 w 91493"/>
                    <a:gd name="connsiteY8" fmla="*/ 65446 h 75562"/>
                    <a:gd name="connsiteX9" fmla="*/ 55033 w 91493"/>
                    <a:gd name="connsiteY9" fmla="*/ 75327 h 75562"/>
                    <a:gd name="connsiteX10" fmla="*/ 43885 w 91493"/>
                    <a:gd name="connsiteY10" fmla="*/ 72793 h 75562"/>
                    <a:gd name="connsiteX11" fmla="*/ 36031 w 91493"/>
                    <a:gd name="connsiteY11" fmla="*/ 66713 h 75562"/>
                    <a:gd name="connsiteX12" fmla="*/ 27669 w 91493"/>
                    <a:gd name="connsiteY12" fmla="*/ 60758 h 75562"/>
                    <a:gd name="connsiteX13" fmla="*/ 21716 w 91493"/>
                    <a:gd name="connsiteY13" fmla="*/ 58605 h 75562"/>
                    <a:gd name="connsiteX14" fmla="*/ 9301 w 91493"/>
                    <a:gd name="connsiteY14" fmla="*/ 57465 h 75562"/>
                    <a:gd name="connsiteX15" fmla="*/ 180 w 91493"/>
                    <a:gd name="connsiteY15" fmla="*/ 53411 h 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93" h="75562">
                      <a:moveTo>
                        <a:pt x="180" y="53411"/>
                      </a:moveTo>
                      <a:cubicBezTo>
                        <a:pt x="-834" y="50877"/>
                        <a:pt x="2713" y="47584"/>
                        <a:pt x="4107" y="45937"/>
                      </a:cubicBezTo>
                      <a:cubicBezTo>
                        <a:pt x="9047" y="40363"/>
                        <a:pt x="17789" y="33648"/>
                        <a:pt x="12341" y="25794"/>
                      </a:cubicBezTo>
                      <a:cubicBezTo>
                        <a:pt x="7907" y="19333"/>
                        <a:pt x="1446" y="9705"/>
                        <a:pt x="9554" y="2991"/>
                      </a:cubicBezTo>
                      <a:cubicBezTo>
                        <a:pt x="17281" y="-3470"/>
                        <a:pt x="26276" y="5778"/>
                        <a:pt x="33878" y="7678"/>
                      </a:cubicBezTo>
                      <a:cubicBezTo>
                        <a:pt x="43505" y="9959"/>
                        <a:pt x="51486" y="2104"/>
                        <a:pt x="60481" y="331"/>
                      </a:cubicBezTo>
                      <a:cubicBezTo>
                        <a:pt x="70361" y="-1569"/>
                        <a:pt x="79737" y="5018"/>
                        <a:pt x="85817" y="12366"/>
                      </a:cubicBezTo>
                      <a:cubicBezTo>
                        <a:pt x="92405" y="20347"/>
                        <a:pt x="93038" y="28834"/>
                        <a:pt x="88857" y="38082"/>
                      </a:cubicBezTo>
                      <a:cubicBezTo>
                        <a:pt x="84677" y="47330"/>
                        <a:pt x="80116" y="56958"/>
                        <a:pt x="74669" y="65446"/>
                      </a:cubicBezTo>
                      <a:cubicBezTo>
                        <a:pt x="69982" y="72667"/>
                        <a:pt x="63774" y="76594"/>
                        <a:pt x="55033" y="75327"/>
                      </a:cubicBezTo>
                      <a:cubicBezTo>
                        <a:pt x="50979" y="74694"/>
                        <a:pt x="47685" y="74947"/>
                        <a:pt x="43885" y="72793"/>
                      </a:cubicBezTo>
                      <a:cubicBezTo>
                        <a:pt x="40972" y="71146"/>
                        <a:pt x="38818" y="68739"/>
                        <a:pt x="36031" y="66713"/>
                      </a:cubicBezTo>
                      <a:cubicBezTo>
                        <a:pt x="33117" y="64686"/>
                        <a:pt x="31217" y="62025"/>
                        <a:pt x="27669" y="60758"/>
                      </a:cubicBezTo>
                      <a:cubicBezTo>
                        <a:pt x="25770" y="60125"/>
                        <a:pt x="23742" y="59238"/>
                        <a:pt x="21716" y="58605"/>
                      </a:cubicBezTo>
                      <a:cubicBezTo>
                        <a:pt x="17535" y="57338"/>
                        <a:pt x="13481" y="57718"/>
                        <a:pt x="9301" y="57465"/>
                      </a:cubicBezTo>
                      <a:cubicBezTo>
                        <a:pt x="7020" y="57211"/>
                        <a:pt x="1193" y="56071"/>
                        <a:pt x="180" y="53411"/>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505" name="Рисунок 388">
              <a:extLst>
                <a:ext uri="{FF2B5EF4-FFF2-40B4-BE49-F238E27FC236}">
                  <a16:creationId xmlns:a16="http://schemas.microsoft.com/office/drawing/2014/main" id="{1DA397FD-DC6E-439E-BB40-D0F80476817D}"/>
                </a:ext>
              </a:extLst>
            </p:cNvPr>
            <p:cNvGrpSpPr/>
            <p:nvPr/>
          </p:nvGrpSpPr>
          <p:grpSpPr>
            <a:xfrm>
              <a:off x="6336578" y="1444736"/>
              <a:ext cx="2029081" cy="2403848"/>
              <a:chOff x="6336578" y="1444736"/>
              <a:chExt cx="2029081" cy="2403848"/>
            </a:xfrm>
            <a:solidFill>
              <a:srgbClr val="E3E8EC"/>
            </a:solidFill>
          </p:grpSpPr>
          <p:sp>
            <p:nvSpPr>
              <p:cNvPr id="506" name="Полилиния: фигура 505">
                <a:extLst>
                  <a:ext uri="{FF2B5EF4-FFF2-40B4-BE49-F238E27FC236}">
                    <a16:creationId xmlns:a16="http://schemas.microsoft.com/office/drawing/2014/main" id="{14D9AF86-F4CB-4072-8323-0337D100D50D}"/>
                  </a:ext>
                </a:extLst>
              </p:cNvPr>
              <p:cNvSpPr/>
              <p:nvPr/>
            </p:nvSpPr>
            <p:spPr>
              <a:xfrm>
                <a:off x="8121174" y="2675203"/>
                <a:ext cx="94395" cy="67690"/>
              </a:xfrm>
              <a:custGeom>
                <a:avLst/>
                <a:gdLst>
                  <a:gd name="connsiteX0" fmla="*/ 90215 w 94395"/>
                  <a:gd name="connsiteY0" fmla="*/ 0 h 67690"/>
                  <a:gd name="connsiteX1" fmla="*/ 60824 w 94395"/>
                  <a:gd name="connsiteY1" fmla="*/ 25590 h 67690"/>
                  <a:gd name="connsiteX2" fmla="*/ 37895 w 94395"/>
                  <a:gd name="connsiteY2" fmla="*/ 9755 h 67690"/>
                  <a:gd name="connsiteX3" fmla="*/ 17372 w 94395"/>
                  <a:gd name="connsiteY3" fmla="*/ 67648 h 67690"/>
                  <a:gd name="connsiteX4" fmla="*/ 64751 w 94395"/>
                  <a:gd name="connsiteY4" fmla="*/ 45732 h 67690"/>
                  <a:gd name="connsiteX5" fmla="*/ 77167 w 94395"/>
                  <a:gd name="connsiteY5" fmla="*/ 53713 h 67690"/>
                  <a:gd name="connsiteX6" fmla="*/ 94395 w 94395"/>
                  <a:gd name="connsiteY6" fmla="*/ 34964 h 67690"/>
                  <a:gd name="connsiteX7" fmla="*/ 90215 w 94395"/>
                  <a:gd name="connsiteY7" fmla="*/ 0 h 6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95" h="67690">
                    <a:moveTo>
                      <a:pt x="90215" y="0"/>
                    </a:moveTo>
                    <a:cubicBezTo>
                      <a:pt x="73366" y="2027"/>
                      <a:pt x="73746" y="19256"/>
                      <a:pt x="60824" y="25590"/>
                    </a:cubicBezTo>
                    <a:cubicBezTo>
                      <a:pt x="43342" y="34204"/>
                      <a:pt x="52843" y="6334"/>
                      <a:pt x="37895" y="9755"/>
                    </a:cubicBezTo>
                    <a:cubicBezTo>
                      <a:pt x="19779" y="13935"/>
                      <a:pt x="-24306" y="69422"/>
                      <a:pt x="17372" y="67648"/>
                    </a:cubicBezTo>
                    <a:cubicBezTo>
                      <a:pt x="37008" y="66762"/>
                      <a:pt x="43342" y="38892"/>
                      <a:pt x="64751" y="45732"/>
                    </a:cubicBezTo>
                    <a:cubicBezTo>
                      <a:pt x="69439" y="47253"/>
                      <a:pt x="74506" y="49913"/>
                      <a:pt x="77167" y="53713"/>
                    </a:cubicBezTo>
                    <a:lnTo>
                      <a:pt x="94395" y="34964"/>
                    </a:lnTo>
                    <a:cubicBezTo>
                      <a:pt x="86668" y="27237"/>
                      <a:pt x="89202" y="11148"/>
                      <a:pt x="90215"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07" name="Полилиния: фигура 506">
                <a:extLst>
                  <a:ext uri="{FF2B5EF4-FFF2-40B4-BE49-F238E27FC236}">
                    <a16:creationId xmlns:a16="http://schemas.microsoft.com/office/drawing/2014/main" id="{1812D25E-E519-4689-B6E8-CF21661C9593}"/>
                  </a:ext>
                </a:extLst>
              </p:cNvPr>
              <p:cNvSpPr/>
              <p:nvPr/>
            </p:nvSpPr>
            <p:spPr>
              <a:xfrm>
                <a:off x="6336578" y="2061662"/>
                <a:ext cx="2029081" cy="1786921"/>
              </a:xfrm>
              <a:custGeom>
                <a:avLst/>
                <a:gdLst>
                  <a:gd name="connsiteX0" fmla="*/ 2027717 w 2029081"/>
                  <a:gd name="connsiteY0" fmla="*/ 1100888 h 1786921"/>
                  <a:gd name="connsiteX1" fmla="*/ 1989585 w 2029081"/>
                  <a:gd name="connsiteY1" fmla="*/ 1144973 h 1786921"/>
                  <a:gd name="connsiteX2" fmla="*/ 1950821 w 2029081"/>
                  <a:gd name="connsiteY2" fmla="*/ 1176517 h 1786921"/>
                  <a:gd name="connsiteX3" fmla="*/ 1936759 w 2029081"/>
                  <a:gd name="connsiteY3" fmla="*/ 1205021 h 1786921"/>
                  <a:gd name="connsiteX4" fmla="*/ 1927891 w 2029081"/>
                  <a:gd name="connsiteY4" fmla="*/ 1234031 h 1786921"/>
                  <a:gd name="connsiteX5" fmla="*/ 1905215 w 2029081"/>
                  <a:gd name="connsiteY5" fmla="*/ 1246319 h 1786921"/>
                  <a:gd name="connsiteX6" fmla="*/ 1868984 w 2029081"/>
                  <a:gd name="connsiteY6" fmla="*/ 1294712 h 1786921"/>
                  <a:gd name="connsiteX7" fmla="*/ 1863030 w 2029081"/>
                  <a:gd name="connsiteY7" fmla="*/ 1362994 h 1786921"/>
                  <a:gd name="connsiteX8" fmla="*/ 1806656 w 2029081"/>
                  <a:gd name="connsiteY8" fmla="*/ 1355393 h 1786921"/>
                  <a:gd name="connsiteX9" fmla="*/ 1755350 w 2029081"/>
                  <a:gd name="connsiteY9" fmla="*/ 1397198 h 1786921"/>
                  <a:gd name="connsiteX10" fmla="*/ 1700370 w 2029081"/>
                  <a:gd name="connsiteY10" fmla="*/ 1414047 h 1786921"/>
                  <a:gd name="connsiteX11" fmla="*/ 1677440 w 2029081"/>
                  <a:gd name="connsiteY11" fmla="*/ 1415187 h 1786921"/>
                  <a:gd name="connsiteX12" fmla="*/ 1664012 w 2029081"/>
                  <a:gd name="connsiteY12" fmla="*/ 1417974 h 1786921"/>
                  <a:gd name="connsiteX13" fmla="*/ 1648430 w 2029081"/>
                  <a:gd name="connsiteY13" fmla="*/ 1439510 h 1786921"/>
                  <a:gd name="connsiteX14" fmla="*/ 1594083 w 2029081"/>
                  <a:gd name="connsiteY14" fmla="*/ 1430262 h 1786921"/>
                  <a:gd name="connsiteX15" fmla="*/ 1576728 w 2029081"/>
                  <a:gd name="connsiteY15" fmla="*/ 1449138 h 1786921"/>
                  <a:gd name="connsiteX16" fmla="*/ 1545310 w 2029081"/>
                  <a:gd name="connsiteY16" fmla="*/ 1461426 h 1786921"/>
                  <a:gd name="connsiteX17" fmla="*/ 1529348 w 2029081"/>
                  <a:gd name="connsiteY17" fmla="*/ 1466367 h 1786921"/>
                  <a:gd name="connsiteX18" fmla="*/ 1505785 w 2029081"/>
                  <a:gd name="connsiteY18" fmla="*/ 1467380 h 1786921"/>
                  <a:gd name="connsiteX19" fmla="*/ 1482095 w 2029081"/>
                  <a:gd name="connsiteY19" fmla="*/ 1463073 h 1786921"/>
                  <a:gd name="connsiteX20" fmla="*/ 1437504 w 2029081"/>
                  <a:gd name="connsiteY20" fmla="*/ 1429502 h 1786921"/>
                  <a:gd name="connsiteX21" fmla="*/ 1381130 w 2029081"/>
                  <a:gd name="connsiteY21" fmla="*/ 1421395 h 1786921"/>
                  <a:gd name="connsiteX22" fmla="*/ 1353386 w 2029081"/>
                  <a:gd name="connsiteY22" fmla="*/ 1426335 h 1786921"/>
                  <a:gd name="connsiteX23" fmla="*/ 1326022 w 2029081"/>
                  <a:gd name="connsiteY23" fmla="*/ 1422915 h 1786921"/>
                  <a:gd name="connsiteX24" fmla="*/ 1332231 w 2029081"/>
                  <a:gd name="connsiteY24" fmla="*/ 1402012 h 1786921"/>
                  <a:gd name="connsiteX25" fmla="*/ 1340085 w 2029081"/>
                  <a:gd name="connsiteY25" fmla="*/ 1374395 h 1786921"/>
                  <a:gd name="connsiteX26" fmla="*/ 1303727 w 2029081"/>
                  <a:gd name="connsiteY26" fmla="*/ 1351086 h 1786921"/>
                  <a:gd name="connsiteX27" fmla="*/ 1281304 w 2029081"/>
                  <a:gd name="connsiteY27" fmla="*/ 1353113 h 1786921"/>
                  <a:gd name="connsiteX28" fmla="*/ 1251153 w 2029081"/>
                  <a:gd name="connsiteY28" fmla="*/ 1364894 h 1786921"/>
                  <a:gd name="connsiteX29" fmla="*/ 1228351 w 2029081"/>
                  <a:gd name="connsiteY29" fmla="*/ 1383263 h 1786921"/>
                  <a:gd name="connsiteX30" fmla="*/ 1198707 w 2029081"/>
                  <a:gd name="connsiteY30" fmla="*/ 1387317 h 1786921"/>
                  <a:gd name="connsiteX31" fmla="*/ 1170963 w 2029081"/>
                  <a:gd name="connsiteY31" fmla="*/ 1389724 h 1786921"/>
                  <a:gd name="connsiteX32" fmla="*/ 1147400 w 2029081"/>
                  <a:gd name="connsiteY32" fmla="*/ 1390231 h 1786921"/>
                  <a:gd name="connsiteX33" fmla="*/ 1094194 w 2029081"/>
                  <a:gd name="connsiteY33" fmla="*/ 1411387 h 1786921"/>
                  <a:gd name="connsiteX34" fmla="*/ 1071137 w 2029081"/>
                  <a:gd name="connsiteY34" fmla="*/ 1423928 h 1786921"/>
                  <a:gd name="connsiteX35" fmla="*/ 1042634 w 2029081"/>
                  <a:gd name="connsiteY35" fmla="*/ 1438877 h 1786921"/>
                  <a:gd name="connsiteX36" fmla="*/ 982207 w 2029081"/>
                  <a:gd name="connsiteY36" fmla="*/ 1488156 h 1786921"/>
                  <a:gd name="connsiteX37" fmla="*/ 973212 w 2029081"/>
                  <a:gd name="connsiteY37" fmla="*/ 1518814 h 1786921"/>
                  <a:gd name="connsiteX38" fmla="*/ 977772 w 2029081"/>
                  <a:gd name="connsiteY38" fmla="*/ 1539969 h 1786921"/>
                  <a:gd name="connsiteX39" fmla="*/ 948762 w 2029081"/>
                  <a:gd name="connsiteY39" fmla="*/ 1583295 h 1786921"/>
                  <a:gd name="connsiteX40" fmla="*/ 940148 w 2029081"/>
                  <a:gd name="connsiteY40" fmla="*/ 1605718 h 1786921"/>
                  <a:gd name="connsiteX41" fmla="*/ 913544 w 2029081"/>
                  <a:gd name="connsiteY41" fmla="*/ 1613825 h 1786921"/>
                  <a:gd name="connsiteX42" fmla="*/ 848936 w 2029081"/>
                  <a:gd name="connsiteY42" fmla="*/ 1627634 h 1786921"/>
                  <a:gd name="connsiteX43" fmla="*/ 810172 w 2029081"/>
                  <a:gd name="connsiteY43" fmla="*/ 1664118 h 1786921"/>
                  <a:gd name="connsiteX44" fmla="*/ 776221 w 2029081"/>
                  <a:gd name="connsiteY44" fmla="*/ 1698323 h 1786921"/>
                  <a:gd name="connsiteX45" fmla="*/ 751137 w 2029081"/>
                  <a:gd name="connsiteY45" fmla="*/ 1724166 h 1786921"/>
                  <a:gd name="connsiteX46" fmla="*/ 732388 w 2029081"/>
                  <a:gd name="connsiteY46" fmla="*/ 1745702 h 1786921"/>
                  <a:gd name="connsiteX47" fmla="*/ 725801 w 2029081"/>
                  <a:gd name="connsiteY47" fmla="*/ 1748869 h 1786921"/>
                  <a:gd name="connsiteX48" fmla="*/ 691977 w 2029081"/>
                  <a:gd name="connsiteY48" fmla="*/ 1752923 h 1786921"/>
                  <a:gd name="connsiteX49" fmla="*/ 648398 w 2029081"/>
                  <a:gd name="connsiteY49" fmla="*/ 1755837 h 1786921"/>
                  <a:gd name="connsiteX50" fmla="*/ 611027 w 2029081"/>
                  <a:gd name="connsiteY50" fmla="*/ 1757103 h 1786921"/>
                  <a:gd name="connsiteX51" fmla="*/ 566941 w 2029081"/>
                  <a:gd name="connsiteY51" fmla="*/ 1743802 h 1786921"/>
                  <a:gd name="connsiteX52" fmla="*/ 497012 w 2029081"/>
                  <a:gd name="connsiteY52" fmla="*/ 1750643 h 1786921"/>
                  <a:gd name="connsiteX53" fmla="*/ 468256 w 2029081"/>
                  <a:gd name="connsiteY53" fmla="*/ 1760904 h 1786921"/>
                  <a:gd name="connsiteX54" fmla="*/ 435951 w 2029081"/>
                  <a:gd name="connsiteY54" fmla="*/ 1776105 h 1786921"/>
                  <a:gd name="connsiteX55" fmla="*/ 394906 w 2029081"/>
                  <a:gd name="connsiteY55" fmla="*/ 1784593 h 1786921"/>
                  <a:gd name="connsiteX56" fmla="*/ 396553 w 2029081"/>
                  <a:gd name="connsiteY56" fmla="*/ 1746335 h 1786921"/>
                  <a:gd name="connsiteX57" fmla="*/ 424043 w 2029081"/>
                  <a:gd name="connsiteY57" fmla="*/ 1697816 h 1786921"/>
                  <a:gd name="connsiteX58" fmla="*/ 420623 w 2029081"/>
                  <a:gd name="connsiteY58" fmla="*/ 1680207 h 1786921"/>
                  <a:gd name="connsiteX59" fmla="*/ 396300 w 2029081"/>
                  <a:gd name="connsiteY59" fmla="*/ 1628014 h 1786921"/>
                  <a:gd name="connsiteX60" fmla="*/ 366403 w 2029081"/>
                  <a:gd name="connsiteY60" fmla="*/ 1592163 h 1786921"/>
                  <a:gd name="connsiteX61" fmla="*/ 340179 w 2029081"/>
                  <a:gd name="connsiteY61" fmla="*/ 1595583 h 1786921"/>
                  <a:gd name="connsiteX62" fmla="*/ 312183 w 2029081"/>
                  <a:gd name="connsiteY62" fmla="*/ 1642202 h 1786921"/>
                  <a:gd name="connsiteX63" fmla="*/ 290267 w 2029081"/>
                  <a:gd name="connsiteY63" fmla="*/ 1691735 h 1786921"/>
                  <a:gd name="connsiteX64" fmla="*/ 270884 w 2029081"/>
                  <a:gd name="connsiteY64" fmla="*/ 1713398 h 1786921"/>
                  <a:gd name="connsiteX65" fmla="*/ 245928 w 2029081"/>
                  <a:gd name="connsiteY65" fmla="*/ 1731007 h 1786921"/>
                  <a:gd name="connsiteX66" fmla="*/ 230092 w 2029081"/>
                  <a:gd name="connsiteY66" fmla="*/ 1677040 h 1786921"/>
                  <a:gd name="connsiteX67" fmla="*/ 207290 w 2029081"/>
                  <a:gd name="connsiteY67" fmla="*/ 1645623 h 1786921"/>
                  <a:gd name="connsiteX68" fmla="*/ 187400 w 2029081"/>
                  <a:gd name="connsiteY68" fmla="*/ 1608885 h 1786921"/>
                  <a:gd name="connsiteX69" fmla="*/ 175999 w 2029081"/>
                  <a:gd name="connsiteY69" fmla="*/ 1589122 h 1786921"/>
                  <a:gd name="connsiteX70" fmla="*/ 180686 w 2029081"/>
                  <a:gd name="connsiteY70" fmla="*/ 1568980 h 1786921"/>
                  <a:gd name="connsiteX71" fmla="*/ 181826 w 2029081"/>
                  <a:gd name="connsiteY71" fmla="*/ 1542883 h 1786921"/>
                  <a:gd name="connsiteX72" fmla="*/ 175872 w 2029081"/>
                  <a:gd name="connsiteY72" fmla="*/ 1530088 h 1786921"/>
                  <a:gd name="connsiteX73" fmla="*/ 168525 w 2029081"/>
                  <a:gd name="connsiteY73" fmla="*/ 1521981 h 1786921"/>
                  <a:gd name="connsiteX74" fmla="*/ 165864 w 2029081"/>
                  <a:gd name="connsiteY74" fmla="*/ 1513239 h 1786921"/>
                  <a:gd name="connsiteX75" fmla="*/ 179926 w 2029081"/>
                  <a:gd name="connsiteY75" fmla="*/ 1477515 h 1786921"/>
                  <a:gd name="connsiteX76" fmla="*/ 186767 w 2029081"/>
                  <a:gd name="connsiteY76" fmla="*/ 1452052 h 1786921"/>
                  <a:gd name="connsiteX77" fmla="*/ 177392 w 2029081"/>
                  <a:gd name="connsiteY77" fmla="*/ 1427982 h 1786921"/>
                  <a:gd name="connsiteX78" fmla="*/ 177139 w 2029081"/>
                  <a:gd name="connsiteY78" fmla="*/ 1376676 h 1786921"/>
                  <a:gd name="connsiteX79" fmla="*/ 162191 w 2029081"/>
                  <a:gd name="connsiteY79" fmla="*/ 1357673 h 1786921"/>
                  <a:gd name="connsiteX80" fmla="*/ 151676 w 2029081"/>
                  <a:gd name="connsiteY80" fmla="*/ 1325369 h 1786921"/>
                  <a:gd name="connsiteX81" fmla="*/ 148382 w 2029081"/>
                  <a:gd name="connsiteY81" fmla="*/ 1315488 h 1786921"/>
                  <a:gd name="connsiteX82" fmla="*/ 136347 w 2029081"/>
                  <a:gd name="connsiteY82" fmla="*/ 1318402 h 1786921"/>
                  <a:gd name="connsiteX83" fmla="*/ 110378 w 2029081"/>
                  <a:gd name="connsiteY83" fmla="*/ 1326509 h 1786921"/>
                  <a:gd name="connsiteX84" fmla="*/ 58691 w 2029081"/>
                  <a:gd name="connsiteY84" fmla="*/ 1324863 h 1786921"/>
                  <a:gd name="connsiteX85" fmla="*/ 31834 w 2029081"/>
                  <a:gd name="connsiteY85" fmla="*/ 1297119 h 1786921"/>
                  <a:gd name="connsiteX86" fmla="*/ 20433 w 2029081"/>
                  <a:gd name="connsiteY86" fmla="*/ 1256581 h 1786921"/>
                  <a:gd name="connsiteX87" fmla="*/ 1177 w 2029081"/>
                  <a:gd name="connsiteY87" fmla="*/ 1219083 h 1786921"/>
                  <a:gd name="connsiteX88" fmla="*/ 11818 w 2029081"/>
                  <a:gd name="connsiteY88" fmla="*/ 1181078 h 1786921"/>
                  <a:gd name="connsiteX89" fmla="*/ 52990 w 2029081"/>
                  <a:gd name="connsiteY89" fmla="*/ 1169423 h 1786921"/>
                  <a:gd name="connsiteX90" fmla="*/ 87575 w 2029081"/>
                  <a:gd name="connsiteY90" fmla="*/ 1140033 h 1786921"/>
                  <a:gd name="connsiteX91" fmla="*/ 115571 w 2029081"/>
                  <a:gd name="connsiteY91" fmla="*/ 1117990 h 1786921"/>
                  <a:gd name="connsiteX92" fmla="*/ 149902 w 2029081"/>
                  <a:gd name="connsiteY92" fmla="*/ 1101648 h 1786921"/>
                  <a:gd name="connsiteX93" fmla="*/ 157377 w 2029081"/>
                  <a:gd name="connsiteY93" fmla="*/ 1048315 h 1786921"/>
                  <a:gd name="connsiteX94" fmla="*/ 152816 w 2029081"/>
                  <a:gd name="connsiteY94" fmla="*/ 998275 h 1786921"/>
                  <a:gd name="connsiteX95" fmla="*/ 129633 w 2029081"/>
                  <a:gd name="connsiteY95" fmla="*/ 955963 h 1786921"/>
                  <a:gd name="connsiteX96" fmla="*/ 106324 w 2029081"/>
                  <a:gd name="connsiteY96" fmla="*/ 918718 h 1786921"/>
                  <a:gd name="connsiteX97" fmla="*/ 127099 w 2029081"/>
                  <a:gd name="connsiteY97" fmla="*/ 896296 h 1786921"/>
                  <a:gd name="connsiteX98" fmla="*/ 158770 w 2029081"/>
                  <a:gd name="connsiteY98" fmla="*/ 878180 h 1786921"/>
                  <a:gd name="connsiteX99" fmla="*/ 176379 w 2029081"/>
                  <a:gd name="connsiteY99" fmla="*/ 834981 h 1786921"/>
                  <a:gd name="connsiteX100" fmla="*/ 173845 w 2029081"/>
                  <a:gd name="connsiteY100" fmla="*/ 815472 h 1786921"/>
                  <a:gd name="connsiteX101" fmla="*/ 154843 w 2029081"/>
                  <a:gd name="connsiteY101" fmla="*/ 808378 h 1786921"/>
                  <a:gd name="connsiteX102" fmla="*/ 121272 w 2029081"/>
                  <a:gd name="connsiteY102" fmla="*/ 765433 h 1786921"/>
                  <a:gd name="connsiteX103" fmla="*/ 161051 w 2029081"/>
                  <a:gd name="connsiteY103" fmla="*/ 773920 h 1786921"/>
                  <a:gd name="connsiteX104" fmla="*/ 230346 w 2029081"/>
                  <a:gd name="connsiteY104" fmla="*/ 860951 h 1786921"/>
                  <a:gd name="connsiteX105" fmla="*/ 274684 w 2029081"/>
                  <a:gd name="connsiteY105" fmla="*/ 932527 h 1786921"/>
                  <a:gd name="connsiteX106" fmla="*/ 331945 w 2029081"/>
                  <a:gd name="connsiteY106" fmla="*/ 967365 h 1786921"/>
                  <a:gd name="connsiteX107" fmla="*/ 310409 w 2029081"/>
                  <a:gd name="connsiteY107" fmla="*/ 996628 h 1786921"/>
                  <a:gd name="connsiteX108" fmla="*/ 273291 w 2029081"/>
                  <a:gd name="connsiteY108" fmla="*/ 1010183 h 1786921"/>
                  <a:gd name="connsiteX109" fmla="*/ 259103 w 2029081"/>
                  <a:gd name="connsiteY109" fmla="*/ 1043627 h 1786921"/>
                  <a:gd name="connsiteX110" fmla="*/ 243014 w 2029081"/>
                  <a:gd name="connsiteY110" fmla="*/ 1088473 h 1786921"/>
                  <a:gd name="connsiteX111" fmla="*/ 259230 w 2029081"/>
                  <a:gd name="connsiteY111" fmla="*/ 1105195 h 1786921"/>
                  <a:gd name="connsiteX112" fmla="*/ 283299 w 2029081"/>
                  <a:gd name="connsiteY112" fmla="*/ 1087333 h 1786921"/>
                  <a:gd name="connsiteX113" fmla="*/ 299895 w 2029081"/>
                  <a:gd name="connsiteY113" fmla="*/ 1072131 h 1786921"/>
                  <a:gd name="connsiteX114" fmla="*/ 295334 w 2029081"/>
                  <a:gd name="connsiteY114" fmla="*/ 1100001 h 1786921"/>
                  <a:gd name="connsiteX115" fmla="*/ 280765 w 2029081"/>
                  <a:gd name="connsiteY115" fmla="*/ 1140666 h 1786921"/>
                  <a:gd name="connsiteX116" fmla="*/ 248335 w 2029081"/>
                  <a:gd name="connsiteY116" fmla="*/ 1201347 h 1786921"/>
                  <a:gd name="connsiteX117" fmla="*/ 261763 w 2029081"/>
                  <a:gd name="connsiteY117" fmla="*/ 1245559 h 1786921"/>
                  <a:gd name="connsiteX118" fmla="*/ 265183 w 2029081"/>
                  <a:gd name="connsiteY118" fmla="*/ 1289392 h 1786921"/>
                  <a:gd name="connsiteX119" fmla="*/ 301668 w 2029081"/>
                  <a:gd name="connsiteY119" fmla="*/ 1332083 h 1786921"/>
                  <a:gd name="connsiteX120" fmla="*/ 323711 w 2029081"/>
                  <a:gd name="connsiteY120" fmla="*/ 1289011 h 1786921"/>
                  <a:gd name="connsiteX121" fmla="*/ 310789 w 2029081"/>
                  <a:gd name="connsiteY121" fmla="*/ 1272543 h 1786921"/>
                  <a:gd name="connsiteX122" fmla="*/ 294700 w 2029081"/>
                  <a:gd name="connsiteY122" fmla="*/ 1257341 h 1786921"/>
                  <a:gd name="connsiteX123" fmla="*/ 299514 w 2029081"/>
                  <a:gd name="connsiteY123" fmla="*/ 1223643 h 1786921"/>
                  <a:gd name="connsiteX124" fmla="*/ 300781 w 2029081"/>
                  <a:gd name="connsiteY124" fmla="*/ 1191973 h 1786921"/>
                  <a:gd name="connsiteX125" fmla="*/ 323584 w 2029081"/>
                  <a:gd name="connsiteY125" fmla="*/ 1162709 h 1786921"/>
                  <a:gd name="connsiteX126" fmla="*/ 331058 w 2029081"/>
                  <a:gd name="connsiteY126" fmla="*/ 1098734 h 1786921"/>
                  <a:gd name="connsiteX127" fmla="*/ 330932 w 2029081"/>
                  <a:gd name="connsiteY127" fmla="*/ 1018418 h 1786921"/>
                  <a:gd name="connsiteX128" fmla="*/ 350948 w 2029081"/>
                  <a:gd name="connsiteY128" fmla="*/ 987000 h 1786921"/>
                  <a:gd name="connsiteX129" fmla="*/ 353735 w 2029081"/>
                  <a:gd name="connsiteY129" fmla="*/ 953176 h 1786921"/>
                  <a:gd name="connsiteX130" fmla="*/ 348667 w 2029081"/>
                  <a:gd name="connsiteY130" fmla="*/ 919859 h 1786921"/>
                  <a:gd name="connsiteX131" fmla="*/ 323204 w 2029081"/>
                  <a:gd name="connsiteY131" fmla="*/ 890848 h 1786921"/>
                  <a:gd name="connsiteX132" fmla="*/ 314210 w 2029081"/>
                  <a:gd name="connsiteY132" fmla="*/ 833841 h 1786921"/>
                  <a:gd name="connsiteX133" fmla="*/ 261763 w 2029081"/>
                  <a:gd name="connsiteY133" fmla="*/ 796850 h 1786921"/>
                  <a:gd name="connsiteX134" fmla="*/ 268350 w 2029081"/>
                  <a:gd name="connsiteY134" fmla="*/ 729582 h 1786921"/>
                  <a:gd name="connsiteX135" fmla="*/ 297361 w 2029081"/>
                  <a:gd name="connsiteY135" fmla="*/ 616327 h 1786921"/>
                  <a:gd name="connsiteX136" fmla="*/ 357408 w 2029081"/>
                  <a:gd name="connsiteY136" fmla="*/ 608853 h 1786921"/>
                  <a:gd name="connsiteX137" fmla="*/ 417456 w 2029081"/>
                  <a:gd name="connsiteY137" fmla="*/ 630896 h 1786921"/>
                  <a:gd name="connsiteX138" fmla="*/ 484344 w 2029081"/>
                  <a:gd name="connsiteY138" fmla="*/ 632669 h 1786921"/>
                  <a:gd name="connsiteX139" fmla="*/ 553006 w 2029081"/>
                  <a:gd name="connsiteY139" fmla="*/ 633810 h 1786921"/>
                  <a:gd name="connsiteX140" fmla="*/ 599372 w 2029081"/>
                  <a:gd name="connsiteY140" fmla="*/ 624055 h 1786921"/>
                  <a:gd name="connsiteX141" fmla="*/ 593291 w 2029081"/>
                  <a:gd name="connsiteY141" fmla="*/ 661806 h 1786921"/>
                  <a:gd name="connsiteX142" fmla="*/ 680195 w 2029081"/>
                  <a:gd name="connsiteY142" fmla="*/ 629249 h 1786921"/>
                  <a:gd name="connsiteX143" fmla="*/ 663093 w 2029081"/>
                  <a:gd name="connsiteY143" fmla="*/ 610500 h 1786921"/>
                  <a:gd name="connsiteX144" fmla="*/ 665500 w 2029081"/>
                  <a:gd name="connsiteY144" fmla="*/ 584150 h 1786921"/>
                  <a:gd name="connsiteX145" fmla="*/ 661447 w 2029081"/>
                  <a:gd name="connsiteY145" fmla="*/ 554380 h 1786921"/>
                  <a:gd name="connsiteX146" fmla="*/ 671708 w 2029081"/>
                  <a:gd name="connsiteY146" fmla="*/ 517515 h 1786921"/>
                  <a:gd name="connsiteX147" fmla="*/ 637250 w 2029081"/>
                  <a:gd name="connsiteY147" fmla="*/ 452274 h 1786921"/>
                  <a:gd name="connsiteX148" fmla="*/ 694384 w 2029081"/>
                  <a:gd name="connsiteY148" fmla="*/ 472163 h 1786921"/>
                  <a:gd name="connsiteX149" fmla="*/ 716680 w 2029081"/>
                  <a:gd name="connsiteY149" fmla="*/ 436058 h 1786921"/>
                  <a:gd name="connsiteX150" fmla="*/ 702871 w 2029081"/>
                  <a:gd name="connsiteY150" fmla="*/ 418449 h 1786921"/>
                  <a:gd name="connsiteX151" fmla="*/ 731375 w 2029081"/>
                  <a:gd name="connsiteY151" fmla="*/ 415535 h 1786921"/>
                  <a:gd name="connsiteX152" fmla="*/ 755191 w 2029081"/>
                  <a:gd name="connsiteY152" fmla="*/ 404641 h 1786921"/>
                  <a:gd name="connsiteX153" fmla="*/ 773687 w 2029081"/>
                  <a:gd name="connsiteY153" fmla="*/ 383358 h 1786921"/>
                  <a:gd name="connsiteX154" fmla="*/ 801050 w 2029081"/>
                  <a:gd name="connsiteY154" fmla="*/ 370310 h 1786921"/>
                  <a:gd name="connsiteX155" fmla="*/ 848176 w 2029081"/>
                  <a:gd name="connsiteY155" fmla="*/ 367650 h 1786921"/>
                  <a:gd name="connsiteX156" fmla="*/ 870725 w 2029081"/>
                  <a:gd name="connsiteY156" fmla="*/ 348901 h 1786921"/>
                  <a:gd name="connsiteX157" fmla="*/ 895809 w 2029081"/>
                  <a:gd name="connsiteY157" fmla="*/ 353588 h 1786921"/>
                  <a:gd name="connsiteX158" fmla="*/ 924313 w 2029081"/>
                  <a:gd name="connsiteY158" fmla="*/ 349914 h 1786921"/>
                  <a:gd name="connsiteX159" fmla="*/ 949902 w 2029081"/>
                  <a:gd name="connsiteY159" fmla="*/ 338893 h 1786921"/>
                  <a:gd name="connsiteX160" fmla="*/ 959784 w 2029081"/>
                  <a:gd name="connsiteY160" fmla="*/ 350421 h 1786921"/>
                  <a:gd name="connsiteX161" fmla="*/ 971185 w 2029081"/>
                  <a:gd name="connsiteY161" fmla="*/ 343326 h 1786921"/>
                  <a:gd name="connsiteX162" fmla="*/ 998929 w 2029081"/>
                  <a:gd name="connsiteY162" fmla="*/ 326858 h 1786921"/>
                  <a:gd name="connsiteX163" fmla="*/ 1021351 w 2029081"/>
                  <a:gd name="connsiteY163" fmla="*/ 316090 h 1786921"/>
                  <a:gd name="connsiteX164" fmla="*/ 996522 w 2029081"/>
                  <a:gd name="connsiteY164" fmla="*/ 299748 h 1786921"/>
                  <a:gd name="connsiteX165" fmla="*/ 1016664 w 2029081"/>
                  <a:gd name="connsiteY165" fmla="*/ 292020 h 1786921"/>
                  <a:gd name="connsiteX166" fmla="*/ 1041621 w 2029081"/>
                  <a:gd name="connsiteY166" fmla="*/ 282646 h 1786921"/>
                  <a:gd name="connsiteX167" fmla="*/ 1068604 w 2029081"/>
                  <a:gd name="connsiteY167" fmla="*/ 286066 h 1786921"/>
                  <a:gd name="connsiteX168" fmla="*/ 1095841 w 2029081"/>
                  <a:gd name="connsiteY168" fmla="*/ 293414 h 1786921"/>
                  <a:gd name="connsiteX169" fmla="*/ 1122951 w 2029081"/>
                  <a:gd name="connsiteY169" fmla="*/ 299874 h 1786921"/>
                  <a:gd name="connsiteX170" fmla="*/ 1121937 w 2029081"/>
                  <a:gd name="connsiteY170" fmla="*/ 323564 h 1786921"/>
                  <a:gd name="connsiteX171" fmla="*/ 1151074 w 2029081"/>
                  <a:gd name="connsiteY171" fmla="*/ 325844 h 1786921"/>
                  <a:gd name="connsiteX172" fmla="*/ 1165009 w 2029081"/>
                  <a:gd name="connsiteY172" fmla="*/ 329392 h 1786921"/>
                  <a:gd name="connsiteX173" fmla="*/ 1175271 w 2029081"/>
                  <a:gd name="connsiteY173" fmla="*/ 321410 h 1786921"/>
                  <a:gd name="connsiteX174" fmla="*/ 1201874 w 2029081"/>
                  <a:gd name="connsiteY174" fmla="*/ 312543 h 1786921"/>
                  <a:gd name="connsiteX175" fmla="*/ 1212008 w 2029081"/>
                  <a:gd name="connsiteY175" fmla="*/ 287840 h 1786921"/>
                  <a:gd name="connsiteX176" fmla="*/ 1235572 w 2029081"/>
                  <a:gd name="connsiteY176" fmla="*/ 276945 h 1786921"/>
                  <a:gd name="connsiteX177" fmla="*/ 1266989 w 2029081"/>
                  <a:gd name="connsiteY177" fmla="*/ 287713 h 1786921"/>
                  <a:gd name="connsiteX178" fmla="*/ 1296126 w 2029081"/>
                  <a:gd name="connsiteY178" fmla="*/ 296707 h 1786921"/>
                  <a:gd name="connsiteX179" fmla="*/ 1272182 w 2029081"/>
                  <a:gd name="connsiteY179" fmla="*/ 260096 h 1786921"/>
                  <a:gd name="connsiteX180" fmla="*/ 1264455 w 2029081"/>
                  <a:gd name="connsiteY180" fmla="*/ 227032 h 1786921"/>
                  <a:gd name="connsiteX181" fmla="*/ 1305247 w 2029081"/>
                  <a:gd name="connsiteY181" fmla="*/ 227159 h 1786921"/>
                  <a:gd name="connsiteX182" fmla="*/ 1345532 w 2029081"/>
                  <a:gd name="connsiteY182" fmla="*/ 239447 h 1786921"/>
                  <a:gd name="connsiteX183" fmla="*/ 1389238 w 2029081"/>
                  <a:gd name="connsiteY183" fmla="*/ 255029 h 1786921"/>
                  <a:gd name="connsiteX184" fmla="*/ 1377203 w 2029081"/>
                  <a:gd name="connsiteY184" fmla="*/ 229186 h 1786921"/>
                  <a:gd name="connsiteX185" fmla="*/ 1356046 w 2029081"/>
                  <a:gd name="connsiteY185" fmla="*/ 201822 h 1786921"/>
                  <a:gd name="connsiteX186" fmla="*/ 1358960 w 2029081"/>
                  <a:gd name="connsiteY186" fmla="*/ 181806 h 1786921"/>
                  <a:gd name="connsiteX187" fmla="*/ 1346292 w 2029081"/>
                  <a:gd name="connsiteY187" fmla="*/ 165338 h 1786921"/>
                  <a:gd name="connsiteX188" fmla="*/ 1357947 w 2029081"/>
                  <a:gd name="connsiteY188" fmla="*/ 136581 h 1786921"/>
                  <a:gd name="connsiteX189" fmla="*/ 1387337 w 2029081"/>
                  <a:gd name="connsiteY189" fmla="*/ 78180 h 1786921"/>
                  <a:gd name="connsiteX190" fmla="*/ 1422048 w 2029081"/>
                  <a:gd name="connsiteY190" fmla="*/ 68806 h 1786921"/>
                  <a:gd name="connsiteX191" fmla="*/ 1432056 w 2029081"/>
                  <a:gd name="connsiteY191" fmla="*/ 37262 h 1786921"/>
                  <a:gd name="connsiteX192" fmla="*/ 1457773 w 2029081"/>
                  <a:gd name="connsiteY192" fmla="*/ 20159 h 1786921"/>
                  <a:gd name="connsiteX193" fmla="*/ 1481082 w 2029081"/>
                  <a:gd name="connsiteY193" fmla="*/ 524 h 1786921"/>
                  <a:gd name="connsiteX194" fmla="*/ 1506925 w 2029081"/>
                  <a:gd name="connsiteY194" fmla="*/ 27761 h 1786921"/>
                  <a:gd name="connsiteX195" fmla="*/ 1537330 w 2029081"/>
                  <a:gd name="connsiteY195" fmla="*/ 38655 h 1786921"/>
                  <a:gd name="connsiteX196" fmla="*/ 1552024 w 2029081"/>
                  <a:gd name="connsiteY196" fmla="*/ 65385 h 1786921"/>
                  <a:gd name="connsiteX197" fmla="*/ 1520354 w 2029081"/>
                  <a:gd name="connsiteY197" fmla="*/ 88441 h 1786921"/>
                  <a:gd name="connsiteX198" fmla="*/ 1504772 w 2029081"/>
                  <a:gd name="connsiteY198" fmla="*/ 114791 h 1786921"/>
                  <a:gd name="connsiteX199" fmla="*/ 1542650 w 2029081"/>
                  <a:gd name="connsiteY199" fmla="*/ 119985 h 1786921"/>
                  <a:gd name="connsiteX200" fmla="*/ 1566086 w 2029081"/>
                  <a:gd name="connsiteY200" fmla="*/ 131007 h 1786921"/>
                  <a:gd name="connsiteX201" fmla="*/ 1593069 w 2029081"/>
                  <a:gd name="connsiteY201" fmla="*/ 127333 h 1786921"/>
                  <a:gd name="connsiteX202" fmla="*/ 1605991 w 2029081"/>
                  <a:gd name="connsiteY202" fmla="*/ 207270 h 1786921"/>
                  <a:gd name="connsiteX203" fmla="*/ 1659451 w 2029081"/>
                  <a:gd name="connsiteY203" fmla="*/ 192701 h 1786921"/>
                  <a:gd name="connsiteX204" fmla="*/ 1642729 w 2029081"/>
                  <a:gd name="connsiteY204" fmla="*/ 166731 h 1786921"/>
                  <a:gd name="connsiteX205" fmla="*/ 1661731 w 2029081"/>
                  <a:gd name="connsiteY205" fmla="*/ 158370 h 1786921"/>
                  <a:gd name="connsiteX206" fmla="*/ 1719372 w 2029081"/>
                  <a:gd name="connsiteY206" fmla="*/ 168505 h 1786921"/>
                  <a:gd name="connsiteX207" fmla="*/ 1774225 w 2029081"/>
                  <a:gd name="connsiteY207" fmla="*/ 144942 h 1786921"/>
                  <a:gd name="connsiteX208" fmla="*/ 1801462 w 2029081"/>
                  <a:gd name="connsiteY208" fmla="*/ 143928 h 1786921"/>
                  <a:gd name="connsiteX209" fmla="*/ 1812484 w 2029081"/>
                  <a:gd name="connsiteY209" fmla="*/ 168125 h 1786921"/>
                  <a:gd name="connsiteX210" fmla="*/ 1820591 w 2029081"/>
                  <a:gd name="connsiteY210" fmla="*/ 203469 h 1786921"/>
                  <a:gd name="connsiteX211" fmla="*/ 1833260 w 2029081"/>
                  <a:gd name="connsiteY211" fmla="*/ 209930 h 1786921"/>
                  <a:gd name="connsiteX212" fmla="*/ 1859736 w 2029081"/>
                  <a:gd name="connsiteY212" fmla="*/ 206763 h 1786921"/>
                  <a:gd name="connsiteX213" fmla="*/ 1860496 w 2029081"/>
                  <a:gd name="connsiteY213" fmla="*/ 239700 h 1786921"/>
                  <a:gd name="connsiteX214" fmla="*/ 1876331 w 2029081"/>
                  <a:gd name="connsiteY214" fmla="*/ 252242 h 1786921"/>
                  <a:gd name="connsiteX215" fmla="*/ 1880766 w 2029081"/>
                  <a:gd name="connsiteY215" fmla="*/ 240587 h 1786921"/>
                  <a:gd name="connsiteX216" fmla="*/ 1894321 w 2029081"/>
                  <a:gd name="connsiteY216" fmla="*/ 221838 h 1786921"/>
                  <a:gd name="connsiteX217" fmla="*/ 1904455 w 2029081"/>
                  <a:gd name="connsiteY217" fmla="*/ 246161 h 1786921"/>
                  <a:gd name="connsiteX218" fmla="*/ 1927258 w 2029081"/>
                  <a:gd name="connsiteY218" fmla="*/ 301775 h 1786921"/>
                  <a:gd name="connsiteX219" fmla="*/ 1913703 w 2029081"/>
                  <a:gd name="connsiteY219" fmla="*/ 320017 h 1786921"/>
                  <a:gd name="connsiteX220" fmla="*/ 1903568 w 2029081"/>
                  <a:gd name="connsiteY220" fmla="*/ 313936 h 1786921"/>
                  <a:gd name="connsiteX221" fmla="*/ 1893053 w 2029081"/>
                  <a:gd name="connsiteY221" fmla="*/ 307982 h 1786921"/>
                  <a:gd name="connsiteX222" fmla="*/ 1875571 w 2029081"/>
                  <a:gd name="connsiteY222" fmla="*/ 311149 h 1786921"/>
                  <a:gd name="connsiteX223" fmla="*/ 1936759 w 2029081"/>
                  <a:gd name="connsiteY223" fmla="*/ 361695 h 1786921"/>
                  <a:gd name="connsiteX224" fmla="*/ 1946641 w 2029081"/>
                  <a:gd name="connsiteY224" fmla="*/ 395520 h 1786921"/>
                  <a:gd name="connsiteX225" fmla="*/ 1920670 w 2029081"/>
                  <a:gd name="connsiteY225" fmla="*/ 442392 h 1786921"/>
                  <a:gd name="connsiteX226" fmla="*/ 1907369 w 2029081"/>
                  <a:gd name="connsiteY226" fmla="*/ 451767 h 1786921"/>
                  <a:gd name="connsiteX227" fmla="*/ 1901542 w 2029081"/>
                  <a:gd name="connsiteY227" fmla="*/ 453414 h 1786921"/>
                  <a:gd name="connsiteX228" fmla="*/ 1899514 w 2029081"/>
                  <a:gd name="connsiteY228" fmla="*/ 466335 h 1786921"/>
                  <a:gd name="connsiteX229" fmla="*/ 1896094 w 2029081"/>
                  <a:gd name="connsiteY229" fmla="*/ 483184 h 1786921"/>
                  <a:gd name="connsiteX230" fmla="*/ 1888239 w 2029081"/>
                  <a:gd name="connsiteY230" fmla="*/ 493065 h 1786921"/>
                  <a:gd name="connsiteX231" fmla="*/ 1883299 w 2029081"/>
                  <a:gd name="connsiteY231" fmla="*/ 488631 h 1786921"/>
                  <a:gd name="connsiteX232" fmla="*/ 1869364 w 2029081"/>
                  <a:gd name="connsiteY232" fmla="*/ 491672 h 1786921"/>
                  <a:gd name="connsiteX233" fmla="*/ 1859990 w 2029081"/>
                  <a:gd name="connsiteY233" fmla="*/ 518908 h 1786921"/>
                  <a:gd name="connsiteX234" fmla="*/ 1837947 w 2029081"/>
                  <a:gd name="connsiteY234" fmla="*/ 536771 h 1786921"/>
                  <a:gd name="connsiteX235" fmla="*/ 1818184 w 2029081"/>
                  <a:gd name="connsiteY235" fmla="*/ 558180 h 1786921"/>
                  <a:gd name="connsiteX236" fmla="*/ 1780433 w 2029081"/>
                  <a:gd name="connsiteY236" fmla="*/ 593651 h 1786921"/>
                  <a:gd name="connsiteX237" fmla="*/ 1797662 w 2029081"/>
                  <a:gd name="connsiteY237" fmla="*/ 618227 h 1786921"/>
                  <a:gd name="connsiteX238" fmla="*/ 1774352 w 2029081"/>
                  <a:gd name="connsiteY238" fmla="*/ 636850 h 1786921"/>
                  <a:gd name="connsiteX239" fmla="*/ 1754590 w 2029081"/>
                  <a:gd name="connsiteY239" fmla="*/ 662566 h 1786921"/>
                  <a:gd name="connsiteX240" fmla="*/ 1744582 w 2029081"/>
                  <a:gd name="connsiteY240" fmla="*/ 673968 h 1786921"/>
                  <a:gd name="connsiteX241" fmla="*/ 1741034 w 2029081"/>
                  <a:gd name="connsiteY241" fmla="*/ 689550 h 1786921"/>
                  <a:gd name="connsiteX242" fmla="*/ 1681494 w 2029081"/>
                  <a:gd name="connsiteY242" fmla="*/ 713746 h 1786921"/>
                  <a:gd name="connsiteX243" fmla="*/ 1679594 w 2029081"/>
                  <a:gd name="connsiteY243" fmla="*/ 743263 h 1786921"/>
                  <a:gd name="connsiteX244" fmla="*/ 1654891 w 2029081"/>
                  <a:gd name="connsiteY244" fmla="*/ 767333 h 1786921"/>
                  <a:gd name="connsiteX245" fmla="*/ 1625754 w 2029081"/>
                  <a:gd name="connsiteY245" fmla="*/ 788742 h 1786921"/>
                  <a:gd name="connsiteX246" fmla="*/ 1621573 w 2029081"/>
                  <a:gd name="connsiteY246" fmla="*/ 819146 h 1786921"/>
                  <a:gd name="connsiteX247" fmla="*/ 1589902 w 2029081"/>
                  <a:gd name="connsiteY247" fmla="*/ 872479 h 1786921"/>
                  <a:gd name="connsiteX248" fmla="*/ 1628414 w 2029081"/>
                  <a:gd name="connsiteY248" fmla="*/ 851830 h 1786921"/>
                  <a:gd name="connsiteX249" fmla="*/ 1635761 w 2029081"/>
                  <a:gd name="connsiteY249" fmla="*/ 831561 h 1786921"/>
                  <a:gd name="connsiteX250" fmla="*/ 1648810 w 2029081"/>
                  <a:gd name="connsiteY250" fmla="*/ 810278 h 1786921"/>
                  <a:gd name="connsiteX251" fmla="*/ 1699863 w 2029081"/>
                  <a:gd name="connsiteY251" fmla="*/ 796090 h 1786921"/>
                  <a:gd name="connsiteX252" fmla="*/ 1730646 w 2029081"/>
                  <a:gd name="connsiteY252" fmla="*/ 788236 h 1786921"/>
                  <a:gd name="connsiteX253" fmla="*/ 1739261 w 2029081"/>
                  <a:gd name="connsiteY253" fmla="*/ 773794 h 1786921"/>
                  <a:gd name="connsiteX254" fmla="*/ 1743695 w 2029081"/>
                  <a:gd name="connsiteY254" fmla="*/ 759732 h 1786921"/>
                  <a:gd name="connsiteX255" fmla="*/ 1774859 w 2029081"/>
                  <a:gd name="connsiteY255" fmla="*/ 736676 h 1786921"/>
                  <a:gd name="connsiteX256" fmla="*/ 1764978 w 2029081"/>
                  <a:gd name="connsiteY256" fmla="*/ 709439 h 1786921"/>
                  <a:gd name="connsiteX257" fmla="*/ 1783980 w 2029081"/>
                  <a:gd name="connsiteY257" fmla="*/ 703738 h 1786921"/>
                  <a:gd name="connsiteX258" fmla="*/ 1817677 w 2029081"/>
                  <a:gd name="connsiteY258" fmla="*/ 733255 h 1786921"/>
                  <a:gd name="connsiteX259" fmla="*/ 1841494 w 2029081"/>
                  <a:gd name="connsiteY259" fmla="*/ 698544 h 1786921"/>
                  <a:gd name="connsiteX260" fmla="*/ 1845928 w 2029081"/>
                  <a:gd name="connsiteY260" fmla="*/ 695504 h 1786921"/>
                  <a:gd name="connsiteX261" fmla="*/ 1846688 w 2029081"/>
                  <a:gd name="connsiteY261" fmla="*/ 718687 h 1786921"/>
                  <a:gd name="connsiteX262" fmla="*/ 1857836 w 2029081"/>
                  <a:gd name="connsiteY262" fmla="*/ 734015 h 1786921"/>
                  <a:gd name="connsiteX263" fmla="*/ 1871771 w 2029081"/>
                  <a:gd name="connsiteY263" fmla="*/ 754791 h 1786921"/>
                  <a:gd name="connsiteX264" fmla="*/ 1863283 w 2029081"/>
                  <a:gd name="connsiteY264" fmla="*/ 795456 h 1786921"/>
                  <a:gd name="connsiteX265" fmla="*/ 1872911 w 2029081"/>
                  <a:gd name="connsiteY265" fmla="*/ 819906 h 1786921"/>
                  <a:gd name="connsiteX266" fmla="*/ 1885199 w 2029081"/>
                  <a:gd name="connsiteY266" fmla="*/ 844102 h 1786921"/>
                  <a:gd name="connsiteX267" fmla="*/ 1899008 w 2029081"/>
                  <a:gd name="connsiteY267" fmla="*/ 890722 h 1786921"/>
                  <a:gd name="connsiteX268" fmla="*/ 1940813 w 2029081"/>
                  <a:gd name="connsiteY268" fmla="*/ 924166 h 1786921"/>
                  <a:gd name="connsiteX269" fmla="*/ 1976790 w 2029081"/>
                  <a:gd name="connsiteY269" fmla="*/ 961284 h 1786921"/>
                  <a:gd name="connsiteX270" fmla="*/ 1983632 w 2029081"/>
                  <a:gd name="connsiteY270" fmla="*/ 1017784 h 1786921"/>
                  <a:gd name="connsiteX271" fmla="*/ 2008588 w 2029081"/>
                  <a:gd name="connsiteY271" fmla="*/ 1054649 h 1786921"/>
                  <a:gd name="connsiteX272" fmla="*/ 2027717 w 2029081"/>
                  <a:gd name="connsiteY272" fmla="*/ 1100888 h 178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029081" h="1786921">
                    <a:moveTo>
                      <a:pt x="2027717" y="1100888"/>
                    </a:moveTo>
                    <a:cubicBezTo>
                      <a:pt x="2022143" y="1118243"/>
                      <a:pt x="2001620" y="1132305"/>
                      <a:pt x="1989585" y="1144973"/>
                    </a:cubicBezTo>
                    <a:cubicBezTo>
                      <a:pt x="1977931" y="1157262"/>
                      <a:pt x="1964503" y="1166763"/>
                      <a:pt x="1950821" y="1176517"/>
                    </a:cubicBezTo>
                    <a:cubicBezTo>
                      <a:pt x="1940307" y="1183992"/>
                      <a:pt x="1937139" y="1192479"/>
                      <a:pt x="1936759" y="1205021"/>
                    </a:cubicBezTo>
                    <a:cubicBezTo>
                      <a:pt x="1936379" y="1215536"/>
                      <a:pt x="1936253" y="1226557"/>
                      <a:pt x="1927891" y="1234031"/>
                    </a:cubicBezTo>
                    <a:cubicBezTo>
                      <a:pt x="1921557" y="1239732"/>
                      <a:pt x="1912689" y="1242392"/>
                      <a:pt x="1905215" y="1246319"/>
                    </a:cubicBezTo>
                    <a:cubicBezTo>
                      <a:pt x="1883679" y="1257341"/>
                      <a:pt x="1871644" y="1270009"/>
                      <a:pt x="1868984" y="1294712"/>
                    </a:cubicBezTo>
                    <a:cubicBezTo>
                      <a:pt x="1866830" y="1314855"/>
                      <a:pt x="1882539" y="1348172"/>
                      <a:pt x="1863030" y="1362994"/>
                    </a:cubicBezTo>
                    <a:cubicBezTo>
                      <a:pt x="1845674" y="1376169"/>
                      <a:pt x="1825405" y="1352859"/>
                      <a:pt x="1806656" y="1355393"/>
                    </a:cubicBezTo>
                    <a:cubicBezTo>
                      <a:pt x="1782713" y="1358560"/>
                      <a:pt x="1772452" y="1383643"/>
                      <a:pt x="1755350" y="1397198"/>
                    </a:cubicBezTo>
                    <a:cubicBezTo>
                      <a:pt x="1739641" y="1409486"/>
                      <a:pt x="1719752" y="1413034"/>
                      <a:pt x="1700370" y="1414047"/>
                    </a:cubicBezTo>
                    <a:cubicBezTo>
                      <a:pt x="1693149" y="1414427"/>
                      <a:pt x="1685168" y="1414427"/>
                      <a:pt x="1677440" y="1415187"/>
                    </a:cubicBezTo>
                    <a:cubicBezTo>
                      <a:pt x="1672752" y="1415694"/>
                      <a:pt x="1668192" y="1416581"/>
                      <a:pt x="1664012" y="1417974"/>
                    </a:cubicBezTo>
                    <a:cubicBezTo>
                      <a:pt x="1653877" y="1421395"/>
                      <a:pt x="1652737" y="1430896"/>
                      <a:pt x="1648430" y="1439510"/>
                    </a:cubicBezTo>
                    <a:cubicBezTo>
                      <a:pt x="1633481" y="1469281"/>
                      <a:pt x="1614859" y="1427475"/>
                      <a:pt x="1594083" y="1430262"/>
                    </a:cubicBezTo>
                    <a:cubicBezTo>
                      <a:pt x="1583315" y="1431783"/>
                      <a:pt x="1581542" y="1441411"/>
                      <a:pt x="1576728" y="1449138"/>
                    </a:cubicBezTo>
                    <a:cubicBezTo>
                      <a:pt x="1569633" y="1460666"/>
                      <a:pt x="1556712" y="1458893"/>
                      <a:pt x="1545310" y="1461426"/>
                    </a:cubicBezTo>
                    <a:cubicBezTo>
                      <a:pt x="1539736" y="1462693"/>
                      <a:pt x="1535175" y="1465480"/>
                      <a:pt x="1529348" y="1466367"/>
                    </a:cubicBezTo>
                    <a:cubicBezTo>
                      <a:pt x="1521494" y="1467634"/>
                      <a:pt x="1513639" y="1467507"/>
                      <a:pt x="1505785" y="1467380"/>
                    </a:cubicBezTo>
                    <a:cubicBezTo>
                      <a:pt x="1497044" y="1467127"/>
                      <a:pt x="1489950" y="1467887"/>
                      <a:pt x="1482095" y="1463073"/>
                    </a:cubicBezTo>
                    <a:cubicBezTo>
                      <a:pt x="1466387" y="1453319"/>
                      <a:pt x="1453845" y="1438117"/>
                      <a:pt x="1437504" y="1429502"/>
                    </a:cubicBezTo>
                    <a:cubicBezTo>
                      <a:pt x="1419895" y="1420255"/>
                      <a:pt x="1400385" y="1418861"/>
                      <a:pt x="1381130" y="1421395"/>
                    </a:cubicBezTo>
                    <a:cubicBezTo>
                      <a:pt x="1371755" y="1422661"/>
                      <a:pt x="1362634" y="1424435"/>
                      <a:pt x="1353386" y="1426335"/>
                    </a:cubicBezTo>
                    <a:cubicBezTo>
                      <a:pt x="1346039" y="1427855"/>
                      <a:pt x="1331217" y="1430642"/>
                      <a:pt x="1326022" y="1422915"/>
                    </a:cubicBezTo>
                    <a:cubicBezTo>
                      <a:pt x="1321842" y="1416707"/>
                      <a:pt x="1329570" y="1407459"/>
                      <a:pt x="1332231" y="1402012"/>
                    </a:cubicBezTo>
                    <a:cubicBezTo>
                      <a:pt x="1335777" y="1394665"/>
                      <a:pt x="1342745" y="1382756"/>
                      <a:pt x="1340085" y="1374395"/>
                    </a:cubicBezTo>
                    <a:cubicBezTo>
                      <a:pt x="1336158" y="1362234"/>
                      <a:pt x="1314748" y="1353999"/>
                      <a:pt x="1303727" y="1351086"/>
                    </a:cubicBezTo>
                    <a:cubicBezTo>
                      <a:pt x="1295492" y="1348806"/>
                      <a:pt x="1289412" y="1350579"/>
                      <a:pt x="1281304" y="1353113"/>
                    </a:cubicBezTo>
                    <a:cubicBezTo>
                      <a:pt x="1271169" y="1356280"/>
                      <a:pt x="1259641" y="1358180"/>
                      <a:pt x="1251153" y="1364894"/>
                    </a:cubicBezTo>
                    <a:cubicBezTo>
                      <a:pt x="1243299" y="1371102"/>
                      <a:pt x="1237852" y="1379083"/>
                      <a:pt x="1228351" y="1383263"/>
                    </a:cubicBezTo>
                    <a:cubicBezTo>
                      <a:pt x="1218976" y="1387444"/>
                      <a:pt x="1208715" y="1387064"/>
                      <a:pt x="1198707" y="1387317"/>
                    </a:cubicBezTo>
                    <a:cubicBezTo>
                      <a:pt x="1189332" y="1387570"/>
                      <a:pt x="1180212" y="1388964"/>
                      <a:pt x="1170963" y="1389724"/>
                    </a:cubicBezTo>
                    <a:cubicBezTo>
                      <a:pt x="1163109" y="1390357"/>
                      <a:pt x="1155255" y="1389091"/>
                      <a:pt x="1147400" y="1390231"/>
                    </a:cubicBezTo>
                    <a:cubicBezTo>
                      <a:pt x="1127765" y="1393145"/>
                      <a:pt x="1112816" y="1406446"/>
                      <a:pt x="1094194" y="1411387"/>
                    </a:cubicBezTo>
                    <a:cubicBezTo>
                      <a:pt x="1085453" y="1413667"/>
                      <a:pt x="1078739" y="1419241"/>
                      <a:pt x="1071137" y="1423928"/>
                    </a:cubicBezTo>
                    <a:cubicBezTo>
                      <a:pt x="1062017" y="1429502"/>
                      <a:pt x="1052515" y="1434696"/>
                      <a:pt x="1042634" y="1438877"/>
                    </a:cubicBezTo>
                    <a:cubicBezTo>
                      <a:pt x="1019577" y="1448631"/>
                      <a:pt x="994875" y="1466114"/>
                      <a:pt x="982207" y="1488156"/>
                    </a:cubicBezTo>
                    <a:cubicBezTo>
                      <a:pt x="977012" y="1497151"/>
                      <a:pt x="971819" y="1508172"/>
                      <a:pt x="973212" y="1518814"/>
                    </a:cubicBezTo>
                    <a:cubicBezTo>
                      <a:pt x="974226" y="1525908"/>
                      <a:pt x="977012" y="1532748"/>
                      <a:pt x="977772" y="1539969"/>
                    </a:cubicBezTo>
                    <a:cubicBezTo>
                      <a:pt x="980306" y="1561759"/>
                      <a:pt x="955603" y="1565433"/>
                      <a:pt x="948762" y="1583295"/>
                    </a:cubicBezTo>
                    <a:cubicBezTo>
                      <a:pt x="945975" y="1590642"/>
                      <a:pt x="945215" y="1599384"/>
                      <a:pt x="940148" y="1605718"/>
                    </a:cubicBezTo>
                    <a:cubicBezTo>
                      <a:pt x="933941" y="1613699"/>
                      <a:pt x="922666" y="1613825"/>
                      <a:pt x="913544" y="1613825"/>
                    </a:cubicBezTo>
                    <a:cubicBezTo>
                      <a:pt x="892388" y="1613825"/>
                      <a:pt x="868699" y="1620159"/>
                      <a:pt x="848936" y="1627634"/>
                    </a:cubicBezTo>
                    <a:cubicBezTo>
                      <a:pt x="832087" y="1633968"/>
                      <a:pt x="818913" y="1648790"/>
                      <a:pt x="810172" y="1664118"/>
                    </a:cubicBezTo>
                    <a:cubicBezTo>
                      <a:pt x="801557" y="1679067"/>
                      <a:pt x="789776" y="1687808"/>
                      <a:pt x="776221" y="1698323"/>
                    </a:cubicBezTo>
                    <a:cubicBezTo>
                      <a:pt x="766466" y="1705797"/>
                      <a:pt x="758358" y="1714285"/>
                      <a:pt x="751137" y="1724166"/>
                    </a:cubicBezTo>
                    <a:cubicBezTo>
                      <a:pt x="745564" y="1731893"/>
                      <a:pt x="740369" y="1740508"/>
                      <a:pt x="732388" y="1745702"/>
                    </a:cubicBezTo>
                    <a:cubicBezTo>
                      <a:pt x="730362" y="1746969"/>
                      <a:pt x="728208" y="1748109"/>
                      <a:pt x="725801" y="1748869"/>
                    </a:cubicBezTo>
                    <a:cubicBezTo>
                      <a:pt x="715287" y="1752416"/>
                      <a:pt x="702998" y="1751403"/>
                      <a:pt x="691977" y="1752923"/>
                    </a:cubicBezTo>
                    <a:cubicBezTo>
                      <a:pt x="677282" y="1754950"/>
                      <a:pt x="663093" y="1754823"/>
                      <a:pt x="648398" y="1755837"/>
                    </a:cubicBezTo>
                    <a:cubicBezTo>
                      <a:pt x="635983" y="1756723"/>
                      <a:pt x="623315" y="1759890"/>
                      <a:pt x="611027" y="1757103"/>
                    </a:cubicBezTo>
                    <a:cubicBezTo>
                      <a:pt x="595698" y="1753683"/>
                      <a:pt x="583030" y="1745068"/>
                      <a:pt x="566941" y="1743802"/>
                    </a:cubicBezTo>
                    <a:cubicBezTo>
                      <a:pt x="544392" y="1742028"/>
                      <a:pt x="518422" y="1742788"/>
                      <a:pt x="497012" y="1750643"/>
                    </a:cubicBezTo>
                    <a:cubicBezTo>
                      <a:pt x="487131" y="1754316"/>
                      <a:pt x="478770" y="1759004"/>
                      <a:pt x="468256" y="1760904"/>
                    </a:cubicBezTo>
                    <a:cubicBezTo>
                      <a:pt x="455587" y="1763311"/>
                      <a:pt x="447100" y="1769898"/>
                      <a:pt x="435951" y="1776105"/>
                    </a:cubicBezTo>
                    <a:cubicBezTo>
                      <a:pt x="426197" y="1781553"/>
                      <a:pt x="405928" y="1791434"/>
                      <a:pt x="394906" y="1784593"/>
                    </a:cubicBezTo>
                    <a:cubicBezTo>
                      <a:pt x="382618" y="1777119"/>
                      <a:pt x="391106" y="1755330"/>
                      <a:pt x="396553" y="1746335"/>
                    </a:cubicBezTo>
                    <a:cubicBezTo>
                      <a:pt x="406181" y="1730373"/>
                      <a:pt x="419736" y="1716565"/>
                      <a:pt x="424043" y="1697816"/>
                    </a:cubicBezTo>
                    <a:cubicBezTo>
                      <a:pt x="425690" y="1690848"/>
                      <a:pt x="423536" y="1686414"/>
                      <a:pt x="420623" y="1680207"/>
                    </a:cubicBezTo>
                    <a:cubicBezTo>
                      <a:pt x="412389" y="1662852"/>
                      <a:pt x="404534" y="1645243"/>
                      <a:pt x="396300" y="1628014"/>
                    </a:cubicBezTo>
                    <a:cubicBezTo>
                      <a:pt x="389712" y="1614332"/>
                      <a:pt x="381351" y="1598117"/>
                      <a:pt x="366403" y="1592163"/>
                    </a:cubicBezTo>
                    <a:cubicBezTo>
                      <a:pt x="357662" y="1588742"/>
                      <a:pt x="348287" y="1591023"/>
                      <a:pt x="340179" y="1595583"/>
                    </a:cubicBezTo>
                    <a:cubicBezTo>
                      <a:pt x="322824" y="1605338"/>
                      <a:pt x="315603" y="1623706"/>
                      <a:pt x="312183" y="1642202"/>
                    </a:cubicBezTo>
                    <a:cubicBezTo>
                      <a:pt x="308636" y="1660951"/>
                      <a:pt x="302428" y="1677040"/>
                      <a:pt x="290267" y="1691735"/>
                    </a:cubicBezTo>
                    <a:cubicBezTo>
                      <a:pt x="284059" y="1699209"/>
                      <a:pt x="277598" y="1706430"/>
                      <a:pt x="270884" y="1713398"/>
                    </a:cubicBezTo>
                    <a:cubicBezTo>
                      <a:pt x="264803" y="1719732"/>
                      <a:pt x="255429" y="1730626"/>
                      <a:pt x="245928" y="1731007"/>
                    </a:cubicBezTo>
                    <a:cubicBezTo>
                      <a:pt x="228192" y="1731767"/>
                      <a:pt x="233386" y="1688061"/>
                      <a:pt x="230092" y="1677040"/>
                    </a:cubicBezTo>
                    <a:cubicBezTo>
                      <a:pt x="226292" y="1664118"/>
                      <a:pt x="213877" y="1657024"/>
                      <a:pt x="207290" y="1645623"/>
                    </a:cubicBezTo>
                    <a:cubicBezTo>
                      <a:pt x="200195" y="1633461"/>
                      <a:pt x="195508" y="1620539"/>
                      <a:pt x="187400" y="1608885"/>
                    </a:cubicBezTo>
                    <a:cubicBezTo>
                      <a:pt x="183093" y="1602804"/>
                      <a:pt x="177519" y="1596597"/>
                      <a:pt x="175999" y="1589122"/>
                    </a:cubicBezTo>
                    <a:cubicBezTo>
                      <a:pt x="174479" y="1581775"/>
                      <a:pt x="177772" y="1575441"/>
                      <a:pt x="180686" y="1568980"/>
                    </a:cubicBezTo>
                    <a:cubicBezTo>
                      <a:pt x="184613" y="1560365"/>
                      <a:pt x="184993" y="1551751"/>
                      <a:pt x="181826" y="1542883"/>
                    </a:cubicBezTo>
                    <a:cubicBezTo>
                      <a:pt x="180306" y="1538703"/>
                      <a:pt x="178279" y="1533762"/>
                      <a:pt x="175872" y="1530088"/>
                    </a:cubicBezTo>
                    <a:cubicBezTo>
                      <a:pt x="173719" y="1526921"/>
                      <a:pt x="170552" y="1525148"/>
                      <a:pt x="168525" y="1521981"/>
                    </a:cubicBezTo>
                    <a:cubicBezTo>
                      <a:pt x="166751" y="1519194"/>
                      <a:pt x="165864" y="1516280"/>
                      <a:pt x="165864" y="1513239"/>
                    </a:cubicBezTo>
                    <a:cubicBezTo>
                      <a:pt x="165358" y="1501205"/>
                      <a:pt x="175745" y="1487270"/>
                      <a:pt x="179926" y="1477515"/>
                    </a:cubicBezTo>
                    <a:cubicBezTo>
                      <a:pt x="183346" y="1469661"/>
                      <a:pt x="187020" y="1460793"/>
                      <a:pt x="186767" y="1452052"/>
                    </a:cubicBezTo>
                    <a:cubicBezTo>
                      <a:pt x="186514" y="1443057"/>
                      <a:pt x="180559" y="1436090"/>
                      <a:pt x="177392" y="1427982"/>
                    </a:cubicBezTo>
                    <a:cubicBezTo>
                      <a:pt x="171058" y="1411513"/>
                      <a:pt x="177012" y="1393651"/>
                      <a:pt x="177139" y="1376676"/>
                    </a:cubicBezTo>
                    <a:cubicBezTo>
                      <a:pt x="177139" y="1365781"/>
                      <a:pt x="169918" y="1363374"/>
                      <a:pt x="162191" y="1357673"/>
                    </a:cubicBezTo>
                    <a:cubicBezTo>
                      <a:pt x="150536" y="1349312"/>
                      <a:pt x="152183" y="1338291"/>
                      <a:pt x="151676" y="1325369"/>
                    </a:cubicBezTo>
                    <a:cubicBezTo>
                      <a:pt x="151549" y="1322456"/>
                      <a:pt x="151296" y="1316628"/>
                      <a:pt x="148382" y="1315488"/>
                    </a:cubicBezTo>
                    <a:cubicBezTo>
                      <a:pt x="145849" y="1314475"/>
                      <a:pt x="138881" y="1317768"/>
                      <a:pt x="136347" y="1318402"/>
                    </a:cubicBezTo>
                    <a:cubicBezTo>
                      <a:pt x="127606" y="1320935"/>
                      <a:pt x="118992" y="1324102"/>
                      <a:pt x="110378" y="1326509"/>
                    </a:cubicBezTo>
                    <a:cubicBezTo>
                      <a:pt x="93275" y="1331450"/>
                      <a:pt x="74906" y="1333984"/>
                      <a:pt x="58691" y="1324863"/>
                    </a:cubicBezTo>
                    <a:cubicBezTo>
                      <a:pt x="47416" y="1318529"/>
                      <a:pt x="36775" y="1309281"/>
                      <a:pt x="31834" y="1297119"/>
                    </a:cubicBezTo>
                    <a:cubicBezTo>
                      <a:pt x="26387" y="1284071"/>
                      <a:pt x="25880" y="1269629"/>
                      <a:pt x="20433" y="1256581"/>
                    </a:cubicBezTo>
                    <a:cubicBezTo>
                      <a:pt x="14985" y="1243786"/>
                      <a:pt x="4598" y="1232764"/>
                      <a:pt x="1177" y="1219083"/>
                    </a:cubicBezTo>
                    <a:cubicBezTo>
                      <a:pt x="-2243" y="1206034"/>
                      <a:pt x="1937" y="1190453"/>
                      <a:pt x="11818" y="1181078"/>
                    </a:cubicBezTo>
                    <a:cubicBezTo>
                      <a:pt x="22966" y="1170437"/>
                      <a:pt x="39055" y="1172337"/>
                      <a:pt x="52990" y="1169423"/>
                    </a:cubicBezTo>
                    <a:cubicBezTo>
                      <a:pt x="70219" y="1166003"/>
                      <a:pt x="80354" y="1155615"/>
                      <a:pt x="87575" y="1140033"/>
                    </a:cubicBezTo>
                    <a:cubicBezTo>
                      <a:pt x="94162" y="1126098"/>
                      <a:pt x="99356" y="1119004"/>
                      <a:pt x="115571" y="1117990"/>
                    </a:cubicBezTo>
                    <a:cubicBezTo>
                      <a:pt x="128873" y="1117230"/>
                      <a:pt x="145215" y="1116850"/>
                      <a:pt x="149902" y="1101648"/>
                    </a:cubicBezTo>
                    <a:cubicBezTo>
                      <a:pt x="155097" y="1084673"/>
                      <a:pt x="156490" y="1065924"/>
                      <a:pt x="157377" y="1048315"/>
                    </a:cubicBezTo>
                    <a:cubicBezTo>
                      <a:pt x="158264" y="1032226"/>
                      <a:pt x="160670" y="1013097"/>
                      <a:pt x="152816" y="998275"/>
                    </a:cubicBezTo>
                    <a:cubicBezTo>
                      <a:pt x="145215" y="983707"/>
                      <a:pt x="135207" y="971798"/>
                      <a:pt x="129633" y="955963"/>
                    </a:cubicBezTo>
                    <a:cubicBezTo>
                      <a:pt x="124692" y="941901"/>
                      <a:pt x="113291" y="931767"/>
                      <a:pt x="106324" y="918718"/>
                    </a:cubicBezTo>
                    <a:cubicBezTo>
                      <a:pt x="98089" y="903010"/>
                      <a:pt x="115318" y="899209"/>
                      <a:pt x="127099" y="896296"/>
                    </a:cubicBezTo>
                    <a:cubicBezTo>
                      <a:pt x="139514" y="893255"/>
                      <a:pt x="150916" y="888568"/>
                      <a:pt x="158770" y="878180"/>
                    </a:cubicBezTo>
                    <a:cubicBezTo>
                      <a:pt x="168651" y="865385"/>
                      <a:pt x="175365" y="851450"/>
                      <a:pt x="176379" y="834981"/>
                    </a:cubicBezTo>
                    <a:cubicBezTo>
                      <a:pt x="176759" y="829027"/>
                      <a:pt x="177392" y="820666"/>
                      <a:pt x="173845" y="815472"/>
                    </a:cubicBezTo>
                    <a:cubicBezTo>
                      <a:pt x="169665" y="809518"/>
                      <a:pt x="161431" y="809265"/>
                      <a:pt x="154843" y="808378"/>
                    </a:cubicBezTo>
                    <a:cubicBezTo>
                      <a:pt x="136601" y="806098"/>
                      <a:pt x="119118" y="784562"/>
                      <a:pt x="121272" y="765433"/>
                    </a:cubicBezTo>
                    <a:cubicBezTo>
                      <a:pt x="135080" y="764799"/>
                      <a:pt x="148256" y="767333"/>
                      <a:pt x="161051" y="773920"/>
                    </a:cubicBezTo>
                    <a:cubicBezTo>
                      <a:pt x="195888" y="791656"/>
                      <a:pt x="219071" y="824340"/>
                      <a:pt x="230346" y="860951"/>
                    </a:cubicBezTo>
                    <a:cubicBezTo>
                      <a:pt x="239340" y="889962"/>
                      <a:pt x="239594" y="924799"/>
                      <a:pt x="274684" y="932527"/>
                    </a:cubicBezTo>
                    <a:cubicBezTo>
                      <a:pt x="299895" y="938101"/>
                      <a:pt x="340179" y="929106"/>
                      <a:pt x="331945" y="967365"/>
                    </a:cubicBezTo>
                    <a:cubicBezTo>
                      <a:pt x="329158" y="980286"/>
                      <a:pt x="322951" y="991434"/>
                      <a:pt x="310409" y="996628"/>
                    </a:cubicBezTo>
                    <a:cubicBezTo>
                      <a:pt x="298248" y="1001695"/>
                      <a:pt x="283806" y="1001315"/>
                      <a:pt x="273291" y="1010183"/>
                    </a:cubicBezTo>
                    <a:cubicBezTo>
                      <a:pt x="263283" y="1018671"/>
                      <a:pt x="262143" y="1031593"/>
                      <a:pt x="259103" y="1043627"/>
                    </a:cubicBezTo>
                    <a:cubicBezTo>
                      <a:pt x="255176" y="1059083"/>
                      <a:pt x="247195" y="1073144"/>
                      <a:pt x="243014" y="1088473"/>
                    </a:cubicBezTo>
                    <a:cubicBezTo>
                      <a:pt x="239087" y="1102915"/>
                      <a:pt x="243394" y="1112669"/>
                      <a:pt x="259230" y="1105195"/>
                    </a:cubicBezTo>
                    <a:cubicBezTo>
                      <a:pt x="268224" y="1101015"/>
                      <a:pt x="275951" y="1093920"/>
                      <a:pt x="283299" y="1087333"/>
                    </a:cubicBezTo>
                    <a:cubicBezTo>
                      <a:pt x="286466" y="1084419"/>
                      <a:pt x="295334" y="1072511"/>
                      <a:pt x="299895" y="1072131"/>
                    </a:cubicBezTo>
                    <a:cubicBezTo>
                      <a:pt x="306735" y="1071624"/>
                      <a:pt x="296854" y="1095061"/>
                      <a:pt x="295334" y="1100001"/>
                    </a:cubicBezTo>
                    <a:cubicBezTo>
                      <a:pt x="291280" y="1113683"/>
                      <a:pt x="287860" y="1128125"/>
                      <a:pt x="280765" y="1140666"/>
                    </a:cubicBezTo>
                    <a:cubicBezTo>
                      <a:pt x="270124" y="1159289"/>
                      <a:pt x="241240" y="1177531"/>
                      <a:pt x="248335" y="1201347"/>
                    </a:cubicBezTo>
                    <a:cubicBezTo>
                      <a:pt x="252769" y="1216042"/>
                      <a:pt x="258089" y="1230484"/>
                      <a:pt x="261763" y="1245559"/>
                    </a:cubicBezTo>
                    <a:cubicBezTo>
                      <a:pt x="265437" y="1260508"/>
                      <a:pt x="264930" y="1274190"/>
                      <a:pt x="265183" y="1289392"/>
                    </a:cubicBezTo>
                    <a:cubicBezTo>
                      <a:pt x="265564" y="1309281"/>
                      <a:pt x="280639" y="1330943"/>
                      <a:pt x="301668" y="1332083"/>
                    </a:cubicBezTo>
                    <a:cubicBezTo>
                      <a:pt x="331945" y="1333857"/>
                      <a:pt x="333339" y="1311814"/>
                      <a:pt x="323711" y="1289011"/>
                    </a:cubicBezTo>
                    <a:cubicBezTo>
                      <a:pt x="320797" y="1282044"/>
                      <a:pt x="316870" y="1276976"/>
                      <a:pt x="310789" y="1272543"/>
                    </a:cubicBezTo>
                    <a:cubicBezTo>
                      <a:pt x="305089" y="1268362"/>
                      <a:pt x="296221" y="1265322"/>
                      <a:pt x="294700" y="1257341"/>
                    </a:cubicBezTo>
                    <a:cubicBezTo>
                      <a:pt x="292294" y="1244673"/>
                      <a:pt x="305722" y="1237452"/>
                      <a:pt x="299514" y="1223643"/>
                    </a:cubicBezTo>
                    <a:cubicBezTo>
                      <a:pt x="293814" y="1210848"/>
                      <a:pt x="293940" y="1205021"/>
                      <a:pt x="300781" y="1191973"/>
                    </a:cubicBezTo>
                    <a:cubicBezTo>
                      <a:pt x="306735" y="1180571"/>
                      <a:pt x="315223" y="1172210"/>
                      <a:pt x="323584" y="1162709"/>
                    </a:cubicBezTo>
                    <a:cubicBezTo>
                      <a:pt x="337772" y="1146494"/>
                      <a:pt x="333845" y="1119004"/>
                      <a:pt x="331058" y="1098734"/>
                    </a:cubicBezTo>
                    <a:cubicBezTo>
                      <a:pt x="327638" y="1073398"/>
                      <a:pt x="317250" y="1041981"/>
                      <a:pt x="330932" y="1018418"/>
                    </a:cubicBezTo>
                    <a:cubicBezTo>
                      <a:pt x="337139" y="1007776"/>
                      <a:pt x="346387" y="998782"/>
                      <a:pt x="350948" y="987000"/>
                    </a:cubicBezTo>
                    <a:cubicBezTo>
                      <a:pt x="355128" y="976106"/>
                      <a:pt x="353735" y="964578"/>
                      <a:pt x="353735" y="953176"/>
                    </a:cubicBezTo>
                    <a:cubicBezTo>
                      <a:pt x="353735" y="941901"/>
                      <a:pt x="354368" y="930120"/>
                      <a:pt x="348667" y="919859"/>
                    </a:cubicBezTo>
                    <a:cubicBezTo>
                      <a:pt x="342333" y="908331"/>
                      <a:pt x="328525" y="902883"/>
                      <a:pt x="323204" y="890848"/>
                    </a:cubicBezTo>
                    <a:cubicBezTo>
                      <a:pt x="313070" y="867919"/>
                      <a:pt x="345627" y="846003"/>
                      <a:pt x="314210" y="833841"/>
                    </a:cubicBezTo>
                    <a:cubicBezTo>
                      <a:pt x="296221" y="826874"/>
                      <a:pt x="273544" y="812559"/>
                      <a:pt x="261763" y="796850"/>
                    </a:cubicBezTo>
                    <a:cubicBezTo>
                      <a:pt x="247575" y="777848"/>
                      <a:pt x="261763" y="748710"/>
                      <a:pt x="268350" y="729582"/>
                    </a:cubicBezTo>
                    <a:cubicBezTo>
                      <a:pt x="280765" y="692970"/>
                      <a:pt x="262903" y="644831"/>
                      <a:pt x="297361" y="616327"/>
                    </a:cubicBezTo>
                    <a:cubicBezTo>
                      <a:pt x="313070" y="603279"/>
                      <a:pt x="338659" y="604293"/>
                      <a:pt x="357408" y="608853"/>
                    </a:cubicBezTo>
                    <a:cubicBezTo>
                      <a:pt x="378564" y="614047"/>
                      <a:pt x="395286" y="628996"/>
                      <a:pt x="417456" y="630896"/>
                    </a:cubicBezTo>
                    <a:cubicBezTo>
                      <a:pt x="440005" y="632796"/>
                      <a:pt x="461668" y="628869"/>
                      <a:pt x="484344" y="632669"/>
                    </a:cubicBezTo>
                    <a:cubicBezTo>
                      <a:pt x="504613" y="635963"/>
                      <a:pt x="532990" y="640524"/>
                      <a:pt x="553006" y="633810"/>
                    </a:cubicBezTo>
                    <a:cubicBezTo>
                      <a:pt x="567955" y="628869"/>
                      <a:pt x="582143" y="612400"/>
                      <a:pt x="599372" y="624055"/>
                    </a:cubicBezTo>
                    <a:cubicBezTo>
                      <a:pt x="615588" y="635203"/>
                      <a:pt x="591644" y="649518"/>
                      <a:pt x="593291" y="661806"/>
                    </a:cubicBezTo>
                    <a:cubicBezTo>
                      <a:pt x="597472" y="692844"/>
                      <a:pt x="699324" y="651418"/>
                      <a:pt x="680195" y="629249"/>
                    </a:cubicBezTo>
                    <a:cubicBezTo>
                      <a:pt x="673988" y="622155"/>
                      <a:pt x="662586" y="622788"/>
                      <a:pt x="663093" y="610500"/>
                    </a:cubicBezTo>
                    <a:cubicBezTo>
                      <a:pt x="663600" y="600745"/>
                      <a:pt x="668794" y="594538"/>
                      <a:pt x="665500" y="584150"/>
                    </a:cubicBezTo>
                    <a:cubicBezTo>
                      <a:pt x="662207" y="573509"/>
                      <a:pt x="654479" y="565528"/>
                      <a:pt x="661447" y="554380"/>
                    </a:cubicBezTo>
                    <a:cubicBezTo>
                      <a:pt x="669174" y="542091"/>
                      <a:pt x="679816" y="532844"/>
                      <a:pt x="671708" y="517515"/>
                    </a:cubicBezTo>
                    <a:cubicBezTo>
                      <a:pt x="659040" y="492938"/>
                      <a:pt x="634336" y="484198"/>
                      <a:pt x="637250" y="452274"/>
                    </a:cubicBezTo>
                    <a:cubicBezTo>
                      <a:pt x="660939" y="450373"/>
                      <a:pt x="667273" y="482297"/>
                      <a:pt x="694384" y="472163"/>
                    </a:cubicBezTo>
                    <a:cubicBezTo>
                      <a:pt x="707306" y="467349"/>
                      <a:pt x="741763" y="447079"/>
                      <a:pt x="716680" y="436058"/>
                    </a:cubicBezTo>
                    <a:cubicBezTo>
                      <a:pt x="710092" y="433145"/>
                      <a:pt x="691597" y="428964"/>
                      <a:pt x="702871" y="418449"/>
                    </a:cubicBezTo>
                    <a:cubicBezTo>
                      <a:pt x="709079" y="412622"/>
                      <a:pt x="723647" y="415535"/>
                      <a:pt x="731375" y="415535"/>
                    </a:cubicBezTo>
                    <a:cubicBezTo>
                      <a:pt x="742016" y="415535"/>
                      <a:pt x="749744" y="414775"/>
                      <a:pt x="755191" y="404641"/>
                    </a:cubicBezTo>
                    <a:cubicBezTo>
                      <a:pt x="760638" y="394633"/>
                      <a:pt x="763045" y="389312"/>
                      <a:pt x="773687" y="383358"/>
                    </a:cubicBezTo>
                    <a:cubicBezTo>
                      <a:pt x="782301" y="378671"/>
                      <a:pt x="791676" y="373097"/>
                      <a:pt x="801050" y="370310"/>
                    </a:cubicBezTo>
                    <a:cubicBezTo>
                      <a:pt x="816885" y="365496"/>
                      <a:pt x="832595" y="369423"/>
                      <a:pt x="848176" y="367650"/>
                    </a:cubicBezTo>
                    <a:cubicBezTo>
                      <a:pt x="860464" y="366256"/>
                      <a:pt x="862365" y="355615"/>
                      <a:pt x="870725" y="348901"/>
                    </a:cubicBezTo>
                    <a:cubicBezTo>
                      <a:pt x="880101" y="341426"/>
                      <a:pt x="886814" y="350167"/>
                      <a:pt x="895809" y="353588"/>
                    </a:cubicBezTo>
                    <a:cubicBezTo>
                      <a:pt x="906323" y="357515"/>
                      <a:pt x="915191" y="356248"/>
                      <a:pt x="924313" y="349914"/>
                    </a:cubicBezTo>
                    <a:cubicBezTo>
                      <a:pt x="931026" y="345353"/>
                      <a:pt x="940781" y="334839"/>
                      <a:pt x="949902" y="338893"/>
                    </a:cubicBezTo>
                    <a:cubicBezTo>
                      <a:pt x="954590" y="340919"/>
                      <a:pt x="955096" y="349027"/>
                      <a:pt x="959784" y="350421"/>
                    </a:cubicBezTo>
                    <a:cubicBezTo>
                      <a:pt x="965104" y="352068"/>
                      <a:pt x="968018" y="346620"/>
                      <a:pt x="971185" y="343326"/>
                    </a:cubicBezTo>
                    <a:cubicBezTo>
                      <a:pt x="978659" y="335346"/>
                      <a:pt x="987527" y="327238"/>
                      <a:pt x="998929" y="326858"/>
                    </a:cubicBezTo>
                    <a:cubicBezTo>
                      <a:pt x="1005769" y="326604"/>
                      <a:pt x="1025659" y="329645"/>
                      <a:pt x="1021351" y="316090"/>
                    </a:cubicBezTo>
                    <a:cubicBezTo>
                      <a:pt x="1017804" y="305322"/>
                      <a:pt x="999435" y="310896"/>
                      <a:pt x="996522" y="299748"/>
                    </a:cubicBezTo>
                    <a:cubicBezTo>
                      <a:pt x="992848" y="286066"/>
                      <a:pt x="1010076" y="290880"/>
                      <a:pt x="1016664" y="292020"/>
                    </a:cubicBezTo>
                    <a:cubicBezTo>
                      <a:pt x="1030092" y="294427"/>
                      <a:pt x="1031233" y="288220"/>
                      <a:pt x="1041621" y="282646"/>
                    </a:cubicBezTo>
                    <a:cubicBezTo>
                      <a:pt x="1049728" y="278338"/>
                      <a:pt x="1060749" y="282519"/>
                      <a:pt x="1068604" y="286066"/>
                    </a:cubicBezTo>
                    <a:cubicBezTo>
                      <a:pt x="1078992" y="290500"/>
                      <a:pt x="1084313" y="293287"/>
                      <a:pt x="1095841" y="293414"/>
                    </a:cubicBezTo>
                    <a:cubicBezTo>
                      <a:pt x="1102428" y="293540"/>
                      <a:pt x="1119403" y="291893"/>
                      <a:pt x="1122951" y="299874"/>
                    </a:cubicBezTo>
                    <a:cubicBezTo>
                      <a:pt x="1126498" y="308109"/>
                      <a:pt x="1109522" y="316596"/>
                      <a:pt x="1121937" y="323564"/>
                    </a:cubicBezTo>
                    <a:cubicBezTo>
                      <a:pt x="1129158" y="327618"/>
                      <a:pt x="1142586" y="323691"/>
                      <a:pt x="1151074" y="325844"/>
                    </a:cubicBezTo>
                    <a:cubicBezTo>
                      <a:pt x="1155381" y="326985"/>
                      <a:pt x="1160449" y="330278"/>
                      <a:pt x="1165009" y="329392"/>
                    </a:cubicBezTo>
                    <a:cubicBezTo>
                      <a:pt x="1170076" y="328505"/>
                      <a:pt x="1171344" y="324197"/>
                      <a:pt x="1175271" y="321410"/>
                    </a:cubicBezTo>
                    <a:cubicBezTo>
                      <a:pt x="1183379" y="315583"/>
                      <a:pt x="1194906" y="320397"/>
                      <a:pt x="1201874" y="312543"/>
                    </a:cubicBezTo>
                    <a:cubicBezTo>
                      <a:pt x="1208461" y="305195"/>
                      <a:pt x="1203774" y="294554"/>
                      <a:pt x="1212008" y="287840"/>
                    </a:cubicBezTo>
                    <a:cubicBezTo>
                      <a:pt x="1217203" y="283659"/>
                      <a:pt x="1229111" y="277958"/>
                      <a:pt x="1235572" y="276945"/>
                    </a:cubicBezTo>
                    <a:cubicBezTo>
                      <a:pt x="1244059" y="275678"/>
                      <a:pt x="1259134" y="283659"/>
                      <a:pt x="1266989" y="287713"/>
                    </a:cubicBezTo>
                    <a:cubicBezTo>
                      <a:pt x="1274463" y="291513"/>
                      <a:pt x="1287892" y="307475"/>
                      <a:pt x="1296126" y="296707"/>
                    </a:cubicBezTo>
                    <a:cubicBezTo>
                      <a:pt x="1306894" y="282519"/>
                      <a:pt x="1279277" y="268457"/>
                      <a:pt x="1272182" y="260096"/>
                    </a:cubicBezTo>
                    <a:cubicBezTo>
                      <a:pt x="1265722" y="252495"/>
                      <a:pt x="1253054" y="235266"/>
                      <a:pt x="1264455" y="227032"/>
                    </a:cubicBezTo>
                    <a:cubicBezTo>
                      <a:pt x="1273323" y="220698"/>
                      <a:pt x="1294986" y="226145"/>
                      <a:pt x="1305247" y="227159"/>
                    </a:cubicBezTo>
                    <a:cubicBezTo>
                      <a:pt x="1319435" y="228426"/>
                      <a:pt x="1331977" y="235393"/>
                      <a:pt x="1345532" y="239447"/>
                    </a:cubicBezTo>
                    <a:cubicBezTo>
                      <a:pt x="1357567" y="243121"/>
                      <a:pt x="1376569" y="259083"/>
                      <a:pt x="1389238" y="255029"/>
                    </a:cubicBezTo>
                    <a:cubicBezTo>
                      <a:pt x="1405833" y="249708"/>
                      <a:pt x="1383030" y="233620"/>
                      <a:pt x="1377203" y="229186"/>
                    </a:cubicBezTo>
                    <a:cubicBezTo>
                      <a:pt x="1367954" y="222218"/>
                      <a:pt x="1353893" y="214997"/>
                      <a:pt x="1356046" y="201822"/>
                    </a:cubicBezTo>
                    <a:cubicBezTo>
                      <a:pt x="1357187" y="194601"/>
                      <a:pt x="1361874" y="189407"/>
                      <a:pt x="1358960" y="181806"/>
                    </a:cubicBezTo>
                    <a:cubicBezTo>
                      <a:pt x="1356680" y="175979"/>
                      <a:pt x="1346672" y="171672"/>
                      <a:pt x="1346292" y="165338"/>
                    </a:cubicBezTo>
                    <a:cubicBezTo>
                      <a:pt x="1345659" y="152669"/>
                      <a:pt x="1380497" y="148996"/>
                      <a:pt x="1357947" y="136581"/>
                    </a:cubicBezTo>
                    <a:cubicBezTo>
                      <a:pt x="1374162" y="119732"/>
                      <a:pt x="1360481" y="87935"/>
                      <a:pt x="1387337" y="78180"/>
                    </a:cubicBezTo>
                    <a:cubicBezTo>
                      <a:pt x="1398485" y="74126"/>
                      <a:pt x="1413687" y="79574"/>
                      <a:pt x="1422048" y="68806"/>
                    </a:cubicBezTo>
                    <a:cubicBezTo>
                      <a:pt x="1429269" y="59431"/>
                      <a:pt x="1422302" y="44863"/>
                      <a:pt x="1432056" y="37262"/>
                    </a:cubicBezTo>
                    <a:cubicBezTo>
                      <a:pt x="1441684" y="29661"/>
                      <a:pt x="1451945" y="33208"/>
                      <a:pt x="1457773" y="20159"/>
                    </a:cubicBezTo>
                    <a:cubicBezTo>
                      <a:pt x="1462713" y="9138"/>
                      <a:pt x="1465880" y="-2643"/>
                      <a:pt x="1481082" y="524"/>
                    </a:cubicBezTo>
                    <a:cubicBezTo>
                      <a:pt x="1495777" y="3564"/>
                      <a:pt x="1498944" y="17626"/>
                      <a:pt x="1506925" y="27761"/>
                    </a:cubicBezTo>
                    <a:cubicBezTo>
                      <a:pt x="1515286" y="38275"/>
                      <a:pt x="1525674" y="35615"/>
                      <a:pt x="1537330" y="38655"/>
                    </a:cubicBezTo>
                    <a:cubicBezTo>
                      <a:pt x="1549998" y="41822"/>
                      <a:pt x="1555825" y="52717"/>
                      <a:pt x="1552024" y="65385"/>
                    </a:cubicBezTo>
                    <a:cubicBezTo>
                      <a:pt x="1547464" y="80334"/>
                      <a:pt x="1533782" y="85528"/>
                      <a:pt x="1520354" y="88441"/>
                    </a:cubicBezTo>
                    <a:cubicBezTo>
                      <a:pt x="1506925" y="91355"/>
                      <a:pt x="1498691" y="100856"/>
                      <a:pt x="1504772" y="114791"/>
                    </a:cubicBezTo>
                    <a:cubicBezTo>
                      <a:pt x="1512373" y="132020"/>
                      <a:pt x="1531121" y="109977"/>
                      <a:pt x="1542650" y="119985"/>
                    </a:cubicBezTo>
                    <a:cubicBezTo>
                      <a:pt x="1551518" y="127840"/>
                      <a:pt x="1552531" y="132274"/>
                      <a:pt x="1566086" y="131007"/>
                    </a:cubicBezTo>
                    <a:cubicBezTo>
                      <a:pt x="1575081" y="130120"/>
                      <a:pt x="1584075" y="128473"/>
                      <a:pt x="1593069" y="127333"/>
                    </a:cubicBezTo>
                    <a:cubicBezTo>
                      <a:pt x="1672879" y="117578"/>
                      <a:pt x="1564059" y="196248"/>
                      <a:pt x="1605991" y="207270"/>
                    </a:cubicBezTo>
                    <a:cubicBezTo>
                      <a:pt x="1618533" y="210690"/>
                      <a:pt x="1657931" y="210817"/>
                      <a:pt x="1659451" y="192701"/>
                    </a:cubicBezTo>
                    <a:cubicBezTo>
                      <a:pt x="1660465" y="180666"/>
                      <a:pt x="1643996" y="177499"/>
                      <a:pt x="1642729" y="166731"/>
                    </a:cubicBezTo>
                    <a:cubicBezTo>
                      <a:pt x="1641335" y="154696"/>
                      <a:pt x="1654130" y="155836"/>
                      <a:pt x="1661731" y="158370"/>
                    </a:cubicBezTo>
                    <a:cubicBezTo>
                      <a:pt x="1681874" y="164958"/>
                      <a:pt x="1697963" y="172685"/>
                      <a:pt x="1719372" y="168505"/>
                    </a:cubicBezTo>
                    <a:cubicBezTo>
                      <a:pt x="1740401" y="164451"/>
                      <a:pt x="1754716" y="152796"/>
                      <a:pt x="1774225" y="144942"/>
                    </a:cubicBezTo>
                    <a:cubicBezTo>
                      <a:pt x="1782460" y="141648"/>
                      <a:pt x="1794622" y="135567"/>
                      <a:pt x="1801462" y="143928"/>
                    </a:cubicBezTo>
                    <a:cubicBezTo>
                      <a:pt x="1806530" y="150136"/>
                      <a:pt x="1808050" y="161030"/>
                      <a:pt x="1812484" y="168125"/>
                    </a:cubicBezTo>
                    <a:cubicBezTo>
                      <a:pt x="1819324" y="178766"/>
                      <a:pt x="1814637" y="192828"/>
                      <a:pt x="1820591" y="203469"/>
                    </a:cubicBezTo>
                    <a:cubicBezTo>
                      <a:pt x="1823505" y="208663"/>
                      <a:pt x="1827178" y="210563"/>
                      <a:pt x="1833260" y="209930"/>
                    </a:cubicBezTo>
                    <a:cubicBezTo>
                      <a:pt x="1835920" y="209676"/>
                      <a:pt x="1859103" y="201696"/>
                      <a:pt x="1859736" y="206763"/>
                    </a:cubicBezTo>
                    <a:cubicBezTo>
                      <a:pt x="1861256" y="220191"/>
                      <a:pt x="1852389" y="226652"/>
                      <a:pt x="1860496" y="239700"/>
                    </a:cubicBezTo>
                    <a:cubicBezTo>
                      <a:pt x="1863537" y="244768"/>
                      <a:pt x="1869364" y="253129"/>
                      <a:pt x="1876331" y="252242"/>
                    </a:cubicBezTo>
                    <a:cubicBezTo>
                      <a:pt x="1883933" y="251355"/>
                      <a:pt x="1881272" y="246414"/>
                      <a:pt x="1880766" y="240587"/>
                    </a:cubicBezTo>
                    <a:cubicBezTo>
                      <a:pt x="1880006" y="230959"/>
                      <a:pt x="1881399" y="218544"/>
                      <a:pt x="1894321" y="221838"/>
                    </a:cubicBezTo>
                    <a:cubicBezTo>
                      <a:pt x="1906229" y="225005"/>
                      <a:pt x="1901288" y="236913"/>
                      <a:pt x="1904455" y="246161"/>
                    </a:cubicBezTo>
                    <a:cubicBezTo>
                      <a:pt x="1911296" y="265797"/>
                      <a:pt x="1928018" y="279099"/>
                      <a:pt x="1927258" y="301775"/>
                    </a:cubicBezTo>
                    <a:cubicBezTo>
                      <a:pt x="1927004" y="310262"/>
                      <a:pt x="1924471" y="324704"/>
                      <a:pt x="1913703" y="320017"/>
                    </a:cubicBezTo>
                    <a:cubicBezTo>
                      <a:pt x="1909776" y="318243"/>
                      <a:pt x="1908256" y="315330"/>
                      <a:pt x="1903568" y="313936"/>
                    </a:cubicBezTo>
                    <a:cubicBezTo>
                      <a:pt x="1897488" y="312163"/>
                      <a:pt x="1897488" y="312796"/>
                      <a:pt x="1893053" y="307982"/>
                    </a:cubicBezTo>
                    <a:cubicBezTo>
                      <a:pt x="1886213" y="300635"/>
                      <a:pt x="1876712" y="297594"/>
                      <a:pt x="1875571" y="311149"/>
                    </a:cubicBezTo>
                    <a:cubicBezTo>
                      <a:pt x="1872658" y="345353"/>
                      <a:pt x="1923584" y="339526"/>
                      <a:pt x="1936759" y="361695"/>
                    </a:cubicBezTo>
                    <a:cubicBezTo>
                      <a:pt x="1943220" y="372717"/>
                      <a:pt x="1942840" y="383612"/>
                      <a:pt x="1946641" y="395520"/>
                    </a:cubicBezTo>
                    <a:cubicBezTo>
                      <a:pt x="1954241" y="420223"/>
                      <a:pt x="1940940" y="432131"/>
                      <a:pt x="1920670" y="442392"/>
                    </a:cubicBezTo>
                    <a:cubicBezTo>
                      <a:pt x="1915856" y="444799"/>
                      <a:pt x="1912309" y="449233"/>
                      <a:pt x="1907369" y="451767"/>
                    </a:cubicBezTo>
                    <a:cubicBezTo>
                      <a:pt x="1905469" y="452780"/>
                      <a:pt x="1903315" y="451513"/>
                      <a:pt x="1901542" y="453414"/>
                    </a:cubicBezTo>
                    <a:cubicBezTo>
                      <a:pt x="1898248" y="456834"/>
                      <a:pt x="1899514" y="461775"/>
                      <a:pt x="1899514" y="466335"/>
                    </a:cubicBezTo>
                    <a:cubicBezTo>
                      <a:pt x="1899514" y="473049"/>
                      <a:pt x="1898501" y="476850"/>
                      <a:pt x="1896094" y="483184"/>
                    </a:cubicBezTo>
                    <a:cubicBezTo>
                      <a:pt x="1894827" y="486478"/>
                      <a:pt x="1892041" y="492685"/>
                      <a:pt x="1888239" y="493065"/>
                    </a:cubicBezTo>
                    <a:cubicBezTo>
                      <a:pt x="1888239" y="492938"/>
                      <a:pt x="1884566" y="489011"/>
                      <a:pt x="1883299" y="488631"/>
                    </a:cubicBezTo>
                    <a:cubicBezTo>
                      <a:pt x="1879372" y="487491"/>
                      <a:pt x="1872658" y="489645"/>
                      <a:pt x="1869364" y="491672"/>
                    </a:cubicBezTo>
                    <a:cubicBezTo>
                      <a:pt x="1859736" y="497752"/>
                      <a:pt x="1862016" y="508774"/>
                      <a:pt x="1859990" y="518908"/>
                    </a:cubicBezTo>
                    <a:cubicBezTo>
                      <a:pt x="1856442" y="536517"/>
                      <a:pt x="1853655" y="534110"/>
                      <a:pt x="1837947" y="536771"/>
                    </a:cubicBezTo>
                    <a:cubicBezTo>
                      <a:pt x="1825658" y="538924"/>
                      <a:pt x="1825025" y="550072"/>
                      <a:pt x="1818184" y="558180"/>
                    </a:cubicBezTo>
                    <a:cubicBezTo>
                      <a:pt x="1807923" y="570342"/>
                      <a:pt x="1765231" y="566034"/>
                      <a:pt x="1780433" y="593651"/>
                    </a:cubicBezTo>
                    <a:cubicBezTo>
                      <a:pt x="1784740" y="601505"/>
                      <a:pt x="1798042" y="609613"/>
                      <a:pt x="1797662" y="618227"/>
                    </a:cubicBezTo>
                    <a:cubicBezTo>
                      <a:pt x="1797029" y="630516"/>
                      <a:pt x="1782460" y="632036"/>
                      <a:pt x="1774352" y="636850"/>
                    </a:cubicBezTo>
                    <a:cubicBezTo>
                      <a:pt x="1764597" y="642677"/>
                      <a:pt x="1760924" y="653952"/>
                      <a:pt x="1754590" y="662566"/>
                    </a:cubicBezTo>
                    <a:cubicBezTo>
                      <a:pt x="1751676" y="666620"/>
                      <a:pt x="1747242" y="669787"/>
                      <a:pt x="1744582" y="673968"/>
                    </a:cubicBezTo>
                    <a:cubicBezTo>
                      <a:pt x="1740908" y="679669"/>
                      <a:pt x="1742681" y="683469"/>
                      <a:pt x="1741034" y="689550"/>
                    </a:cubicBezTo>
                    <a:cubicBezTo>
                      <a:pt x="1733561" y="717293"/>
                      <a:pt x="1695429" y="695377"/>
                      <a:pt x="1681494" y="713746"/>
                    </a:cubicBezTo>
                    <a:cubicBezTo>
                      <a:pt x="1675033" y="722234"/>
                      <a:pt x="1681874" y="733509"/>
                      <a:pt x="1679594" y="743263"/>
                    </a:cubicBezTo>
                    <a:cubicBezTo>
                      <a:pt x="1676933" y="754158"/>
                      <a:pt x="1664265" y="762772"/>
                      <a:pt x="1654891" y="767333"/>
                    </a:cubicBezTo>
                    <a:cubicBezTo>
                      <a:pt x="1642476" y="773287"/>
                      <a:pt x="1631201" y="774807"/>
                      <a:pt x="1625754" y="788742"/>
                    </a:cubicBezTo>
                    <a:cubicBezTo>
                      <a:pt x="1621700" y="799130"/>
                      <a:pt x="1626641" y="808885"/>
                      <a:pt x="1621573" y="819146"/>
                    </a:cubicBezTo>
                    <a:cubicBezTo>
                      <a:pt x="1613212" y="836248"/>
                      <a:pt x="1582935" y="850690"/>
                      <a:pt x="1589902" y="872479"/>
                    </a:cubicBezTo>
                    <a:cubicBezTo>
                      <a:pt x="1602697" y="874506"/>
                      <a:pt x="1621827" y="862218"/>
                      <a:pt x="1628414" y="851830"/>
                    </a:cubicBezTo>
                    <a:cubicBezTo>
                      <a:pt x="1632088" y="846003"/>
                      <a:pt x="1632721" y="837768"/>
                      <a:pt x="1635761" y="831561"/>
                    </a:cubicBezTo>
                    <a:cubicBezTo>
                      <a:pt x="1639182" y="824213"/>
                      <a:pt x="1643996" y="816866"/>
                      <a:pt x="1648810" y="810278"/>
                    </a:cubicBezTo>
                    <a:cubicBezTo>
                      <a:pt x="1662112" y="792289"/>
                      <a:pt x="1679847" y="795963"/>
                      <a:pt x="1699863" y="796090"/>
                    </a:cubicBezTo>
                    <a:cubicBezTo>
                      <a:pt x="1710504" y="796216"/>
                      <a:pt x="1722286" y="795456"/>
                      <a:pt x="1730646" y="788236"/>
                    </a:cubicBezTo>
                    <a:cubicBezTo>
                      <a:pt x="1735208" y="784435"/>
                      <a:pt x="1737867" y="779494"/>
                      <a:pt x="1739261" y="773794"/>
                    </a:cubicBezTo>
                    <a:cubicBezTo>
                      <a:pt x="1740528" y="768853"/>
                      <a:pt x="1739135" y="762772"/>
                      <a:pt x="1743695" y="759732"/>
                    </a:cubicBezTo>
                    <a:cubicBezTo>
                      <a:pt x="1753956" y="753018"/>
                      <a:pt x="1784486" y="760112"/>
                      <a:pt x="1774859" y="736676"/>
                    </a:cubicBezTo>
                    <a:cubicBezTo>
                      <a:pt x="1771185" y="727808"/>
                      <a:pt x="1761684" y="720334"/>
                      <a:pt x="1764978" y="709439"/>
                    </a:cubicBezTo>
                    <a:cubicBezTo>
                      <a:pt x="1767764" y="700444"/>
                      <a:pt x="1776379" y="700698"/>
                      <a:pt x="1783980" y="703738"/>
                    </a:cubicBezTo>
                    <a:cubicBezTo>
                      <a:pt x="1798549" y="709566"/>
                      <a:pt x="1800449" y="738449"/>
                      <a:pt x="1817677" y="733255"/>
                    </a:cubicBezTo>
                    <a:cubicBezTo>
                      <a:pt x="1835286" y="727935"/>
                      <a:pt x="1829079" y="708299"/>
                      <a:pt x="1841494" y="698544"/>
                    </a:cubicBezTo>
                    <a:cubicBezTo>
                      <a:pt x="1842761" y="697531"/>
                      <a:pt x="1844281" y="696517"/>
                      <a:pt x="1845928" y="695504"/>
                    </a:cubicBezTo>
                    <a:cubicBezTo>
                      <a:pt x="1845421" y="703358"/>
                      <a:pt x="1845295" y="711339"/>
                      <a:pt x="1846688" y="718687"/>
                    </a:cubicBezTo>
                    <a:cubicBezTo>
                      <a:pt x="1847955" y="725401"/>
                      <a:pt x="1853529" y="728821"/>
                      <a:pt x="1857836" y="734015"/>
                    </a:cubicBezTo>
                    <a:cubicBezTo>
                      <a:pt x="1863157" y="740476"/>
                      <a:pt x="1867971" y="747317"/>
                      <a:pt x="1871771" y="754791"/>
                    </a:cubicBezTo>
                    <a:cubicBezTo>
                      <a:pt x="1880385" y="771640"/>
                      <a:pt x="1864170" y="779748"/>
                      <a:pt x="1863283" y="795456"/>
                    </a:cubicBezTo>
                    <a:cubicBezTo>
                      <a:pt x="1862776" y="804451"/>
                      <a:pt x="1868604" y="812559"/>
                      <a:pt x="1872911" y="819906"/>
                    </a:cubicBezTo>
                    <a:cubicBezTo>
                      <a:pt x="1877599" y="827760"/>
                      <a:pt x="1881653" y="835741"/>
                      <a:pt x="1885199" y="844102"/>
                    </a:cubicBezTo>
                    <a:cubicBezTo>
                      <a:pt x="1891407" y="859304"/>
                      <a:pt x="1893180" y="875646"/>
                      <a:pt x="1899008" y="890722"/>
                    </a:cubicBezTo>
                    <a:cubicBezTo>
                      <a:pt x="1905342" y="907190"/>
                      <a:pt x="1927385" y="914665"/>
                      <a:pt x="1940813" y="924166"/>
                    </a:cubicBezTo>
                    <a:cubicBezTo>
                      <a:pt x="1954875" y="934047"/>
                      <a:pt x="1971597" y="943802"/>
                      <a:pt x="1976790" y="961284"/>
                    </a:cubicBezTo>
                    <a:cubicBezTo>
                      <a:pt x="1982238" y="979526"/>
                      <a:pt x="1978945" y="999288"/>
                      <a:pt x="1983632" y="1017784"/>
                    </a:cubicBezTo>
                    <a:cubicBezTo>
                      <a:pt x="1987559" y="1033239"/>
                      <a:pt x="1997820" y="1043501"/>
                      <a:pt x="2008588" y="1054649"/>
                    </a:cubicBezTo>
                    <a:cubicBezTo>
                      <a:pt x="2019483" y="1066684"/>
                      <a:pt x="2033545" y="1082772"/>
                      <a:pt x="2027717" y="110088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508" name="Рисунок 388">
                <a:extLst>
                  <a:ext uri="{FF2B5EF4-FFF2-40B4-BE49-F238E27FC236}">
                    <a16:creationId xmlns:a16="http://schemas.microsoft.com/office/drawing/2014/main" id="{1DA397FD-DC6E-439E-BB40-D0F80476817D}"/>
                  </a:ext>
                </a:extLst>
              </p:cNvPr>
              <p:cNvGrpSpPr/>
              <p:nvPr/>
            </p:nvGrpSpPr>
            <p:grpSpPr>
              <a:xfrm>
                <a:off x="6505233" y="1444736"/>
                <a:ext cx="1715783" cy="1765994"/>
                <a:chOff x="6505233" y="1444736"/>
                <a:chExt cx="1715783" cy="1765994"/>
              </a:xfrm>
              <a:solidFill>
                <a:srgbClr val="E3E8EC"/>
              </a:solidFill>
            </p:grpSpPr>
            <p:sp>
              <p:nvSpPr>
                <p:cNvPr id="509" name="Полилиния: фигура 508">
                  <a:extLst>
                    <a:ext uri="{FF2B5EF4-FFF2-40B4-BE49-F238E27FC236}">
                      <a16:creationId xmlns:a16="http://schemas.microsoft.com/office/drawing/2014/main" id="{D1F444CF-BBF7-4492-A1A3-C74BA1653029}"/>
                    </a:ext>
                  </a:extLst>
                </p:cNvPr>
                <p:cNvSpPr/>
                <p:nvPr/>
              </p:nvSpPr>
              <p:spPr>
                <a:xfrm>
                  <a:off x="8210629" y="2244609"/>
                  <a:ext cx="10388" cy="9374"/>
                </a:xfrm>
                <a:custGeom>
                  <a:avLst/>
                  <a:gdLst>
                    <a:gd name="connsiteX0" fmla="*/ 10388 w 10388"/>
                    <a:gd name="connsiteY0" fmla="*/ 4687 h 9374"/>
                    <a:gd name="connsiteX1" fmla="*/ 5194 w 10388"/>
                    <a:gd name="connsiteY1" fmla="*/ 9374 h 9374"/>
                    <a:gd name="connsiteX2" fmla="*/ 0 w 10388"/>
                    <a:gd name="connsiteY2" fmla="*/ 4687 h 9374"/>
                    <a:gd name="connsiteX3" fmla="*/ 5194 w 10388"/>
                    <a:gd name="connsiteY3" fmla="*/ 0 h 9374"/>
                    <a:gd name="connsiteX4" fmla="*/ 10388 w 10388"/>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9374">
                      <a:moveTo>
                        <a:pt x="10388" y="4687"/>
                      </a:moveTo>
                      <a:cubicBezTo>
                        <a:pt x="10388" y="7347"/>
                        <a:pt x="8108" y="9374"/>
                        <a:pt x="5194" y="9374"/>
                      </a:cubicBezTo>
                      <a:cubicBezTo>
                        <a:pt x="2280" y="9374"/>
                        <a:pt x="0" y="7221"/>
                        <a:pt x="0" y="4687"/>
                      </a:cubicBezTo>
                      <a:cubicBezTo>
                        <a:pt x="0" y="2154"/>
                        <a:pt x="2280" y="0"/>
                        <a:pt x="5194" y="0"/>
                      </a:cubicBezTo>
                      <a:cubicBezTo>
                        <a:pt x="8108" y="0"/>
                        <a:pt x="10388" y="2027"/>
                        <a:pt x="1038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0" name="Полилиния: фигура 509">
                  <a:extLst>
                    <a:ext uri="{FF2B5EF4-FFF2-40B4-BE49-F238E27FC236}">
                      <a16:creationId xmlns:a16="http://schemas.microsoft.com/office/drawing/2014/main" id="{DE059019-94CA-4F13-8EBD-C52A04AAD48C}"/>
                    </a:ext>
                  </a:extLst>
                </p:cNvPr>
                <p:cNvSpPr/>
                <p:nvPr/>
              </p:nvSpPr>
              <p:spPr>
                <a:xfrm>
                  <a:off x="8165530" y="2229660"/>
                  <a:ext cx="23816" cy="14821"/>
                </a:xfrm>
                <a:custGeom>
                  <a:avLst/>
                  <a:gdLst>
                    <a:gd name="connsiteX0" fmla="*/ 23816 w 23816"/>
                    <a:gd name="connsiteY0" fmla="*/ 7474 h 14821"/>
                    <a:gd name="connsiteX1" fmla="*/ 11908 w 23816"/>
                    <a:gd name="connsiteY1" fmla="*/ 14822 h 14821"/>
                    <a:gd name="connsiteX2" fmla="*/ 0 w 23816"/>
                    <a:gd name="connsiteY2" fmla="*/ 7474 h 14821"/>
                    <a:gd name="connsiteX3" fmla="*/ 11908 w 23816"/>
                    <a:gd name="connsiteY3" fmla="*/ 0 h 14821"/>
                    <a:gd name="connsiteX4" fmla="*/ 23816 w 23816"/>
                    <a:gd name="connsiteY4" fmla="*/ 7474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821">
                      <a:moveTo>
                        <a:pt x="23816" y="7474"/>
                      </a:moveTo>
                      <a:cubicBezTo>
                        <a:pt x="23816" y="11528"/>
                        <a:pt x="18496" y="14822"/>
                        <a:pt x="11908" y="14822"/>
                      </a:cubicBezTo>
                      <a:cubicBezTo>
                        <a:pt x="5320" y="14822"/>
                        <a:pt x="0" y="11528"/>
                        <a:pt x="0" y="7474"/>
                      </a:cubicBezTo>
                      <a:cubicBezTo>
                        <a:pt x="0" y="3420"/>
                        <a:pt x="5320" y="0"/>
                        <a:pt x="11908" y="0"/>
                      </a:cubicBezTo>
                      <a:cubicBezTo>
                        <a:pt x="18496" y="0"/>
                        <a:pt x="23816" y="3420"/>
                        <a:pt x="23816"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1" name="Полилиния: фигура 510">
                  <a:extLst>
                    <a:ext uri="{FF2B5EF4-FFF2-40B4-BE49-F238E27FC236}">
                      <a16:creationId xmlns:a16="http://schemas.microsoft.com/office/drawing/2014/main" id="{02C1C46B-BC5D-4D7A-A955-818F577A10D3}"/>
                    </a:ext>
                  </a:extLst>
                </p:cNvPr>
                <p:cNvSpPr/>
                <p:nvPr/>
              </p:nvSpPr>
              <p:spPr>
                <a:xfrm>
                  <a:off x="8155269" y="2207491"/>
                  <a:ext cx="10388" cy="7854"/>
                </a:xfrm>
                <a:custGeom>
                  <a:avLst/>
                  <a:gdLst>
                    <a:gd name="connsiteX0" fmla="*/ 10388 w 10388"/>
                    <a:gd name="connsiteY0" fmla="*/ 3927 h 7854"/>
                    <a:gd name="connsiteX1" fmla="*/ 5194 w 10388"/>
                    <a:gd name="connsiteY1" fmla="*/ 7854 h 7854"/>
                    <a:gd name="connsiteX2" fmla="*/ 0 w 10388"/>
                    <a:gd name="connsiteY2" fmla="*/ 3927 h 7854"/>
                    <a:gd name="connsiteX3" fmla="*/ 5194 w 10388"/>
                    <a:gd name="connsiteY3" fmla="*/ 0 h 7854"/>
                    <a:gd name="connsiteX4" fmla="*/ 10388 w 10388"/>
                    <a:gd name="connsiteY4" fmla="*/ 3927 h 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54">
                      <a:moveTo>
                        <a:pt x="10388" y="3927"/>
                      </a:moveTo>
                      <a:cubicBezTo>
                        <a:pt x="10388" y="6081"/>
                        <a:pt x="8108" y="7854"/>
                        <a:pt x="5194" y="7854"/>
                      </a:cubicBezTo>
                      <a:cubicBezTo>
                        <a:pt x="2280" y="7854"/>
                        <a:pt x="0" y="6081"/>
                        <a:pt x="0" y="3927"/>
                      </a:cubicBezTo>
                      <a:cubicBezTo>
                        <a:pt x="0" y="1774"/>
                        <a:pt x="2280" y="0"/>
                        <a:pt x="5194" y="0"/>
                      </a:cubicBezTo>
                      <a:cubicBezTo>
                        <a:pt x="8108" y="0"/>
                        <a:pt x="10388" y="1774"/>
                        <a:pt x="10388" y="39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2" name="Полилиния: фигура 511">
                  <a:extLst>
                    <a:ext uri="{FF2B5EF4-FFF2-40B4-BE49-F238E27FC236}">
                      <a16:creationId xmlns:a16="http://schemas.microsoft.com/office/drawing/2014/main" id="{34BD51A3-17B0-4FD9-AF63-8ABB9068B6A8}"/>
                    </a:ext>
                  </a:extLst>
                </p:cNvPr>
                <p:cNvSpPr/>
                <p:nvPr/>
              </p:nvSpPr>
              <p:spPr>
                <a:xfrm>
                  <a:off x="8139054" y="2191149"/>
                  <a:ext cx="6840" cy="5827"/>
                </a:xfrm>
                <a:custGeom>
                  <a:avLst/>
                  <a:gdLst>
                    <a:gd name="connsiteX0" fmla="*/ 6841 w 6840"/>
                    <a:gd name="connsiteY0" fmla="*/ 2914 h 5827"/>
                    <a:gd name="connsiteX1" fmla="*/ 3420 w 6840"/>
                    <a:gd name="connsiteY1" fmla="*/ 5827 h 5827"/>
                    <a:gd name="connsiteX2" fmla="*/ 0 w 6840"/>
                    <a:gd name="connsiteY2" fmla="*/ 2914 h 5827"/>
                    <a:gd name="connsiteX3" fmla="*/ 3420 w 6840"/>
                    <a:gd name="connsiteY3" fmla="*/ 0 h 5827"/>
                    <a:gd name="connsiteX4" fmla="*/ 6841 w 6840"/>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5827">
                      <a:moveTo>
                        <a:pt x="6841" y="2914"/>
                      </a:moveTo>
                      <a:cubicBezTo>
                        <a:pt x="6841" y="4561"/>
                        <a:pt x="5320" y="5827"/>
                        <a:pt x="3420" y="5827"/>
                      </a:cubicBezTo>
                      <a:cubicBezTo>
                        <a:pt x="1520" y="5827"/>
                        <a:pt x="0" y="4561"/>
                        <a:pt x="0" y="2914"/>
                      </a:cubicBezTo>
                      <a:cubicBezTo>
                        <a:pt x="0" y="1267"/>
                        <a:pt x="1520" y="0"/>
                        <a:pt x="3420" y="0"/>
                      </a:cubicBezTo>
                      <a:cubicBezTo>
                        <a:pt x="5194" y="0"/>
                        <a:pt x="6841" y="1267"/>
                        <a:pt x="6841"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3" name="Полилиния: фигура 512">
                  <a:extLst>
                    <a:ext uri="{FF2B5EF4-FFF2-40B4-BE49-F238E27FC236}">
                      <a16:creationId xmlns:a16="http://schemas.microsoft.com/office/drawing/2014/main" id="{1CB060BC-BBF5-4C53-A4E6-932E5783C831}"/>
                    </a:ext>
                  </a:extLst>
                </p:cNvPr>
                <p:cNvSpPr/>
                <p:nvPr/>
              </p:nvSpPr>
              <p:spPr>
                <a:xfrm>
                  <a:off x="7995395" y="2183288"/>
                  <a:ext cx="10388" cy="7860"/>
                </a:xfrm>
                <a:custGeom>
                  <a:avLst/>
                  <a:gdLst>
                    <a:gd name="connsiteX0" fmla="*/ 10388 w 10388"/>
                    <a:gd name="connsiteY0" fmla="*/ 3934 h 7860"/>
                    <a:gd name="connsiteX1" fmla="*/ 5194 w 10388"/>
                    <a:gd name="connsiteY1" fmla="*/ 7861 h 7860"/>
                    <a:gd name="connsiteX2" fmla="*/ 0 w 10388"/>
                    <a:gd name="connsiteY2" fmla="*/ 3934 h 7860"/>
                    <a:gd name="connsiteX3" fmla="*/ 5194 w 10388"/>
                    <a:gd name="connsiteY3" fmla="*/ 6 h 7860"/>
                    <a:gd name="connsiteX4" fmla="*/ 10388 w 10388"/>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60">
                      <a:moveTo>
                        <a:pt x="10388" y="3934"/>
                      </a:moveTo>
                      <a:cubicBezTo>
                        <a:pt x="10388" y="6087"/>
                        <a:pt x="8108" y="7861"/>
                        <a:pt x="5194" y="7861"/>
                      </a:cubicBezTo>
                      <a:cubicBezTo>
                        <a:pt x="2280" y="7861"/>
                        <a:pt x="0" y="6087"/>
                        <a:pt x="0" y="3934"/>
                      </a:cubicBezTo>
                      <a:cubicBezTo>
                        <a:pt x="0" y="1780"/>
                        <a:pt x="2280" y="6"/>
                        <a:pt x="5194" y="6"/>
                      </a:cubicBezTo>
                      <a:cubicBezTo>
                        <a:pt x="8108" y="-120"/>
                        <a:pt x="10388" y="1653"/>
                        <a:pt x="1038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4" name="Полилиния: фигура 513">
                  <a:extLst>
                    <a:ext uri="{FF2B5EF4-FFF2-40B4-BE49-F238E27FC236}">
                      <a16:creationId xmlns:a16="http://schemas.microsoft.com/office/drawing/2014/main" id="{8D479659-94C5-41F3-AD96-F574D4E64C00}"/>
                    </a:ext>
                  </a:extLst>
                </p:cNvPr>
                <p:cNvSpPr/>
                <p:nvPr/>
              </p:nvSpPr>
              <p:spPr>
                <a:xfrm>
                  <a:off x="7971706" y="2191149"/>
                  <a:ext cx="14821" cy="14821"/>
                </a:xfrm>
                <a:custGeom>
                  <a:avLst/>
                  <a:gdLst>
                    <a:gd name="connsiteX0" fmla="*/ 14822 w 14821"/>
                    <a:gd name="connsiteY0" fmla="*/ 7347 h 14821"/>
                    <a:gd name="connsiteX1" fmla="*/ 7475 w 14821"/>
                    <a:gd name="connsiteY1" fmla="*/ 14822 h 14821"/>
                    <a:gd name="connsiteX2" fmla="*/ 0 w 14821"/>
                    <a:gd name="connsiteY2" fmla="*/ 7347 h 14821"/>
                    <a:gd name="connsiteX3" fmla="*/ 7475 w 14821"/>
                    <a:gd name="connsiteY3" fmla="*/ 0 h 14821"/>
                    <a:gd name="connsiteX4" fmla="*/ 14822 w 14821"/>
                    <a:gd name="connsiteY4" fmla="*/ 7347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1" h="14821">
                      <a:moveTo>
                        <a:pt x="14822" y="7347"/>
                      </a:moveTo>
                      <a:cubicBezTo>
                        <a:pt x="14822" y="11401"/>
                        <a:pt x="11528" y="14822"/>
                        <a:pt x="7475" y="14822"/>
                      </a:cubicBezTo>
                      <a:cubicBezTo>
                        <a:pt x="3421" y="14822"/>
                        <a:pt x="0" y="11528"/>
                        <a:pt x="0" y="7347"/>
                      </a:cubicBezTo>
                      <a:cubicBezTo>
                        <a:pt x="0" y="3294"/>
                        <a:pt x="3294" y="0"/>
                        <a:pt x="7475" y="0"/>
                      </a:cubicBezTo>
                      <a:cubicBezTo>
                        <a:pt x="11402" y="0"/>
                        <a:pt x="14822" y="3294"/>
                        <a:pt x="14822" y="73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5" name="Полилиния: фигура 514">
                  <a:extLst>
                    <a:ext uri="{FF2B5EF4-FFF2-40B4-BE49-F238E27FC236}">
                      <a16:creationId xmlns:a16="http://schemas.microsoft.com/office/drawing/2014/main" id="{A61FDF80-081A-4DFD-919B-42AFC1CFE4C7}"/>
                    </a:ext>
                  </a:extLst>
                </p:cNvPr>
                <p:cNvSpPr/>
                <p:nvPr/>
              </p:nvSpPr>
              <p:spPr>
                <a:xfrm>
                  <a:off x="7979054" y="2167839"/>
                  <a:ext cx="9880" cy="9374"/>
                </a:xfrm>
                <a:custGeom>
                  <a:avLst/>
                  <a:gdLst>
                    <a:gd name="connsiteX0" fmla="*/ 9881 w 9880"/>
                    <a:gd name="connsiteY0" fmla="*/ 4687 h 9374"/>
                    <a:gd name="connsiteX1" fmla="*/ 4940 w 9880"/>
                    <a:gd name="connsiteY1" fmla="*/ 9375 h 9374"/>
                    <a:gd name="connsiteX2" fmla="*/ 0 w 9880"/>
                    <a:gd name="connsiteY2" fmla="*/ 4687 h 9374"/>
                    <a:gd name="connsiteX3" fmla="*/ 4940 w 9880"/>
                    <a:gd name="connsiteY3" fmla="*/ 0 h 9374"/>
                    <a:gd name="connsiteX4" fmla="*/ 9881 w 9880"/>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374">
                      <a:moveTo>
                        <a:pt x="9881" y="4687"/>
                      </a:moveTo>
                      <a:cubicBezTo>
                        <a:pt x="9881" y="7221"/>
                        <a:pt x="7727" y="9375"/>
                        <a:pt x="4940" y="9375"/>
                      </a:cubicBezTo>
                      <a:cubicBezTo>
                        <a:pt x="2153" y="9375"/>
                        <a:pt x="0" y="7221"/>
                        <a:pt x="0" y="4687"/>
                      </a:cubicBezTo>
                      <a:cubicBezTo>
                        <a:pt x="0" y="2027"/>
                        <a:pt x="2153" y="0"/>
                        <a:pt x="4940" y="0"/>
                      </a:cubicBezTo>
                      <a:cubicBezTo>
                        <a:pt x="7727" y="0"/>
                        <a:pt x="9881" y="2154"/>
                        <a:pt x="9881"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6" name="Полилиния: фигура 515">
                  <a:extLst>
                    <a:ext uri="{FF2B5EF4-FFF2-40B4-BE49-F238E27FC236}">
                      <a16:creationId xmlns:a16="http://schemas.microsoft.com/office/drawing/2014/main" id="{4171F8FA-2185-474B-A313-7AE6A85EFB87}"/>
                    </a:ext>
                  </a:extLst>
                </p:cNvPr>
                <p:cNvSpPr/>
                <p:nvPr/>
              </p:nvSpPr>
              <p:spPr>
                <a:xfrm>
                  <a:off x="7986527" y="2150104"/>
                  <a:ext cx="8867" cy="7347"/>
                </a:xfrm>
                <a:custGeom>
                  <a:avLst/>
                  <a:gdLst>
                    <a:gd name="connsiteX0" fmla="*/ 8868 w 8867"/>
                    <a:gd name="connsiteY0" fmla="*/ 3674 h 7347"/>
                    <a:gd name="connsiteX1" fmla="*/ 4434 w 8867"/>
                    <a:gd name="connsiteY1" fmla="*/ 7348 h 7347"/>
                    <a:gd name="connsiteX2" fmla="*/ 0 w 8867"/>
                    <a:gd name="connsiteY2" fmla="*/ 3674 h 7347"/>
                    <a:gd name="connsiteX3" fmla="*/ 4434 w 8867"/>
                    <a:gd name="connsiteY3" fmla="*/ 0 h 7347"/>
                    <a:gd name="connsiteX4" fmla="*/ 8868 w 886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7347">
                      <a:moveTo>
                        <a:pt x="8868" y="3674"/>
                      </a:moveTo>
                      <a:cubicBezTo>
                        <a:pt x="8868" y="5701"/>
                        <a:pt x="6841" y="7348"/>
                        <a:pt x="4434" y="7348"/>
                      </a:cubicBezTo>
                      <a:cubicBezTo>
                        <a:pt x="2027" y="7348"/>
                        <a:pt x="0" y="5701"/>
                        <a:pt x="0" y="3674"/>
                      </a:cubicBezTo>
                      <a:cubicBezTo>
                        <a:pt x="0" y="1647"/>
                        <a:pt x="2027" y="0"/>
                        <a:pt x="4434" y="0"/>
                      </a:cubicBezTo>
                      <a:cubicBezTo>
                        <a:pt x="6841" y="0"/>
                        <a:pt x="8868" y="1647"/>
                        <a:pt x="8868"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7" name="Полилиния: фигура 516">
                  <a:extLst>
                    <a:ext uri="{FF2B5EF4-FFF2-40B4-BE49-F238E27FC236}">
                      <a16:creationId xmlns:a16="http://schemas.microsoft.com/office/drawing/2014/main" id="{132A3698-B152-4894-9813-62478630911D}"/>
                    </a:ext>
                  </a:extLst>
                </p:cNvPr>
                <p:cNvSpPr/>
                <p:nvPr/>
              </p:nvSpPr>
              <p:spPr>
                <a:xfrm>
                  <a:off x="7988934" y="2112986"/>
                  <a:ext cx="11655" cy="15328"/>
                </a:xfrm>
                <a:custGeom>
                  <a:avLst/>
                  <a:gdLst>
                    <a:gd name="connsiteX0" fmla="*/ 11655 w 11655"/>
                    <a:gd name="connsiteY0" fmla="*/ 7601 h 15328"/>
                    <a:gd name="connsiteX1" fmla="*/ 5828 w 11655"/>
                    <a:gd name="connsiteY1" fmla="*/ 15329 h 15328"/>
                    <a:gd name="connsiteX2" fmla="*/ 0 w 11655"/>
                    <a:gd name="connsiteY2" fmla="*/ 7601 h 15328"/>
                    <a:gd name="connsiteX3" fmla="*/ 5828 w 11655"/>
                    <a:gd name="connsiteY3" fmla="*/ 0 h 15328"/>
                    <a:gd name="connsiteX4" fmla="*/ 11655 w 11655"/>
                    <a:gd name="connsiteY4" fmla="*/ 7601 h 15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 h="15328">
                      <a:moveTo>
                        <a:pt x="11655" y="7601"/>
                      </a:moveTo>
                      <a:cubicBezTo>
                        <a:pt x="11655" y="11908"/>
                        <a:pt x="8995" y="15329"/>
                        <a:pt x="5828" y="15329"/>
                      </a:cubicBezTo>
                      <a:cubicBezTo>
                        <a:pt x="2661" y="15329"/>
                        <a:pt x="0" y="11908"/>
                        <a:pt x="0" y="7601"/>
                      </a:cubicBezTo>
                      <a:cubicBezTo>
                        <a:pt x="0" y="3420"/>
                        <a:pt x="2661" y="0"/>
                        <a:pt x="5828" y="0"/>
                      </a:cubicBezTo>
                      <a:cubicBezTo>
                        <a:pt x="8995" y="0"/>
                        <a:pt x="11655" y="3420"/>
                        <a:pt x="11655"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8" name="Полилиния: фигура 517">
                  <a:extLst>
                    <a:ext uri="{FF2B5EF4-FFF2-40B4-BE49-F238E27FC236}">
                      <a16:creationId xmlns:a16="http://schemas.microsoft.com/office/drawing/2014/main" id="{D448F27D-1F01-4DD2-9DD5-DF1E32FF7678}"/>
                    </a:ext>
                  </a:extLst>
                </p:cNvPr>
                <p:cNvSpPr/>
                <p:nvPr/>
              </p:nvSpPr>
              <p:spPr>
                <a:xfrm>
                  <a:off x="7936995" y="2132241"/>
                  <a:ext cx="18369" cy="13935"/>
                </a:xfrm>
                <a:custGeom>
                  <a:avLst/>
                  <a:gdLst>
                    <a:gd name="connsiteX0" fmla="*/ 18369 w 18369"/>
                    <a:gd name="connsiteY0" fmla="*/ 6968 h 13935"/>
                    <a:gd name="connsiteX1" fmla="*/ 9248 w 18369"/>
                    <a:gd name="connsiteY1" fmla="*/ 13935 h 13935"/>
                    <a:gd name="connsiteX2" fmla="*/ 0 w 18369"/>
                    <a:gd name="connsiteY2" fmla="*/ 6968 h 13935"/>
                    <a:gd name="connsiteX3" fmla="*/ 9248 w 18369"/>
                    <a:gd name="connsiteY3" fmla="*/ 0 h 13935"/>
                    <a:gd name="connsiteX4" fmla="*/ 18369 w 18369"/>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3935">
                      <a:moveTo>
                        <a:pt x="18369" y="6968"/>
                      </a:moveTo>
                      <a:cubicBezTo>
                        <a:pt x="18369" y="10768"/>
                        <a:pt x="14315" y="13935"/>
                        <a:pt x="9248" y="13935"/>
                      </a:cubicBezTo>
                      <a:cubicBezTo>
                        <a:pt x="4181" y="13935"/>
                        <a:pt x="0" y="10895"/>
                        <a:pt x="0" y="6968"/>
                      </a:cubicBezTo>
                      <a:cubicBezTo>
                        <a:pt x="0" y="3167"/>
                        <a:pt x="4054" y="0"/>
                        <a:pt x="9248" y="0"/>
                      </a:cubicBezTo>
                      <a:cubicBezTo>
                        <a:pt x="14188" y="0"/>
                        <a:pt x="18369" y="3040"/>
                        <a:pt x="18369"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19" name="Полилиния: фигура 518">
                  <a:extLst>
                    <a:ext uri="{FF2B5EF4-FFF2-40B4-BE49-F238E27FC236}">
                      <a16:creationId xmlns:a16="http://schemas.microsoft.com/office/drawing/2014/main" id="{6AD1EAD6-2336-4710-A81B-FABD771B33FB}"/>
                    </a:ext>
                  </a:extLst>
                </p:cNvPr>
                <p:cNvSpPr/>
                <p:nvPr/>
              </p:nvSpPr>
              <p:spPr>
                <a:xfrm>
                  <a:off x="7913179" y="2107032"/>
                  <a:ext cx="21789" cy="13681"/>
                </a:xfrm>
                <a:custGeom>
                  <a:avLst/>
                  <a:gdLst>
                    <a:gd name="connsiteX0" fmla="*/ 21789 w 21789"/>
                    <a:gd name="connsiteY0" fmla="*/ 6841 h 13681"/>
                    <a:gd name="connsiteX1" fmla="*/ 10895 w 21789"/>
                    <a:gd name="connsiteY1" fmla="*/ 13682 h 13681"/>
                    <a:gd name="connsiteX2" fmla="*/ 0 w 21789"/>
                    <a:gd name="connsiteY2" fmla="*/ 6841 h 13681"/>
                    <a:gd name="connsiteX3" fmla="*/ 10895 w 21789"/>
                    <a:gd name="connsiteY3" fmla="*/ 0 h 13681"/>
                    <a:gd name="connsiteX4" fmla="*/ 21789 w 21789"/>
                    <a:gd name="connsiteY4" fmla="*/ 6841 h 13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3681">
                      <a:moveTo>
                        <a:pt x="21789" y="6841"/>
                      </a:moveTo>
                      <a:cubicBezTo>
                        <a:pt x="21789" y="10641"/>
                        <a:pt x="16849" y="13682"/>
                        <a:pt x="10895" y="13682"/>
                      </a:cubicBezTo>
                      <a:cubicBezTo>
                        <a:pt x="4941" y="13682"/>
                        <a:pt x="0" y="10641"/>
                        <a:pt x="0" y="6841"/>
                      </a:cubicBezTo>
                      <a:cubicBezTo>
                        <a:pt x="0" y="3040"/>
                        <a:pt x="4941" y="0"/>
                        <a:pt x="10895" y="0"/>
                      </a:cubicBezTo>
                      <a:cubicBezTo>
                        <a:pt x="16975" y="0"/>
                        <a:pt x="21789" y="3040"/>
                        <a:pt x="21789"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0" name="Полилиния: фигура 519">
                  <a:extLst>
                    <a:ext uri="{FF2B5EF4-FFF2-40B4-BE49-F238E27FC236}">
                      <a16:creationId xmlns:a16="http://schemas.microsoft.com/office/drawing/2014/main" id="{DA113266-19BF-4E4E-852C-92FD982C5667}"/>
                    </a:ext>
                  </a:extLst>
                </p:cNvPr>
                <p:cNvSpPr/>
                <p:nvPr/>
              </p:nvSpPr>
              <p:spPr>
                <a:xfrm>
                  <a:off x="7898357" y="2136169"/>
                  <a:ext cx="12414" cy="9881"/>
                </a:xfrm>
                <a:custGeom>
                  <a:avLst/>
                  <a:gdLst>
                    <a:gd name="connsiteX0" fmla="*/ 12415 w 12414"/>
                    <a:gd name="connsiteY0" fmla="*/ 4941 h 9881"/>
                    <a:gd name="connsiteX1" fmla="*/ 6207 w 12414"/>
                    <a:gd name="connsiteY1" fmla="*/ 9881 h 9881"/>
                    <a:gd name="connsiteX2" fmla="*/ 0 w 12414"/>
                    <a:gd name="connsiteY2" fmla="*/ 4941 h 9881"/>
                    <a:gd name="connsiteX3" fmla="*/ 6207 w 12414"/>
                    <a:gd name="connsiteY3" fmla="*/ 0 h 9881"/>
                    <a:gd name="connsiteX4" fmla="*/ 12415 w 12414"/>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9881">
                      <a:moveTo>
                        <a:pt x="12415" y="4941"/>
                      </a:moveTo>
                      <a:cubicBezTo>
                        <a:pt x="12415" y="7728"/>
                        <a:pt x="9627" y="9881"/>
                        <a:pt x="6207" y="9881"/>
                      </a:cubicBezTo>
                      <a:cubicBezTo>
                        <a:pt x="2787" y="9881"/>
                        <a:pt x="0" y="7601"/>
                        <a:pt x="0" y="4941"/>
                      </a:cubicBezTo>
                      <a:cubicBezTo>
                        <a:pt x="0" y="2154"/>
                        <a:pt x="2787" y="0"/>
                        <a:pt x="6207" y="0"/>
                      </a:cubicBezTo>
                      <a:cubicBezTo>
                        <a:pt x="9627" y="0"/>
                        <a:pt x="12415" y="2280"/>
                        <a:pt x="12415"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1" name="Полилиния: фигура 520">
                  <a:extLst>
                    <a:ext uri="{FF2B5EF4-FFF2-40B4-BE49-F238E27FC236}">
                      <a16:creationId xmlns:a16="http://schemas.microsoft.com/office/drawing/2014/main" id="{FCB1BBA1-5498-4A6E-98AA-992AAAF59935}"/>
                    </a:ext>
                  </a:extLst>
                </p:cNvPr>
                <p:cNvSpPr/>
                <p:nvPr/>
              </p:nvSpPr>
              <p:spPr>
                <a:xfrm>
                  <a:off x="7886955" y="2153777"/>
                  <a:ext cx="13934" cy="11148"/>
                </a:xfrm>
                <a:custGeom>
                  <a:avLst/>
                  <a:gdLst>
                    <a:gd name="connsiteX0" fmla="*/ 13935 w 13934"/>
                    <a:gd name="connsiteY0" fmla="*/ 5574 h 11148"/>
                    <a:gd name="connsiteX1" fmla="*/ 6967 w 13934"/>
                    <a:gd name="connsiteY1" fmla="*/ 11148 h 11148"/>
                    <a:gd name="connsiteX2" fmla="*/ 0 w 13934"/>
                    <a:gd name="connsiteY2" fmla="*/ 5574 h 11148"/>
                    <a:gd name="connsiteX3" fmla="*/ 6967 w 13934"/>
                    <a:gd name="connsiteY3" fmla="*/ 0 h 11148"/>
                    <a:gd name="connsiteX4" fmla="*/ 13935 w 13934"/>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4" h="11148">
                      <a:moveTo>
                        <a:pt x="13935" y="5574"/>
                      </a:moveTo>
                      <a:cubicBezTo>
                        <a:pt x="13935" y="8615"/>
                        <a:pt x="10895" y="11148"/>
                        <a:pt x="6967" y="11148"/>
                      </a:cubicBezTo>
                      <a:cubicBezTo>
                        <a:pt x="3167" y="11148"/>
                        <a:pt x="0" y="8615"/>
                        <a:pt x="0" y="5574"/>
                      </a:cubicBezTo>
                      <a:cubicBezTo>
                        <a:pt x="0" y="2534"/>
                        <a:pt x="3040" y="0"/>
                        <a:pt x="6967" y="0"/>
                      </a:cubicBezTo>
                      <a:cubicBezTo>
                        <a:pt x="10768" y="0"/>
                        <a:pt x="13935" y="2534"/>
                        <a:pt x="13935"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2" name="Полилиния: фигура 521">
                  <a:extLst>
                    <a:ext uri="{FF2B5EF4-FFF2-40B4-BE49-F238E27FC236}">
                      <a16:creationId xmlns:a16="http://schemas.microsoft.com/office/drawing/2014/main" id="{D8181D9B-ED09-4C86-8B1F-514404450CEA}"/>
                    </a:ext>
                  </a:extLst>
                </p:cNvPr>
                <p:cNvSpPr/>
                <p:nvPr/>
              </p:nvSpPr>
              <p:spPr>
                <a:xfrm>
                  <a:off x="7934968" y="1992131"/>
                  <a:ext cx="11148" cy="10894"/>
                </a:xfrm>
                <a:custGeom>
                  <a:avLst/>
                  <a:gdLst>
                    <a:gd name="connsiteX0" fmla="*/ 11148 w 11148"/>
                    <a:gd name="connsiteY0" fmla="*/ 5447 h 10894"/>
                    <a:gd name="connsiteX1" fmla="*/ 5574 w 11148"/>
                    <a:gd name="connsiteY1" fmla="*/ 10895 h 10894"/>
                    <a:gd name="connsiteX2" fmla="*/ 0 w 11148"/>
                    <a:gd name="connsiteY2" fmla="*/ 5447 h 10894"/>
                    <a:gd name="connsiteX3" fmla="*/ 5574 w 11148"/>
                    <a:gd name="connsiteY3" fmla="*/ 0 h 10894"/>
                    <a:gd name="connsiteX4" fmla="*/ 11148 w 1114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10894">
                      <a:moveTo>
                        <a:pt x="11148" y="5447"/>
                      </a:moveTo>
                      <a:cubicBezTo>
                        <a:pt x="11148" y="8488"/>
                        <a:pt x="8615" y="10895"/>
                        <a:pt x="5574" y="10895"/>
                      </a:cubicBezTo>
                      <a:cubicBezTo>
                        <a:pt x="2534" y="10895"/>
                        <a:pt x="0" y="8488"/>
                        <a:pt x="0" y="5447"/>
                      </a:cubicBezTo>
                      <a:cubicBezTo>
                        <a:pt x="0" y="2407"/>
                        <a:pt x="2534" y="0"/>
                        <a:pt x="5574" y="0"/>
                      </a:cubicBezTo>
                      <a:cubicBezTo>
                        <a:pt x="8615" y="0"/>
                        <a:pt x="11148" y="2407"/>
                        <a:pt x="11148"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3" name="Полилиния: фигура 522">
                  <a:extLst>
                    <a:ext uri="{FF2B5EF4-FFF2-40B4-BE49-F238E27FC236}">
                      <a16:creationId xmlns:a16="http://schemas.microsoft.com/office/drawing/2014/main" id="{4FBD6B08-5F84-4FE3-B173-72A42F3879F7}"/>
                    </a:ext>
                  </a:extLst>
                </p:cNvPr>
                <p:cNvSpPr/>
                <p:nvPr/>
              </p:nvSpPr>
              <p:spPr>
                <a:xfrm>
                  <a:off x="7893923" y="1987697"/>
                  <a:ext cx="23309" cy="9881"/>
                </a:xfrm>
                <a:custGeom>
                  <a:avLst/>
                  <a:gdLst>
                    <a:gd name="connsiteX0" fmla="*/ 23310 w 23309"/>
                    <a:gd name="connsiteY0" fmla="*/ 4941 h 9881"/>
                    <a:gd name="connsiteX1" fmla="*/ 11655 w 23309"/>
                    <a:gd name="connsiteY1" fmla="*/ 9881 h 9881"/>
                    <a:gd name="connsiteX2" fmla="*/ 0 w 23309"/>
                    <a:gd name="connsiteY2" fmla="*/ 4941 h 9881"/>
                    <a:gd name="connsiteX3" fmla="*/ 11655 w 23309"/>
                    <a:gd name="connsiteY3" fmla="*/ 0 h 9881"/>
                    <a:gd name="connsiteX4" fmla="*/ 23310 w 23309"/>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9881">
                      <a:moveTo>
                        <a:pt x="23310" y="4941"/>
                      </a:moveTo>
                      <a:cubicBezTo>
                        <a:pt x="23310" y="7728"/>
                        <a:pt x="18116" y="9881"/>
                        <a:pt x="11655" y="9881"/>
                      </a:cubicBezTo>
                      <a:cubicBezTo>
                        <a:pt x="5194" y="9881"/>
                        <a:pt x="0" y="7728"/>
                        <a:pt x="0" y="4941"/>
                      </a:cubicBezTo>
                      <a:cubicBezTo>
                        <a:pt x="0" y="2154"/>
                        <a:pt x="5194" y="0"/>
                        <a:pt x="11655" y="0"/>
                      </a:cubicBezTo>
                      <a:cubicBezTo>
                        <a:pt x="18116" y="0"/>
                        <a:pt x="23310" y="2280"/>
                        <a:pt x="23310"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4" name="Полилиния: фигура 523">
                  <a:extLst>
                    <a:ext uri="{FF2B5EF4-FFF2-40B4-BE49-F238E27FC236}">
                      <a16:creationId xmlns:a16="http://schemas.microsoft.com/office/drawing/2014/main" id="{495EB4E9-2158-4346-89D0-0CF6E2FCFCA3}"/>
                    </a:ext>
                  </a:extLst>
                </p:cNvPr>
                <p:cNvSpPr/>
                <p:nvPr/>
              </p:nvSpPr>
              <p:spPr>
                <a:xfrm>
                  <a:off x="7904564" y="1965021"/>
                  <a:ext cx="8614" cy="7347"/>
                </a:xfrm>
                <a:custGeom>
                  <a:avLst/>
                  <a:gdLst>
                    <a:gd name="connsiteX0" fmla="*/ 8614 w 8614"/>
                    <a:gd name="connsiteY0" fmla="*/ 3674 h 7347"/>
                    <a:gd name="connsiteX1" fmla="*/ 4307 w 8614"/>
                    <a:gd name="connsiteY1" fmla="*/ 7348 h 7347"/>
                    <a:gd name="connsiteX2" fmla="*/ 0 w 8614"/>
                    <a:gd name="connsiteY2" fmla="*/ 3674 h 7347"/>
                    <a:gd name="connsiteX3" fmla="*/ 4307 w 8614"/>
                    <a:gd name="connsiteY3" fmla="*/ 0 h 7347"/>
                    <a:gd name="connsiteX4" fmla="*/ 8614 w 8614"/>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7347">
                      <a:moveTo>
                        <a:pt x="8614" y="3674"/>
                      </a:moveTo>
                      <a:cubicBezTo>
                        <a:pt x="8614" y="5701"/>
                        <a:pt x="6714" y="7348"/>
                        <a:pt x="4307" y="7348"/>
                      </a:cubicBezTo>
                      <a:cubicBezTo>
                        <a:pt x="1900" y="7348"/>
                        <a:pt x="0" y="5701"/>
                        <a:pt x="0" y="3674"/>
                      </a:cubicBezTo>
                      <a:cubicBezTo>
                        <a:pt x="0" y="1647"/>
                        <a:pt x="1900" y="0"/>
                        <a:pt x="4307" y="0"/>
                      </a:cubicBezTo>
                      <a:cubicBezTo>
                        <a:pt x="6714" y="0"/>
                        <a:pt x="8614" y="1647"/>
                        <a:pt x="861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5" name="Полилиния: фигура 524">
                  <a:extLst>
                    <a:ext uri="{FF2B5EF4-FFF2-40B4-BE49-F238E27FC236}">
                      <a16:creationId xmlns:a16="http://schemas.microsoft.com/office/drawing/2014/main" id="{76605AEF-B3A9-44FE-9869-774FE7B457B6}"/>
                    </a:ext>
                  </a:extLst>
                </p:cNvPr>
                <p:cNvSpPr/>
                <p:nvPr/>
              </p:nvSpPr>
              <p:spPr>
                <a:xfrm>
                  <a:off x="7891389" y="1952099"/>
                  <a:ext cx="2533" cy="7347"/>
                </a:xfrm>
                <a:custGeom>
                  <a:avLst/>
                  <a:gdLst>
                    <a:gd name="connsiteX0" fmla="*/ 2534 w 2533"/>
                    <a:gd name="connsiteY0" fmla="*/ 3674 h 7347"/>
                    <a:gd name="connsiteX1" fmla="*/ 1267 w 2533"/>
                    <a:gd name="connsiteY1" fmla="*/ 7348 h 7347"/>
                    <a:gd name="connsiteX2" fmla="*/ 0 w 2533"/>
                    <a:gd name="connsiteY2" fmla="*/ 3674 h 7347"/>
                    <a:gd name="connsiteX3" fmla="*/ 1267 w 2533"/>
                    <a:gd name="connsiteY3" fmla="*/ 0 h 7347"/>
                    <a:gd name="connsiteX4" fmla="*/ 2534 w 2533"/>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 h="7347">
                      <a:moveTo>
                        <a:pt x="2534" y="3674"/>
                      </a:moveTo>
                      <a:cubicBezTo>
                        <a:pt x="2534" y="5701"/>
                        <a:pt x="1901" y="7348"/>
                        <a:pt x="1267" y="7348"/>
                      </a:cubicBezTo>
                      <a:cubicBezTo>
                        <a:pt x="634" y="7348"/>
                        <a:pt x="0" y="5701"/>
                        <a:pt x="0" y="3674"/>
                      </a:cubicBezTo>
                      <a:cubicBezTo>
                        <a:pt x="0" y="1647"/>
                        <a:pt x="634" y="0"/>
                        <a:pt x="1267" y="0"/>
                      </a:cubicBezTo>
                      <a:cubicBezTo>
                        <a:pt x="2027" y="0"/>
                        <a:pt x="2534" y="1647"/>
                        <a:pt x="2534"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6" name="Полилиния: фигура 525">
                  <a:extLst>
                    <a:ext uri="{FF2B5EF4-FFF2-40B4-BE49-F238E27FC236}">
                      <a16:creationId xmlns:a16="http://schemas.microsoft.com/office/drawing/2014/main" id="{528E19F7-6B0B-46C0-A250-1C0E27CB46D0}"/>
                    </a:ext>
                  </a:extLst>
                </p:cNvPr>
                <p:cNvSpPr/>
                <p:nvPr/>
              </p:nvSpPr>
              <p:spPr>
                <a:xfrm>
                  <a:off x="7877581" y="1972368"/>
                  <a:ext cx="9374" cy="9374"/>
                </a:xfrm>
                <a:custGeom>
                  <a:avLst/>
                  <a:gdLst>
                    <a:gd name="connsiteX0" fmla="*/ 9374 w 9374"/>
                    <a:gd name="connsiteY0" fmla="*/ 4687 h 9374"/>
                    <a:gd name="connsiteX1" fmla="*/ 4687 w 9374"/>
                    <a:gd name="connsiteY1" fmla="*/ 9374 h 9374"/>
                    <a:gd name="connsiteX2" fmla="*/ 0 w 9374"/>
                    <a:gd name="connsiteY2" fmla="*/ 4687 h 9374"/>
                    <a:gd name="connsiteX3" fmla="*/ 4687 w 9374"/>
                    <a:gd name="connsiteY3" fmla="*/ 0 h 9374"/>
                    <a:gd name="connsiteX4" fmla="*/ 9374 w 9374"/>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9374">
                      <a:moveTo>
                        <a:pt x="9374" y="4687"/>
                      </a:moveTo>
                      <a:cubicBezTo>
                        <a:pt x="9374" y="7221"/>
                        <a:pt x="7221" y="9374"/>
                        <a:pt x="4687" y="9374"/>
                      </a:cubicBezTo>
                      <a:cubicBezTo>
                        <a:pt x="2153" y="9374"/>
                        <a:pt x="0" y="7221"/>
                        <a:pt x="0" y="4687"/>
                      </a:cubicBezTo>
                      <a:cubicBezTo>
                        <a:pt x="0" y="2027"/>
                        <a:pt x="2153" y="0"/>
                        <a:pt x="4687" y="0"/>
                      </a:cubicBezTo>
                      <a:cubicBezTo>
                        <a:pt x="7348" y="0"/>
                        <a:pt x="9374" y="2154"/>
                        <a:pt x="9374"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7" name="Полилиния: фигура 526">
                  <a:extLst>
                    <a:ext uri="{FF2B5EF4-FFF2-40B4-BE49-F238E27FC236}">
                      <a16:creationId xmlns:a16="http://schemas.microsoft.com/office/drawing/2014/main" id="{6A9E4526-0DC9-495B-85D0-0CF34A99ABBA}"/>
                    </a:ext>
                  </a:extLst>
                </p:cNvPr>
                <p:cNvSpPr/>
                <p:nvPr/>
              </p:nvSpPr>
              <p:spPr>
                <a:xfrm>
                  <a:off x="7696931" y="2092210"/>
                  <a:ext cx="8867" cy="9374"/>
                </a:xfrm>
                <a:custGeom>
                  <a:avLst/>
                  <a:gdLst>
                    <a:gd name="connsiteX0" fmla="*/ 8868 w 8867"/>
                    <a:gd name="connsiteY0" fmla="*/ 4687 h 9374"/>
                    <a:gd name="connsiteX1" fmla="*/ 4434 w 8867"/>
                    <a:gd name="connsiteY1" fmla="*/ 9375 h 9374"/>
                    <a:gd name="connsiteX2" fmla="*/ 0 w 8867"/>
                    <a:gd name="connsiteY2" fmla="*/ 4687 h 9374"/>
                    <a:gd name="connsiteX3" fmla="*/ 4434 w 8867"/>
                    <a:gd name="connsiteY3" fmla="*/ 0 h 9374"/>
                    <a:gd name="connsiteX4" fmla="*/ 8868 w 8867"/>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9374">
                      <a:moveTo>
                        <a:pt x="8868" y="4687"/>
                      </a:moveTo>
                      <a:cubicBezTo>
                        <a:pt x="8868" y="7348"/>
                        <a:pt x="6841" y="9375"/>
                        <a:pt x="4434" y="9375"/>
                      </a:cubicBezTo>
                      <a:cubicBezTo>
                        <a:pt x="2027" y="9375"/>
                        <a:pt x="0" y="7221"/>
                        <a:pt x="0" y="4687"/>
                      </a:cubicBezTo>
                      <a:cubicBezTo>
                        <a:pt x="0" y="2154"/>
                        <a:pt x="2027" y="0"/>
                        <a:pt x="4434" y="0"/>
                      </a:cubicBezTo>
                      <a:cubicBezTo>
                        <a:pt x="6967" y="0"/>
                        <a:pt x="8868" y="2027"/>
                        <a:pt x="8868" y="46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8" name="Полилиния: фигура 527">
                  <a:extLst>
                    <a:ext uri="{FF2B5EF4-FFF2-40B4-BE49-F238E27FC236}">
                      <a16:creationId xmlns:a16="http://schemas.microsoft.com/office/drawing/2014/main" id="{16D89170-2F5F-4B45-A3A2-3058130F0E5B}"/>
                    </a:ext>
                  </a:extLst>
                </p:cNvPr>
                <p:cNvSpPr/>
                <p:nvPr/>
              </p:nvSpPr>
              <p:spPr>
                <a:xfrm>
                  <a:off x="7661334" y="2153777"/>
                  <a:ext cx="8360" cy="8107"/>
                </a:xfrm>
                <a:custGeom>
                  <a:avLst/>
                  <a:gdLst>
                    <a:gd name="connsiteX0" fmla="*/ 8361 w 8360"/>
                    <a:gd name="connsiteY0" fmla="*/ 4054 h 8107"/>
                    <a:gd name="connsiteX1" fmla="*/ 4181 w 8360"/>
                    <a:gd name="connsiteY1" fmla="*/ 8108 h 8107"/>
                    <a:gd name="connsiteX2" fmla="*/ 0 w 8360"/>
                    <a:gd name="connsiteY2" fmla="*/ 4054 h 8107"/>
                    <a:gd name="connsiteX3" fmla="*/ 4181 w 8360"/>
                    <a:gd name="connsiteY3" fmla="*/ 0 h 8107"/>
                    <a:gd name="connsiteX4" fmla="*/ 8361 w 8360"/>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107">
                      <a:moveTo>
                        <a:pt x="8361" y="4054"/>
                      </a:moveTo>
                      <a:cubicBezTo>
                        <a:pt x="8361" y="6334"/>
                        <a:pt x="6461" y="8108"/>
                        <a:pt x="4181" y="8108"/>
                      </a:cubicBezTo>
                      <a:cubicBezTo>
                        <a:pt x="1901" y="8108"/>
                        <a:pt x="0" y="6334"/>
                        <a:pt x="0" y="4054"/>
                      </a:cubicBezTo>
                      <a:cubicBezTo>
                        <a:pt x="0" y="1774"/>
                        <a:pt x="1901" y="0"/>
                        <a:pt x="4181" y="0"/>
                      </a:cubicBezTo>
                      <a:cubicBezTo>
                        <a:pt x="6461" y="0"/>
                        <a:pt x="8361" y="1774"/>
                        <a:pt x="8361"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29" name="Полилиния: фигура 528">
                  <a:extLst>
                    <a:ext uri="{FF2B5EF4-FFF2-40B4-BE49-F238E27FC236}">
                      <a16:creationId xmlns:a16="http://schemas.microsoft.com/office/drawing/2014/main" id="{38CA15DF-07AF-4BF5-8300-83FC6B0F9661}"/>
                    </a:ext>
                  </a:extLst>
                </p:cNvPr>
                <p:cNvSpPr/>
                <p:nvPr/>
              </p:nvSpPr>
              <p:spPr>
                <a:xfrm>
                  <a:off x="7647399" y="2177340"/>
                  <a:ext cx="11908" cy="5827"/>
                </a:xfrm>
                <a:custGeom>
                  <a:avLst/>
                  <a:gdLst>
                    <a:gd name="connsiteX0" fmla="*/ 11908 w 11908"/>
                    <a:gd name="connsiteY0" fmla="*/ 2914 h 5827"/>
                    <a:gd name="connsiteX1" fmla="*/ 5954 w 11908"/>
                    <a:gd name="connsiteY1" fmla="*/ 5827 h 5827"/>
                    <a:gd name="connsiteX2" fmla="*/ 0 w 11908"/>
                    <a:gd name="connsiteY2" fmla="*/ 2914 h 5827"/>
                    <a:gd name="connsiteX3" fmla="*/ 5954 w 11908"/>
                    <a:gd name="connsiteY3" fmla="*/ 0 h 5827"/>
                    <a:gd name="connsiteX4" fmla="*/ 11908 w 11908"/>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5827">
                      <a:moveTo>
                        <a:pt x="11908" y="2914"/>
                      </a:moveTo>
                      <a:cubicBezTo>
                        <a:pt x="11908" y="4561"/>
                        <a:pt x="9248" y="5827"/>
                        <a:pt x="5954" y="5827"/>
                      </a:cubicBezTo>
                      <a:cubicBezTo>
                        <a:pt x="2660" y="5827"/>
                        <a:pt x="0" y="4561"/>
                        <a:pt x="0" y="2914"/>
                      </a:cubicBezTo>
                      <a:cubicBezTo>
                        <a:pt x="0" y="1267"/>
                        <a:pt x="2660" y="0"/>
                        <a:pt x="5954" y="0"/>
                      </a:cubicBezTo>
                      <a:cubicBezTo>
                        <a:pt x="9248" y="0"/>
                        <a:pt x="11908" y="1267"/>
                        <a:pt x="11908" y="2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0" name="Полилиния: фигура 529">
                  <a:extLst>
                    <a:ext uri="{FF2B5EF4-FFF2-40B4-BE49-F238E27FC236}">
                      <a16:creationId xmlns:a16="http://schemas.microsoft.com/office/drawing/2014/main" id="{90F4F49B-A358-4868-87BC-2078000D2A83}"/>
                    </a:ext>
                  </a:extLst>
                </p:cNvPr>
                <p:cNvSpPr/>
                <p:nvPr/>
              </p:nvSpPr>
              <p:spPr>
                <a:xfrm>
                  <a:off x="7665388" y="2216865"/>
                  <a:ext cx="4306" cy="10387"/>
                </a:xfrm>
                <a:custGeom>
                  <a:avLst/>
                  <a:gdLst>
                    <a:gd name="connsiteX0" fmla="*/ 4307 w 4306"/>
                    <a:gd name="connsiteY0" fmla="*/ 5194 h 10387"/>
                    <a:gd name="connsiteX1" fmla="*/ 2153 w 4306"/>
                    <a:gd name="connsiteY1" fmla="*/ 10388 h 10387"/>
                    <a:gd name="connsiteX2" fmla="*/ 0 w 4306"/>
                    <a:gd name="connsiteY2" fmla="*/ 5194 h 10387"/>
                    <a:gd name="connsiteX3" fmla="*/ 2153 w 4306"/>
                    <a:gd name="connsiteY3" fmla="*/ 0 h 10387"/>
                    <a:gd name="connsiteX4" fmla="*/ 4307 w 4306"/>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 h="10387">
                      <a:moveTo>
                        <a:pt x="4307" y="5194"/>
                      </a:moveTo>
                      <a:cubicBezTo>
                        <a:pt x="4307" y="8108"/>
                        <a:pt x="3421" y="10388"/>
                        <a:pt x="2153" y="10388"/>
                      </a:cubicBezTo>
                      <a:cubicBezTo>
                        <a:pt x="1014" y="10388"/>
                        <a:pt x="0" y="8108"/>
                        <a:pt x="0" y="5194"/>
                      </a:cubicBezTo>
                      <a:cubicBezTo>
                        <a:pt x="0" y="2407"/>
                        <a:pt x="887" y="0"/>
                        <a:pt x="2153" y="0"/>
                      </a:cubicBezTo>
                      <a:cubicBezTo>
                        <a:pt x="3421" y="0"/>
                        <a:pt x="4307" y="2280"/>
                        <a:pt x="4307"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1" name="Полилиния: фигура 530">
                  <a:extLst>
                    <a:ext uri="{FF2B5EF4-FFF2-40B4-BE49-F238E27FC236}">
                      <a16:creationId xmlns:a16="http://schemas.microsoft.com/office/drawing/2014/main" id="{864BD02B-DBD8-4067-B45A-A3F26C285268}"/>
                    </a:ext>
                  </a:extLst>
                </p:cNvPr>
                <p:cNvSpPr/>
                <p:nvPr/>
              </p:nvSpPr>
              <p:spPr>
                <a:xfrm>
                  <a:off x="7528063" y="2223326"/>
                  <a:ext cx="14948" cy="12921"/>
                </a:xfrm>
                <a:custGeom>
                  <a:avLst/>
                  <a:gdLst>
                    <a:gd name="connsiteX0" fmla="*/ 14948 w 14948"/>
                    <a:gd name="connsiteY0" fmla="*/ 6461 h 12921"/>
                    <a:gd name="connsiteX1" fmla="*/ 7475 w 14948"/>
                    <a:gd name="connsiteY1" fmla="*/ 12922 h 12921"/>
                    <a:gd name="connsiteX2" fmla="*/ 0 w 14948"/>
                    <a:gd name="connsiteY2" fmla="*/ 6461 h 12921"/>
                    <a:gd name="connsiteX3" fmla="*/ 7475 w 14948"/>
                    <a:gd name="connsiteY3" fmla="*/ 0 h 12921"/>
                    <a:gd name="connsiteX4" fmla="*/ 14948 w 14948"/>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2921">
                      <a:moveTo>
                        <a:pt x="14948" y="6461"/>
                      </a:moveTo>
                      <a:cubicBezTo>
                        <a:pt x="14948" y="10008"/>
                        <a:pt x="11655" y="12922"/>
                        <a:pt x="7475" y="12922"/>
                      </a:cubicBezTo>
                      <a:cubicBezTo>
                        <a:pt x="3421" y="12922"/>
                        <a:pt x="0" y="10008"/>
                        <a:pt x="0" y="6461"/>
                      </a:cubicBezTo>
                      <a:cubicBezTo>
                        <a:pt x="0" y="2914"/>
                        <a:pt x="3294" y="0"/>
                        <a:pt x="7475" y="0"/>
                      </a:cubicBezTo>
                      <a:cubicBezTo>
                        <a:pt x="11655" y="0"/>
                        <a:pt x="14948" y="2914"/>
                        <a:pt x="14948"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2" name="Полилиния: фигура 531">
                  <a:extLst>
                    <a:ext uri="{FF2B5EF4-FFF2-40B4-BE49-F238E27FC236}">
                      <a16:creationId xmlns:a16="http://schemas.microsoft.com/office/drawing/2014/main" id="{BE2E5322-D698-495C-97A7-9B1E492BA5F4}"/>
                    </a:ext>
                  </a:extLst>
                </p:cNvPr>
                <p:cNvSpPr/>
                <p:nvPr/>
              </p:nvSpPr>
              <p:spPr>
                <a:xfrm>
                  <a:off x="7525783" y="2271719"/>
                  <a:ext cx="17228" cy="11907"/>
                </a:xfrm>
                <a:custGeom>
                  <a:avLst/>
                  <a:gdLst>
                    <a:gd name="connsiteX0" fmla="*/ 17229 w 17228"/>
                    <a:gd name="connsiteY0" fmla="*/ 5954 h 11907"/>
                    <a:gd name="connsiteX1" fmla="*/ 8614 w 17228"/>
                    <a:gd name="connsiteY1" fmla="*/ 11908 h 11907"/>
                    <a:gd name="connsiteX2" fmla="*/ 0 w 17228"/>
                    <a:gd name="connsiteY2" fmla="*/ 5954 h 11907"/>
                    <a:gd name="connsiteX3" fmla="*/ 8614 w 17228"/>
                    <a:gd name="connsiteY3" fmla="*/ 0 h 11907"/>
                    <a:gd name="connsiteX4" fmla="*/ 17229 w 17228"/>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 h="11907">
                      <a:moveTo>
                        <a:pt x="17229" y="5954"/>
                      </a:moveTo>
                      <a:cubicBezTo>
                        <a:pt x="17229" y="9248"/>
                        <a:pt x="13302" y="11908"/>
                        <a:pt x="8614" y="11908"/>
                      </a:cubicBezTo>
                      <a:cubicBezTo>
                        <a:pt x="3800" y="11908"/>
                        <a:pt x="0" y="9248"/>
                        <a:pt x="0" y="5954"/>
                      </a:cubicBezTo>
                      <a:cubicBezTo>
                        <a:pt x="0" y="2660"/>
                        <a:pt x="3927" y="0"/>
                        <a:pt x="8614" y="0"/>
                      </a:cubicBezTo>
                      <a:cubicBezTo>
                        <a:pt x="13428" y="127"/>
                        <a:pt x="17229" y="2787"/>
                        <a:pt x="17229"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3" name="Полилиния: фигура 532">
                  <a:extLst>
                    <a:ext uri="{FF2B5EF4-FFF2-40B4-BE49-F238E27FC236}">
                      <a16:creationId xmlns:a16="http://schemas.microsoft.com/office/drawing/2014/main" id="{A5935CB3-DA20-40E5-ABA4-3CDB6F3221AE}"/>
                    </a:ext>
                  </a:extLst>
                </p:cNvPr>
                <p:cNvSpPr/>
                <p:nvPr/>
              </p:nvSpPr>
              <p:spPr>
                <a:xfrm>
                  <a:off x="7505514" y="2271719"/>
                  <a:ext cx="7854" cy="11907"/>
                </a:xfrm>
                <a:custGeom>
                  <a:avLst/>
                  <a:gdLst>
                    <a:gd name="connsiteX0" fmla="*/ 7854 w 7854"/>
                    <a:gd name="connsiteY0" fmla="*/ 5954 h 11907"/>
                    <a:gd name="connsiteX1" fmla="*/ 3927 w 7854"/>
                    <a:gd name="connsiteY1" fmla="*/ 11908 h 11907"/>
                    <a:gd name="connsiteX2" fmla="*/ 0 w 7854"/>
                    <a:gd name="connsiteY2" fmla="*/ 5954 h 11907"/>
                    <a:gd name="connsiteX3" fmla="*/ 3927 w 7854"/>
                    <a:gd name="connsiteY3" fmla="*/ 0 h 11907"/>
                    <a:gd name="connsiteX4" fmla="*/ 7854 w 7854"/>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 h="11907">
                      <a:moveTo>
                        <a:pt x="7854" y="5954"/>
                      </a:moveTo>
                      <a:cubicBezTo>
                        <a:pt x="7854" y="9248"/>
                        <a:pt x="6081" y="11908"/>
                        <a:pt x="3927" y="11908"/>
                      </a:cubicBezTo>
                      <a:cubicBezTo>
                        <a:pt x="1774" y="11908"/>
                        <a:pt x="0" y="9248"/>
                        <a:pt x="0" y="5954"/>
                      </a:cubicBezTo>
                      <a:cubicBezTo>
                        <a:pt x="0" y="2660"/>
                        <a:pt x="1774" y="0"/>
                        <a:pt x="3927" y="0"/>
                      </a:cubicBezTo>
                      <a:cubicBezTo>
                        <a:pt x="6081" y="127"/>
                        <a:pt x="7854" y="2787"/>
                        <a:pt x="7854"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4" name="Полилиния: фигура 533">
                  <a:extLst>
                    <a:ext uri="{FF2B5EF4-FFF2-40B4-BE49-F238E27FC236}">
                      <a16:creationId xmlns:a16="http://schemas.microsoft.com/office/drawing/2014/main" id="{8A958A97-0AA3-4D53-BC2E-4A3D7E51282F}"/>
                    </a:ext>
                  </a:extLst>
                </p:cNvPr>
                <p:cNvSpPr/>
                <p:nvPr/>
              </p:nvSpPr>
              <p:spPr>
                <a:xfrm>
                  <a:off x="7510581" y="2328473"/>
                  <a:ext cx="10388" cy="10387"/>
                </a:xfrm>
                <a:custGeom>
                  <a:avLst/>
                  <a:gdLst>
                    <a:gd name="connsiteX0" fmla="*/ 10388 w 10388"/>
                    <a:gd name="connsiteY0" fmla="*/ 5194 h 10387"/>
                    <a:gd name="connsiteX1" fmla="*/ 5194 w 10388"/>
                    <a:gd name="connsiteY1" fmla="*/ 10388 h 10387"/>
                    <a:gd name="connsiteX2" fmla="*/ 0 w 10388"/>
                    <a:gd name="connsiteY2" fmla="*/ 5194 h 10387"/>
                    <a:gd name="connsiteX3" fmla="*/ 5194 w 10388"/>
                    <a:gd name="connsiteY3" fmla="*/ 0 h 10387"/>
                    <a:gd name="connsiteX4" fmla="*/ 10388 w 10388"/>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0387">
                      <a:moveTo>
                        <a:pt x="10388" y="5194"/>
                      </a:moveTo>
                      <a:cubicBezTo>
                        <a:pt x="10388" y="7981"/>
                        <a:pt x="8108" y="10388"/>
                        <a:pt x="5194" y="10388"/>
                      </a:cubicBezTo>
                      <a:cubicBezTo>
                        <a:pt x="2281" y="10388"/>
                        <a:pt x="0" y="8108"/>
                        <a:pt x="0" y="5194"/>
                      </a:cubicBezTo>
                      <a:cubicBezTo>
                        <a:pt x="0" y="2280"/>
                        <a:pt x="2281" y="0"/>
                        <a:pt x="5194" y="0"/>
                      </a:cubicBezTo>
                      <a:cubicBezTo>
                        <a:pt x="8108" y="0"/>
                        <a:pt x="10388" y="2280"/>
                        <a:pt x="10388" y="51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5" name="Полилиния: фигура 534">
                  <a:extLst>
                    <a:ext uri="{FF2B5EF4-FFF2-40B4-BE49-F238E27FC236}">
                      <a16:creationId xmlns:a16="http://schemas.microsoft.com/office/drawing/2014/main" id="{53373F6C-8D36-4EB6-8ABC-C2BEE4B61792}"/>
                    </a:ext>
                  </a:extLst>
                </p:cNvPr>
                <p:cNvSpPr/>
                <p:nvPr/>
              </p:nvSpPr>
              <p:spPr>
                <a:xfrm>
                  <a:off x="7493986" y="2303390"/>
                  <a:ext cx="14188" cy="14188"/>
                </a:xfrm>
                <a:custGeom>
                  <a:avLst/>
                  <a:gdLst>
                    <a:gd name="connsiteX0" fmla="*/ 14188 w 14188"/>
                    <a:gd name="connsiteY0" fmla="*/ 7094 h 14188"/>
                    <a:gd name="connsiteX1" fmla="*/ 7094 w 14188"/>
                    <a:gd name="connsiteY1" fmla="*/ 14188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1"/>
                        <a:pt x="11021" y="14188"/>
                        <a:pt x="7094" y="14188"/>
                      </a:cubicBezTo>
                      <a:cubicBezTo>
                        <a:pt x="3167" y="14188"/>
                        <a:pt x="0" y="11021"/>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6" name="Полилиния: фигура 535">
                  <a:extLst>
                    <a:ext uri="{FF2B5EF4-FFF2-40B4-BE49-F238E27FC236}">
                      <a16:creationId xmlns:a16="http://schemas.microsoft.com/office/drawing/2014/main" id="{E6D16874-618A-4033-A669-4236B487DB8B}"/>
                    </a:ext>
                  </a:extLst>
                </p:cNvPr>
                <p:cNvSpPr/>
                <p:nvPr/>
              </p:nvSpPr>
              <p:spPr>
                <a:xfrm>
                  <a:off x="7483851" y="2288435"/>
                  <a:ext cx="10134" cy="8367"/>
                </a:xfrm>
                <a:custGeom>
                  <a:avLst/>
                  <a:gdLst>
                    <a:gd name="connsiteX0" fmla="*/ 10134 w 10134"/>
                    <a:gd name="connsiteY0" fmla="*/ 4187 h 8367"/>
                    <a:gd name="connsiteX1" fmla="*/ 5068 w 10134"/>
                    <a:gd name="connsiteY1" fmla="*/ 8367 h 8367"/>
                    <a:gd name="connsiteX2" fmla="*/ 0 w 10134"/>
                    <a:gd name="connsiteY2" fmla="*/ 4187 h 8367"/>
                    <a:gd name="connsiteX3" fmla="*/ 5068 w 10134"/>
                    <a:gd name="connsiteY3" fmla="*/ 6 h 8367"/>
                    <a:gd name="connsiteX4" fmla="*/ 10134 w 10134"/>
                    <a:gd name="connsiteY4" fmla="*/ 4187 h 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8367">
                      <a:moveTo>
                        <a:pt x="10134" y="4187"/>
                      </a:moveTo>
                      <a:cubicBezTo>
                        <a:pt x="10134" y="6467"/>
                        <a:pt x="7854" y="8367"/>
                        <a:pt x="5068" y="8367"/>
                      </a:cubicBezTo>
                      <a:cubicBezTo>
                        <a:pt x="2280" y="8367"/>
                        <a:pt x="0" y="6467"/>
                        <a:pt x="0" y="4187"/>
                      </a:cubicBezTo>
                      <a:cubicBezTo>
                        <a:pt x="0" y="1906"/>
                        <a:pt x="2280" y="6"/>
                        <a:pt x="5068" y="6"/>
                      </a:cubicBezTo>
                      <a:cubicBezTo>
                        <a:pt x="7854" y="-121"/>
                        <a:pt x="10134" y="1780"/>
                        <a:pt x="10134" y="4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7" name="Полилиния: фигура 536">
                  <a:extLst>
                    <a:ext uri="{FF2B5EF4-FFF2-40B4-BE49-F238E27FC236}">
                      <a16:creationId xmlns:a16="http://schemas.microsoft.com/office/drawing/2014/main" id="{2F2851C1-6039-4421-A7F2-830FC30C3F9B}"/>
                    </a:ext>
                  </a:extLst>
                </p:cNvPr>
                <p:cNvSpPr/>
                <p:nvPr/>
              </p:nvSpPr>
              <p:spPr>
                <a:xfrm>
                  <a:off x="7453828" y="2286667"/>
                  <a:ext cx="12921" cy="10134"/>
                </a:xfrm>
                <a:custGeom>
                  <a:avLst/>
                  <a:gdLst>
                    <a:gd name="connsiteX0" fmla="*/ 12922 w 12921"/>
                    <a:gd name="connsiteY0" fmla="*/ 5067 h 10134"/>
                    <a:gd name="connsiteX1" fmla="*/ 6461 w 12921"/>
                    <a:gd name="connsiteY1" fmla="*/ 10135 h 10134"/>
                    <a:gd name="connsiteX2" fmla="*/ 0 w 12921"/>
                    <a:gd name="connsiteY2" fmla="*/ 5067 h 10134"/>
                    <a:gd name="connsiteX3" fmla="*/ 6461 w 12921"/>
                    <a:gd name="connsiteY3" fmla="*/ 0 h 10134"/>
                    <a:gd name="connsiteX4" fmla="*/ 12922 w 12921"/>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0134">
                      <a:moveTo>
                        <a:pt x="12922" y="5067"/>
                      </a:moveTo>
                      <a:cubicBezTo>
                        <a:pt x="12922" y="7854"/>
                        <a:pt x="10008" y="10135"/>
                        <a:pt x="6461" y="10135"/>
                      </a:cubicBezTo>
                      <a:cubicBezTo>
                        <a:pt x="2913" y="10135"/>
                        <a:pt x="0" y="7854"/>
                        <a:pt x="0" y="5067"/>
                      </a:cubicBezTo>
                      <a:cubicBezTo>
                        <a:pt x="0" y="2280"/>
                        <a:pt x="2913" y="0"/>
                        <a:pt x="6461" y="0"/>
                      </a:cubicBezTo>
                      <a:cubicBezTo>
                        <a:pt x="10134" y="0"/>
                        <a:pt x="12922" y="2280"/>
                        <a:pt x="12922"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8" name="Полилиния: фигура 537">
                  <a:extLst>
                    <a:ext uri="{FF2B5EF4-FFF2-40B4-BE49-F238E27FC236}">
                      <a16:creationId xmlns:a16="http://schemas.microsoft.com/office/drawing/2014/main" id="{D756B88A-AB7B-4181-9D86-D999CFDA17E1}"/>
                    </a:ext>
                  </a:extLst>
                </p:cNvPr>
                <p:cNvSpPr/>
                <p:nvPr/>
              </p:nvSpPr>
              <p:spPr>
                <a:xfrm>
                  <a:off x="7479545" y="2321505"/>
                  <a:ext cx="15708" cy="23309"/>
                </a:xfrm>
                <a:custGeom>
                  <a:avLst/>
                  <a:gdLst>
                    <a:gd name="connsiteX0" fmla="*/ 15709 w 15708"/>
                    <a:gd name="connsiteY0" fmla="*/ 11655 h 23309"/>
                    <a:gd name="connsiteX1" fmla="*/ 7854 w 15708"/>
                    <a:gd name="connsiteY1" fmla="*/ 23310 h 23309"/>
                    <a:gd name="connsiteX2" fmla="*/ 0 w 15708"/>
                    <a:gd name="connsiteY2" fmla="*/ 11655 h 23309"/>
                    <a:gd name="connsiteX3" fmla="*/ 7854 w 15708"/>
                    <a:gd name="connsiteY3" fmla="*/ 0 h 23309"/>
                    <a:gd name="connsiteX4" fmla="*/ 15709 w 15708"/>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8" h="23309">
                      <a:moveTo>
                        <a:pt x="15709" y="11655"/>
                      </a:moveTo>
                      <a:cubicBezTo>
                        <a:pt x="15709" y="18116"/>
                        <a:pt x="12161" y="23310"/>
                        <a:pt x="7854" y="23310"/>
                      </a:cubicBezTo>
                      <a:cubicBezTo>
                        <a:pt x="3547" y="23310"/>
                        <a:pt x="0" y="18116"/>
                        <a:pt x="0" y="11655"/>
                      </a:cubicBezTo>
                      <a:cubicBezTo>
                        <a:pt x="0" y="5194"/>
                        <a:pt x="3420" y="0"/>
                        <a:pt x="7854" y="0"/>
                      </a:cubicBezTo>
                      <a:cubicBezTo>
                        <a:pt x="12288" y="0"/>
                        <a:pt x="15709" y="5321"/>
                        <a:pt x="15709" y="1165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39" name="Полилиния: фигура 538">
                  <a:extLst>
                    <a:ext uri="{FF2B5EF4-FFF2-40B4-BE49-F238E27FC236}">
                      <a16:creationId xmlns:a16="http://schemas.microsoft.com/office/drawing/2014/main" id="{13E3C4EF-0546-4E76-8131-0C68F7FBFF93}"/>
                    </a:ext>
                  </a:extLst>
                </p:cNvPr>
                <p:cNvSpPr/>
                <p:nvPr/>
              </p:nvSpPr>
              <p:spPr>
                <a:xfrm>
                  <a:off x="7477138" y="2363817"/>
                  <a:ext cx="33443" cy="10641"/>
                </a:xfrm>
                <a:custGeom>
                  <a:avLst/>
                  <a:gdLst>
                    <a:gd name="connsiteX0" fmla="*/ 33444 w 33443"/>
                    <a:gd name="connsiteY0" fmla="*/ 5321 h 10641"/>
                    <a:gd name="connsiteX1" fmla="*/ 16722 w 33443"/>
                    <a:gd name="connsiteY1" fmla="*/ 10641 h 10641"/>
                    <a:gd name="connsiteX2" fmla="*/ 0 w 33443"/>
                    <a:gd name="connsiteY2" fmla="*/ 5321 h 10641"/>
                    <a:gd name="connsiteX3" fmla="*/ 16722 w 33443"/>
                    <a:gd name="connsiteY3" fmla="*/ 0 h 10641"/>
                    <a:gd name="connsiteX4" fmla="*/ 33444 w 33443"/>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3" h="10641">
                      <a:moveTo>
                        <a:pt x="33444" y="5321"/>
                      </a:moveTo>
                      <a:cubicBezTo>
                        <a:pt x="33444" y="8234"/>
                        <a:pt x="25970" y="10641"/>
                        <a:pt x="16722" y="10641"/>
                      </a:cubicBezTo>
                      <a:cubicBezTo>
                        <a:pt x="7474" y="10641"/>
                        <a:pt x="0" y="8234"/>
                        <a:pt x="0" y="5321"/>
                      </a:cubicBezTo>
                      <a:cubicBezTo>
                        <a:pt x="0" y="2407"/>
                        <a:pt x="7474" y="0"/>
                        <a:pt x="16722" y="0"/>
                      </a:cubicBezTo>
                      <a:cubicBezTo>
                        <a:pt x="25970" y="0"/>
                        <a:pt x="33444" y="2407"/>
                        <a:pt x="33444"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0" name="Полилиния: фигура 539">
                  <a:extLst>
                    <a:ext uri="{FF2B5EF4-FFF2-40B4-BE49-F238E27FC236}">
                      <a16:creationId xmlns:a16="http://schemas.microsoft.com/office/drawing/2014/main" id="{48767794-8F2D-49ED-B40F-2DBB0E3F15C6}"/>
                    </a:ext>
                  </a:extLst>
                </p:cNvPr>
                <p:cNvSpPr/>
                <p:nvPr/>
              </p:nvSpPr>
              <p:spPr>
                <a:xfrm>
                  <a:off x="7444960" y="2323402"/>
                  <a:ext cx="23816" cy="14318"/>
                </a:xfrm>
                <a:custGeom>
                  <a:avLst/>
                  <a:gdLst>
                    <a:gd name="connsiteX0" fmla="*/ 23816 w 23816"/>
                    <a:gd name="connsiteY0" fmla="*/ 7098 h 14318"/>
                    <a:gd name="connsiteX1" fmla="*/ 11908 w 23816"/>
                    <a:gd name="connsiteY1" fmla="*/ 14319 h 14318"/>
                    <a:gd name="connsiteX2" fmla="*/ 0 w 23816"/>
                    <a:gd name="connsiteY2" fmla="*/ 7098 h 14318"/>
                    <a:gd name="connsiteX3" fmla="*/ 11908 w 23816"/>
                    <a:gd name="connsiteY3" fmla="*/ 4 h 14318"/>
                    <a:gd name="connsiteX4" fmla="*/ 23816 w 23816"/>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318">
                      <a:moveTo>
                        <a:pt x="23816" y="7098"/>
                      </a:moveTo>
                      <a:cubicBezTo>
                        <a:pt x="23816" y="11025"/>
                        <a:pt x="18496" y="14319"/>
                        <a:pt x="11908" y="14319"/>
                      </a:cubicBezTo>
                      <a:cubicBezTo>
                        <a:pt x="5321" y="14319"/>
                        <a:pt x="0" y="11152"/>
                        <a:pt x="0" y="7098"/>
                      </a:cubicBezTo>
                      <a:cubicBezTo>
                        <a:pt x="0" y="3171"/>
                        <a:pt x="5321" y="4"/>
                        <a:pt x="11908" y="4"/>
                      </a:cubicBezTo>
                      <a:cubicBezTo>
                        <a:pt x="18496" y="-123"/>
                        <a:pt x="23816" y="3044"/>
                        <a:pt x="23816"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1" name="Полилиния: фигура 540">
                  <a:extLst>
                    <a:ext uri="{FF2B5EF4-FFF2-40B4-BE49-F238E27FC236}">
                      <a16:creationId xmlns:a16="http://schemas.microsoft.com/office/drawing/2014/main" id="{01D33769-87DA-4737-A5A5-465EF1C1926A}"/>
                    </a:ext>
                  </a:extLst>
                </p:cNvPr>
                <p:cNvSpPr/>
                <p:nvPr/>
              </p:nvSpPr>
              <p:spPr>
                <a:xfrm>
                  <a:off x="7399734" y="2323402"/>
                  <a:ext cx="27743" cy="14318"/>
                </a:xfrm>
                <a:custGeom>
                  <a:avLst/>
                  <a:gdLst>
                    <a:gd name="connsiteX0" fmla="*/ 27743 w 27743"/>
                    <a:gd name="connsiteY0" fmla="*/ 7098 h 14318"/>
                    <a:gd name="connsiteX1" fmla="*/ 13936 w 27743"/>
                    <a:gd name="connsiteY1" fmla="*/ 14319 h 14318"/>
                    <a:gd name="connsiteX2" fmla="*/ 0 w 27743"/>
                    <a:gd name="connsiteY2" fmla="*/ 7098 h 14318"/>
                    <a:gd name="connsiteX3" fmla="*/ 13936 w 27743"/>
                    <a:gd name="connsiteY3" fmla="*/ 4 h 14318"/>
                    <a:gd name="connsiteX4" fmla="*/ 27743 w 27743"/>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3" h="14318">
                      <a:moveTo>
                        <a:pt x="27743" y="7098"/>
                      </a:moveTo>
                      <a:cubicBezTo>
                        <a:pt x="27743" y="11025"/>
                        <a:pt x="21536" y="14319"/>
                        <a:pt x="13936" y="14319"/>
                      </a:cubicBezTo>
                      <a:cubicBezTo>
                        <a:pt x="6208" y="14319"/>
                        <a:pt x="0" y="11152"/>
                        <a:pt x="0" y="7098"/>
                      </a:cubicBezTo>
                      <a:cubicBezTo>
                        <a:pt x="0" y="3171"/>
                        <a:pt x="6208" y="4"/>
                        <a:pt x="13936" y="4"/>
                      </a:cubicBezTo>
                      <a:cubicBezTo>
                        <a:pt x="21536" y="-123"/>
                        <a:pt x="27743" y="3044"/>
                        <a:pt x="27743" y="709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2" name="Полилиния: фигура 541">
                  <a:extLst>
                    <a:ext uri="{FF2B5EF4-FFF2-40B4-BE49-F238E27FC236}">
                      <a16:creationId xmlns:a16="http://schemas.microsoft.com/office/drawing/2014/main" id="{FC9581C3-FBD1-437F-9FB8-CF5BF3385753}"/>
                    </a:ext>
                  </a:extLst>
                </p:cNvPr>
                <p:cNvSpPr/>
                <p:nvPr/>
              </p:nvSpPr>
              <p:spPr>
                <a:xfrm>
                  <a:off x="7421903" y="2250310"/>
                  <a:ext cx="12921" cy="15708"/>
                </a:xfrm>
                <a:custGeom>
                  <a:avLst/>
                  <a:gdLst>
                    <a:gd name="connsiteX0" fmla="*/ 12922 w 12921"/>
                    <a:gd name="connsiteY0" fmla="*/ 7854 h 15708"/>
                    <a:gd name="connsiteX1" fmla="*/ 6461 w 12921"/>
                    <a:gd name="connsiteY1" fmla="*/ 15709 h 15708"/>
                    <a:gd name="connsiteX2" fmla="*/ 0 w 12921"/>
                    <a:gd name="connsiteY2" fmla="*/ 7854 h 15708"/>
                    <a:gd name="connsiteX3" fmla="*/ 6461 w 12921"/>
                    <a:gd name="connsiteY3" fmla="*/ 0 h 15708"/>
                    <a:gd name="connsiteX4" fmla="*/ 12922 w 12921"/>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5708">
                      <a:moveTo>
                        <a:pt x="12922" y="7854"/>
                      </a:moveTo>
                      <a:cubicBezTo>
                        <a:pt x="12922" y="12288"/>
                        <a:pt x="10008" y="15709"/>
                        <a:pt x="6461" y="15709"/>
                      </a:cubicBezTo>
                      <a:cubicBezTo>
                        <a:pt x="2914" y="15709"/>
                        <a:pt x="0" y="12161"/>
                        <a:pt x="0" y="7854"/>
                      </a:cubicBezTo>
                      <a:cubicBezTo>
                        <a:pt x="0" y="3547"/>
                        <a:pt x="2914" y="0"/>
                        <a:pt x="6461" y="0"/>
                      </a:cubicBezTo>
                      <a:cubicBezTo>
                        <a:pt x="10135" y="0"/>
                        <a:pt x="12922" y="3547"/>
                        <a:pt x="12922"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3" name="Полилиния: фигура 542">
                  <a:extLst>
                    <a:ext uri="{FF2B5EF4-FFF2-40B4-BE49-F238E27FC236}">
                      <a16:creationId xmlns:a16="http://schemas.microsoft.com/office/drawing/2014/main" id="{B5574599-DDC9-41DC-8CF1-3DA118584963}"/>
                    </a:ext>
                  </a:extLst>
                </p:cNvPr>
                <p:cNvSpPr/>
                <p:nvPr/>
              </p:nvSpPr>
              <p:spPr>
                <a:xfrm>
                  <a:off x="7460415" y="2250183"/>
                  <a:ext cx="33444" cy="26096"/>
                </a:xfrm>
                <a:custGeom>
                  <a:avLst/>
                  <a:gdLst>
                    <a:gd name="connsiteX0" fmla="*/ 33444 w 33444"/>
                    <a:gd name="connsiteY0" fmla="*/ 13048 h 26096"/>
                    <a:gd name="connsiteX1" fmla="*/ 16722 w 33444"/>
                    <a:gd name="connsiteY1" fmla="*/ 26097 h 26096"/>
                    <a:gd name="connsiteX2" fmla="*/ 0 w 33444"/>
                    <a:gd name="connsiteY2" fmla="*/ 13048 h 26096"/>
                    <a:gd name="connsiteX3" fmla="*/ 16722 w 33444"/>
                    <a:gd name="connsiteY3" fmla="*/ 0 h 26096"/>
                    <a:gd name="connsiteX4" fmla="*/ 33444 w 33444"/>
                    <a:gd name="connsiteY4" fmla="*/ 13048 h 2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 h="26096">
                      <a:moveTo>
                        <a:pt x="33444" y="13048"/>
                      </a:moveTo>
                      <a:cubicBezTo>
                        <a:pt x="33444" y="20269"/>
                        <a:pt x="25970" y="26097"/>
                        <a:pt x="16722" y="26097"/>
                      </a:cubicBezTo>
                      <a:cubicBezTo>
                        <a:pt x="7474" y="26097"/>
                        <a:pt x="0" y="20269"/>
                        <a:pt x="0" y="13048"/>
                      </a:cubicBezTo>
                      <a:cubicBezTo>
                        <a:pt x="0" y="5827"/>
                        <a:pt x="7474" y="0"/>
                        <a:pt x="16722" y="0"/>
                      </a:cubicBezTo>
                      <a:cubicBezTo>
                        <a:pt x="25970" y="127"/>
                        <a:pt x="33444" y="5954"/>
                        <a:pt x="33444" y="130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4" name="Полилиния: фигура 543">
                  <a:extLst>
                    <a:ext uri="{FF2B5EF4-FFF2-40B4-BE49-F238E27FC236}">
                      <a16:creationId xmlns:a16="http://schemas.microsoft.com/office/drawing/2014/main" id="{8A6F0B10-78F6-4B96-9043-F4625207E00A}"/>
                    </a:ext>
                  </a:extLst>
                </p:cNvPr>
                <p:cNvSpPr/>
                <p:nvPr/>
              </p:nvSpPr>
              <p:spPr>
                <a:xfrm>
                  <a:off x="7458515" y="2215216"/>
                  <a:ext cx="49659" cy="17485"/>
                </a:xfrm>
                <a:custGeom>
                  <a:avLst/>
                  <a:gdLst>
                    <a:gd name="connsiteX0" fmla="*/ 49659 w 49659"/>
                    <a:gd name="connsiteY0" fmla="*/ 8744 h 17485"/>
                    <a:gd name="connsiteX1" fmla="*/ 24830 w 49659"/>
                    <a:gd name="connsiteY1" fmla="*/ 17485 h 17485"/>
                    <a:gd name="connsiteX2" fmla="*/ 0 w 49659"/>
                    <a:gd name="connsiteY2" fmla="*/ 8744 h 17485"/>
                    <a:gd name="connsiteX3" fmla="*/ 24830 w 49659"/>
                    <a:gd name="connsiteY3" fmla="*/ 3 h 17485"/>
                    <a:gd name="connsiteX4" fmla="*/ 49659 w 49659"/>
                    <a:gd name="connsiteY4" fmla="*/ 8744 h 17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9" h="17485">
                      <a:moveTo>
                        <a:pt x="49659" y="8744"/>
                      </a:moveTo>
                      <a:cubicBezTo>
                        <a:pt x="49659" y="13558"/>
                        <a:pt x="38512" y="17485"/>
                        <a:pt x="24830" y="17485"/>
                      </a:cubicBezTo>
                      <a:cubicBezTo>
                        <a:pt x="11148" y="17485"/>
                        <a:pt x="0" y="13558"/>
                        <a:pt x="0" y="8744"/>
                      </a:cubicBezTo>
                      <a:cubicBezTo>
                        <a:pt x="0" y="3930"/>
                        <a:pt x="11148" y="3"/>
                        <a:pt x="24830" y="3"/>
                      </a:cubicBezTo>
                      <a:cubicBezTo>
                        <a:pt x="38512" y="-124"/>
                        <a:pt x="49659" y="3803"/>
                        <a:pt x="49659" y="87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5" name="Полилиния: фигура 544">
                  <a:extLst>
                    <a:ext uri="{FF2B5EF4-FFF2-40B4-BE49-F238E27FC236}">
                      <a16:creationId xmlns:a16="http://schemas.microsoft.com/office/drawing/2014/main" id="{3292436F-C7DB-41D3-89F8-622C2F906674}"/>
                    </a:ext>
                  </a:extLst>
                </p:cNvPr>
                <p:cNvSpPr/>
                <p:nvPr/>
              </p:nvSpPr>
              <p:spPr>
                <a:xfrm>
                  <a:off x="7418103" y="2227507"/>
                  <a:ext cx="10388" cy="8614"/>
                </a:xfrm>
                <a:custGeom>
                  <a:avLst/>
                  <a:gdLst>
                    <a:gd name="connsiteX0" fmla="*/ 10388 w 10388"/>
                    <a:gd name="connsiteY0" fmla="*/ 4307 h 8614"/>
                    <a:gd name="connsiteX1" fmla="*/ 5194 w 10388"/>
                    <a:gd name="connsiteY1" fmla="*/ 8614 h 8614"/>
                    <a:gd name="connsiteX2" fmla="*/ 0 w 10388"/>
                    <a:gd name="connsiteY2" fmla="*/ 4307 h 8614"/>
                    <a:gd name="connsiteX3" fmla="*/ 5194 w 10388"/>
                    <a:gd name="connsiteY3" fmla="*/ 0 h 8614"/>
                    <a:gd name="connsiteX4" fmla="*/ 10388 w 10388"/>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614">
                      <a:moveTo>
                        <a:pt x="10388" y="4307"/>
                      </a:moveTo>
                      <a:cubicBezTo>
                        <a:pt x="10388" y="6714"/>
                        <a:pt x="8108" y="8614"/>
                        <a:pt x="5194" y="8614"/>
                      </a:cubicBezTo>
                      <a:cubicBezTo>
                        <a:pt x="2280" y="8614"/>
                        <a:pt x="0" y="6714"/>
                        <a:pt x="0" y="4307"/>
                      </a:cubicBezTo>
                      <a:cubicBezTo>
                        <a:pt x="0" y="1900"/>
                        <a:pt x="2280" y="0"/>
                        <a:pt x="5194" y="0"/>
                      </a:cubicBezTo>
                      <a:cubicBezTo>
                        <a:pt x="8108" y="0"/>
                        <a:pt x="10388" y="1900"/>
                        <a:pt x="10388"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6" name="Полилиния: фигура 545">
                  <a:extLst>
                    <a:ext uri="{FF2B5EF4-FFF2-40B4-BE49-F238E27FC236}">
                      <a16:creationId xmlns:a16="http://schemas.microsoft.com/office/drawing/2014/main" id="{38534FD3-4230-4EC0-BEAF-911EB851FDB2}"/>
                    </a:ext>
                  </a:extLst>
                </p:cNvPr>
                <p:cNvSpPr/>
                <p:nvPr/>
              </p:nvSpPr>
              <p:spPr>
                <a:xfrm>
                  <a:off x="7393780" y="2232701"/>
                  <a:ext cx="10134" cy="13428"/>
                </a:xfrm>
                <a:custGeom>
                  <a:avLst/>
                  <a:gdLst>
                    <a:gd name="connsiteX0" fmla="*/ 10134 w 10134"/>
                    <a:gd name="connsiteY0" fmla="*/ 6714 h 13428"/>
                    <a:gd name="connsiteX1" fmla="*/ 5068 w 10134"/>
                    <a:gd name="connsiteY1" fmla="*/ 13428 h 13428"/>
                    <a:gd name="connsiteX2" fmla="*/ 0 w 10134"/>
                    <a:gd name="connsiteY2" fmla="*/ 6714 h 13428"/>
                    <a:gd name="connsiteX3" fmla="*/ 5068 w 10134"/>
                    <a:gd name="connsiteY3" fmla="*/ 0 h 13428"/>
                    <a:gd name="connsiteX4" fmla="*/ 10134 w 10134"/>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428">
                      <a:moveTo>
                        <a:pt x="10134" y="6714"/>
                      </a:moveTo>
                      <a:cubicBezTo>
                        <a:pt x="10134" y="10388"/>
                        <a:pt x="7854" y="13428"/>
                        <a:pt x="5068" y="13428"/>
                      </a:cubicBezTo>
                      <a:cubicBezTo>
                        <a:pt x="2280" y="13428"/>
                        <a:pt x="0" y="10388"/>
                        <a:pt x="0" y="6714"/>
                      </a:cubicBezTo>
                      <a:cubicBezTo>
                        <a:pt x="0" y="3040"/>
                        <a:pt x="2280" y="0"/>
                        <a:pt x="5068" y="0"/>
                      </a:cubicBezTo>
                      <a:cubicBezTo>
                        <a:pt x="7854" y="0"/>
                        <a:pt x="10134" y="3040"/>
                        <a:pt x="10134"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7" name="Полилиния: фигура 546">
                  <a:extLst>
                    <a:ext uri="{FF2B5EF4-FFF2-40B4-BE49-F238E27FC236}">
                      <a16:creationId xmlns:a16="http://schemas.microsoft.com/office/drawing/2014/main" id="{D5300EBE-2C65-4044-8636-18B424CECCA3}"/>
                    </a:ext>
                  </a:extLst>
                </p:cNvPr>
                <p:cNvSpPr/>
                <p:nvPr/>
              </p:nvSpPr>
              <p:spPr>
                <a:xfrm>
                  <a:off x="7380225" y="2263231"/>
                  <a:ext cx="25463" cy="15708"/>
                </a:xfrm>
                <a:custGeom>
                  <a:avLst/>
                  <a:gdLst>
                    <a:gd name="connsiteX0" fmla="*/ 25463 w 25463"/>
                    <a:gd name="connsiteY0" fmla="*/ 7854 h 15708"/>
                    <a:gd name="connsiteX1" fmla="*/ 12795 w 25463"/>
                    <a:gd name="connsiteY1" fmla="*/ 15709 h 15708"/>
                    <a:gd name="connsiteX2" fmla="*/ 0 w 25463"/>
                    <a:gd name="connsiteY2" fmla="*/ 7854 h 15708"/>
                    <a:gd name="connsiteX3" fmla="*/ 12795 w 25463"/>
                    <a:gd name="connsiteY3" fmla="*/ 0 h 15708"/>
                    <a:gd name="connsiteX4" fmla="*/ 25463 w 25463"/>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63" h="15708">
                      <a:moveTo>
                        <a:pt x="25463" y="7854"/>
                      </a:moveTo>
                      <a:cubicBezTo>
                        <a:pt x="25463" y="12162"/>
                        <a:pt x="19762" y="15709"/>
                        <a:pt x="12795" y="15709"/>
                      </a:cubicBezTo>
                      <a:cubicBezTo>
                        <a:pt x="5701" y="15709"/>
                        <a:pt x="0" y="12162"/>
                        <a:pt x="0" y="7854"/>
                      </a:cubicBezTo>
                      <a:cubicBezTo>
                        <a:pt x="0" y="3547"/>
                        <a:pt x="5701" y="0"/>
                        <a:pt x="12795" y="0"/>
                      </a:cubicBezTo>
                      <a:cubicBezTo>
                        <a:pt x="19762" y="0"/>
                        <a:pt x="25463" y="3547"/>
                        <a:pt x="25463" y="78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8" name="Полилиния: фигура 547">
                  <a:extLst>
                    <a:ext uri="{FF2B5EF4-FFF2-40B4-BE49-F238E27FC236}">
                      <a16:creationId xmlns:a16="http://schemas.microsoft.com/office/drawing/2014/main" id="{38FE762F-6B91-49D4-8ECD-532533952C27}"/>
                    </a:ext>
                  </a:extLst>
                </p:cNvPr>
                <p:cNvSpPr/>
                <p:nvPr/>
              </p:nvSpPr>
              <p:spPr>
                <a:xfrm>
                  <a:off x="7283187" y="2340888"/>
                  <a:ext cx="9627" cy="10641"/>
                </a:xfrm>
                <a:custGeom>
                  <a:avLst/>
                  <a:gdLst>
                    <a:gd name="connsiteX0" fmla="*/ 9627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7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7" y="5321"/>
                      </a:moveTo>
                      <a:cubicBezTo>
                        <a:pt x="9627" y="8234"/>
                        <a:pt x="7474" y="10641"/>
                        <a:pt x="4814" y="10641"/>
                      </a:cubicBezTo>
                      <a:cubicBezTo>
                        <a:pt x="2153" y="10641"/>
                        <a:pt x="0" y="8361"/>
                        <a:pt x="0" y="5321"/>
                      </a:cubicBezTo>
                      <a:cubicBezTo>
                        <a:pt x="0" y="2407"/>
                        <a:pt x="2153" y="0"/>
                        <a:pt x="4814" y="0"/>
                      </a:cubicBezTo>
                      <a:cubicBezTo>
                        <a:pt x="7347" y="0"/>
                        <a:pt x="9627" y="2407"/>
                        <a:pt x="9627" y="53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49" name="Полилиния: фигура 548">
                  <a:extLst>
                    <a:ext uri="{FF2B5EF4-FFF2-40B4-BE49-F238E27FC236}">
                      <a16:creationId xmlns:a16="http://schemas.microsoft.com/office/drawing/2014/main" id="{CABE849A-FDAD-4E06-80DB-8A4B0C6DDD6A}"/>
                    </a:ext>
                  </a:extLst>
                </p:cNvPr>
                <p:cNvSpPr/>
                <p:nvPr/>
              </p:nvSpPr>
              <p:spPr>
                <a:xfrm>
                  <a:off x="7256203" y="2348736"/>
                  <a:ext cx="11148" cy="9379"/>
                </a:xfrm>
                <a:custGeom>
                  <a:avLst/>
                  <a:gdLst>
                    <a:gd name="connsiteX0" fmla="*/ 11148 w 11148"/>
                    <a:gd name="connsiteY0" fmla="*/ 4693 h 9379"/>
                    <a:gd name="connsiteX1" fmla="*/ 5574 w 11148"/>
                    <a:gd name="connsiteY1" fmla="*/ 9380 h 9379"/>
                    <a:gd name="connsiteX2" fmla="*/ 0 w 11148"/>
                    <a:gd name="connsiteY2" fmla="*/ 4693 h 9379"/>
                    <a:gd name="connsiteX3" fmla="*/ 5574 w 11148"/>
                    <a:gd name="connsiteY3" fmla="*/ 5 h 9379"/>
                    <a:gd name="connsiteX4" fmla="*/ 11148 w 11148"/>
                    <a:gd name="connsiteY4" fmla="*/ 4693 h 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379">
                      <a:moveTo>
                        <a:pt x="11148" y="4693"/>
                      </a:moveTo>
                      <a:cubicBezTo>
                        <a:pt x="11148" y="7226"/>
                        <a:pt x="8614" y="9380"/>
                        <a:pt x="5574" y="9380"/>
                      </a:cubicBezTo>
                      <a:cubicBezTo>
                        <a:pt x="2533" y="9380"/>
                        <a:pt x="0" y="7226"/>
                        <a:pt x="0" y="4693"/>
                      </a:cubicBezTo>
                      <a:cubicBezTo>
                        <a:pt x="0" y="2159"/>
                        <a:pt x="2533" y="5"/>
                        <a:pt x="5574" y="5"/>
                      </a:cubicBezTo>
                      <a:cubicBezTo>
                        <a:pt x="8741" y="-121"/>
                        <a:pt x="11148" y="2032"/>
                        <a:pt x="11148" y="46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0" name="Полилиния: фигура 549">
                  <a:extLst>
                    <a:ext uri="{FF2B5EF4-FFF2-40B4-BE49-F238E27FC236}">
                      <a16:creationId xmlns:a16="http://schemas.microsoft.com/office/drawing/2014/main" id="{D0B08787-9C0D-4762-BC2E-9CCEB1A4BF7A}"/>
                    </a:ext>
                  </a:extLst>
                </p:cNvPr>
                <p:cNvSpPr/>
                <p:nvPr/>
              </p:nvSpPr>
              <p:spPr>
                <a:xfrm>
                  <a:off x="7235427" y="2356216"/>
                  <a:ext cx="11908" cy="11654"/>
                </a:xfrm>
                <a:custGeom>
                  <a:avLst/>
                  <a:gdLst>
                    <a:gd name="connsiteX0" fmla="*/ 11908 w 11908"/>
                    <a:gd name="connsiteY0" fmla="*/ 5827 h 11654"/>
                    <a:gd name="connsiteX1" fmla="*/ 5954 w 11908"/>
                    <a:gd name="connsiteY1" fmla="*/ 11655 h 11654"/>
                    <a:gd name="connsiteX2" fmla="*/ 0 w 11908"/>
                    <a:gd name="connsiteY2" fmla="*/ 5827 h 11654"/>
                    <a:gd name="connsiteX3" fmla="*/ 5954 w 11908"/>
                    <a:gd name="connsiteY3" fmla="*/ 0 h 11654"/>
                    <a:gd name="connsiteX4" fmla="*/ 11908 w 11908"/>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1654">
                      <a:moveTo>
                        <a:pt x="11908" y="5827"/>
                      </a:moveTo>
                      <a:cubicBezTo>
                        <a:pt x="11908" y="8994"/>
                        <a:pt x="9248" y="11655"/>
                        <a:pt x="5954" y="11655"/>
                      </a:cubicBezTo>
                      <a:cubicBezTo>
                        <a:pt x="2661" y="11655"/>
                        <a:pt x="0" y="9121"/>
                        <a:pt x="0" y="5827"/>
                      </a:cubicBezTo>
                      <a:cubicBezTo>
                        <a:pt x="0" y="2660"/>
                        <a:pt x="2661" y="0"/>
                        <a:pt x="5954" y="0"/>
                      </a:cubicBezTo>
                      <a:cubicBezTo>
                        <a:pt x="9374" y="0"/>
                        <a:pt x="11908" y="2660"/>
                        <a:pt x="1190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1" name="Полилиния: фигура 550">
                  <a:extLst>
                    <a:ext uri="{FF2B5EF4-FFF2-40B4-BE49-F238E27FC236}">
                      <a16:creationId xmlns:a16="http://schemas.microsoft.com/office/drawing/2014/main" id="{0D2878F3-88A2-4EB1-92AF-744CF0832F7F}"/>
                    </a:ext>
                  </a:extLst>
                </p:cNvPr>
                <p:cNvSpPr/>
                <p:nvPr/>
              </p:nvSpPr>
              <p:spPr>
                <a:xfrm>
                  <a:off x="7172846" y="2388900"/>
                  <a:ext cx="9880" cy="9881"/>
                </a:xfrm>
                <a:custGeom>
                  <a:avLst/>
                  <a:gdLst>
                    <a:gd name="connsiteX0" fmla="*/ 9881 w 9880"/>
                    <a:gd name="connsiteY0" fmla="*/ 4941 h 9881"/>
                    <a:gd name="connsiteX1" fmla="*/ 4941 w 9880"/>
                    <a:gd name="connsiteY1" fmla="*/ 9881 h 9881"/>
                    <a:gd name="connsiteX2" fmla="*/ 0 w 9880"/>
                    <a:gd name="connsiteY2" fmla="*/ 4941 h 9881"/>
                    <a:gd name="connsiteX3" fmla="*/ 4941 w 9880"/>
                    <a:gd name="connsiteY3" fmla="*/ 0 h 9881"/>
                    <a:gd name="connsiteX4" fmla="*/ 9881 w 9880"/>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881">
                      <a:moveTo>
                        <a:pt x="9881" y="4941"/>
                      </a:moveTo>
                      <a:cubicBezTo>
                        <a:pt x="9881" y="7601"/>
                        <a:pt x="7727" y="9881"/>
                        <a:pt x="4941" y="9881"/>
                      </a:cubicBezTo>
                      <a:cubicBezTo>
                        <a:pt x="2153" y="9881"/>
                        <a:pt x="0" y="7601"/>
                        <a:pt x="0" y="4941"/>
                      </a:cubicBezTo>
                      <a:cubicBezTo>
                        <a:pt x="0" y="2154"/>
                        <a:pt x="2153" y="0"/>
                        <a:pt x="4941" y="0"/>
                      </a:cubicBezTo>
                      <a:cubicBezTo>
                        <a:pt x="7727" y="0"/>
                        <a:pt x="9881" y="2154"/>
                        <a:pt x="9881" y="49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2" name="Полилиния: фигура 551">
                  <a:extLst>
                    <a:ext uri="{FF2B5EF4-FFF2-40B4-BE49-F238E27FC236}">
                      <a16:creationId xmlns:a16="http://schemas.microsoft.com/office/drawing/2014/main" id="{C998071D-A4D9-4326-B3AA-130750E104F7}"/>
                    </a:ext>
                  </a:extLst>
                </p:cNvPr>
                <p:cNvSpPr/>
                <p:nvPr/>
              </p:nvSpPr>
              <p:spPr>
                <a:xfrm>
                  <a:off x="7160178" y="2404102"/>
                  <a:ext cx="14441" cy="14441"/>
                </a:xfrm>
                <a:custGeom>
                  <a:avLst/>
                  <a:gdLst>
                    <a:gd name="connsiteX0" fmla="*/ 14442 w 14441"/>
                    <a:gd name="connsiteY0" fmla="*/ 7221 h 14441"/>
                    <a:gd name="connsiteX1" fmla="*/ 7221 w 14441"/>
                    <a:gd name="connsiteY1" fmla="*/ 14442 h 14441"/>
                    <a:gd name="connsiteX2" fmla="*/ 0 w 14441"/>
                    <a:gd name="connsiteY2" fmla="*/ 7221 h 14441"/>
                    <a:gd name="connsiteX3" fmla="*/ 7221 w 14441"/>
                    <a:gd name="connsiteY3" fmla="*/ 0 h 14441"/>
                    <a:gd name="connsiteX4" fmla="*/ 14442 w 1444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4441">
                      <a:moveTo>
                        <a:pt x="14442" y="7221"/>
                      </a:moveTo>
                      <a:cubicBezTo>
                        <a:pt x="14442" y="11148"/>
                        <a:pt x="11148" y="14442"/>
                        <a:pt x="7221" y="14442"/>
                      </a:cubicBezTo>
                      <a:cubicBezTo>
                        <a:pt x="3294" y="14442"/>
                        <a:pt x="0" y="11275"/>
                        <a:pt x="0" y="7221"/>
                      </a:cubicBezTo>
                      <a:cubicBezTo>
                        <a:pt x="0" y="3294"/>
                        <a:pt x="3167" y="0"/>
                        <a:pt x="7221" y="0"/>
                      </a:cubicBezTo>
                      <a:cubicBezTo>
                        <a:pt x="11148" y="127"/>
                        <a:pt x="14442" y="3294"/>
                        <a:pt x="14442"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3" name="Полилиния: фигура 552">
                  <a:extLst>
                    <a:ext uri="{FF2B5EF4-FFF2-40B4-BE49-F238E27FC236}">
                      <a16:creationId xmlns:a16="http://schemas.microsoft.com/office/drawing/2014/main" id="{3738CBA5-F9A4-4259-A035-B42892DBCA3D}"/>
                    </a:ext>
                  </a:extLst>
                </p:cNvPr>
                <p:cNvSpPr/>
                <p:nvPr/>
              </p:nvSpPr>
              <p:spPr>
                <a:xfrm>
                  <a:off x="7151183" y="2386620"/>
                  <a:ext cx="7601" cy="7601"/>
                </a:xfrm>
                <a:custGeom>
                  <a:avLst/>
                  <a:gdLst>
                    <a:gd name="connsiteX0" fmla="*/ 7601 w 7601"/>
                    <a:gd name="connsiteY0" fmla="*/ 3801 h 7601"/>
                    <a:gd name="connsiteX1" fmla="*/ 3801 w 7601"/>
                    <a:gd name="connsiteY1" fmla="*/ 7601 h 7601"/>
                    <a:gd name="connsiteX2" fmla="*/ 0 w 7601"/>
                    <a:gd name="connsiteY2" fmla="*/ 3801 h 7601"/>
                    <a:gd name="connsiteX3" fmla="*/ 3801 w 7601"/>
                    <a:gd name="connsiteY3" fmla="*/ 0 h 7601"/>
                    <a:gd name="connsiteX4" fmla="*/ 7601 w 7601"/>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1" h="7601">
                      <a:moveTo>
                        <a:pt x="7601" y="3801"/>
                      </a:moveTo>
                      <a:cubicBezTo>
                        <a:pt x="7601" y="5954"/>
                        <a:pt x="5828" y="7601"/>
                        <a:pt x="3801" y="7601"/>
                      </a:cubicBezTo>
                      <a:cubicBezTo>
                        <a:pt x="1774" y="7601"/>
                        <a:pt x="0" y="5827"/>
                        <a:pt x="0" y="3801"/>
                      </a:cubicBezTo>
                      <a:cubicBezTo>
                        <a:pt x="0" y="1647"/>
                        <a:pt x="1774" y="0"/>
                        <a:pt x="3801" y="0"/>
                      </a:cubicBezTo>
                      <a:cubicBezTo>
                        <a:pt x="5828"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4" name="Полилиния: фигура 553">
                  <a:extLst>
                    <a:ext uri="{FF2B5EF4-FFF2-40B4-BE49-F238E27FC236}">
                      <a16:creationId xmlns:a16="http://schemas.microsoft.com/office/drawing/2014/main" id="{D8736D49-7B70-4E90-ADC7-D0089C321519}"/>
                    </a:ext>
                  </a:extLst>
                </p:cNvPr>
                <p:cNvSpPr/>
                <p:nvPr/>
              </p:nvSpPr>
              <p:spPr>
                <a:xfrm>
                  <a:off x="7134208" y="2401442"/>
                  <a:ext cx="9627" cy="9627"/>
                </a:xfrm>
                <a:custGeom>
                  <a:avLst/>
                  <a:gdLst>
                    <a:gd name="connsiteX0" fmla="*/ 9628 w 9627"/>
                    <a:gd name="connsiteY0" fmla="*/ 4814 h 9627"/>
                    <a:gd name="connsiteX1" fmla="*/ 4814 w 9627"/>
                    <a:gd name="connsiteY1" fmla="*/ 9628 h 9627"/>
                    <a:gd name="connsiteX2" fmla="*/ 0 w 9627"/>
                    <a:gd name="connsiteY2" fmla="*/ 4814 h 9627"/>
                    <a:gd name="connsiteX3" fmla="*/ 4814 w 9627"/>
                    <a:gd name="connsiteY3" fmla="*/ 0 h 9627"/>
                    <a:gd name="connsiteX4" fmla="*/ 9628 w 9627"/>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9627">
                      <a:moveTo>
                        <a:pt x="9628" y="4814"/>
                      </a:moveTo>
                      <a:cubicBezTo>
                        <a:pt x="9628" y="7474"/>
                        <a:pt x="7474" y="9628"/>
                        <a:pt x="4814" y="9628"/>
                      </a:cubicBezTo>
                      <a:cubicBezTo>
                        <a:pt x="2153" y="9628"/>
                        <a:pt x="0" y="7474"/>
                        <a:pt x="0" y="4814"/>
                      </a:cubicBezTo>
                      <a:cubicBezTo>
                        <a:pt x="0" y="2154"/>
                        <a:pt x="2153" y="0"/>
                        <a:pt x="4814" y="0"/>
                      </a:cubicBezTo>
                      <a:cubicBezTo>
                        <a:pt x="7474" y="0"/>
                        <a:pt x="9628" y="2154"/>
                        <a:pt x="962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5" name="Полилиния: фигура 554">
                  <a:extLst>
                    <a:ext uri="{FF2B5EF4-FFF2-40B4-BE49-F238E27FC236}">
                      <a16:creationId xmlns:a16="http://schemas.microsoft.com/office/drawing/2014/main" id="{8593AD22-8380-458E-B447-8BE65F557AA5}"/>
                    </a:ext>
                  </a:extLst>
                </p:cNvPr>
                <p:cNvSpPr/>
                <p:nvPr/>
              </p:nvSpPr>
              <p:spPr>
                <a:xfrm>
                  <a:off x="7119893" y="2383706"/>
                  <a:ext cx="8107" cy="8107"/>
                </a:xfrm>
                <a:custGeom>
                  <a:avLst/>
                  <a:gdLst>
                    <a:gd name="connsiteX0" fmla="*/ 8108 w 8107"/>
                    <a:gd name="connsiteY0" fmla="*/ 4054 h 8107"/>
                    <a:gd name="connsiteX1" fmla="*/ 4054 w 8107"/>
                    <a:gd name="connsiteY1" fmla="*/ 8108 h 8107"/>
                    <a:gd name="connsiteX2" fmla="*/ 0 w 8107"/>
                    <a:gd name="connsiteY2" fmla="*/ 4054 h 8107"/>
                    <a:gd name="connsiteX3" fmla="*/ 4054 w 8107"/>
                    <a:gd name="connsiteY3" fmla="*/ 0 h 8107"/>
                    <a:gd name="connsiteX4" fmla="*/ 8108 w 8107"/>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7" h="8107">
                      <a:moveTo>
                        <a:pt x="8108" y="4054"/>
                      </a:moveTo>
                      <a:cubicBezTo>
                        <a:pt x="8108" y="6334"/>
                        <a:pt x="6334" y="8108"/>
                        <a:pt x="4054" y="8108"/>
                      </a:cubicBezTo>
                      <a:cubicBezTo>
                        <a:pt x="1774" y="8108"/>
                        <a:pt x="0" y="6334"/>
                        <a:pt x="0" y="4054"/>
                      </a:cubicBezTo>
                      <a:cubicBezTo>
                        <a:pt x="0" y="1774"/>
                        <a:pt x="1774" y="0"/>
                        <a:pt x="4054" y="0"/>
                      </a:cubicBezTo>
                      <a:cubicBezTo>
                        <a:pt x="6334" y="0"/>
                        <a:pt x="8108" y="1774"/>
                        <a:pt x="8108" y="40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6" name="Полилиния: фигура 555">
                  <a:extLst>
                    <a:ext uri="{FF2B5EF4-FFF2-40B4-BE49-F238E27FC236}">
                      <a16:creationId xmlns:a16="http://schemas.microsoft.com/office/drawing/2014/main" id="{1D88296E-8849-46C5-93A9-ABA7A4DA908F}"/>
                    </a:ext>
                  </a:extLst>
                </p:cNvPr>
                <p:cNvSpPr/>
                <p:nvPr/>
              </p:nvSpPr>
              <p:spPr>
                <a:xfrm>
                  <a:off x="7107098" y="2370025"/>
                  <a:ext cx="8867" cy="18748"/>
                </a:xfrm>
                <a:custGeom>
                  <a:avLst/>
                  <a:gdLst>
                    <a:gd name="connsiteX0" fmla="*/ 8868 w 8867"/>
                    <a:gd name="connsiteY0" fmla="*/ 9375 h 18748"/>
                    <a:gd name="connsiteX1" fmla="*/ 4434 w 8867"/>
                    <a:gd name="connsiteY1" fmla="*/ 18749 h 18748"/>
                    <a:gd name="connsiteX2" fmla="*/ 0 w 8867"/>
                    <a:gd name="connsiteY2" fmla="*/ 9375 h 18748"/>
                    <a:gd name="connsiteX3" fmla="*/ 4434 w 8867"/>
                    <a:gd name="connsiteY3" fmla="*/ 0 h 18748"/>
                    <a:gd name="connsiteX4" fmla="*/ 8868 w 8867"/>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8748">
                      <a:moveTo>
                        <a:pt x="8868" y="9375"/>
                      </a:moveTo>
                      <a:cubicBezTo>
                        <a:pt x="8868" y="14568"/>
                        <a:pt x="6841" y="18749"/>
                        <a:pt x="4434" y="18749"/>
                      </a:cubicBezTo>
                      <a:cubicBezTo>
                        <a:pt x="2027" y="18749"/>
                        <a:pt x="0" y="14568"/>
                        <a:pt x="0" y="9375"/>
                      </a:cubicBezTo>
                      <a:cubicBezTo>
                        <a:pt x="0" y="4181"/>
                        <a:pt x="2027" y="0"/>
                        <a:pt x="4434" y="0"/>
                      </a:cubicBezTo>
                      <a:cubicBezTo>
                        <a:pt x="6841" y="0"/>
                        <a:pt x="8868" y="4181"/>
                        <a:pt x="886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7" name="Полилиния: фигура 556">
                  <a:extLst>
                    <a:ext uri="{FF2B5EF4-FFF2-40B4-BE49-F238E27FC236}">
                      <a16:creationId xmlns:a16="http://schemas.microsoft.com/office/drawing/2014/main" id="{E41061D7-1531-4A83-BF57-CFD7732A5C5C}"/>
                    </a:ext>
                  </a:extLst>
                </p:cNvPr>
                <p:cNvSpPr/>
                <p:nvPr/>
              </p:nvSpPr>
              <p:spPr>
                <a:xfrm>
                  <a:off x="7081761" y="2391814"/>
                  <a:ext cx="7600" cy="7600"/>
                </a:xfrm>
                <a:custGeom>
                  <a:avLst/>
                  <a:gdLst>
                    <a:gd name="connsiteX0" fmla="*/ 7601 w 7600"/>
                    <a:gd name="connsiteY0" fmla="*/ 3801 h 7600"/>
                    <a:gd name="connsiteX1" fmla="*/ 3800 w 7600"/>
                    <a:gd name="connsiteY1" fmla="*/ 7601 h 7600"/>
                    <a:gd name="connsiteX2" fmla="*/ 0 w 7600"/>
                    <a:gd name="connsiteY2" fmla="*/ 3801 h 7600"/>
                    <a:gd name="connsiteX3" fmla="*/ 3800 w 7600"/>
                    <a:gd name="connsiteY3" fmla="*/ 0 h 7600"/>
                    <a:gd name="connsiteX4" fmla="*/ 7601 w 7600"/>
                    <a:gd name="connsiteY4" fmla="*/ 3801 h 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 h="7600">
                      <a:moveTo>
                        <a:pt x="7601" y="3801"/>
                      </a:moveTo>
                      <a:cubicBezTo>
                        <a:pt x="7601" y="5954"/>
                        <a:pt x="5954" y="7601"/>
                        <a:pt x="3800" y="7601"/>
                      </a:cubicBezTo>
                      <a:cubicBezTo>
                        <a:pt x="1647" y="7601"/>
                        <a:pt x="0" y="5827"/>
                        <a:pt x="0" y="3801"/>
                      </a:cubicBezTo>
                      <a:cubicBezTo>
                        <a:pt x="0" y="1647"/>
                        <a:pt x="1647" y="0"/>
                        <a:pt x="3800" y="0"/>
                      </a:cubicBezTo>
                      <a:cubicBezTo>
                        <a:pt x="5954"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8" name="Полилиния: фигура 557">
                  <a:extLst>
                    <a:ext uri="{FF2B5EF4-FFF2-40B4-BE49-F238E27FC236}">
                      <a16:creationId xmlns:a16="http://schemas.microsoft.com/office/drawing/2014/main" id="{E6A13818-267D-4775-9E6C-5F016A031AA6}"/>
                    </a:ext>
                  </a:extLst>
                </p:cNvPr>
                <p:cNvSpPr/>
                <p:nvPr/>
              </p:nvSpPr>
              <p:spPr>
                <a:xfrm>
                  <a:off x="7001318" y="2435139"/>
                  <a:ext cx="16088" cy="14568"/>
                </a:xfrm>
                <a:custGeom>
                  <a:avLst/>
                  <a:gdLst>
                    <a:gd name="connsiteX0" fmla="*/ 16088 w 16088"/>
                    <a:gd name="connsiteY0" fmla="*/ 7221 h 14568"/>
                    <a:gd name="connsiteX1" fmla="*/ 7981 w 16088"/>
                    <a:gd name="connsiteY1" fmla="*/ 14568 h 14568"/>
                    <a:gd name="connsiteX2" fmla="*/ 0 w 16088"/>
                    <a:gd name="connsiteY2" fmla="*/ 7221 h 14568"/>
                    <a:gd name="connsiteX3" fmla="*/ 7981 w 16088"/>
                    <a:gd name="connsiteY3" fmla="*/ 0 h 14568"/>
                    <a:gd name="connsiteX4" fmla="*/ 16088 w 16088"/>
                    <a:gd name="connsiteY4" fmla="*/ 7221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8" h="14568">
                      <a:moveTo>
                        <a:pt x="16088" y="7221"/>
                      </a:moveTo>
                      <a:cubicBezTo>
                        <a:pt x="16088" y="11275"/>
                        <a:pt x="12415" y="14568"/>
                        <a:pt x="7981" y="14568"/>
                      </a:cubicBezTo>
                      <a:cubicBezTo>
                        <a:pt x="3547" y="14568"/>
                        <a:pt x="0" y="11275"/>
                        <a:pt x="0" y="7221"/>
                      </a:cubicBezTo>
                      <a:cubicBezTo>
                        <a:pt x="0" y="3167"/>
                        <a:pt x="3674" y="0"/>
                        <a:pt x="7981" y="0"/>
                      </a:cubicBezTo>
                      <a:cubicBezTo>
                        <a:pt x="12541" y="0"/>
                        <a:pt x="16088" y="3294"/>
                        <a:pt x="16088" y="72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59" name="Полилиния: фигура 558">
                  <a:extLst>
                    <a:ext uri="{FF2B5EF4-FFF2-40B4-BE49-F238E27FC236}">
                      <a16:creationId xmlns:a16="http://schemas.microsoft.com/office/drawing/2014/main" id="{D3AC923D-C49B-43E2-A3E6-76D95AEFB038}"/>
                    </a:ext>
                  </a:extLst>
                </p:cNvPr>
                <p:cNvSpPr/>
                <p:nvPr/>
              </p:nvSpPr>
              <p:spPr>
                <a:xfrm>
                  <a:off x="7004485" y="2500127"/>
                  <a:ext cx="23309" cy="14948"/>
                </a:xfrm>
                <a:custGeom>
                  <a:avLst/>
                  <a:gdLst>
                    <a:gd name="connsiteX0" fmla="*/ 23309 w 23309"/>
                    <a:gd name="connsiteY0" fmla="*/ 7474 h 14948"/>
                    <a:gd name="connsiteX1" fmla="*/ 11655 w 23309"/>
                    <a:gd name="connsiteY1" fmla="*/ 14948 h 14948"/>
                    <a:gd name="connsiteX2" fmla="*/ 0 w 23309"/>
                    <a:gd name="connsiteY2" fmla="*/ 7474 h 14948"/>
                    <a:gd name="connsiteX3" fmla="*/ 11655 w 23309"/>
                    <a:gd name="connsiteY3" fmla="*/ 0 h 14948"/>
                    <a:gd name="connsiteX4" fmla="*/ 23309 w 23309"/>
                    <a:gd name="connsiteY4" fmla="*/ 7474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14948">
                      <a:moveTo>
                        <a:pt x="23309" y="7474"/>
                      </a:moveTo>
                      <a:cubicBezTo>
                        <a:pt x="23309" y="11528"/>
                        <a:pt x="18116" y="14948"/>
                        <a:pt x="11655" y="14948"/>
                      </a:cubicBezTo>
                      <a:cubicBezTo>
                        <a:pt x="5194" y="14948"/>
                        <a:pt x="0" y="11655"/>
                        <a:pt x="0" y="7474"/>
                      </a:cubicBezTo>
                      <a:cubicBezTo>
                        <a:pt x="0" y="3420"/>
                        <a:pt x="5194" y="0"/>
                        <a:pt x="11655" y="0"/>
                      </a:cubicBezTo>
                      <a:cubicBezTo>
                        <a:pt x="18116" y="127"/>
                        <a:pt x="23309" y="3420"/>
                        <a:pt x="23309" y="74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0" name="Полилиния: фигура 559">
                  <a:extLst>
                    <a:ext uri="{FF2B5EF4-FFF2-40B4-BE49-F238E27FC236}">
                      <a16:creationId xmlns:a16="http://schemas.microsoft.com/office/drawing/2014/main" id="{B894E463-B92C-47F0-B13A-8A564CCBCFFB}"/>
                    </a:ext>
                  </a:extLst>
                </p:cNvPr>
                <p:cNvSpPr/>
                <p:nvPr/>
              </p:nvSpPr>
              <p:spPr>
                <a:xfrm>
                  <a:off x="6975601" y="2701173"/>
                  <a:ext cx="8614" cy="8614"/>
                </a:xfrm>
                <a:custGeom>
                  <a:avLst/>
                  <a:gdLst>
                    <a:gd name="connsiteX0" fmla="*/ 8614 w 8614"/>
                    <a:gd name="connsiteY0" fmla="*/ 4307 h 8614"/>
                    <a:gd name="connsiteX1" fmla="*/ 4308 w 8614"/>
                    <a:gd name="connsiteY1" fmla="*/ 8614 h 8614"/>
                    <a:gd name="connsiteX2" fmla="*/ 0 w 8614"/>
                    <a:gd name="connsiteY2" fmla="*/ 4307 h 8614"/>
                    <a:gd name="connsiteX3" fmla="*/ 4308 w 8614"/>
                    <a:gd name="connsiteY3" fmla="*/ 0 h 8614"/>
                    <a:gd name="connsiteX4" fmla="*/ 8614 w 8614"/>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8614">
                      <a:moveTo>
                        <a:pt x="8614" y="4307"/>
                      </a:moveTo>
                      <a:cubicBezTo>
                        <a:pt x="8614" y="6714"/>
                        <a:pt x="6715" y="8614"/>
                        <a:pt x="4308" y="8614"/>
                      </a:cubicBezTo>
                      <a:cubicBezTo>
                        <a:pt x="1901" y="8614"/>
                        <a:pt x="0" y="6714"/>
                        <a:pt x="0" y="4307"/>
                      </a:cubicBezTo>
                      <a:cubicBezTo>
                        <a:pt x="0" y="1900"/>
                        <a:pt x="1901" y="0"/>
                        <a:pt x="4308" y="0"/>
                      </a:cubicBezTo>
                      <a:cubicBezTo>
                        <a:pt x="6715" y="0"/>
                        <a:pt x="8614" y="1900"/>
                        <a:pt x="8614" y="430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1" name="Полилиния: фигура 560">
                  <a:extLst>
                    <a:ext uri="{FF2B5EF4-FFF2-40B4-BE49-F238E27FC236}">
                      <a16:creationId xmlns:a16="http://schemas.microsoft.com/office/drawing/2014/main" id="{7D194C9A-ABBF-4BCA-9F76-97C482863B5C}"/>
                    </a:ext>
                  </a:extLst>
                </p:cNvPr>
                <p:cNvSpPr/>
                <p:nvPr/>
              </p:nvSpPr>
              <p:spPr>
                <a:xfrm>
                  <a:off x="6971547" y="2667475"/>
                  <a:ext cx="11908" cy="8361"/>
                </a:xfrm>
                <a:custGeom>
                  <a:avLst/>
                  <a:gdLst>
                    <a:gd name="connsiteX0" fmla="*/ 11908 w 11908"/>
                    <a:gd name="connsiteY0" fmla="*/ 4181 h 8361"/>
                    <a:gd name="connsiteX1" fmla="*/ 5954 w 11908"/>
                    <a:gd name="connsiteY1" fmla="*/ 8361 h 8361"/>
                    <a:gd name="connsiteX2" fmla="*/ 0 w 11908"/>
                    <a:gd name="connsiteY2" fmla="*/ 4181 h 8361"/>
                    <a:gd name="connsiteX3" fmla="*/ 5954 w 11908"/>
                    <a:gd name="connsiteY3" fmla="*/ 0 h 8361"/>
                    <a:gd name="connsiteX4" fmla="*/ 11908 w 11908"/>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8361">
                      <a:moveTo>
                        <a:pt x="11908" y="4181"/>
                      </a:moveTo>
                      <a:cubicBezTo>
                        <a:pt x="11908" y="6461"/>
                        <a:pt x="9248" y="8361"/>
                        <a:pt x="5954" y="8361"/>
                      </a:cubicBezTo>
                      <a:cubicBezTo>
                        <a:pt x="2661" y="8361"/>
                        <a:pt x="0" y="6461"/>
                        <a:pt x="0" y="4181"/>
                      </a:cubicBezTo>
                      <a:cubicBezTo>
                        <a:pt x="0" y="1774"/>
                        <a:pt x="2661" y="0"/>
                        <a:pt x="5954" y="0"/>
                      </a:cubicBezTo>
                      <a:cubicBezTo>
                        <a:pt x="9122" y="0"/>
                        <a:pt x="11908" y="1900"/>
                        <a:pt x="1190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2" name="Полилиния: фигура 561">
                  <a:extLst>
                    <a:ext uri="{FF2B5EF4-FFF2-40B4-BE49-F238E27FC236}">
                      <a16:creationId xmlns:a16="http://schemas.microsoft.com/office/drawing/2014/main" id="{CF73BA7D-3A3B-46D1-92AD-1C7A08ACDB12}"/>
                    </a:ext>
                  </a:extLst>
                </p:cNvPr>
                <p:cNvSpPr/>
                <p:nvPr/>
              </p:nvSpPr>
              <p:spPr>
                <a:xfrm>
                  <a:off x="6916694" y="2664308"/>
                  <a:ext cx="10134" cy="10134"/>
                </a:xfrm>
                <a:custGeom>
                  <a:avLst/>
                  <a:gdLst>
                    <a:gd name="connsiteX0" fmla="*/ 10134 w 10134"/>
                    <a:gd name="connsiteY0" fmla="*/ 5067 h 10134"/>
                    <a:gd name="connsiteX1" fmla="*/ 5067 w 10134"/>
                    <a:gd name="connsiteY1" fmla="*/ 10135 h 10134"/>
                    <a:gd name="connsiteX2" fmla="*/ 0 w 10134"/>
                    <a:gd name="connsiteY2" fmla="*/ 5067 h 10134"/>
                    <a:gd name="connsiteX3" fmla="*/ 5067 w 10134"/>
                    <a:gd name="connsiteY3" fmla="*/ 0 h 10134"/>
                    <a:gd name="connsiteX4" fmla="*/ 10134 w 10134"/>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0134">
                      <a:moveTo>
                        <a:pt x="10134" y="5067"/>
                      </a:moveTo>
                      <a:cubicBezTo>
                        <a:pt x="10134" y="7854"/>
                        <a:pt x="7854" y="10135"/>
                        <a:pt x="5067" y="10135"/>
                      </a:cubicBezTo>
                      <a:cubicBezTo>
                        <a:pt x="2280" y="10135"/>
                        <a:pt x="0" y="7854"/>
                        <a:pt x="0" y="5067"/>
                      </a:cubicBezTo>
                      <a:cubicBezTo>
                        <a:pt x="0" y="2280"/>
                        <a:pt x="2280" y="0"/>
                        <a:pt x="5067" y="0"/>
                      </a:cubicBezTo>
                      <a:cubicBezTo>
                        <a:pt x="7854" y="0"/>
                        <a:pt x="10134" y="2280"/>
                        <a:pt x="10134" y="50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3" name="Полилиния: фигура 562">
                  <a:extLst>
                    <a:ext uri="{FF2B5EF4-FFF2-40B4-BE49-F238E27FC236}">
                      <a16:creationId xmlns:a16="http://schemas.microsoft.com/office/drawing/2014/main" id="{DAE47CF4-D044-4495-96B0-9515913EFC9D}"/>
                    </a:ext>
                  </a:extLst>
                </p:cNvPr>
                <p:cNvSpPr/>
                <p:nvPr/>
              </p:nvSpPr>
              <p:spPr>
                <a:xfrm>
                  <a:off x="6893004" y="2615282"/>
                  <a:ext cx="17482" cy="20522"/>
                </a:xfrm>
                <a:custGeom>
                  <a:avLst/>
                  <a:gdLst>
                    <a:gd name="connsiteX0" fmla="*/ 17482 w 17482"/>
                    <a:gd name="connsiteY0" fmla="*/ 10261 h 20522"/>
                    <a:gd name="connsiteX1" fmla="*/ 8741 w 17482"/>
                    <a:gd name="connsiteY1" fmla="*/ 20523 h 20522"/>
                    <a:gd name="connsiteX2" fmla="*/ 0 w 17482"/>
                    <a:gd name="connsiteY2" fmla="*/ 10261 h 20522"/>
                    <a:gd name="connsiteX3" fmla="*/ 8741 w 17482"/>
                    <a:gd name="connsiteY3" fmla="*/ 0 h 20522"/>
                    <a:gd name="connsiteX4" fmla="*/ 17482 w 17482"/>
                    <a:gd name="connsiteY4" fmla="*/ 10261 h 2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0522">
                      <a:moveTo>
                        <a:pt x="17482" y="10261"/>
                      </a:moveTo>
                      <a:cubicBezTo>
                        <a:pt x="17482" y="15962"/>
                        <a:pt x="13555" y="20523"/>
                        <a:pt x="8741" y="20523"/>
                      </a:cubicBezTo>
                      <a:cubicBezTo>
                        <a:pt x="3927" y="20523"/>
                        <a:pt x="0" y="15962"/>
                        <a:pt x="0" y="10261"/>
                      </a:cubicBezTo>
                      <a:cubicBezTo>
                        <a:pt x="0" y="4561"/>
                        <a:pt x="3927" y="0"/>
                        <a:pt x="8741" y="0"/>
                      </a:cubicBezTo>
                      <a:cubicBezTo>
                        <a:pt x="13555" y="0"/>
                        <a:pt x="17482" y="4561"/>
                        <a:pt x="17482" y="102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4" name="Полилиния: фигура 563">
                  <a:extLst>
                    <a:ext uri="{FF2B5EF4-FFF2-40B4-BE49-F238E27FC236}">
                      <a16:creationId xmlns:a16="http://schemas.microsoft.com/office/drawing/2014/main" id="{367B44CA-38FC-4369-BABA-69A519027A0F}"/>
                    </a:ext>
                  </a:extLst>
                </p:cNvPr>
                <p:cNvSpPr/>
                <p:nvPr/>
              </p:nvSpPr>
              <p:spPr>
                <a:xfrm>
                  <a:off x="6919101" y="2564989"/>
                  <a:ext cx="13175" cy="13174"/>
                </a:xfrm>
                <a:custGeom>
                  <a:avLst/>
                  <a:gdLst>
                    <a:gd name="connsiteX0" fmla="*/ 13175 w 13175"/>
                    <a:gd name="connsiteY0" fmla="*/ 6588 h 13174"/>
                    <a:gd name="connsiteX1" fmla="*/ 6587 w 13175"/>
                    <a:gd name="connsiteY1" fmla="*/ 13175 h 13174"/>
                    <a:gd name="connsiteX2" fmla="*/ 0 w 13175"/>
                    <a:gd name="connsiteY2" fmla="*/ 6588 h 13174"/>
                    <a:gd name="connsiteX3" fmla="*/ 6587 w 13175"/>
                    <a:gd name="connsiteY3" fmla="*/ 0 h 13174"/>
                    <a:gd name="connsiteX4" fmla="*/ 13175 w 13175"/>
                    <a:gd name="connsiteY4" fmla="*/ 6588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3174">
                      <a:moveTo>
                        <a:pt x="13175" y="6588"/>
                      </a:moveTo>
                      <a:cubicBezTo>
                        <a:pt x="13175" y="10261"/>
                        <a:pt x="10261" y="13175"/>
                        <a:pt x="6587" y="13175"/>
                      </a:cubicBezTo>
                      <a:cubicBezTo>
                        <a:pt x="2914" y="13175"/>
                        <a:pt x="0" y="10261"/>
                        <a:pt x="0" y="6588"/>
                      </a:cubicBezTo>
                      <a:cubicBezTo>
                        <a:pt x="0" y="3040"/>
                        <a:pt x="2914" y="0"/>
                        <a:pt x="6587" y="0"/>
                      </a:cubicBezTo>
                      <a:cubicBezTo>
                        <a:pt x="10261" y="0"/>
                        <a:pt x="13175" y="3040"/>
                        <a:pt x="13175"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5" name="Полилиния: фигура 564">
                  <a:extLst>
                    <a:ext uri="{FF2B5EF4-FFF2-40B4-BE49-F238E27FC236}">
                      <a16:creationId xmlns:a16="http://schemas.microsoft.com/office/drawing/2014/main" id="{DFAEDC16-BEA7-40A4-A60A-9C8C1548FB34}"/>
                    </a:ext>
                  </a:extLst>
                </p:cNvPr>
                <p:cNvSpPr/>
                <p:nvPr/>
              </p:nvSpPr>
              <p:spPr>
                <a:xfrm>
                  <a:off x="6910487" y="2520397"/>
                  <a:ext cx="14188" cy="14188"/>
                </a:xfrm>
                <a:custGeom>
                  <a:avLst/>
                  <a:gdLst>
                    <a:gd name="connsiteX0" fmla="*/ 14188 w 14188"/>
                    <a:gd name="connsiteY0" fmla="*/ 7094 h 14188"/>
                    <a:gd name="connsiteX1" fmla="*/ 7094 w 14188"/>
                    <a:gd name="connsiteY1" fmla="*/ 14189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2"/>
                        <a:pt x="11021" y="14189"/>
                        <a:pt x="7094" y="14189"/>
                      </a:cubicBezTo>
                      <a:cubicBezTo>
                        <a:pt x="3167" y="14189"/>
                        <a:pt x="0" y="11022"/>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6" name="Полилиния: фигура 565">
                  <a:extLst>
                    <a:ext uri="{FF2B5EF4-FFF2-40B4-BE49-F238E27FC236}">
                      <a16:creationId xmlns:a16="http://schemas.microsoft.com/office/drawing/2014/main" id="{42150FF6-6EEC-46E1-AE9A-FECE734A8E2C}"/>
                    </a:ext>
                  </a:extLst>
                </p:cNvPr>
                <p:cNvSpPr/>
                <p:nvPr/>
              </p:nvSpPr>
              <p:spPr>
                <a:xfrm>
                  <a:off x="6889584" y="2555991"/>
                  <a:ext cx="17735" cy="17738"/>
                </a:xfrm>
                <a:custGeom>
                  <a:avLst/>
                  <a:gdLst>
                    <a:gd name="connsiteX0" fmla="*/ 17736 w 17735"/>
                    <a:gd name="connsiteY0" fmla="*/ 8871 h 17738"/>
                    <a:gd name="connsiteX1" fmla="*/ 8868 w 17735"/>
                    <a:gd name="connsiteY1" fmla="*/ 17739 h 17738"/>
                    <a:gd name="connsiteX2" fmla="*/ 0 w 17735"/>
                    <a:gd name="connsiteY2" fmla="*/ 8871 h 17738"/>
                    <a:gd name="connsiteX3" fmla="*/ 8868 w 17735"/>
                    <a:gd name="connsiteY3" fmla="*/ 3 h 17738"/>
                    <a:gd name="connsiteX4" fmla="*/ 17736 w 17735"/>
                    <a:gd name="connsiteY4" fmla="*/ 8871 h 1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17738">
                      <a:moveTo>
                        <a:pt x="17736" y="8871"/>
                      </a:moveTo>
                      <a:cubicBezTo>
                        <a:pt x="17736" y="13811"/>
                        <a:pt x="13809" y="17739"/>
                        <a:pt x="8868" y="17739"/>
                      </a:cubicBezTo>
                      <a:cubicBezTo>
                        <a:pt x="3928" y="17739"/>
                        <a:pt x="0" y="13685"/>
                        <a:pt x="0" y="8871"/>
                      </a:cubicBezTo>
                      <a:cubicBezTo>
                        <a:pt x="0" y="3930"/>
                        <a:pt x="3928" y="3"/>
                        <a:pt x="8868" y="3"/>
                      </a:cubicBezTo>
                      <a:cubicBezTo>
                        <a:pt x="13682" y="-124"/>
                        <a:pt x="17736" y="3930"/>
                        <a:pt x="17736" y="88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7" name="Полилиния: фигура 566">
                  <a:extLst>
                    <a:ext uri="{FF2B5EF4-FFF2-40B4-BE49-F238E27FC236}">
                      <a16:creationId xmlns:a16="http://schemas.microsoft.com/office/drawing/2014/main" id="{A4AAD62D-C7E1-41AD-8DE8-32353F1AA532}"/>
                    </a:ext>
                  </a:extLst>
                </p:cNvPr>
                <p:cNvSpPr/>
                <p:nvPr/>
              </p:nvSpPr>
              <p:spPr>
                <a:xfrm>
                  <a:off x="6872228" y="2635804"/>
                  <a:ext cx="7094" cy="7094"/>
                </a:xfrm>
                <a:custGeom>
                  <a:avLst/>
                  <a:gdLst>
                    <a:gd name="connsiteX0" fmla="*/ 7094 w 7094"/>
                    <a:gd name="connsiteY0" fmla="*/ 3547 h 7094"/>
                    <a:gd name="connsiteX1" fmla="*/ 3547 w 7094"/>
                    <a:gd name="connsiteY1" fmla="*/ 7094 h 7094"/>
                    <a:gd name="connsiteX2" fmla="*/ 0 w 7094"/>
                    <a:gd name="connsiteY2" fmla="*/ 3547 h 7094"/>
                    <a:gd name="connsiteX3" fmla="*/ 3547 w 7094"/>
                    <a:gd name="connsiteY3" fmla="*/ 0 h 7094"/>
                    <a:gd name="connsiteX4" fmla="*/ 7094 w 7094"/>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4" h="7094">
                      <a:moveTo>
                        <a:pt x="7094" y="3547"/>
                      </a:moveTo>
                      <a:cubicBezTo>
                        <a:pt x="7094" y="5574"/>
                        <a:pt x="5448" y="7094"/>
                        <a:pt x="3547" y="7094"/>
                      </a:cubicBezTo>
                      <a:cubicBezTo>
                        <a:pt x="1520" y="7094"/>
                        <a:pt x="0" y="5447"/>
                        <a:pt x="0" y="3547"/>
                      </a:cubicBezTo>
                      <a:cubicBezTo>
                        <a:pt x="0" y="1520"/>
                        <a:pt x="1647" y="0"/>
                        <a:pt x="3547" y="0"/>
                      </a:cubicBezTo>
                      <a:cubicBezTo>
                        <a:pt x="5574" y="0"/>
                        <a:pt x="7094" y="1647"/>
                        <a:pt x="7094" y="35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8" name="Полилиния: фигура 567">
                  <a:extLst>
                    <a:ext uri="{FF2B5EF4-FFF2-40B4-BE49-F238E27FC236}">
                      <a16:creationId xmlns:a16="http://schemas.microsoft.com/office/drawing/2014/main" id="{A1A020F0-7FA2-4BE5-8115-0EAA36D5A843}"/>
                    </a:ext>
                  </a:extLst>
                </p:cNvPr>
                <p:cNvSpPr/>
                <p:nvPr/>
              </p:nvSpPr>
              <p:spPr>
                <a:xfrm>
                  <a:off x="6852593" y="2618956"/>
                  <a:ext cx="9627" cy="14188"/>
                </a:xfrm>
                <a:custGeom>
                  <a:avLst/>
                  <a:gdLst>
                    <a:gd name="connsiteX0" fmla="*/ 9628 w 9627"/>
                    <a:gd name="connsiteY0" fmla="*/ 7094 h 14188"/>
                    <a:gd name="connsiteX1" fmla="*/ 4814 w 9627"/>
                    <a:gd name="connsiteY1" fmla="*/ 14189 h 14188"/>
                    <a:gd name="connsiteX2" fmla="*/ 0 w 9627"/>
                    <a:gd name="connsiteY2" fmla="*/ 7094 h 14188"/>
                    <a:gd name="connsiteX3" fmla="*/ 4814 w 9627"/>
                    <a:gd name="connsiteY3" fmla="*/ 0 h 14188"/>
                    <a:gd name="connsiteX4" fmla="*/ 9628 w 9627"/>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4188">
                      <a:moveTo>
                        <a:pt x="9628" y="7094"/>
                      </a:moveTo>
                      <a:cubicBezTo>
                        <a:pt x="9628" y="11022"/>
                        <a:pt x="7474" y="14189"/>
                        <a:pt x="4814" y="14189"/>
                      </a:cubicBezTo>
                      <a:cubicBezTo>
                        <a:pt x="2153" y="14189"/>
                        <a:pt x="0" y="11022"/>
                        <a:pt x="0" y="7094"/>
                      </a:cubicBezTo>
                      <a:cubicBezTo>
                        <a:pt x="0" y="3167"/>
                        <a:pt x="2153" y="0"/>
                        <a:pt x="4814" y="0"/>
                      </a:cubicBezTo>
                      <a:cubicBezTo>
                        <a:pt x="7474" y="0"/>
                        <a:pt x="9628" y="3167"/>
                        <a:pt x="9628" y="70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69" name="Полилиния: фигура 568">
                  <a:extLst>
                    <a:ext uri="{FF2B5EF4-FFF2-40B4-BE49-F238E27FC236}">
                      <a16:creationId xmlns:a16="http://schemas.microsoft.com/office/drawing/2014/main" id="{CEE86663-DC39-4300-A551-430EC7B30DFB}"/>
                    </a:ext>
                  </a:extLst>
                </p:cNvPr>
                <p:cNvSpPr/>
                <p:nvPr/>
              </p:nvSpPr>
              <p:spPr>
                <a:xfrm>
                  <a:off x="6818768" y="2633144"/>
                  <a:ext cx="20522" cy="15201"/>
                </a:xfrm>
                <a:custGeom>
                  <a:avLst/>
                  <a:gdLst>
                    <a:gd name="connsiteX0" fmla="*/ 20523 w 20522"/>
                    <a:gd name="connsiteY0" fmla="*/ 7601 h 15201"/>
                    <a:gd name="connsiteX1" fmla="*/ 10261 w 20522"/>
                    <a:gd name="connsiteY1" fmla="*/ 15202 h 15201"/>
                    <a:gd name="connsiteX2" fmla="*/ 0 w 20522"/>
                    <a:gd name="connsiteY2" fmla="*/ 7601 h 15201"/>
                    <a:gd name="connsiteX3" fmla="*/ 10261 w 20522"/>
                    <a:gd name="connsiteY3" fmla="*/ 0 h 15201"/>
                    <a:gd name="connsiteX4" fmla="*/ 20523 w 20522"/>
                    <a:gd name="connsiteY4" fmla="*/ 7601 h 1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2" h="15201">
                      <a:moveTo>
                        <a:pt x="20523" y="7601"/>
                      </a:moveTo>
                      <a:cubicBezTo>
                        <a:pt x="20523" y="11781"/>
                        <a:pt x="15962" y="15202"/>
                        <a:pt x="10261" y="15202"/>
                      </a:cubicBezTo>
                      <a:cubicBezTo>
                        <a:pt x="4561" y="15202"/>
                        <a:pt x="0" y="11781"/>
                        <a:pt x="0" y="7601"/>
                      </a:cubicBezTo>
                      <a:cubicBezTo>
                        <a:pt x="0" y="3420"/>
                        <a:pt x="4561" y="0"/>
                        <a:pt x="10261" y="0"/>
                      </a:cubicBezTo>
                      <a:cubicBezTo>
                        <a:pt x="15835" y="0"/>
                        <a:pt x="20523" y="3420"/>
                        <a:pt x="20523" y="76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0" name="Полилиния: фигура 569">
                  <a:extLst>
                    <a:ext uri="{FF2B5EF4-FFF2-40B4-BE49-F238E27FC236}">
                      <a16:creationId xmlns:a16="http://schemas.microsoft.com/office/drawing/2014/main" id="{A27C3857-1F76-4E46-B6C6-F07C3258FF69}"/>
                    </a:ext>
                  </a:extLst>
                </p:cNvPr>
                <p:cNvSpPr/>
                <p:nvPr/>
              </p:nvSpPr>
              <p:spPr>
                <a:xfrm>
                  <a:off x="6861080" y="2563595"/>
                  <a:ext cx="14695" cy="14695"/>
                </a:xfrm>
                <a:custGeom>
                  <a:avLst/>
                  <a:gdLst>
                    <a:gd name="connsiteX0" fmla="*/ 14695 w 14695"/>
                    <a:gd name="connsiteY0" fmla="*/ 7348 h 14695"/>
                    <a:gd name="connsiteX1" fmla="*/ 7348 w 14695"/>
                    <a:gd name="connsiteY1" fmla="*/ 14695 h 14695"/>
                    <a:gd name="connsiteX2" fmla="*/ 0 w 14695"/>
                    <a:gd name="connsiteY2" fmla="*/ 7348 h 14695"/>
                    <a:gd name="connsiteX3" fmla="*/ 7348 w 14695"/>
                    <a:gd name="connsiteY3" fmla="*/ 0 h 14695"/>
                    <a:gd name="connsiteX4" fmla="*/ 14695 w 14695"/>
                    <a:gd name="connsiteY4" fmla="*/ 7348 h 1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 h="14695">
                      <a:moveTo>
                        <a:pt x="14695" y="7348"/>
                      </a:moveTo>
                      <a:cubicBezTo>
                        <a:pt x="14695" y="11401"/>
                        <a:pt x="11402" y="14695"/>
                        <a:pt x="7348" y="14695"/>
                      </a:cubicBezTo>
                      <a:cubicBezTo>
                        <a:pt x="3294" y="14695"/>
                        <a:pt x="0" y="11401"/>
                        <a:pt x="0" y="7348"/>
                      </a:cubicBezTo>
                      <a:cubicBezTo>
                        <a:pt x="0" y="3294"/>
                        <a:pt x="3294" y="0"/>
                        <a:pt x="7348" y="0"/>
                      </a:cubicBezTo>
                      <a:cubicBezTo>
                        <a:pt x="11402" y="0"/>
                        <a:pt x="14695" y="3294"/>
                        <a:pt x="14695" y="73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1" name="Полилиния: фигура 570">
                  <a:extLst>
                    <a:ext uri="{FF2B5EF4-FFF2-40B4-BE49-F238E27FC236}">
                      <a16:creationId xmlns:a16="http://schemas.microsoft.com/office/drawing/2014/main" id="{4A2CEBF0-3CCC-4EEE-A5CF-4233C242613A}"/>
                    </a:ext>
                  </a:extLst>
                </p:cNvPr>
                <p:cNvSpPr/>
                <p:nvPr/>
              </p:nvSpPr>
              <p:spPr>
                <a:xfrm>
                  <a:off x="6852593" y="2524451"/>
                  <a:ext cx="13935" cy="13934"/>
                </a:xfrm>
                <a:custGeom>
                  <a:avLst/>
                  <a:gdLst>
                    <a:gd name="connsiteX0" fmla="*/ 13935 w 13935"/>
                    <a:gd name="connsiteY0" fmla="*/ 6968 h 13934"/>
                    <a:gd name="connsiteX1" fmla="*/ 6967 w 13935"/>
                    <a:gd name="connsiteY1" fmla="*/ 13935 h 13934"/>
                    <a:gd name="connsiteX2" fmla="*/ 0 w 13935"/>
                    <a:gd name="connsiteY2" fmla="*/ 6968 h 13934"/>
                    <a:gd name="connsiteX3" fmla="*/ 6967 w 13935"/>
                    <a:gd name="connsiteY3" fmla="*/ 0 h 13934"/>
                    <a:gd name="connsiteX4" fmla="*/ 13935 w 13935"/>
                    <a:gd name="connsiteY4" fmla="*/ 6968 h 1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3934">
                      <a:moveTo>
                        <a:pt x="13935" y="6968"/>
                      </a:moveTo>
                      <a:cubicBezTo>
                        <a:pt x="13935" y="10768"/>
                        <a:pt x="10895" y="13935"/>
                        <a:pt x="6967" y="13935"/>
                      </a:cubicBezTo>
                      <a:cubicBezTo>
                        <a:pt x="3167" y="13935"/>
                        <a:pt x="0" y="10768"/>
                        <a:pt x="0" y="6968"/>
                      </a:cubicBezTo>
                      <a:cubicBezTo>
                        <a:pt x="0" y="3167"/>
                        <a:pt x="3040" y="0"/>
                        <a:pt x="6967" y="0"/>
                      </a:cubicBezTo>
                      <a:cubicBezTo>
                        <a:pt x="10768" y="0"/>
                        <a:pt x="13935" y="3040"/>
                        <a:pt x="13935" y="69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2" name="Полилиния: фигура 571">
                  <a:extLst>
                    <a:ext uri="{FF2B5EF4-FFF2-40B4-BE49-F238E27FC236}">
                      <a16:creationId xmlns:a16="http://schemas.microsoft.com/office/drawing/2014/main" id="{BB0AADF1-3494-4497-A388-B0AFDEA3FD33}"/>
                    </a:ext>
                  </a:extLst>
                </p:cNvPr>
                <p:cNvSpPr/>
                <p:nvPr/>
              </p:nvSpPr>
              <p:spPr>
                <a:xfrm>
                  <a:off x="6788491" y="2601473"/>
                  <a:ext cx="20775" cy="15581"/>
                </a:xfrm>
                <a:custGeom>
                  <a:avLst/>
                  <a:gdLst>
                    <a:gd name="connsiteX0" fmla="*/ 20776 w 20775"/>
                    <a:gd name="connsiteY0" fmla="*/ 7728 h 15581"/>
                    <a:gd name="connsiteX1" fmla="*/ 10388 w 20775"/>
                    <a:gd name="connsiteY1" fmla="*/ 15582 h 15581"/>
                    <a:gd name="connsiteX2" fmla="*/ 0 w 20775"/>
                    <a:gd name="connsiteY2" fmla="*/ 7728 h 15581"/>
                    <a:gd name="connsiteX3" fmla="*/ 10388 w 20775"/>
                    <a:gd name="connsiteY3" fmla="*/ 0 h 15581"/>
                    <a:gd name="connsiteX4" fmla="*/ 20776 w 20775"/>
                    <a:gd name="connsiteY4" fmla="*/ 7728 h 1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5" h="15581">
                      <a:moveTo>
                        <a:pt x="20776" y="7728"/>
                      </a:moveTo>
                      <a:cubicBezTo>
                        <a:pt x="20776" y="12035"/>
                        <a:pt x="16089" y="15582"/>
                        <a:pt x="10388" y="15582"/>
                      </a:cubicBezTo>
                      <a:cubicBezTo>
                        <a:pt x="4687" y="15582"/>
                        <a:pt x="0" y="12035"/>
                        <a:pt x="0" y="7728"/>
                      </a:cubicBezTo>
                      <a:cubicBezTo>
                        <a:pt x="0" y="3420"/>
                        <a:pt x="4687" y="0"/>
                        <a:pt x="10388" y="0"/>
                      </a:cubicBezTo>
                      <a:cubicBezTo>
                        <a:pt x="16089" y="0"/>
                        <a:pt x="20776" y="3420"/>
                        <a:pt x="20776"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3" name="Полилиния: фигура 572">
                  <a:extLst>
                    <a:ext uri="{FF2B5EF4-FFF2-40B4-BE49-F238E27FC236}">
                      <a16:creationId xmlns:a16="http://schemas.microsoft.com/office/drawing/2014/main" id="{EA101CE4-EEBC-423C-A2A5-DCD22D8AACB8}"/>
                    </a:ext>
                  </a:extLst>
                </p:cNvPr>
                <p:cNvSpPr/>
                <p:nvPr/>
              </p:nvSpPr>
              <p:spPr>
                <a:xfrm>
                  <a:off x="6747446" y="2598433"/>
                  <a:ext cx="23056" cy="12921"/>
                </a:xfrm>
                <a:custGeom>
                  <a:avLst/>
                  <a:gdLst>
                    <a:gd name="connsiteX0" fmla="*/ 23056 w 23056"/>
                    <a:gd name="connsiteY0" fmla="*/ 6461 h 12921"/>
                    <a:gd name="connsiteX1" fmla="*/ 11528 w 23056"/>
                    <a:gd name="connsiteY1" fmla="*/ 12922 h 12921"/>
                    <a:gd name="connsiteX2" fmla="*/ 0 w 23056"/>
                    <a:gd name="connsiteY2" fmla="*/ 6461 h 12921"/>
                    <a:gd name="connsiteX3" fmla="*/ 11528 w 23056"/>
                    <a:gd name="connsiteY3" fmla="*/ 0 h 12921"/>
                    <a:gd name="connsiteX4" fmla="*/ 23056 w 23056"/>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 h="12921">
                      <a:moveTo>
                        <a:pt x="23056" y="6461"/>
                      </a:moveTo>
                      <a:cubicBezTo>
                        <a:pt x="23056" y="10008"/>
                        <a:pt x="17862" y="12922"/>
                        <a:pt x="11528" y="12922"/>
                      </a:cubicBezTo>
                      <a:cubicBezTo>
                        <a:pt x="5194" y="12922"/>
                        <a:pt x="0" y="10008"/>
                        <a:pt x="0" y="6461"/>
                      </a:cubicBezTo>
                      <a:cubicBezTo>
                        <a:pt x="0" y="2914"/>
                        <a:pt x="5194" y="0"/>
                        <a:pt x="11528" y="0"/>
                      </a:cubicBezTo>
                      <a:cubicBezTo>
                        <a:pt x="17862" y="0"/>
                        <a:pt x="23056" y="2914"/>
                        <a:pt x="23056"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4" name="Полилиния: фигура 573">
                  <a:extLst>
                    <a:ext uri="{FF2B5EF4-FFF2-40B4-BE49-F238E27FC236}">
                      <a16:creationId xmlns:a16="http://schemas.microsoft.com/office/drawing/2014/main" id="{44C3305F-5881-491A-8E0C-6A74F7D7AA85}"/>
                    </a:ext>
                  </a:extLst>
                </p:cNvPr>
                <p:cNvSpPr/>
                <p:nvPr/>
              </p:nvSpPr>
              <p:spPr>
                <a:xfrm>
                  <a:off x="6815475" y="2193936"/>
                  <a:ext cx="15201" cy="13554"/>
                </a:xfrm>
                <a:custGeom>
                  <a:avLst/>
                  <a:gdLst>
                    <a:gd name="connsiteX0" fmla="*/ 15202 w 15201"/>
                    <a:gd name="connsiteY0" fmla="*/ 6714 h 13554"/>
                    <a:gd name="connsiteX1" fmla="*/ 7601 w 15201"/>
                    <a:gd name="connsiteY1" fmla="*/ 13555 h 13554"/>
                    <a:gd name="connsiteX2" fmla="*/ 0 w 15201"/>
                    <a:gd name="connsiteY2" fmla="*/ 6714 h 13554"/>
                    <a:gd name="connsiteX3" fmla="*/ 7601 w 15201"/>
                    <a:gd name="connsiteY3" fmla="*/ 0 h 13554"/>
                    <a:gd name="connsiteX4" fmla="*/ 15202 w 15201"/>
                    <a:gd name="connsiteY4" fmla="*/ 671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1" h="13554">
                      <a:moveTo>
                        <a:pt x="15202" y="6714"/>
                      </a:moveTo>
                      <a:cubicBezTo>
                        <a:pt x="15202" y="10388"/>
                        <a:pt x="11781" y="13555"/>
                        <a:pt x="7601" y="13555"/>
                      </a:cubicBezTo>
                      <a:cubicBezTo>
                        <a:pt x="3420" y="13555"/>
                        <a:pt x="0" y="10514"/>
                        <a:pt x="0" y="6714"/>
                      </a:cubicBezTo>
                      <a:cubicBezTo>
                        <a:pt x="0" y="3040"/>
                        <a:pt x="3420" y="0"/>
                        <a:pt x="7601" y="0"/>
                      </a:cubicBezTo>
                      <a:cubicBezTo>
                        <a:pt x="11781" y="0"/>
                        <a:pt x="15202" y="3040"/>
                        <a:pt x="15202"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5" name="Полилиния: фигура 574">
                  <a:extLst>
                    <a:ext uri="{FF2B5EF4-FFF2-40B4-BE49-F238E27FC236}">
                      <a16:creationId xmlns:a16="http://schemas.microsoft.com/office/drawing/2014/main" id="{1CAADD22-A924-4C8D-A466-28749421993C}"/>
                    </a:ext>
                  </a:extLst>
                </p:cNvPr>
                <p:cNvSpPr/>
                <p:nvPr/>
              </p:nvSpPr>
              <p:spPr>
                <a:xfrm>
                  <a:off x="6803055" y="2274459"/>
                  <a:ext cx="15622" cy="29011"/>
                </a:xfrm>
                <a:custGeom>
                  <a:avLst/>
                  <a:gdLst>
                    <a:gd name="connsiteX0" fmla="*/ 3679 w 15622"/>
                    <a:gd name="connsiteY0" fmla="*/ 934 h 29011"/>
                    <a:gd name="connsiteX1" fmla="*/ 14447 w 15622"/>
                    <a:gd name="connsiteY1" fmla="*/ 8915 h 29011"/>
                    <a:gd name="connsiteX2" fmla="*/ 15334 w 15622"/>
                    <a:gd name="connsiteY2" fmla="*/ 18162 h 29011"/>
                    <a:gd name="connsiteX3" fmla="*/ 14574 w 15622"/>
                    <a:gd name="connsiteY3" fmla="*/ 26397 h 29011"/>
                    <a:gd name="connsiteX4" fmla="*/ 6213 w 15622"/>
                    <a:gd name="connsiteY4" fmla="*/ 27410 h 29011"/>
                    <a:gd name="connsiteX5" fmla="*/ 2919 w 15622"/>
                    <a:gd name="connsiteY5" fmla="*/ 19556 h 29011"/>
                    <a:gd name="connsiteX6" fmla="*/ 3679 w 15622"/>
                    <a:gd name="connsiteY6" fmla="*/ 934 h 2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2" h="29011">
                      <a:moveTo>
                        <a:pt x="3679" y="934"/>
                      </a:moveTo>
                      <a:cubicBezTo>
                        <a:pt x="9760" y="-2360"/>
                        <a:pt x="13307" y="3721"/>
                        <a:pt x="14447" y="8915"/>
                      </a:cubicBezTo>
                      <a:cubicBezTo>
                        <a:pt x="15080" y="11955"/>
                        <a:pt x="14827" y="15122"/>
                        <a:pt x="15334" y="18162"/>
                      </a:cubicBezTo>
                      <a:cubicBezTo>
                        <a:pt x="15587" y="20696"/>
                        <a:pt x="16094" y="23990"/>
                        <a:pt x="14574" y="26397"/>
                      </a:cubicBezTo>
                      <a:cubicBezTo>
                        <a:pt x="12547" y="29691"/>
                        <a:pt x="9000" y="29691"/>
                        <a:pt x="6213" y="27410"/>
                      </a:cubicBezTo>
                      <a:cubicBezTo>
                        <a:pt x="3552" y="25383"/>
                        <a:pt x="3806" y="22596"/>
                        <a:pt x="2919" y="19556"/>
                      </a:cubicBezTo>
                      <a:cubicBezTo>
                        <a:pt x="1525" y="14108"/>
                        <a:pt x="-3289" y="4861"/>
                        <a:pt x="3679" y="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6" name="Полилиния: фигура 575">
                  <a:extLst>
                    <a:ext uri="{FF2B5EF4-FFF2-40B4-BE49-F238E27FC236}">
                      <a16:creationId xmlns:a16="http://schemas.microsoft.com/office/drawing/2014/main" id="{D354AC06-1A89-49EF-A4D0-3DEFC1726777}"/>
                    </a:ext>
                  </a:extLst>
                </p:cNvPr>
                <p:cNvSpPr/>
                <p:nvPr/>
              </p:nvSpPr>
              <p:spPr>
                <a:xfrm>
                  <a:off x="6838822" y="2269813"/>
                  <a:ext cx="36766" cy="36690"/>
                </a:xfrm>
                <a:custGeom>
                  <a:avLst/>
                  <a:gdLst>
                    <a:gd name="connsiteX0" fmla="*/ 3003 w 36766"/>
                    <a:gd name="connsiteY0" fmla="*/ 386 h 36690"/>
                    <a:gd name="connsiteX1" fmla="*/ 14784 w 36766"/>
                    <a:gd name="connsiteY1" fmla="*/ 2539 h 36690"/>
                    <a:gd name="connsiteX2" fmla="*/ 25552 w 36766"/>
                    <a:gd name="connsiteY2" fmla="*/ 5200 h 36690"/>
                    <a:gd name="connsiteX3" fmla="*/ 36067 w 36766"/>
                    <a:gd name="connsiteY3" fmla="*/ 22808 h 36690"/>
                    <a:gd name="connsiteX4" fmla="*/ 34293 w 36766"/>
                    <a:gd name="connsiteY4" fmla="*/ 33196 h 36690"/>
                    <a:gd name="connsiteX5" fmla="*/ 14278 w 36766"/>
                    <a:gd name="connsiteY5" fmla="*/ 32816 h 36690"/>
                    <a:gd name="connsiteX6" fmla="*/ 4017 w 36766"/>
                    <a:gd name="connsiteY6" fmla="*/ 14194 h 36690"/>
                    <a:gd name="connsiteX7" fmla="*/ 3003 w 36766"/>
                    <a:gd name="connsiteY7" fmla="*/ 386 h 3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66" h="36690">
                      <a:moveTo>
                        <a:pt x="3003" y="386"/>
                      </a:moveTo>
                      <a:cubicBezTo>
                        <a:pt x="6930" y="-881"/>
                        <a:pt x="11111" y="1272"/>
                        <a:pt x="14784" y="2539"/>
                      </a:cubicBezTo>
                      <a:cubicBezTo>
                        <a:pt x="18205" y="3679"/>
                        <a:pt x="22512" y="3553"/>
                        <a:pt x="25552" y="5200"/>
                      </a:cubicBezTo>
                      <a:cubicBezTo>
                        <a:pt x="32013" y="8747"/>
                        <a:pt x="34927" y="16094"/>
                        <a:pt x="36067" y="22808"/>
                      </a:cubicBezTo>
                      <a:cubicBezTo>
                        <a:pt x="36827" y="26862"/>
                        <a:pt x="37714" y="30156"/>
                        <a:pt x="34293" y="33196"/>
                      </a:cubicBezTo>
                      <a:cubicBezTo>
                        <a:pt x="28339" y="38517"/>
                        <a:pt x="20358" y="37250"/>
                        <a:pt x="14278" y="32816"/>
                      </a:cubicBezTo>
                      <a:cubicBezTo>
                        <a:pt x="7817" y="28129"/>
                        <a:pt x="6550" y="21035"/>
                        <a:pt x="4017" y="14194"/>
                      </a:cubicBezTo>
                      <a:cubicBezTo>
                        <a:pt x="2750" y="10394"/>
                        <a:pt x="-3711" y="2666"/>
                        <a:pt x="3003" y="38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7" name="Полилиния: фигура 576">
                  <a:extLst>
                    <a:ext uri="{FF2B5EF4-FFF2-40B4-BE49-F238E27FC236}">
                      <a16:creationId xmlns:a16="http://schemas.microsoft.com/office/drawing/2014/main" id="{89D3B6BB-41EF-42C9-A02D-F1FC8898FBA7}"/>
                    </a:ext>
                  </a:extLst>
                </p:cNvPr>
                <p:cNvSpPr/>
                <p:nvPr/>
              </p:nvSpPr>
              <p:spPr>
                <a:xfrm>
                  <a:off x="6759129" y="2355619"/>
                  <a:ext cx="48112" cy="38184"/>
                </a:xfrm>
                <a:custGeom>
                  <a:avLst/>
                  <a:gdLst>
                    <a:gd name="connsiteX0" fmla="*/ 40763 w 48112"/>
                    <a:gd name="connsiteY0" fmla="*/ 91 h 38184"/>
                    <a:gd name="connsiteX1" fmla="*/ 48111 w 48112"/>
                    <a:gd name="connsiteY1" fmla="*/ 7818 h 38184"/>
                    <a:gd name="connsiteX2" fmla="*/ 40890 w 48112"/>
                    <a:gd name="connsiteY2" fmla="*/ 22514 h 38184"/>
                    <a:gd name="connsiteX3" fmla="*/ 37596 w 48112"/>
                    <a:gd name="connsiteY3" fmla="*/ 33788 h 38184"/>
                    <a:gd name="connsiteX4" fmla="*/ 16567 w 48112"/>
                    <a:gd name="connsiteY4" fmla="*/ 34802 h 38184"/>
                    <a:gd name="connsiteX5" fmla="*/ 2632 w 48112"/>
                    <a:gd name="connsiteY5" fmla="*/ 33408 h 38184"/>
                    <a:gd name="connsiteX6" fmla="*/ 16314 w 48112"/>
                    <a:gd name="connsiteY6" fmla="*/ 13646 h 38184"/>
                    <a:gd name="connsiteX7" fmla="*/ 40763 w 48112"/>
                    <a:gd name="connsiteY7" fmla="*/ 91 h 3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2" h="38184">
                      <a:moveTo>
                        <a:pt x="40763" y="91"/>
                      </a:moveTo>
                      <a:cubicBezTo>
                        <a:pt x="45197" y="598"/>
                        <a:pt x="48111" y="3131"/>
                        <a:pt x="48111" y="7818"/>
                      </a:cubicBezTo>
                      <a:cubicBezTo>
                        <a:pt x="48238" y="13139"/>
                        <a:pt x="42917" y="17700"/>
                        <a:pt x="40890" y="22514"/>
                      </a:cubicBezTo>
                      <a:cubicBezTo>
                        <a:pt x="39370" y="26187"/>
                        <a:pt x="38990" y="30115"/>
                        <a:pt x="37596" y="33788"/>
                      </a:cubicBezTo>
                      <a:cubicBezTo>
                        <a:pt x="34176" y="42530"/>
                        <a:pt x="22648" y="35689"/>
                        <a:pt x="16567" y="34802"/>
                      </a:cubicBezTo>
                      <a:cubicBezTo>
                        <a:pt x="12387" y="34168"/>
                        <a:pt x="6306" y="35562"/>
                        <a:pt x="2632" y="33408"/>
                      </a:cubicBezTo>
                      <a:cubicBezTo>
                        <a:pt x="-7123" y="27961"/>
                        <a:pt x="13147" y="15926"/>
                        <a:pt x="16314" y="13646"/>
                      </a:cubicBezTo>
                      <a:cubicBezTo>
                        <a:pt x="22648" y="8832"/>
                        <a:pt x="31895" y="-1049"/>
                        <a:pt x="40763" y="9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8" name="Полилиния: фигура 577">
                  <a:extLst>
                    <a:ext uri="{FF2B5EF4-FFF2-40B4-BE49-F238E27FC236}">
                      <a16:creationId xmlns:a16="http://schemas.microsoft.com/office/drawing/2014/main" id="{FF05F2CA-B1D4-4AC9-B308-50C102D52C78}"/>
                    </a:ext>
                  </a:extLst>
                </p:cNvPr>
                <p:cNvSpPr/>
                <p:nvPr/>
              </p:nvSpPr>
              <p:spPr>
                <a:xfrm>
                  <a:off x="6505233" y="2725848"/>
                  <a:ext cx="37655" cy="65387"/>
                </a:xfrm>
                <a:custGeom>
                  <a:avLst/>
                  <a:gdLst>
                    <a:gd name="connsiteX0" fmla="*/ 34960 w 37655"/>
                    <a:gd name="connsiteY0" fmla="*/ 45380 h 65387"/>
                    <a:gd name="connsiteX1" fmla="*/ 28626 w 37655"/>
                    <a:gd name="connsiteY1" fmla="*/ 61468 h 65387"/>
                    <a:gd name="connsiteX2" fmla="*/ 6457 w 37655"/>
                    <a:gd name="connsiteY2" fmla="*/ 52854 h 65387"/>
                    <a:gd name="connsiteX3" fmla="*/ 2149 w 37655"/>
                    <a:gd name="connsiteY3" fmla="*/ 26504 h 65387"/>
                    <a:gd name="connsiteX4" fmla="*/ 11144 w 37655"/>
                    <a:gd name="connsiteY4" fmla="*/ 16116 h 65387"/>
                    <a:gd name="connsiteX5" fmla="*/ 17351 w 37655"/>
                    <a:gd name="connsiteY5" fmla="*/ 6995 h 65387"/>
                    <a:gd name="connsiteX6" fmla="*/ 29513 w 37655"/>
                    <a:gd name="connsiteY6" fmla="*/ 27 h 65387"/>
                    <a:gd name="connsiteX7" fmla="*/ 35847 w 37655"/>
                    <a:gd name="connsiteY7" fmla="*/ 31571 h 65387"/>
                    <a:gd name="connsiteX8" fmla="*/ 34960 w 37655"/>
                    <a:gd name="connsiteY8" fmla="*/ 45380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5" h="65387">
                      <a:moveTo>
                        <a:pt x="34960" y="45380"/>
                      </a:moveTo>
                      <a:cubicBezTo>
                        <a:pt x="33693" y="51080"/>
                        <a:pt x="31413" y="56401"/>
                        <a:pt x="28626" y="61468"/>
                      </a:cubicBezTo>
                      <a:cubicBezTo>
                        <a:pt x="22799" y="72110"/>
                        <a:pt x="10637" y="58301"/>
                        <a:pt x="6457" y="52854"/>
                      </a:cubicBezTo>
                      <a:cubicBezTo>
                        <a:pt x="883" y="45633"/>
                        <a:pt x="-2411" y="35118"/>
                        <a:pt x="2149" y="26504"/>
                      </a:cubicBezTo>
                      <a:cubicBezTo>
                        <a:pt x="4303" y="22450"/>
                        <a:pt x="8104" y="19536"/>
                        <a:pt x="11144" y="16116"/>
                      </a:cubicBezTo>
                      <a:cubicBezTo>
                        <a:pt x="13678" y="13329"/>
                        <a:pt x="15198" y="10035"/>
                        <a:pt x="17351" y="6995"/>
                      </a:cubicBezTo>
                      <a:cubicBezTo>
                        <a:pt x="20012" y="3321"/>
                        <a:pt x="24699" y="-353"/>
                        <a:pt x="29513" y="27"/>
                      </a:cubicBezTo>
                      <a:cubicBezTo>
                        <a:pt x="43574" y="1294"/>
                        <a:pt x="34960" y="23590"/>
                        <a:pt x="35847" y="31571"/>
                      </a:cubicBezTo>
                      <a:cubicBezTo>
                        <a:pt x="36480" y="36512"/>
                        <a:pt x="35973" y="40566"/>
                        <a:pt x="34960" y="453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79" name="Полилиния: фигура 578">
                  <a:extLst>
                    <a:ext uri="{FF2B5EF4-FFF2-40B4-BE49-F238E27FC236}">
                      <a16:creationId xmlns:a16="http://schemas.microsoft.com/office/drawing/2014/main" id="{945F2931-8788-4D75-BD7A-3B9532EB16BF}"/>
                    </a:ext>
                  </a:extLst>
                </p:cNvPr>
                <p:cNvSpPr/>
                <p:nvPr/>
              </p:nvSpPr>
              <p:spPr>
                <a:xfrm>
                  <a:off x="6521592" y="2695832"/>
                  <a:ext cx="21061" cy="14778"/>
                </a:xfrm>
                <a:custGeom>
                  <a:avLst/>
                  <a:gdLst>
                    <a:gd name="connsiteX0" fmla="*/ 106 w 21061"/>
                    <a:gd name="connsiteY0" fmla="*/ 7241 h 14778"/>
                    <a:gd name="connsiteX1" fmla="*/ 16955 w 21061"/>
                    <a:gd name="connsiteY1" fmla="*/ 653 h 14778"/>
                    <a:gd name="connsiteX2" fmla="*/ 20502 w 21061"/>
                    <a:gd name="connsiteY2" fmla="*/ 11041 h 14778"/>
                    <a:gd name="connsiteX3" fmla="*/ 8721 w 21061"/>
                    <a:gd name="connsiteY3" fmla="*/ 14715 h 14778"/>
                    <a:gd name="connsiteX4" fmla="*/ 106 w 21061"/>
                    <a:gd name="connsiteY4" fmla="*/ 7241 h 14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1" h="14778">
                      <a:moveTo>
                        <a:pt x="106" y="7241"/>
                      </a:moveTo>
                      <a:cubicBezTo>
                        <a:pt x="993" y="1920"/>
                        <a:pt x="12395" y="-1500"/>
                        <a:pt x="16955" y="653"/>
                      </a:cubicBezTo>
                      <a:cubicBezTo>
                        <a:pt x="19489" y="1794"/>
                        <a:pt x="22276" y="8634"/>
                        <a:pt x="20502" y="11041"/>
                      </a:cubicBezTo>
                      <a:cubicBezTo>
                        <a:pt x="18729" y="13448"/>
                        <a:pt x="11635" y="14335"/>
                        <a:pt x="8721" y="14715"/>
                      </a:cubicBezTo>
                      <a:cubicBezTo>
                        <a:pt x="4034" y="15222"/>
                        <a:pt x="-780" y="12688"/>
                        <a:pt x="106" y="72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0" name="Полилиния: фигура 579">
                  <a:extLst>
                    <a:ext uri="{FF2B5EF4-FFF2-40B4-BE49-F238E27FC236}">
                      <a16:creationId xmlns:a16="http://schemas.microsoft.com/office/drawing/2014/main" id="{08B3F11F-3B20-4BC5-B48B-9201783E3624}"/>
                    </a:ext>
                  </a:extLst>
                </p:cNvPr>
                <p:cNvSpPr/>
                <p:nvPr/>
              </p:nvSpPr>
              <p:spPr>
                <a:xfrm>
                  <a:off x="7443698" y="2163438"/>
                  <a:ext cx="46641" cy="41296"/>
                </a:xfrm>
                <a:custGeom>
                  <a:avLst/>
                  <a:gdLst>
                    <a:gd name="connsiteX0" fmla="*/ 15324 w 46641"/>
                    <a:gd name="connsiteY0" fmla="*/ 41266 h 41296"/>
                    <a:gd name="connsiteX1" fmla="*/ 1009 w 46641"/>
                    <a:gd name="connsiteY1" fmla="*/ 33032 h 41296"/>
                    <a:gd name="connsiteX2" fmla="*/ 11777 w 46641"/>
                    <a:gd name="connsiteY2" fmla="*/ 24670 h 41296"/>
                    <a:gd name="connsiteX3" fmla="*/ 20391 w 46641"/>
                    <a:gd name="connsiteY3" fmla="*/ 16056 h 41296"/>
                    <a:gd name="connsiteX4" fmla="*/ 33692 w 46641"/>
                    <a:gd name="connsiteY4" fmla="*/ 981 h 41296"/>
                    <a:gd name="connsiteX5" fmla="*/ 45094 w 46641"/>
                    <a:gd name="connsiteY5" fmla="*/ 4148 h 41296"/>
                    <a:gd name="connsiteX6" fmla="*/ 43828 w 46641"/>
                    <a:gd name="connsiteY6" fmla="*/ 19476 h 41296"/>
                    <a:gd name="connsiteX7" fmla="*/ 31412 w 46641"/>
                    <a:gd name="connsiteY7" fmla="*/ 33538 h 41296"/>
                    <a:gd name="connsiteX8" fmla="*/ 15324 w 46641"/>
                    <a:gd name="connsiteY8" fmla="*/ 41266 h 4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41" h="41296">
                      <a:moveTo>
                        <a:pt x="15324" y="41266"/>
                      </a:moveTo>
                      <a:cubicBezTo>
                        <a:pt x="10636" y="41392"/>
                        <a:pt x="-3932" y="41519"/>
                        <a:pt x="1009" y="33032"/>
                      </a:cubicBezTo>
                      <a:cubicBezTo>
                        <a:pt x="3289" y="29104"/>
                        <a:pt x="8103" y="26951"/>
                        <a:pt x="11777" y="24670"/>
                      </a:cubicBezTo>
                      <a:cubicBezTo>
                        <a:pt x="15450" y="22390"/>
                        <a:pt x="18237" y="19730"/>
                        <a:pt x="20391" y="16056"/>
                      </a:cubicBezTo>
                      <a:cubicBezTo>
                        <a:pt x="24191" y="9849"/>
                        <a:pt x="26598" y="4148"/>
                        <a:pt x="33692" y="981"/>
                      </a:cubicBezTo>
                      <a:cubicBezTo>
                        <a:pt x="38127" y="-919"/>
                        <a:pt x="42560" y="-159"/>
                        <a:pt x="45094" y="4148"/>
                      </a:cubicBezTo>
                      <a:cubicBezTo>
                        <a:pt x="48008" y="9089"/>
                        <a:pt x="46361" y="14789"/>
                        <a:pt x="43828" y="19476"/>
                      </a:cubicBezTo>
                      <a:cubicBezTo>
                        <a:pt x="40787" y="25177"/>
                        <a:pt x="35846" y="28978"/>
                        <a:pt x="31412" y="33538"/>
                      </a:cubicBezTo>
                      <a:cubicBezTo>
                        <a:pt x="26979" y="38225"/>
                        <a:pt x="21658" y="41012"/>
                        <a:pt x="15324" y="4126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1" name="Полилиния: фигура 580">
                  <a:extLst>
                    <a:ext uri="{FF2B5EF4-FFF2-40B4-BE49-F238E27FC236}">
                      <a16:creationId xmlns:a16="http://schemas.microsoft.com/office/drawing/2014/main" id="{9FEDDC1E-BF0D-4349-9A62-E53993A924F1}"/>
                    </a:ext>
                  </a:extLst>
                </p:cNvPr>
                <p:cNvSpPr/>
                <p:nvPr/>
              </p:nvSpPr>
              <p:spPr>
                <a:xfrm>
                  <a:off x="7257343" y="2114126"/>
                  <a:ext cx="10894" cy="13174"/>
                </a:xfrm>
                <a:custGeom>
                  <a:avLst/>
                  <a:gdLst>
                    <a:gd name="connsiteX0" fmla="*/ 10895 w 10894"/>
                    <a:gd name="connsiteY0" fmla="*/ 6587 h 13174"/>
                    <a:gd name="connsiteX1" fmla="*/ 5447 w 10894"/>
                    <a:gd name="connsiteY1" fmla="*/ 13175 h 13174"/>
                    <a:gd name="connsiteX2" fmla="*/ 0 w 10894"/>
                    <a:gd name="connsiteY2" fmla="*/ 6587 h 13174"/>
                    <a:gd name="connsiteX3" fmla="*/ 5447 w 10894"/>
                    <a:gd name="connsiteY3" fmla="*/ 0 h 13174"/>
                    <a:gd name="connsiteX4" fmla="*/ 10895 w 10894"/>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3174">
                      <a:moveTo>
                        <a:pt x="10895" y="6587"/>
                      </a:moveTo>
                      <a:cubicBezTo>
                        <a:pt x="10895" y="10261"/>
                        <a:pt x="8488" y="13175"/>
                        <a:pt x="5447" y="13175"/>
                      </a:cubicBezTo>
                      <a:cubicBezTo>
                        <a:pt x="2407" y="13175"/>
                        <a:pt x="0" y="10261"/>
                        <a:pt x="0" y="6587"/>
                      </a:cubicBezTo>
                      <a:cubicBezTo>
                        <a:pt x="0" y="2914"/>
                        <a:pt x="2407" y="0"/>
                        <a:pt x="5447" y="0"/>
                      </a:cubicBezTo>
                      <a:cubicBezTo>
                        <a:pt x="8361" y="0"/>
                        <a:pt x="10895" y="2914"/>
                        <a:pt x="10895"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2" name="Полилиния: фигура 581">
                  <a:extLst>
                    <a:ext uri="{FF2B5EF4-FFF2-40B4-BE49-F238E27FC236}">
                      <a16:creationId xmlns:a16="http://schemas.microsoft.com/office/drawing/2014/main" id="{152EF78E-C084-4910-ACCE-704DB3C2E8C9}"/>
                    </a:ext>
                  </a:extLst>
                </p:cNvPr>
                <p:cNvSpPr/>
                <p:nvPr/>
              </p:nvSpPr>
              <p:spPr>
                <a:xfrm>
                  <a:off x="7227446" y="2063960"/>
                  <a:ext cx="22549" cy="11148"/>
                </a:xfrm>
                <a:custGeom>
                  <a:avLst/>
                  <a:gdLst>
                    <a:gd name="connsiteX0" fmla="*/ 22550 w 22549"/>
                    <a:gd name="connsiteY0" fmla="*/ 5574 h 11148"/>
                    <a:gd name="connsiteX1" fmla="*/ 11275 w 22549"/>
                    <a:gd name="connsiteY1" fmla="*/ 11148 h 11148"/>
                    <a:gd name="connsiteX2" fmla="*/ 0 w 22549"/>
                    <a:gd name="connsiteY2" fmla="*/ 5574 h 11148"/>
                    <a:gd name="connsiteX3" fmla="*/ 11275 w 22549"/>
                    <a:gd name="connsiteY3" fmla="*/ 0 h 11148"/>
                    <a:gd name="connsiteX4" fmla="*/ 22550 w 22549"/>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1148">
                      <a:moveTo>
                        <a:pt x="22550" y="5574"/>
                      </a:moveTo>
                      <a:cubicBezTo>
                        <a:pt x="22550" y="8615"/>
                        <a:pt x="17482" y="11148"/>
                        <a:pt x="11275" y="11148"/>
                      </a:cubicBezTo>
                      <a:cubicBezTo>
                        <a:pt x="5068" y="11148"/>
                        <a:pt x="0" y="8615"/>
                        <a:pt x="0" y="5574"/>
                      </a:cubicBezTo>
                      <a:cubicBezTo>
                        <a:pt x="0" y="2534"/>
                        <a:pt x="5068" y="0"/>
                        <a:pt x="11275" y="0"/>
                      </a:cubicBezTo>
                      <a:cubicBezTo>
                        <a:pt x="17609" y="0"/>
                        <a:pt x="22550" y="2534"/>
                        <a:pt x="22550" y="55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3" name="Полилиния: фигура 582">
                  <a:extLst>
                    <a:ext uri="{FF2B5EF4-FFF2-40B4-BE49-F238E27FC236}">
                      <a16:creationId xmlns:a16="http://schemas.microsoft.com/office/drawing/2014/main" id="{3A2A3910-DCC6-4BBF-AEB8-5DA366F5D16D}"/>
                    </a:ext>
                  </a:extLst>
                </p:cNvPr>
                <p:cNvSpPr/>
                <p:nvPr/>
              </p:nvSpPr>
              <p:spPr>
                <a:xfrm>
                  <a:off x="7301936" y="2061933"/>
                  <a:ext cx="15454" cy="11528"/>
                </a:xfrm>
                <a:custGeom>
                  <a:avLst/>
                  <a:gdLst>
                    <a:gd name="connsiteX0" fmla="*/ 15455 w 15454"/>
                    <a:gd name="connsiteY0" fmla="*/ 5827 h 11528"/>
                    <a:gd name="connsiteX1" fmla="*/ 7727 w 15454"/>
                    <a:gd name="connsiteY1" fmla="*/ 11528 h 11528"/>
                    <a:gd name="connsiteX2" fmla="*/ 0 w 15454"/>
                    <a:gd name="connsiteY2" fmla="*/ 5827 h 11528"/>
                    <a:gd name="connsiteX3" fmla="*/ 7727 w 15454"/>
                    <a:gd name="connsiteY3" fmla="*/ 0 h 11528"/>
                    <a:gd name="connsiteX4" fmla="*/ 15455 w 15454"/>
                    <a:gd name="connsiteY4" fmla="*/ 5827 h 1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4" h="11528">
                      <a:moveTo>
                        <a:pt x="15455" y="5827"/>
                      </a:moveTo>
                      <a:cubicBezTo>
                        <a:pt x="15455" y="8995"/>
                        <a:pt x="12035" y="11528"/>
                        <a:pt x="7727" y="11528"/>
                      </a:cubicBezTo>
                      <a:cubicBezTo>
                        <a:pt x="3421" y="11528"/>
                        <a:pt x="0" y="8995"/>
                        <a:pt x="0" y="5827"/>
                      </a:cubicBezTo>
                      <a:cubicBezTo>
                        <a:pt x="0" y="2660"/>
                        <a:pt x="3547" y="0"/>
                        <a:pt x="7727" y="0"/>
                      </a:cubicBezTo>
                      <a:cubicBezTo>
                        <a:pt x="11908" y="0"/>
                        <a:pt x="15455" y="2660"/>
                        <a:pt x="15455"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4" name="Полилиния: фигура 583">
                  <a:extLst>
                    <a:ext uri="{FF2B5EF4-FFF2-40B4-BE49-F238E27FC236}">
                      <a16:creationId xmlns:a16="http://schemas.microsoft.com/office/drawing/2014/main" id="{D924B49C-C6E7-4FAB-8345-F7DB84DB9947}"/>
                    </a:ext>
                  </a:extLst>
                </p:cNvPr>
                <p:cNvSpPr/>
                <p:nvPr/>
              </p:nvSpPr>
              <p:spPr>
                <a:xfrm>
                  <a:off x="7383646" y="2061933"/>
                  <a:ext cx="10134" cy="13175"/>
                </a:xfrm>
                <a:custGeom>
                  <a:avLst/>
                  <a:gdLst>
                    <a:gd name="connsiteX0" fmla="*/ 10134 w 10134"/>
                    <a:gd name="connsiteY0" fmla="*/ 6588 h 13175"/>
                    <a:gd name="connsiteX1" fmla="*/ 5067 w 10134"/>
                    <a:gd name="connsiteY1" fmla="*/ 13175 h 13175"/>
                    <a:gd name="connsiteX2" fmla="*/ 0 w 10134"/>
                    <a:gd name="connsiteY2" fmla="*/ 6588 h 13175"/>
                    <a:gd name="connsiteX3" fmla="*/ 5067 w 10134"/>
                    <a:gd name="connsiteY3" fmla="*/ 0 h 13175"/>
                    <a:gd name="connsiteX4" fmla="*/ 10134 w 10134"/>
                    <a:gd name="connsiteY4" fmla="*/ 6588 h 1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175">
                      <a:moveTo>
                        <a:pt x="10134" y="6588"/>
                      </a:moveTo>
                      <a:cubicBezTo>
                        <a:pt x="10134" y="10261"/>
                        <a:pt x="7854" y="13175"/>
                        <a:pt x="5067" y="13175"/>
                      </a:cubicBezTo>
                      <a:cubicBezTo>
                        <a:pt x="2280" y="13175"/>
                        <a:pt x="0" y="10261"/>
                        <a:pt x="0" y="6588"/>
                      </a:cubicBezTo>
                      <a:cubicBezTo>
                        <a:pt x="0" y="2914"/>
                        <a:pt x="2280" y="0"/>
                        <a:pt x="5067" y="0"/>
                      </a:cubicBezTo>
                      <a:cubicBezTo>
                        <a:pt x="7854" y="0"/>
                        <a:pt x="10134" y="2914"/>
                        <a:pt x="10134" y="658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5" name="Полилиния: фигура 584">
                  <a:extLst>
                    <a:ext uri="{FF2B5EF4-FFF2-40B4-BE49-F238E27FC236}">
                      <a16:creationId xmlns:a16="http://schemas.microsoft.com/office/drawing/2014/main" id="{916D3C73-265F-49B2-962A-FDB7923000CD}"/>
                    </a:ext>
                  </a:extLst>
                </p:cNvPr>
                <p:cNvSpPr/>
                <p:nvPr/>
              </p:nvSpPr>
              <p:spPr>
                <a:xfrm>
                  <a:off x="7187541" y="2120713"/>
                  <a:ext cx="29137" cy="18749"/>
                </a:xfrm>
                <a:custGeom>
                  <a:avLst/>
                  <a:gdLst>
                    <a:gd name="connsiteX0" fmla="*/ 29138 w 29137"/>
                    <a:gd name="connsiteY0" fmla="*/ 9375 h 18749"/>
                    <a:gd name="connsiteX1" fmla="*/ 14569 w 29137"/>
                    <a:gd name="connsiteY1" fmla="*/ 18749 h 18749"/>
                    <a:gd name="connsiteX2" fmla="*/ 0 w 29137"/>
                    <a:gd name="connsiteY2" fmla="*/ 9375 h 18749"/>
                    <a:gd name="connsiteX3" fmla="*/ 14569 w 29137"/>
                    <a:gd name="connsiteY3" fmla="*/ 0 h 18749"/>
                    <a:gd name="connsiteX4" fmla="*/ 29138 w 29137"/>
                    <a:gd name="connsiteY4" fmla="*/ 9375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37" h="18749">
                      <a:moveTo>
                        <a:pt x="29138" y="9375"/>
                      </a:moveTo>
                      <a:cubicBezTo>
                        <a:pt x="29138" y="14569"/>
                        <a:pt x="22677" y="18749"/>
                        <a:pt x="14569" y="18749"/>
                      </a:cubicBezTo>
                      <a:cubicBezTo>
                        <a:pt x="6588" y="18749"/>
                        <a:pt x="0" y="14569"/>
                        <a:pt x="0" y="9375"/>
                      </a:cubicBezTo>
                      <a:cubicBezTo>
                        <a:pt x="0" y="4181"/>
                        <a:pt x="6461" y="0"/>
                        <a:pt x="14569" y="0"/>
                      </a:cubicBezTo>
                      <a:cubicBezTo>
                        <a:pt x="22677" y="0"/>
                        <a:pt x="29138" y="4181"/>
                        <a:pt x="29138" y="937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6" name="Полилиния: фигура 585">
                  <a:extLst>
                    <a:ext uri="{FF2B5EF4-FFF2-40B4-BE49-F238E27FC236}">
                      <a16:creationId xmlns:a16="http://schemas.microsoft.com/office/drawing/2014/main" id="{54C3CDE1-4B12-4157-A756-96DF04500D18}"/>
                    </a:ext>
                  </a:extLst>
                </p:cNvPr>
                <p:cNvSpPr/>
                <p:nvPr/>
              </p:nvSpPr>
              <p:spPr>
                <a:xfrm>
                  <a:off x="7391500" y="1972241"/>
                  <a:ext cx="18242" cy="18749"/>
                </a:xfrm>
                <a:custGeom>
                  <a:avLst/>
                  <a:gdLst>
                    <a:gd name="connsiteX0" fmla="*/ 18242 w 18242"/>
                    <a:gd name="connsiteY0" fmla="*/ 9374 h 18749"/>
                    <a:gd name="connsiteX1" fmla="*/ 9121 w 18242"/>
                    <a:gd name="connsiteY1" fmla="*/ 18749 h 18749"/>
                    <a:gd name="connsiteX2" fmla="*/ 0 w 18242"/>
                    <a:gd name="connsiteY2" fmla="*/ 9374 h 18749"/>
                    <a:gd name="connsiteX3" fmla="*/ 9121 w 18242"/>
                    <a:gd name="connsiteY3" fmla="*/ 0 h 18749"/>
                    <a:gd name="connsiteX4" fmla="*/ 18242 w 18242"/>
                    <a:gd name="connsiteY4" fmla="*/ 9374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8749">
                      <a:moveTo>
                        <a:pt x="18242" y="9374"/>
                      </a:moveTo>
                      <a:cubicBezTo>
                        <a:pt x="18242" y="14569"/>
                        <a:pt x="14188" y="18749"/>
                        <a:pt x="9121" y="18749"/>
                      </a:cubicBezTo>
                      <a:cubicBezTo>
                        <a:pt x="4054" y="18749"/>
                        <a:pt x="0" y="14569"/>
                        <a:pt x="0" y="9374"/>
                      </a:cubicBezTo>
                      <a:cubicBezTo>
                        <a:pt x="0" y="4181"/>
                        <a:pt x="4054" y="0"/>
                        <a:pt x="9121" y="0"/>
                      </a:cubicBezTo>
                      <a:cubicBezTo>
                        <a:pt x="14188" y="0"/>
                        <a:pt x="18242" y="4181"/>
                        <a:pt x="18242" y="93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7" name="Полилиния: фигура 586">
                  <a:extLst>
                    <a:ext uri="{FF2B5EF4-FFF2-40B4-BE49-F238E27FC236}">
                      <a16:creationId xmlns:a16="http://schemas.microsoft.com/office/drawing/2014/main" id="{CB997AC0-92C0-4D82-906C-B9A12D47DEBB}"/>
                    </a:ext>
                  </a:extLst>
                </p:cNvPr>
                <p:cNvSpPr/>
                <p:nvPr/>
              </p:nvSpPr>
              <p:spPr>
                <a:xfrm>
                  <a:off x="7443566" y="1475519"/>
                  <a:ext cx="9881" cy="7347"/>
                </a:xfrm>
                <a:custGeom>
                  <a:avLst/>
                  <a:gdLst>
                    <a:gd name="connsiteX0" fmla="*/ 9882 w 9881"/>
                    <a:gd name="connsiteY0" fmla="*/ 3674 h 7347"/>
                    <a:gd name="connsiteX1" fmla="*/ 4941 w 9881"/>
                    <a:gd name="connsiteY1" fmla="*/ 7348 h 7347"/>
                    <a:gd name="connsiteX2" fmla="*/ 0 w 9881"/>
                    <a:gd name="connsiteY2" fmla="*/ 3674 h 7347"/>
                    <a:gd name="connsiteX3" fmla="*/ 4941 w 9881"/>
                    <a:gd name="connsiteY3" fmla="*/ 0 h 7347"/>
                    <a:gd name="connsiteX4" fmla="*/ 9882 w 9881"/>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7347">
                      <a:moveTo>
                        <a:pt x="9882" y="3674"/>
                      </a:moveTo>
                      <a:cubicBezTo>
                        <a:pt x="9882" y="5701"/>
                        <a:pt x="7601" y="7348"/>
                        <a:pt x="4941" y="7348"/>
                      </a:cubicBezTo>
                      <a:cubicBezTo>
                        <a:pt x="2153" y="7348"/>
                        <a:pt x="0" y="5701"/>
                        <a:pt x="0" y="3674"/>
                      </a:cubicBezTo>
                      <a:cubicBezTo>
                        <a:pt x="0" y="1647"/>
                        <a:pt x="2153" y="0"/>
                        <a:pt x="4941" y="0"/>
                      </a:cubicBezTo>
                      <a:cubicBezTo>
                        <a:pt x="7601" y="0"/>
                        <a:pt x="9882" y="1647"/>
                        <a:pt x="9882" y="367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8" name="Полилиния: фигура 587">
                  <a:extLst>
                    <a:ext uri="{FF2B5EF4-FFF2-40B4-BE49-F238E27FC236}">
                      <a16:creationId xmlns:a16="http://schemas.microsoft.com/office/drawing/2014/main" id="{0A8EEE66-29E2-44F5-828A-58015FC91ED2}"/>
                    </a:ext>
                  </a:extLst>
                </p:cNvPr>
                <p:cNvSpPr/>
                <p:nvPr/>
              </p:nvSpPr>
              <p:spPr>
                <a:xfrm>
                  <a:off x="7571263" y="1572553"/>
                  <a:ext cx="10894" cy="8873"/>
                </a:xfrm>
                <a:custGeom>
                  <a:avLst/>
                  <a:gdLst>
                    <a:gd name="connsiteX0" fmla="*/ 10895 w 10894"/>
                    <a:gd name="connsiteY0" fmla="*/ 4440 h 8873"/>
                    <a:gd name="connsiteX1" fmla="*/ 5447 w 10894"/>
                    <a:gd name="connsiteY1" fmla="*/ 8873 h 8873"/>
                    <a:gd name="connsiteX2" fmla="*/ 0 w 10894"/>
                    <a:gd name="connsiteY2" fmla="*/ 4440 h 8873"/>
                    <a:gd name="connsiteX3" fmla="*/ 5447 w 10894"/>
                    <a:gd name="connsiteY3" fmla="*/ 6 h 8873"/>
                    <a:gd name="connsiteX4" fmla="*/ 10895 w 10894"/>
                    <a:gd name="connsiteY4" fmla="*/ 4440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8873">
                      <a:moveTo>
                        <a:pt x="10895" y="4440"/>
                      </a:moveTo>
                      <a:cubicBezTo>
                        <a:pt x="10895" y="6846"/>
                        <a:pt x="8488" y="8873"/>
                        <a:pt x="5447" y="8873"/>
                      </a:cubicBezTo>
                      <a:cubicBezTo>
                        <a:pt x="2407" y="8873"/>
                        <a:pt x="0" y="6846"/>
                        <a:pt x="0" y="4440"/>
                      </a:cubicBezTo>
                      <a:cubicBezTo>
                        <a:pt x="0" y="2033"/>
                        <a:pt x="2407" y="6"/>
                        <a:pt x="5447" y="6"/>
                      </a:cubicBezTo>
                      <a:cubicBezTo>
                        <a:pt x="8361" y="-121"/>
                        <a:pt x="10895" y="1906"/>
                        <a:pt x="10895" y="444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89" name="Полилиния: фигура 588">
                  <a:extLst>
                    <a:ext uri="{FF2B5EF4-FFF2-40B4-BE49-F238E27FC236}">
                      <a16:creationId xmlns:a16="http://schemas.microsoft.com/office/drawing/2014/main" id="{60C64996-9FEC-4E41-948C-F840F2A01633}"/>
                    </a:ext>
                  </a:extLst>
                </p:cNvPr>
                <p:cNvSpPr/>
                <p:nvPr/>
              </p:nvSpPr>
              <p:spPr>
                <a:xfrm>
                  <a:off x="7585705" y="1545321"/>
                  <a:ext cx="8360" cy="8867"/>
                </a:xfrm>
                <a:custGeom>
                  <a:avLst/>
                  <a:gdLst>
                    <a:gd name="connsiteX0" fmla="*/ 8361 w 8360"/>
                    <a:gd name="connsiteY0" fmla="*/ 4434 h 8867"/>
                    <a:gd name="connsiteX1" fmla="*/ 4180 w 8360"/>
                    <a:gd name="connsiteY1" fmla="*/ 8868 h 8867"/>
                    <a:gd name="connsiteX2" fmla="*/ 0 w 8360"/>
                    <a:gd name="connsiteY2" fmla="*/ 4434 h 8867"/>
                    <a:gd name="connsiteX3" fmla="*/ 4180 w 8360"/>
                    <a:gd name="connsiteY3" fmla="*/ 0 h 8867"/>
                    <a:gd name="connsiteX4" fmla="*/ 8361 w 836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867">
                      <a:moveTo>
                        <a:pt x="8361" y="4434"/>
                      </a:moveTo>
                      <a:cubicBezTo>
                        <a:pt x="8361" y="6967"/>
                        <a:pt x="6460" y="8868"/>
                        <a:pt x="4180" y="8868"/>
                      </a:cubicBezTo>
                      <a:cubicBezTo>
                        <a:pt x="1900" y="8868"/>
                        <a:pt x="0" y="6841"/>
                        <a:pt x="0" y="4434"/>
                      </a:cubicBezTo>
                      <a:cubicBezTo>
                        <a:pt x="0" y="2027"/>
                        <a:pt x="1900" y="0"/>
                        <a:pt x="4180" y="0"/>
                      </a:cubicBezTo>
                      <a:cubicBezTo>
                        <a:pt x="6460" y="0"/>
                        <a:pt x="8361" y="1900"/>
                        <a:pt x="8361"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0" name="Полилиния: фигура 589">
                  <a:extLst>
                    <a:ext uri="{FF2B5EF4-FFF2-40B4-BE49-F238E27FC236}">
                      <a16:creationId xmlns:a16="http://schemas.microsoft.com/office/drawing/2014/main" id="{446CF712-477A-4BF5-B253-865ADC29A989}"/>
                    </a:ext>
                  </a:extLst>
                </p:cNvPr>
                <p:cNvSpPr/>
                <p:nvPr/>
              </p:nvSpPr>
              <p:spPr>
                <a:xfrm>
                  <a:off x="7423298" y="1457657"/>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8107" y="8868"/>
                        <a:pt x="5194" y="8868"/>
                      </a:cubicBezTo>
                      <a:cubicBezTo>
                        <a:pt x="2280" y="8868"/>
                        <a:pt x="0" y="6841"/>
                        <a:pt x="0" y="4434"/>
                      </a:cubicBezTo>
                      <a:cubicBezTo>
                        <a:pt x="0" y="1900"/>
                        <a:pt x="2280" y="0"/>
                        <a:pt x="5194" y="0"/>
                      </a:cubicBezTo>
                      <a:cubicBezTo>
                        <a:pt x="7981" y="0"/>
                        <a:pt x="10388" y="2027"/>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1" name="Полилиния: фигура 590">
                  <a:extLst>
                    <a:ext uri="{FF2B5EF4-FFF2-40B4-BE49-F238E27FC236}">
                      <a16:creationId xmlns:a16="http://schemas.microsoft.com/office/drawing/2014/main" id="{B8E88C36-81B1-45DC-8571-B8FBD9347CE4}"/>
                    </a:ext>
                  </a:extLst>
                </p:cNvPr>
                <p:cNvSpPr/>
                <p:nvPr/>
              </p:nvSpPr>
              <p:spPr>
                <a:xfrm>
                  <a:off x="7417470" y="1482987"/>
                  <a:ext cx="5827" cy="7860"/>
                </a:xfrm>
                <a:custGeom>
                  <a:avLst/>
                  <a:gdLst>
                    <a:gd name="connsiteX0" fmla="*/ 5828 w 5827"/>
                    <a:gd name="connsiteY0" fmla="*/ 3934 h 7860"/>
                    <a:gd name="connsiteX1" fmla="*/ 2913 w 5827"/>
                    <a:gd name="connsiteY1" fmla="*/ 7861 h 7860"/>
                    <a:gd name="connsiteX2" fmla="*/ 0 w 5827"/>
                    <a:gd name="connsiteY2" fmla="*/ 3934 h 7860"/>
                    <a:gd name="connsiteX3" fmla="*/ 2913 w 5827"/>
                    <a:gd name="connsiteY3" fmla="*/ 6 h 7860"/>
                    <a:gd name="connsiteX4" fmla="*/ 5828 w 5827"/>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 h="7860">
                      <a:moveTo>
                        <a:pt x="5828" y="3934"/>
                      </a:moveTo>
                      <a:cubicBezTo>
                        <a:pt x="5828" y="6087"/>
                        <a:pt x="4434" y="7861"/>
                        <a:pt x="2913" y="7861"/>
                      </a:cubicBezTo>
                      <a:cubicBezTo>
                        <a:pt x="1267" y="7861"/>
                        <a:pt x="0" y="6087"/>
                        <a:pt x="0" y="3934"/>
                      </a:cubicBezTo>
                      <a:cubicBezTo>
                        <a:pt x="0" y="1780"/>
                        <a:pt x="1393" y="6"/>
                        <a:pt x="2913" y="6"/>
                      </a:cubicBezTo>
                      <a:cubicBezTo>
                        <a:pt x="4434" y="-120"/>
                        <a:pt x="5828" y="1653"/>
                        <a:pt x="5828" y="39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2" name="Полилиния: фигура 591">
                  <a:extLst>
                    <a:ext uri="{FF2B5EF4-FFF2-40B4-BE49-F238E27FC236}">
                      <a16:creationId xmlns:a16="http://schemas.microsoft.com/office/drawing/2014/main" id="{E4B5A647-5124-450B-883D-58F0FE5EA132}"/>
                    </a:ext>
                  </a:extLst>
                </p:cNvPr>
                <p:cNvSpPr/>
                <p:nvPr/>
              </p:nvSpPr>
              <p:spPr>
                <a:xfrm>
                  <a:off x="7324359" y="1444736"/>
                  <a:ext cx="39524" cy="21789"/>
                </a:xfrm>
                <a:custGeom>
                  <a:avLst/>
                  <a:gdLst>
                    <a:gd name="connsiteX0" fmla="*/ 39525 w 39524"/>
                    <a:gd name="connsiteY0" fmla="*/ 10895 h 21789"/>
                    <a:gd name="connsiteX1" fmla="*/ 19762 w 39524"/>
                    <a:gd name="connsiteY1" fmla="*/ 21789 h 21789"/>
                    <a:gd name="connsiteX2" fmla="*/ 0 w 39524"/>
                    <a:gd name="connsiteY2" fmla="*/ 10895 h 21789"/>
                    <a:gd name="connsiteX3" fmla="*/ 19762 w 39524"/>
                    <a:gd name="connsiteY3" fmla="*/ 0 h 21789"/>
                    <a:gd name="connsiteX4" fmla="*/ 39525 w 39524"/>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4" h="21789">
                      <a:moveTo>
                        <a:pt x="39525" y="10895"/>
                      </a:moveTo>
                      <a:cubicBezTo>
                        <a:pt x="39525" y="16975"/>
                        <a:pt x="30657" y="21789"/>
                        <a:pt x="19762" y="21789"/>
                      </a:cubicBezTo>
                      <a:cubicBezTo>
                        <a:pt x="8867" y="21789"/>
                        <a:pt x="0" y="16975"/>
                        <a:pt x="0" y="10895"/>
                      </a:cubicBezTo>
                      <a:cubicBezTo>
                        <a:pt x="0" y="4941"/>
                        <a:pt x="8867" y="0"/>
                        <a:pt x="19762" y="0"/>
                      </a:cubicBezTo>
                      <a:cubicBezTo>
                        <a:pt x="30657" y="0"/>
                        <a:pt x="39525" y="4941"/>
                        <a:pt x="39525"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3" name="Полилиния: фигура 592">
                  <a:extLst>
                    <a:ext uri="{FF2B5EF4-FFF2-40B4-BE49-F238E27FC236}">
                      <a16:creationId xmlns:a16="http://schemas.microsoft.com/office/drawing/2014/main" id="{F0BEDC4F-1642-4057-ABC6-FE745BEBC531}"/>
                    </a:ext>
                  </a:extLst>
                </p:cNvPr>
                <p:cNvSpPr/>
                <p:nvPr/>
              </p:nvSpPr>
              <p:spPr>
                <a:xfrm>
                  <a:off x="7379719" y="1762455"/>
                  <a:ext cx="10388" cy="13428"/>
                </a:xfrm>
                <a:custGeom>
                  <a:avLst/>
                  <a:gdLst>
                    <a:gd name="connsiteX0" fmla="*/ 10388 w 10388"/>
                    <a:gd name="connsiteY0" fmla="*/ 6714 h 13428"/>
                    <a:gd name="connsiteX1" fmla="*/ 5194 w 10388"/>
                    <a:gd name="connsiteY1" fmla="*/ 13428 h 13428"/>
                    <a:gd name="connsiteX2" fmla="*/ 0 w 10388"/>
                    <a:gd name="connsiteY2" fmla="*/ 6714 h 13428"/>
                    <a:gd name="connsiteX3" fmla="*/ 5194 w 10388"/>
                    <a:gd name="connsiteY3" fmla="*/ 0 h 13428"/>
                    <a:gd name="connsiteX4" fmla="*/ 10388 w 10388"/>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428">
                      <a:moveTo>
                        <a:pt x="10388" y="6714"/>
                      </a:moveTo>
                      <a:cubicBezTo>
                        <a:pt x="10388" y="10388"/>
                        <a:pt x="8107" y="13428"/>
                        <a:pt x="5194" y="13428"/>
                      </a:cubicBezTo>
                      <a:cubicBezTo>
                        <a:pt x="2280" y="13428"/>
                        <a:pt x="0" y="10388"/>
                        <a:pt x="0" y="6714"/>
                      </a:cubicBezTo>
                      <a:cubicBezTo>
                        <a:pt x="0" y="3040"/>
                        <a:pt x="2280" y="0"/>
                        <a:pt x="5194" y="0"/>
                      </a:cubicBezTo>
                      <a:cubicBezTo>
                        <a:pt x="8107" y="0"/>
                        <a:pt x="10388" y="3040"/>
                        <a:pt x="10388" y="67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4" name="Полилиния: фигура 593">
                  <a:extLst>
                    <a:ext uri="{FF2B5EF4-FFF2-40B4-BE49-F238E27FC236}">
                      <a16:creationId xmlns:a16="http://schemas.microsoft.com/office/drawing/2014/main" id="{DDBACD25-331C-40CD-A8AF-B7A0BC8A9213}"/>
                    </a:ext>
                  </a:extLst>
                </p:cNvPr>
                <p:cNvSpPr/>
                <p:nvPr/>
              </p:nvSpPr>
              <p:spPr>
                <a:xfrm>
                  <a:off x="7352988" y="1754094"/>
                  <a:ext cx="8867" cy="8361"/>
                </a:xfrm>
                <a:custGeom>
                  <a:avLst/>
                  <a:gdLst>
                    <a:gd name="connsiteX0" fmla="*/ 8868 w 8867"/>
                    <a:gd name="connsiteY0" fmla="*/ 4181 h 8361"/>
                    <a:gd name="connsiteX1" fmla="*/ 4434 w 8867"/>
                    <a:gd name="connsiteY1" fmla="*/ 8361 h 8361"/>
                    <a:gd name="connsiteX2" fmla="*/ 0 w 8867"/>
                    <a:gd name="connsiteY2" fmla="*/ 4181 h 8361"/>
                    <a:gd name="connsiteX3" fmla="*/ 4434 w 8867"/>
                    <a:gd name="connsiteY3" fmla="*/ 0 h 8361"/>
                    <a:gd name="connsiteX4" fmla="*/ 8868 w 8867"/>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8361">
                      <a:moveTo>
                        <a:pt x="8868" y="4181"/>
                      </a:moveTo>
                      <a:cubicBezTo>
                        <a:pt x="8868" y="6588"/>
                        <a:pt x="6841" y="8361"/>
                        <a:pt x="4434" y="8361"/>
                      </a:cubicBezTo>
                      <a:cubicBezTo>
                        <a:pt x="2027" y="8361"/>
                        <a:pt x="0" y="6461"/>
                        <a:pt x="0" y="4181"/>
                      </a:cubicBezTo>
                      <a:cubicBezTo>
                        <a:pt x="0" y="1900"/>
                        <a:pt x="2027" y="0"/>
                        <a:pt x="4434" y="0"/>
                      </a:cubicBezTo>
                      <a:cubicBezTo>
                        <a:pt x="6841" y="0"/>
                        <a:pt x="8868" y="1900"/>
                        <a:pt x="8868"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5" name="Полилиния: фигура 594">
                  <a:extLst>
                    <a:ext uri="{FF2B5EF4-FFF2-40B4-BE49-F238E27FC236}">
                      <a16:creationId xmlns:a16="http://schemas.microsoft.com/office/drawing/2014/main" id="{A099809C-5A1F-4075-B636-56A4771B0EBC}"/>
                    </a:ext>
                  </a:extLst>
                </p:cNvPr>
                <p:cNvSpPr/>
                <p:nvPr/>
              </p:nvSpPr>
              <p:spPr>
                <a:xfrm>
                  <a:off x="7327272" y="1745226"/>
                  <a:ext cx="8360" cy="13174"/>
                </a:xfrm>
                <a:custGeom>
                  <a:avLst/>
                  <a:gdLst>
                    <a:gd name="connsiteX0" fmla="*/ 8361 w 8360"/>
                    <a:gd name="connsiteY0" fmla="*/ 6587 h 13174"/>
                    <a:gd name="connsiteX1" fmla="*/ 4181 w 8360"/>
                    <a:gd name="connsiteY1" fmla="*/ 13175 h 13174"/>
                    <a:gd name="connsiteX2" fmla="*/ 0 w 8360"/>
                    <a:gd name="connsiteY2" fmla="*/ 6587 h 13174"/>
                    <a:gd name="connsiteX3" fmla="*/ 4181 w 8360"/>
                    <a:gd name="connsiteY3" fmla="*/ 0 h 13174"/>
                    <a:gd name="connsiteX4" fmla="*/ 8361 w 8360"/>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3174">
                      <a:moveTo>
                        <a:pt x="8361" y="6587"/>
                      </a:moveTo>
                      <a:cubicBezTo>
                        <a:pt x="8361" y="10261"/>
                        <a:pt x="6461" y="13175"/>
                        <a:pt x="4181" y="13175"/>
                      </a:cubicBezTo>
                      <a:cubicBezTo>
                        <a:pt x="1901" y="13175"/>
                        <a:pt x="0" y="10261"/>
                        <a:pt x="0" y="6587"/>
                      </a:cubicBezTo>
                      <a:cubicBezTo>
                        <a:pt x="0" y="2914"/>
                        <a:pt x="1901" y="0"/>
                        <a:pt x="4181" y="0"/>
                      </a:cubicBezTo>
                      <a:cubicBezTo>
                        <a:pt x="6461" y="0"/>
                        <a:pt x="8361" y="2914"/>
                        <a:pt x="8361" y="6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6" name="Полилиния: фигура 595">
                  <a:extLst>
                    <a:ext uri="{FF2B5EF4-FFF2-40B4-BE49-F238E27FC236}">
                      <a16:creationId xmlns:a16="http://schemas.microsoft.com/office/drawing/2014/main" id="{F626B7FB-93BB-4410-A4F0-9907B8862982}"/>
                    </a:ext>
                  </a:extLst>
                </p:cNvPr>
                <p:cNvSpPr/>
                <p:nvPr/>
              </p:nvSpPr>
              <p:spPr>
                <a:xfrm>
                  <a:off x="7317898" y="1727871"/>
                  <a:ext cx="9374" cy="17228"/>
                </a:xfrm>
                <a:custGeom>
                  <a:avLst/>
                  <a:gdLst>
                    <a:gd name="connsiteX0" fmla="*/ 9374 w 9374"/>
                    <a:gd name="connsiteY0" fmla="*/ 8614 h 17228"/>
                    <a:gd name="connsiteX1" fmla="*/ 4687 w 9374"/>
                    <a:gd name="connsiteY1" fmla="*/ 17229 h 17228"/>
                    <a:gd name="connsiteX2" fmla="*/ 0 w 9374"/>
                    <a:gd name="connsiteY2" fmla="*/ 8614 h 17228"/>
                    <a:gd name="connsiteX3" fmla="*/ 4687 w 9374"/>
                    <a:gd name="connsiteY3" fmla="*/ 0 h 17228"/>
                    <a:gd name="connsiteX4" fmla="*/ 9374 w 9374"/>
                    <a:gd name="connsiteY4" fmla="*/ 8614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7228">
                      <a:moveTo>
                        <a:pt x="9374" y="8614"/>
                      </a:moveTo>
                      <a:cubicBezTo>
                        <a:pt x="9374" y="13428"/>
                        <a:pt x="7221" y="17229"/>
                        <a:pt x="4687" y="17229"/>
                      </a:cubicBezTo>
                      <a:cubicBezTo>
                        <a:pt x="2153" y="17229"/>
                        <a:pt x="0" y="13302"/>
                        <a:pt x="0" y="8614"/>
                      </a:cubicBezTo>
                      <a:cubicBezTo>
                        <a:pt x="0" y="3801"/>
                        <a:pt x="2153" y="0"/>
                        <a:pt x="4687" y="0"/>
                      </a:cubicBezTo>
                      <a:cubicBezTo>
                        <a:pt x="7221" y="0"/>
                        <a:pt x="9374" y="3927"/>
                        <a:pt x="9374" y="86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7" name="Полилиния: фигура 596">
                  <a:extLst>
                    <a:ext uri="{FF2B5EF4-FFF2-40B4-BE49-F238E27FC236}">
                      <a16:creationId xmlns:a16="http://schemas.microsoft.com/office/drawing/2014/main" id="{0AF7ECCA-AF97-42FA-961C-4DB48D11FB68}"/>
                    </a:ext>
                  </a:extLst>
                </p:cNvPr>
                <p:cNvSpPr/>
                <p:nvPr/>
              </p:nvSpPr>
              <p:spPr>
                <a:xfrm>
                  <a:off x="7339180" y="1715076"/>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7981" y="8868"/>
                        <a:pt x="5194" y="8868"/>
                      </a:cubicBezTo>
                      <a:cubicBezTo>
                        <a:pt x="2280" y="8868"/>
                        <a:pt x="0" y="6841"/>
                        <a:pt x="0" y="4434"/>
                      </a:cubicBezTo>
                      <a:cubicBezTo>
                        <a:pt x="0" y="2027"/>
                        <a:pt x="2280" y="0"/>
                        <a:pt x="5194" y="0"/>
                      </a:cubicBezTo>
                      <a:cubicBezTo>
                        <a:pt x="7981" y="0"/>
                        <a:pt x="10388" y="1900"/>
                        <a:pt x="10388" y="44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8" name="Полилиния: фигура 597">
                  <a:extLst>
                    <a:ext uri="{FF2B5EF4-FFF2-40B4-BE49-F238E27FC236}">
                      <a16:creationId xmlns:a16="http://schemas.microsoft.com/office/drawing/2014/main" id="{DC66EE30-7C4A-4FA1-8FAC-CEE0877C4187}"/>
                    </a:ext>
                  </a:extLst>
                </p:cNvPr>
                <p:cNvSpPr/>
                <p:nvPr/>
              </p:nvSpPr>
              <p:spPr>
                <a:xfrm>
                  <a:off x="7327513" y="1637602"/>
                  <a:ext cx="88754" cy="87981"/>
                </a:xfrm>
                <a:custGeom>
                  <a:avLst/>
                  <a:gdLst>
                    <a:gd name="connsiteX0" fmla="*/ 7233 w 88754"/>
                    <a:gd name="connsiteY0" fmla="*/ 39343 h 87981"/>
                    <a:gd name="connsiteX1" fmla="*/ 5840 w 88754"/>
                    <a:gd name="connsiteY1" fmla="*/ 3111 h 87981"/>
                    <a:gd name="connsiteX2" fmla="*/ 46378 w 88754"/>
                    <a:gd name="connsiteY2" fmla="*/ 19200 h 87981"/>
                    <a:gd name="connsiteX3" fmla="*/ 63607 w 88754"/>
                    <a:gd name="connsiteY3" fmla="*/ 36682 h 87981"/>
                    <a:gd name="connsiteX4" fmla="*/ 84510 w 88754"/>
                    <a:gd name="connsiteY4" fmla="*/ 50617 h 87981"/>
                    <a:gd name="connsiteX5" fmla="*/ 83876 w 88754"/>
                    <a:gd name="connsiteY5" fmla="*/ 74687 h 87981"/>
                    <a:gd name="connsiteX6" fmla="*/ 69561 w 88754"/>
                    <a:gd name="connsiteY6" fmla="*/ 84568 h 87981"/>
                    <a:gd name="connsiteX7" fmla="*/ 56513 w 88754"/>
                    <a:gd name="connsiteY7" fmla="*/ 87355 h 87981"/>
                    <a:gd name="connsiteX8" fmla="*/ 42197 w 88754"/>
                    <a:gd name="connsiteY8" fmla="*/ 74814 h 87981"/>
                    <a:gd name="connsiteX9" fmla="*/ 31557 w 88754"/>
                    <a:gd name="connsiteY9" fmla="*/ 67086 h 87981"/>
                    <a:gd name="connsiteX10" fmla="*/ 7233 w 88754"/>
                    <a:gd name="connsiteY10" fmla="*/ 39343 h 8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4" h="87981">
                      <a:moveTo>
                        <a:pt x="7233" y="39343"/>
                      </a:moveTo>
                      <a:cubicBezTo>
                        <a:pt x="1026" y="29208"/>
                        <a:pt x="-4675" y="12866"/>
                        <a:pt x="5840" y="3111"/>
                      </a:cubicBezTo>
                      <a:cubicBezTo>
                        <a:pt x="17241" y="-7403"/>
                        <a:pt x="38270" y="11472"/>
                        <a:pt x="46378" y="19200"/>
                      </a:cubicBezTo>
                      <a:cubicBezTo>
                        <a:pt x="52333" y="24901"/>
                        <a:pt x="57273" y="31362"/>
                        <a:pt x="63607" y="36682"/>
                      </a:cubicBezTo>
                      <a:cubicBezTo>
                        <a:pt x="70068" y="42003"/>
                        <a:pt x="78429" y="45043"/>
                        <a:pt x="84510" y="50617"/>
                      </a:cubicBezTo>
                      <a:cubicBezTo>
                        <a:pt x="91604" y="57078"/>
                        <a:pt x="88690" y="67593"/>
                        <a:pt x="83876" y="74687"/>
                      </a:cubicBezTo>
                      <a:cubicBezTo>
                        <a:pt x="80202" y="80134"/>
                        <a:pt x="75642" y="82541"/>
                        <a:pt x="69561" y="84568"/>
                      </a:cubicBezTo>
                      <a:cubicBezTo>
                        <a:pt x="65254" y="85962"/>
                        <a:pt x="60947" y="89382"/>
                        <a:pt x="56513" y="87355"/>
                      </a:cubicBezTo>
                      <a:cubicBezTo>
                        <a:pt x="50559" y="84695"/>
                        <a:pt x="46505" y="79501"/>
                        <a:pt x="42197" y="74814"/>
                      </a:cubicBezTo>
                      <a:cubicBezTo>
                        <a:pt x="38904" y="71393"/>
                        <a:pt x="35230" y="69873"/>
                        <a:pt x="31557" y="67086"/>
                      </a:cubicBezTo>
                      <a:cubicBezTo>
                        <a:pt x="21929" y="60372"/>
                        <a:pt x="13441" y="49351"/>
                        <a:pt x="7233" y="3934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599" name="Полилиния: фигура 598">
                  <a:extLst>
                    <a:ext uri="{FF2B5EF4-FFF2-40B4-BE49-F238E27FC236}">
                      <a16:creationId xmlns:a16="http://schemas.microsoft.com/office/drawing/2014/main" id="{0D54850A-13DD-4BDD-9FA5-D1F83A129100}"/>
                    </a:ext>
                  </a:extLst>
                </p:cNvPr>
                <p:cNvSpPr/>
                <p:nvPr/>
              </p:nvSpPr>
              <p:spPr>
                <a:xfrm>
                  <a:off x="7371720" y="1445619"/>
                  <a:ext cx="198668" cy="221190"/>
                </a:xfrm>
                <a:custGeom>
                  <a:avLst/>
                  <a:gdLst>
                    <a:gd name="connsiteX0" fmla="*/ 31435 w 198668"/>
                    <a:gd name="connsiteY0" fmla="*/ 212830 h 221190"/>
                    <a:gd name="connsiteX1" fmla="*/ 24595 w 198668"/>
                    <a:gd name="connsiteY1" fmla="*/ 187620 h 221190"/>
                    <a:gd name="connsiteX2" fmla="*/ 28014 w 198668"/>
                    <a:gd name="connsiteY2" fmla="*/ 167604 h 221190"/>
                    <a:gd name="connsiteX3" fmla="*/ 16487 w 198668"/>
                    <a:gd name="connsiteY3" fmla="*/ 164564 h 221190"/>
                    <a:gd name="connsiteX4" fmla="*/ 3312 w 198668"/>
                    <a:gd name="connsiteY4" fmla="*/ 158230 h 221190"/>
                    <a:gd name="connsiteX5" fmla="*/ 11673 w 198668"/>
                    <a:gd name="connsiteY5" fmla="*/ 133147 h 221190"/>
                    <a:gd name="connsiteX6" fmla="*/ 33462 w 198668"/>
                    <a:gd name="connsiteY6" fmla="*/ 107683 h 221190"/>
                    <a:gd name="connsiteX7" fmla="*/ 30042 w 198668"/>
                    <a:gd name="connsiteY7" fmla="*/ 80193 h 221190"/>
                    <a:gd name="connsiteX8" fmla="*/ 52845 w 198668"/>
                    <a:gd name="connsiteY8" fmla="*/ 64358 h 221190"/>
                    <a:gd name="connsiteX9" fmla="*/ 79574 w 198668"/>
                    <a:gd name="connsiteY9" fmla="*/ 48143 h 221190"/>
                    <a:gd name="connsiteX10" fmla="*/ 106431 w 198668"/>
                    <a:gd name="connsiteY10" fmla="*/ 38515 h 221190"/>
                    <a:gd name="connsiteX11" fmla="*/ 120746 w 198668"/>
                    <a:gd name="connsiteY11" fmla="*/ 19766 h 221190"/>
                    <a:gd name="connsiteX12" fmla="*/ 134682 w 198668"/>
                    <a:gd name="connsiteY12" fmla="*/ 3 h 221190"/>
                    <a:gd name="connsiteX13" fmla="*/ 155457 w 198668"/>
                    <a:gd name="connsiteY13" fmla="*/ 24833 h 221190"/>
                    <a:gd name="connsiteX14" fmla="*/ 158498 w 198668"/>
                    <a:gd name="connsiteY14" fmla="*/ 64865 h 221190"/>
                    <a:gd name="connsiteX15" fmla="*/ 191055 w 198668"/>
                    <a:gd name="connsiteY15" fmla="*/ 91721 h 221190"/>
                    <a:gd name="connsiteX16" fmla="*/ 192955 w 198668"/>
                    <a:gd name="connsiteY16" fmla="*/ 116805 h 221190"/>
                    <a:gd name="connsiteX17" fmla="*/ 175980 w 198668"/>
                    <a:gd name="connsiteY17" fmla="*/ 149995 h 221190"/>
                    <a:gd name="connsiteX18" fmla="*/ 170659 w 198668"/>
                    <a:gd name="connsiteY18" fmla="*/ 183440 h 221190"/>
                    <a:gd name="connsiteX19" fmla="*/ 142789 w 198668"/>
                    <a:gd name="connsiteY19" fmla="*/ 191927 h 221190"/>
                    <a:gd name="connsiteX20" fmla="*/ 113525 w 198668"/>
                    <a:gd name="connsiteY20" fmla="*/ 196234 h 221190"/>
                    <a:gd name="connsiteX21" fmla="*/ 90470 w 198668"/>
                    <a:gd name="connsiteY21" fmla="*/ 209536 h 221190"/>
                    <a:gd name="connsiteX22" fmla="*/ 62726 w 198668"/>
                    <a:gd name="connsiteY22" fmla="*/ 221191 h 221190"/>
                    <a:gd name="connsiteX23" fmla="*/ 31435 w 198668"/>
                    <a:gd name="connsiteY23" fmla="*/ 212830 h 22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8668" h="221190">
                      <a:moveTo>
                        <a:pt x="31435" y="212830"/>
                      </a:moveTo>
                      <a:cubicBezTo>
                        <a:pt x="21680" y="207256"/>
                        <a:pt x="21428" y="197375"/>
                        <a:pt x="24595" y="187620"/>
                      </a:cubicBezTo>
                      <a:cubicBezTo>
                        <a:pt x="26115" y="182553"/>
                        <a:pt x="33715" y="171785"/>
                        <a:pt x="28014" y="167604"/>
                      </a:cubicBezTo>
                      <a:cubicBezTo>
                        <a:pt x="25101" y="165451"/>
                        <a:pt x="19781" y="165451"/>
                        <a:pt x="16487" y="164564"/>
                      </a:cubicBezTo>
                      <a:cubicBezTo>
                        <a:pt x="11800" y="163424"/>
                        <a:pt x="6732" y="161777"/>
                        <a:pt x="3312" y="158230"/>
                      </a:cubicBezTo>
                      <a:cubicBezTo>
                        <a:pt x="-5303" y="149489"/>
                        <a:pt x="4832" y="138974"/>
                        <a:pt x="11673" y="133147"/>
                      </a:cubicBezTo>
                      <a:cubicBezTo>
                        <a:pt x="19907" y="126179"/>
                        <a:pt x="32195" y="119592"/>
                        <a:pt x="33462" y="107683"/>
                      </a:cubicBezTo>
                      <a:cubicBezTo>
                        <a:pt x="34475" y="98436"/>
                        <a:pt x="27762" y="89188"/>
                        <a:pt x="30042" y="80193"/>
                      </a:cubicBezTo>
                      <a:cubicBezTo>
                        <a:pt x="32449" y="70945"/>
                        <a:pt x="45244" y="67905"/>
                        <a:pt x="52845" y="64358"/>
                      </a:cubicBezTo>
                      <a:cubicBezTo>
                        <a:pt x="62599" y="59924"/>
                        <a:pt x="70580" y="53717"/>
                        <a:pt x="79574" y="48143"/>
                      </a:cubicBezTo>
                      <a:cubicBezTo>
                        <a:pt x="88063" y="42949"/>
                        <a:pt x="97310" y="41682"/>
                        <a:pt x="106431" y="38515"/>
                      </a:cubicBezTo>
                      <a:cubicBezTo>
                        <a:pt x="115932" y="35221"/>
                        <a:pt x="118973" y="29140"/>
                        <a:pt x="120746" y="19766"/>
                      </a:cubicBezTo>
                      <a:cubicBezTo>
                        <a:pt x="122266" y="11531"/>
                        <a:pt x="124167" y="130"/>
                        <a:pt x="134682" y="3"/>
                      </a:cubicBezTo>
                      <a:cubicBezTo>
                        <a:pt x="147477" y="-250"/>
                        <a:pt x="154064" y="14192"/>
                        <a:pt x="155457" y="24833"/>
                      </a:cubicBezTo>
                      <a:cubicBezTo>
                        <a:pt x="157104" y="37881"/>
                        <a:pt x="152164" y="52703"/>
                        <a:pt x="158498" y="64865"/>
                      </a:cubicBezTo>
                      <a:cubicBezTo>
                        <a:pt x="165085" y="77660"/>
                        <a:pt x="180414" y="83107"/>
                        <a:pt x="191055" y="91721"/>
                      </a:cubicBezTo>
                      <a:cubicBezTo>
                        <a:pt x="201063" y="99829"/>
                        <a:pt x="200683" y="107303"/>
                        <a:pt x="192955" y="116805"/>
                      </a:cubicBezTo>
                      <a:cubicBezTo>
                        <a:pt x="184595" y="127193"/>
                        <a:pt x="177500" y="136314"/>
                        <a:pt x="175980" y="149995"/>
                      </a:cubicBezTo>
                      <a:cubicBezTo>
                        <a:pt x="174840" y="160510"/>
                        <a:pt x="177626" y="174572"/>
                        <a:pt x="170659" y="183440"/>
                      </a:cubicBezTo>
                      <a:cubicBezTo>
                        <a:pt x="164325" y="191421"/>
                        <a:pt x="152037" y="191294"/>
                        <a:pt x="142789" y="191927"/>
                      </a:cubicBezTo>
                      <a:cubicBezTo>
                        <a:pt x="133035" y="192687"/>
                        <a:pt x="123153" y="194714"/>
                        <a:pt x="113525" y="196234"/>
                      </a:cubicBezTo>
                      <a:cubicBezTo>
                        <a:pt x="104911" y="197501"/>
                        <a:pt x="97310" y="204596"/>
                        <a:pt x="90470" y="209536"/>
                      </a:cubicBezTo>
                      <a:cubicBezTo>
                        <a:pt x="82362" y="215490"/>
                        <a:pt x="73113" y="220938"/>
                        <a:pt x="62726" y="221191"/>
                      </a:cubicBezTo>
                      <a:cubicBezTo>
                        <a:pt x="52971" y="221191"/>
                        <a:pt x="39797" y="217644"/>
                        <a:pt x="31435" y="2128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0" name="Полилиния: фигура 599">
                  <a:extLst>
                    <a:ext uri="{FF2B5EF4-FFF2-40B4-BE49-F238E27FC236}">
                      <a16:creationId xmlns:a16="http://schemas.microsoft.com/office/drawing/2014/main" id="{305FD5DB-99F5-492D-8B14-8AEBB892E839}"/>
                    </a:ext>
                  </a:extLst>
                </p:cNvPr>
                <p:cNvSpPr/>
                <p:nvPr/>
              </p:nvSpPr>
              <p:spPr>
                <a:xfrm>
                  <a:off x="7402238" y="1651734"/>
                  <a:ext cx="242889" cy="253326"/>
                </a:xfrm>
                <a:custGeom>
                  <a:avLst/>
                  <a:gdLst>
                    <a:gd name="connsiteX0" fmla="*/ 17132 w 242889"/>
                    <a:gd name="connsiteY0" fmla="*/ 105021 h 253326"/>
                    <a:gd name="connsiteX1" fmla="*/ 3956 w 242889"/>
                    <a:gd name="connsiteY1" fmla="*/ 82091 h 253326"/>
                    <a:gd name="connsiteX2" fmla="*/ 44875 w 242889"/>
                    <a:gd name="connsiteY2" fmla="*/ 58781 h 253326"/>
                    <a:gd name="connsiteX3" fmla="*/ 62991 w 242889"/>
                    <a:gd name="connsiteY3" fmla="*/ 28378 h 253326"/>
                    <a:gd name="connsiteX4" fmla="*/ 94788 w 242889"/>
                    <a:gd name="connsiteY4" fmla="*/ 9249 h 253326"/>
                    <a:gd name="connsiteX5" fmla="*/ 135453 w 242889"/>
                    <a:gd name="connsiteY5" fmla="*/ 1 h 253326"/>
                    <a:gd name="connsiteX6" fmla="*/ 152682 w 242889"/>
                    <a:gd name="connsiteY6" fmla="*/ 30278 h 253326"/>
                    <a:gd name="connsiteX7" fmla="*/ 147108 w 242889"/>
                    <a:gd name="connsiteY7" fmla="*/ 57641 h 253326"/>
                    <a:gd name="connsiteX8" fmla="*/ 145714 w 242889"/>
                    <a:gd name="connsiteY8" fmla="*/ 75630 h 253326"/>
                    <a:gd name="connsiteX9" fmla="*/ 166237 w 242889"/>
                    <a:gd name="connsiteY9" fmla="*/ 59795 h 253326"/>
                    <a:gd name="connsiteX10" fmla="*/ 193220 w 242889"/>
                    <a:gd name="connsiteY10" fmla="*/ 31671 h 253326"/>
                    <a:gd name="connsiteX11" fmla="*/ 224384 w 242889"/>
                    <a:gd name="connsiteY11" fmla="*/ 46113 h 253326"/>
                    <a:gd name="connsiteX12" fmla="*/ 242627 w 242889"/>
                    <a:gd name="connsiteY12" fmla="*/ 76517 h 253326"/>
                    <a:gd name="connsiteX13" fmla="*/ 240093 w 242889"/>
                    <a:gd name="connsiteY13" fmla="*/ 114142 h 253326"/>
                    <a:gd name="connsiteX14" fmla="*/ 222991 w 242889"/>
                    <a:gd name="connsiteY14" fmla="*/ 142519 h 253326"/>
                    <a:gd name="connsiteX15" fmla="*/ 210829 w 242889"/>
                    <a:gd name="connsiteY15" fmla="*/ 160888 h 253326"/>
                    <a:gd name="connsiteX16" fmla="*/ 239966 w 242889"/>
                    <a:gd name="connsiteY16" fmla="*/ 189011 h 253326"/>
                    <a:gd name="connsiteX17" fmla="*/ 219824 w 242889"/>
                    <a:gd name="connsiteY17" fmla="*/ 218655 h 253326"/>
                    <a:gd name="connsiteX18" fmla="*/ 200441 w 242889"/>
                    <a:gd name="connsiteY18" fmla="*/ 241711 h 253326"/>
                    <a:gd name="connsiteX19" fmla="*/ 170417 w 242889"/>
                    <a:gd name="connsiteY19" fmla="*/ 246398 h 253326"/>
                    <a:gd name="connsiteX20" fmla="*/ 144321 w 242889"/>
                    <a:gd name="connsiteY20" fmla="*/ 252859 h 253326"/>
                    <a:gd name="connsiteX21" fmla="*/ 130133 w 242889"/>
                    <a:gd name="connsiteY21" fmla="*/ 233223 h 253326"/>
                    <a:gd name="connsiteX22" fmla="*/ 117464 w 242889"/>
                    <a:gd name="connsiteY22" fmla="*/ 214601 h 253326"/>
                    <a:gd name="connsiteX23" fmla="*/ 98589 w 242889"/>
                    <a:gd name="connsiteY23" fmla="*/ 207380 h 253326"/>
                    <a:gd name="connsiteX24" fmla="*/ 80853 w 242889"/>
                    <a:gd name="connsiteY24" fmla="*/ 206747 h 253326"/>
                    <a:gd name="connsiteX25" fmla="*/ 71478 w 242889"/>
                    <a:gd name="connsiteY25" fmla="*/ 192178 h 253326"/>
                    <a:gd name="connsiteX26" fmla="*/ 56403 w 242889"/>
                    <a:gd name="connsiteY26" fmla="*/ 184197 h 253326"/>
                    <a:gd name="connsiteX27" fmla="*/ 44115 w 242889"/>
                    <a:gd name="connsiteY27" fmla="*/ 173302 h 253326"/>
                    <a:gd name="connsiteX28" fmla="*/ 32333 w 242889"/>
                    <a:gd name="connsiteY28" fmla="*/ 131117 h 253326"/>
                    <a:gd name="connsiteX29" fmla="*/ 17132 w 242889"/>
                    <a:gd name="connsiteY29" fmla="*/ 105021 h 2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889" h="253326">
                      <a:moveTo>
                        <a:pt x="17132" y="105021"/>
                      </a:moveTo>
                      <a:cubicBezTo>
                        <a:pt x="5984" y="100840"/>
                        <a:pt x="-6558" y="95266"/>
                        <a:pt x="3956" y="82091"/>
                      </a:cubicBezTo>
                      <a:cubicBezTo>
                        <a:pt x="14471" y="69043"/>
                        <a:pt x="31067" y="66762"/>
                        <a:pt x="44875" y="58781"/>
                      </a:cubicBezTo>
                      <a:cubicBezTo>
                        <a:pt x="56023" y="52321"/>
                        <a:pt x="57036" y="38639"/>
                        <a:pt x="62991" y="28378"/>
                      </a:cubicBezTo>
                      <a:cubicBezTo>
                        <a:pt x="70212" y="15836"/>
                        <a:pt x="81486" y="12036"/>
                        <a:pt x="94788" y="9249"/>
                      </a:cubicBezTo>
                      <a:cubicBezTo>
                        <a:pt x="108090" y="6588"/>
                        <a:pt x="121898" y="1"/>
                        <a:pt x="135453" y="1"/>
                      </a:cubicBezTo>
                      <a:cubicBezTo>
                        <a:pt x="152556" y="-126"/>
                        <a:pt x="154329" y="16723"/>
                        <a:pt x="152682" y="30278"/>
                      </a:cubicBezTo>
                      <a:cubicBezTo>
                        <a:pt x="151542" y="39526"/>
                        <a:pt x="149008" y="48647"/>
                        <a:pt x="147108" y="57641"/>
                      </a:cubicBezTo>
                      <a:cubicBezTo>
                        <a:pt x="146095" y="62329"/>
                        <a:pt x="143180" y="71070"/>
                        <a:pt x="145714" y="75630"/>
                      </a:cubicBezTo>
                      <a:cubicBezTo>
                        <a:pt x="150782" y="85005"/>
                        <a:pt x="163957" y="63215"/>
                        <a:pt x="166237" y="59795"/>
                      </a:cubicBezTo>
                      <a:cubicBezTo>
                        <a:pt x="172571" y="50167"/>
                        <a:pt x="180172" y="33445"/>
                        <a:pt x="193220" y="31671"/>
                      </a:cubicBezTo>
                      <a:cubicBezTo>
                        <a:pt x="204241" y="30151"/>
                        <a:pt x="216276" y="39652"/>
                        <a:pt x="224384" y="46113"/>
                      </a:cubicBezTo>
                      <a:cubicBezTo>
                        <a:pt x="234139" y="53967"/>
                        <a:pt x="241613" y="63595"/>
                        <a:pt x="242627" y="76517"/>
                      </a:cubicBezTo>
                      <a:cubicBezTo>
                        <a:pt x="243640" y="88805"/>
                        <a:pt x="241486" y="101980"/>
                        <a:pt x="240093" y="114142"/>
                      </a:cubicBezTo>
                      <a:cubicBezTo>
                        <a:pt x="238700" y="126810"/>
                        <a:pt x="234012" y="135678"/>
                        <a:pt x="222991" y="142519"/>
                      </a:cubicBezTo>
                      <a:cubicBezTo>
                        <a:pt x="216023" y="146826"/>
                        <a:pt x="201708" y="151513"/>
                        <a:pt x="210829" y="160888"/>
                      </a:cubicBezTo>
                      <a:cubicBezTo>
                        <a:pt x="219317" y="169502"/>
                        <a:pt x="237686" y="175709"/>
                        <a:pt x="239966" y="189011"/>
                      </a:cubicBezTo>
                      <a:cubicBezTo>
                        <a:pt x="241993" y="200666"/>
                        <a:pt x="226284" y="210927"/>
                        <a:pt x="219824" y="218655"/>
                      </a:cubicBezTo>
                      <a:cubicBezTo>
                        <a:pt x="213616" y="226256"/>
                        <a:pt x="209689" y="237150"/>
                        <a:pt x="200441" y="241711"/>
                      </a:cubicBezTo>
                      <a:cubicBezTo>
                        <a:pt x="190686" y="246398"/>
                        <a:pt x="180679" y="244751"/>
                        <a:pt x="170417" y="246398"/>
                      </a:cubicBezTo>
                      <a:cubicBezTo>
                        <a:pt x="162563" y="247665"/>
                        <a:pt x="152048" y="255266"/>
                        <a:pt x="144321" y="252859"/>
                      </a:cubicBezTo>
                      <a:cubicBezTo>
                        <a:pt x="136973" y="250579"/>
                        <a:pt x="133300" y="239304"/>
                        <a:pt x="130133" y="233223"/>
                      </a:cubicBezTo>
                      <a:cubicBezTo>
                        <a:pt x="126839" y="226762"/>
                        <a:pt x="123292" y="219288"/>
                        <a:pt x="117464" y="214601"/>
                      </a:cubicBezTo>
                      <a:cubicBezTo>
                        <a:pt x="112523" y="210674"/>
                        <a:pt x="104669" y="208647"/>
                        <a:pt x="98589" y="207380"/>
                      </a:cubicBezTo>
                      <a:cubicBezTo>
                        <a:pt x="93267" y="206240"/>
                        <a:pt x="85667" y="209027"/>
                        <a:pt x="80853" y="206747"/>
                      </a:cubicBezTo>
                      <a:cubicBezTo>
                        <a:pt x="75532" y="204340"/>
                        <a:pt x="74899" y="196359"/>
                        <a:pt x="71478" y="192178"/>
                      </a:cubicBezTo>
                      <a:cubicBezTo>
                        <a:pt x="67551" y="187364"/>
                        <a:pt x="61977" y="186097"/>
                        <a:pt x="56403" y="184197"/>
                      </a:cubicBezTo>
                      <a:cubicBezTo>
                        <a:pt x="50450" y="182170"/>
                        <a:pt x="47282" y="178623"/>
                        <a:pt x="44115" y="173302"/>
                      </a:cubicBezTo>
                      <a:cubicBezTo>
                        <a:pt x="36514" y="160888"/>
                        <a:pt x="33347" y="145559"/>
                        <a:pt x="32333" y="131117"/>
                      </a:cubicBezTo>
                      <a:cubicBezTo>
                        <a:pt x="31573" y="119209"/>
                        <a:pt x="30053" y="109835"/>
                        <a:pt x="17132" y="10502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1" name="Полилиния: фигура 600">
                  <a:extLst>
                    <a:ext uri="{FF2B5EF4-FFF2-40B4-BE49-F238E27FC236}">
                      <a16:creationId xmlns:a16="http://schemas.microsoft.com/office/drawing/2014/main" id="{4EDFDCB1-A985-4701-9B11-DAB2E52D54A3}"/>
                    </a:ext>
                  </a:extLst>
                </p:cNvPr>
                <p:cNvSpPr/>
                <p:nvPr/>
              </p:nvSpPr>
              <p:spPr>
                <a:xfrm>
                  <a:off x="7619341" y="1781808"/>
                  <a:ext cx="239916" cy="243868"/>
                </a:xfrm>
                <a:custGeom>
                  <a:avLst/>
                  <a:gdLst>
                    <a:gd name="connsiteX0" fmla="*/ 7789 w 239916"/>
                    <a:gd name="connsiteY0" fmla="*/ 239206 h 243868"/>
                    <a:gd name="connsiteX1" fmla="*/ 9562 w 239916"/>
                    <a:gd name="connsiteY1" fmla="*/ 214883 h 243868"/>
                    <a:gd name="connsiteX2" fmla="*/ 21977 w 239916"/>
                    <a:gd name="connsiteY2" fmla="*/ 168771 h 243868"/>
                    <a:gd name="connsiteX3" fmla="*/ 44146 w 239916"/>
                    <a:gd name="connsiteY3" fmla="*/ 135707 h 243868"/>
                    <a:gd name="connsiteX4" fmla="*/ 66823 w 239916"/>
                    <a:gd name="connsiteY4" fmla="*/ 105303 h 243868"/>
                    <a:gd name="connsiteX5" fmla="*/ 72144 w 239916"/>
                    <a:gd name="connsiteY5" fmla="*/ 67932 h 243868"/>
                    <a:gd name="connsiteX6" fmla="*/ 71763 w 239916"/>
                    <a:gd name="connsiteY6" fmla="*/ 27013 h 243868"/>
                    <a:gd name="connsiteX7" fmla="*/ 77084 w 239916"/>
                    <a:gd name="connsiteY7" fmla="*/ 12191 h 243868"/>
                    <a:gd name="connsiteX8" fmla="*/ 89879 w 239916"/>
                    <a:gd name="connsiteY8" fmla="*/ 16118 h 243868"/>
                    <a:gd name="connsiteX9" fmla="*/ 118889 w 239916"/>
                    <a:gd name="connsiteY9" fmla="*/ 4084 h 243868"/>
                    <a:gd name="connsiteX10" fmla="*/ 140932 w 239916"/>
                    <a:gd name="connsiteY10" fmla="*/ 27647 h 243868"/>
                    <a:gd name="connsiteX11" fmla="*/ 142199 w 239916"/>
                    <a:gd name="connsiteY11" fmla="*/ 55390 h 243868"/>
                    <a:gd name="connsiteX12" fmla="*/ 150560 w 239916"/>
                    <a:gd name="connsiteY12" fmla="*/ 57797 h 243868"/>
                    <a:gd name="connsiteX13" fmla="*/ 193885 w 239916"/>
                    <a:gd name="connsiteY13" fmla="*/ 54377 h 243868"/>
                    <a:gd name="connsiteX14" fmla="*/ 197812 w 239916"/>
                    <a:gd name="connsiteY14" fmla="*/ 90734 h 243868"/>
                    <a:gd name="connsiteX15" fmla="*/ 227456 w 239916"/>
                    <a:gd name="connsiteY15" fmla="*/ 104796 h 243868"/>
                    <a:gd name="connsiteX16" fmla="*/ 238224 w 239916"/>
                    <a:gd name="connsiteY16" fmla="*/ 135327 h 243868"/>
                    <a:gd name="connsiteX17" fmla="*/ 223276 w 239916"/>
                    <a:gd name="connsiteY17" fmla="*/ 177259 h 243868"/>
                    <a:gd name="connsiteX18" fmla="*/ 190718 w 239916"/>
                    <a:gd name="connsiteY18" fmla="*/ 190814 h 243868"/>
                    <a:gd name="connsiteX19" fmla="*/ 123956 w 239916"/>
                    <a:gd name="connsiteY19" fmla="*/ 207789 h 243868"/>
                    <a:gd name="connsiteX20" fmla="*/ 92286 w 239916"/>
                    <a:gd name="connsiteY20" fmla="*/ 216657 h 243868"/>
                    <a:gd name="connsiteX21" fmla="*/ 77718 w 239916"/>
                    <a:gd name="connsiteY21" fmla="*/ 229072 h 243868"/>
                    <a:gd name="connsiteX22" fmla="*/ 44654 w 239916"/>
                    <a:gd name="connsiteY22" fmla="*/ 242373 h 243868"/>
                    <a:gd name="connsiteX23" fmla="*/ 7789 w 239916"/>
                    <a:gd name="connsiteY23" fmla="*/ 239206 h 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916" h="243868">
                      <a:moveTo>
                        <a:pt x="7789" y="239206"/>
                      </a:moveTo>
                      <a:cubicBezTo>
                        <a:pt x="-6779" y="232492"/>
                        <a:pt x="2215" y="223498"/>
                        <a:pt x="9562" y="214883"/>
                      </a:cubicBezTo>
                      <a:cubicBezTo>
                        <a:pt x="21344" y="200821"/>
                        <a:pt x="21471" y="186253"/>
                        <a:pt x="21977" y="168771"/>
                      </a:cubicBezTo>
                      <a:cubicBezTo>
                        <a:pt x="22357" y="151415"/>
                        <a:pt x="27931" y="142041"/>
                        <a:pt x="44146" y="135707"/>
                      </a:cubicBezTo>
                      <a:cubicBezTo>
                        <a:pt x="59475" y="129753"/>
                        <a:pt x="65049" y="121772"/>
                        <a:pt x="66823" y="105303"/>
                      </a:cubicBezTo>
                      <a:cubicBezTo>
                        <a:pt x="68090" y="92508"/>
                        <a:pt x="69610" y="80473"/>
                        <a:pt x="72144" y="67932"/>
                      </a:cubicBezTo>
                      <a:cubicBezTo>
                        <a:pt x="74804" y="54503"/>
                        <a:pt x="71130" y="40695"/>
                        <a:pt x="71763" y="27013"/>
                      </a:cubicBezTo>
                      <a:cubicBezTo>
                        <a:pt x="72017" y="22579"/>
                        <a:pt x="72017" y="14345"/>
                        <a:pt x="77084" y="12191"/>
                      </a:cubicBezTo>
                      <a:cubicBezTo>
                        <a:pt x="81264" y="10418"/>
                        <a:pt x="86332" y="14472"/>
                        <a:pt x="89879" y="16118"/>
                      </a:cubicBezTo>
                      <a:cubicBezTo>
                        <a:pt x="103687" y="22579"/>
                        <a:pt x="109135" y="12445"/>
                        <a:pt x="118889" y="4084"/>
                      </a:cubicBezTo>
                      <a:cubicBezTo>
                        <a:pt x="135104" y="-9851"/>
                        <a:pt x="139792" y="15358"/>
                        <a:pt x="140932" y="27647"/>
                      </a:cubicBezTo>
                      <a:cubicBezTo>
                        <a:pt x="141692" y="36388"/>
                        <a:pt x="139792" y="47029"/>
                        <a:pt x="142199" y="55390"/>
                      </a:cubicBezTo>
                      <a:cubicBezTo>
                        <a:pt x="143719" y="60964"/>
                        <a:pt x="145619" y="60204"/>
                        <a:pt x="150560" y="57797"/>
                      </a:cubicBezTo>
                      <a:cubicBezTo>
                        <a:pt x="163228" y="51716"/>
                        <a:pt x="181850" y="40822"/>
                        <a:pt x="193885" y="54377"/>
                      </a:cubicBezTo>
                      <a:cubicBezTo>
                        <a:pt x="204146" y="66031"/>
                        <a:pt x="193885" y="78573"/>
                        <a:pt x="197812" y="90734"/>
                      </a:cubicBezTo>
                      <a:cubicBezTo>
                        <a:pt x="200979" y="100489"/>
                        <a:pt x="219602" y="101122"/>
                        <a:pt x="227456" y="104796"/>
                      </a:cubicBezTo>
                      <a:cubicBezTo>
                        <a:pt x="241012" y="111257"/>
                        <a:pt x="241518" y="122025"/>
                        <a:pt x="238224" y="135327"/>
                      </a:cubicBezTo>
                      <a:cubicBezTo>
                        <a:pt x="234930" y="148882"/>
                        <a:pt x="231384" y="165730"/>
                        <a:pt x="223276" y="177259"/>
                      </a:cubicBezTo>
                      <a:cubicBezTo>
                        <a:pt x="215675" y="188027"/>
                        <a:pt x="202626" y="189040"/>
                        <a:pt x="190718" y="190814"/>
                      </a:cubicBezTo>
                      <a:cubicBezTo>
                        <a:pt x="167915" y="194361"/>
                        <a:pt x="146000" y="201328"/>
                        <a:pt x="123956" y="207789"/>
                      </a:cubicBezTo>
                      <a:cubicBezTo>
                        <a:pt x="113695" y="210703"/>
                        <a:pt x="102040" y="212223"/>
                        <a:pt x="92286" y="216657"/>
                      </a:cubicBezTo>
                      <a:cubicBezTo>
                        <a:pt x="86205" y="219444"/>
                        <a:pt x="82784" y="224764"/>
                        <a:pt x="77718" y="229072"/>
                      </a:cubicBezTo>
                      <a:cubicBezTo>
                        <a:pt x="67710" y="237686"/>
                        <a:pt x="57068" y="239713"/>
                        <a:pt x="44654" y="242373"/>
                      </a:cubicBezTo>
                      <a:cubicBezTo>
                        <a:pt x="31985" y="244780"/>
                        <a:pt x="19697" y="244654"/>
                        <a:pt x="7789" y="23920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2" name="Полилиния: фигура 601">
                  <a:extLst>
                    <a:ext uri="{FF2B5EF4-FFF2-40B4-BE49-F238E27FC236}">
                      <a16:creationId xmlns:a16="http://schemas.microsoft.com/office/drawing/2014/main" id="{DA3EEDF8-6B2F-49D1-8D70-BF8FF99DF39A}"/>
                    </a:ext>
                  </a:extLst>
                </p:cNvPr>
                <p:cNvSpPr/>
                <p:nvPr/>
              </p:nvSpPr>
              <p:spPr>
                <a:xfrm>
                  <a:off x="6622306" y="3171212"/>
                  <a:ext cx="33689" cy="39517"/>
                </a:xfrm>
                <a:custGeom>
                  <a:avLst/>
                  <a:gdLst>
                    <a:gd name="connsiteX0" fmla="*/ 2132 w 33689"/>
                    <a:gd name="connsiteY0" fmla="*/ 38211 h 39517"/>
                    <a:gd name="connsiteX1" fmla="*/ 3145 w 33689"/>
                    <a:gd name="connsiteY1" fmla="*/ 24402 h 39517"/>
                    <a:gd name="connsiteX2" fmla="*/ 17334 w 33689"/>
                    <a:gd name="connsiteY2" fmla="*/ 4133 h 39517"/>
                    <a:gd name="connsiteX3" fmla="*/ 30255 w 33689"/>
                    <a:gd name="connsiteY3" fmla="*/ 713 h 39517"/>
                    <a:gd name="connsiteX4" fmla="*/ 28735 w 33689"/>
                    <a:gd name="connsiteY4" fmla="*/ 22249 h 39517"/>
                    <a:gd name="connsiteX5" fmla="*/ 15433 w 33689"/>
                    <a:gd name="connsiteY5" fmla="*/ 37451 h 39517"/>
                    <a:gd name="connsiteX6" fmla="*/ 2132 w 33689"/>
                    <a:gd name="connsiteY6" fmla="*/ 38211 h 3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9" h="39517">
                      <a:moveTo>
                        <a:pt x="2132" y="38211"/>
                      </a:moveTo>
                      <a:cubicBezTo>
                        <a:pt x="-2429" y="35170"/>
                        <a:pt x="1498" y="28076"/>
                        <a:pt x="3145" y="24402"/>
                      </a:cubicBezTo>
                      <a:cubicBezTo>
                        <a:pt x="6439" y="16928"/>
                        <a:pt x="10366" y="8820"/>
                        <a:pt x="17334" y="4133"/>
                      </a:cubicBezTo>
                      <a:cubicBezTo>
                        <a:pt x="21261" y="1346"/>
                        <a:pt x="25441" y="-1314"/>
                        <a:pt x="30255" y="713"/>
                      </a:cubicBezTo>
                      <a:cubicBezTo>
                        <a:pt x="37856" y="3880"/>
                        <a:pt x="30762" y="17562"/>
                        <a:pt x="28735" y="22249"/>
                      </a:cubicBezTo>
                      <a:cubicBezTo>
                        <a:pt x="25568" y="29596"/>
                        <a:pt x="23288" y="33904"/>
                        <a:pt x="15433" y="37451"/>
                      </a:cubicBezTo>
                      <a:cubicBezTo>
                        <a:pt x="11633" y="39098"/>
                        <a:pt x="5932" y="40744"/>
                        <a:pt x="2132" y="3821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3" name="Полилиния: фигура 602">
                  <a:extLst>
                    <a:ext uri="{FF2B5EF4-FFF2-40B4-BE49-F238E27FC236}">
                      <a16:creationId xmlns:a16="http://schemas.microsoft.com/office/drawing/2014/main" id="{D29C3B83-FA7A-43AE-95D4-B3857E40A932}"/>
                    </a:ext>
                  </a:extLst>
                </p:cNvPr>
                <p:cNvSpPr/>
                <p:nvPr/>
              </p:nvSpPr>
              <p:spPr>
                <a:xfrm>
                  <a:off x="6588128" y="3133328"/>
                  <a:ext cx="18877" cy="20305"/>
                </a:xfrm>
                <a:custGeom>
                  <a:avLst/>
                  <a:gdLst>
                    <a:gd name="connsiteX0" fmla="*/ 79 w 18877"/>
                    <a:gd name="connsiteY0" fmla="*/ 9713 h 20305"/>
                    <a:gd name="connsiteX1" fmla="*/ 5906 w 18877"/>
                    <a:gd name="connsiteY1" fmla="*/ 1478 h 20305"/>
                    <a:gd name="connsiteX2" fmla="*/ 16674 w 18877"/>
                    <a:gd name="connsiteY2" fmla="*/ 1478 h 20305"/>
                    <a:gd name="connsiteX3" fmla="*/ 12113 w 18877"/>
                    <a:gd name="connsiteY3" fmla="*/ 19087 h 20305"/>
                    <a:gd name="connsiteX4" fmla="*/ 79 w 18877"/>
                    <a:gd name="connsiteY4" fmla="*/ 9713 h 2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7" h="20305">
                      <a:moveTo>
                        <a:pt x="79" y="9713"/>
                      </a:moveTo>
                      <a:cubicBezTo>
                        <a:pt x="459" y="5659"/>
                        <a:pt x="1979" y="2999"/>
                        <a:pt x="5906" y="1478"/>
                      </a:cubicBezTo>
                      <a:cubicBezTo>
                        <a:pt x="8946" y="338"/>
                        <a:pt x="14014" y="-1182"/>
                        <a:pt x="16674" y="1478"/>
                      </a:cubicBezTo>
                      <a:cubicBezTo>
                        <a:pt x="21614" y="6166"/>
                        <a:pt x="17434" y="16553"/>
                        <a:pt x="12113" y="19087"/>
                      </a:cubicBezTo>
                      <a:cubicBezTo>
                        <a:pt x="4132" y="22761"/>
                        <a:pt x="-682" y="17694"/>
                        <a:pt x="79" y="971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04" name="Рисунок 388">
              <a:extLst>
                <a:ext uri="{FF2B5EF4-FFF2-40B4-BE49-F238E27FC236}">
                  <a16:creationId xmlns:a16="http://schemas.microsoft.com/office/drawing/2014/main" id="{1DA397FD-DC6E-439E-BB40-D0F80476817D}"/>
                </a:ext>
              </a:extLst>
            </p:cNvPr>
            <p:cNvGrpSpPr/>
            <p:nvPr/>
          </p:nvGrpSpPr>
          <p:grpSpPr>
            <a:xfrm>
              <a:off x="4966444" y="2491877"/>
              <a:ext cx="1601250" cy="2157039"/>
              <a:chOff x="4966444" y="2491877"/>
              <a:chExt cx="1601250" cy="2157039"/>
            </a:xfrm>
            <a:solidFill>
              <a:srgbClr val="E3E8EC"/>
            </a:solidFill>
          </p:grpSpPr>
          <p:sp>
            <p:nvSpPr>
              <p:cNvPr id="605" name="Полилиния: фигура 604">
                <a:extLst>
                  <a:ext uri="{FF2B5EF4-FFF2-40B4-BE49-F238E27FC236}">
                    <a16:creationId xmlns:a16="http://schemas.microsoft.com/office/drawing/2014/main" id="{D8B75A43-8787-468E-9386-4896ABFC1AB6}"/>
                  </a:ext>
                </a:extLst>
              </p:cNvPr>
              <p:cNvSpPr/>
              <p:nvPr/>
            </p:nvSpPr>
            <p:spPr>
              <a:xfrm>
                <a:off x="4966444" y="2561313"/>
                <a:ext cx="1601250" cy="2087602"/>
              </a:xfrm>
              <a:custGeom>
                <a:avLst/>
                <a:gdLst>
                  <a:gd name="connsiteX0" fmla="*/ 1582111 w 1601250"/>
                  <a:gd name="connsiteY0" fmla="*/ 1779258 h 2087602"/>
                  <a:gd name="connsiteX1" fmla="*/ 1519403 w 1601250"/>
                  <a:gd name="connsiteY1" fmla="*/ 1810295 h 2087602"/>
                  <a:gd name="connsiteX2" fmla="*/ 1494953 w 1601250"/>
                  <a:gd name="connsiteY2" fmla="*/ 1846653 h 2087602"/>
                  <a:gd name="connsiteX3" fmla="*/ 1521303 w 1601250"/>
                  <a:gd name="connsiteY3" fmla="*/ 1896819 h 2087602"/>
                  <a:gd name="connsiteX4" fmla="*/ 1490899 w 1601250"/>
                  <a:gd name="connsiteY4" fmla="*/ 1959527 h 2087602"/>
                  <a:gd name="connsiteX5" fmla="*/ 1484312 w 1601250"/>
                  <a:gd name="connsiteY5" fmla="*/ 1984610 h 2087602"/>
                  <a:gd name="connsiteX6" fmla="*/ 1460495 w 1601250"/>
                  <a:gd name="connsiteY6" fmla="*/ 2023629 h 2087602"/>
                  <a:gd name="connsiteX7" fmla="*/ 1411596 w 1601250"/>
                  <a:gd name="connsiteY7" fmla="*/ 2060620 h 2087602"/>
                  <a:gd name="connsiteX8" fmla="*/ 1394747 w 1601250"/>
                  <a:gd name="connsiteY8" fmla="*/ 2087603 h 2087602"/>
                  <a:gd name="connsiteX9" fmla="*/ 1384866 w 1601250"/>
                  <a:gd name="connsiteY9" fmla="*/ 2054032 h 2087602"/>
                  <a:gd name="connsiteX10" fmla="*/ 1354842 w 1601250"/>
                  <a:gd name="connsiteY10" fmla="*/ 1993352 h 2087602"/>
                  <a:gd name="connsiteX11" fmla="*/ 1296441 w 1601250"/>
                  <a:gd name="connsiteY11" fmla="*/ 2007920 h 2087602"/>
                  <a:gd name="connsiteX12" fmla="*/ 1246909 w 1601250"/>
                  <a:gd name="connsiteY12" fmla="*/ 1927730 h 2087602"/>
                  <a:gd name="connsiteX13" fmla="*/ 1207257 w 1601250"/>
                  <a:gd name="connsiteY13" fmla="*/ 1916835 h 2087602"/>
                  <a:gd name="connsiteX14" fmla="*/ 1176220 w 1601250"/>
                  <a:gd name="connsiteY14" fmla="*/ 1854507 h 2087602"/>
                  <a:gd name="connsiteX15" fmla="*/ 1127067 w 1601250"/>
                  <a:gd name="connsiteY15" fmla="*/ 1859068 h 2087602"/>
                  <a:gd name="connsiteX16" fmla="*/ 1023187 w 1601250"/>
                  <a:gd name="connsiteY16" fmla="*/ 1899986 h 2087602"/>
                  <a:gd name="connsiteX17" fmla="*/ 945658 w 1601250"/>
                  <a:gd name="connsiteY17" fmla="*/ 1870596 h 2087602"/>
                  <a:gd name="connsiteX18" fmla="*/ 893211 w 1601250"/>
                  <a:gd name="connsiteY18" fmla="*/ 1846526 h 2087602"/>
                  <a:gd name="connsiteX19" fmla="*/ 853939 w 1601250"/>
                  <a:gd name="connsiteY19" fmla="*/ 1767983 h 2087602"/>
                  <a:gd name="connsiteX20" fmla="*/ 801746 w 1601250"/>
                  <a:gd name="connsiteY20" fmla="*/ 1759369 h 2087602"/>
                  <a:gd name="connsiteX21" fmla="*/ 762855 w 1601250"/>
                  <a:gd name="connsiteY21" fmla="*/ 1684120 h 2087602"/>
                  <a:gd name="connsiteX22" fmla="*/ 708381 w 1601250"/>
                  <a:gd name="connsiteY22" fmla="*/ 1684120 h 2087602"/>
                  <a:gd name="connsiteX23" fmla="*/ 640353 w 1601250"/>
                  <a:gd name="connsiteY23" fmla="*/ 1636614 h 2087602"/>
                  <a:gd name="connsiteX24" fmla="*/ 578659 w 1601250"/>
                  <a:gd name="connsiteY24" fmla="*/ 1588728 h 2087602"/>
                  <a:gd name="connsiteX25" fmla="*/ 511010 w 1601250"/>
                  <a:gd name="connsiteY25" fmla="*/ 1576819 h 2087602"/>
                  <a:gd name="connsiteX26" fmla="*/ 504042 w 1601250"/>
                  <a:gd name="connsiteY26" fmla="*/ 1525386 h 2087602"/>
                  <a:gd name="connsiteX27" fmla="*/ 461731 w 1601250"/>
                  <a:gd name="connsiteY27" fmla="*/ 1458751 h 2087602"/>
                  <a:gd name="connsiteX28" fmla="*/ 474272 w 1601250"/>
                  <a:gd name="connsiteY28" fmla="*/ 1370327 h 2087602"/>
                  <a:gd name="connsiteX29" fmla="*/ 425373 w 1601250"/>
                  <a:gd name="connsiteY29" fmla="*/ 1314840 h 2087602"/>
                  <a:gd name="connsiteX30" fmla="*/ 403583 w 1601250"/>
                  <a:gd name="connsiteY30" fmla="*/ 1262393 h 2087602"/>
                  <a:gd name="connsiteX31" fmla="*/ 374573 w 1601250"/>
                  <a:gd name="connsiteY31" fmla="*/ 1305972 h 2087602"/>
                  <a:gd name="connsiteX32" fmla="*/ 343282 w 1601250"/>
                  <a:gd name="connsiteY32" fmla="*/ 1297738 h 2087602"/>
                  <a:gd name="connsiteX33" fmla="*/ 315286 w 1601250"/>
                  <a:gd name="connsiteY33" fmla="*/ 1327762 h 2087602"/>
                  <a:gd name="connsiteX34" fmla="*/ 283235 w 1601250"/>
                  <a:gd name="connsiteY34" fmla="*/ 1299004 h 2087602"/>
                  <a:gd name="connsiteX35" fmla="*/ 270060 w 1601250"/>
                  <a:gd name="connsiteY35" fmla="*/ 1278229 h 2087602"/>
                  <a:gd name="connsiteX36" fmla="*/ 232435 w 1601250"/>
                  <a:gd name="connsiteY36" fmla="*/ 1235917 h 2087602"/>
                  <a:gd name="connsiteX37" fmla="*/ 270060 w 1601250"/>
                  <a:gd name="connsiteY37" fmla="*/ 1211467 h 2087602"/>
                  <a:gd name="connsiteX38" fmla="*/ 173781 w 1601250"/>
                  <a:gd name="connsiteY38" fmla="*/ 1130644 h 2087602"/>
                  <a:gd name="connsiteX39" fmla="*/ 89284 w 1601250"/>
                  <a:gd name="connsiteY39" fmla="*/ 1130644 h 2087602"/>
                  <a:gd name="connsiteX40" fmla="*/ 54573 w 1601250"/>
                  <a:gd name="connsiteY40" fmla="*/ 1109108 h 2087602"/>
                  <a:gd name="connsiteX41" fmla="*/ 31390 w 1601250"/>
                  <a:gd name="connsiteY41" fmla="*/ 1071230 h 2087602"/>
                  <a:gd name="connsiteX42" fmla="*/ 6687 w 1601250"/>
                  <a:gd name="connsiteY42" fmla="*/ 1043866 h 2087602"/>
                  <a:gd name="connsiteX43" fmla="*/ 45958 w 1601250"/>
                  <a:gd name="connsiteY43" fmla="*/ 1007001 h 2087602"/>
                  <a:gd name="connsiteX44" fmla="*/ 84217 w 1601250"/>
                  <a:gd name="connsiteY44" fmla="*/ 944674 h 2087602"/>
                  <a:gd name="connsiteX45" fmla="*/ 74336 w 1601250"/>
                  <a:gd name="connsiteY45" fmla="*/ 851055 h 2087602"/>
                  <a:gd name="connsiteX46" fmla="*/ 135016 w 1601250"/>
                  <a:gd name="connsiteY46" fmla="*/ 848142 h 2087602"/>
                  <a:gd name="connsiteX47" fmla="*/ 210519 w 1601250"/>
                  <a:gd name="connsiteY47" fmla="*/ 780113 h 2087602"/>
                  <a:gd name="connsiteX48" fmla="*/ 284248 w 1601250"/>
                  <a:gd name="connsiteY48" fmla="*/ 782520 h 2087602"/>
                  <a:gd name="connsiteX49" fmla="*/ 349870 w 1601250"/>
                  <a:gd name="connsiteY49" fmla="*/ 784167 h 2087602"/>
                  <a:gd name="connsiteX50" fmla="*/ 397122 w 1601250"/>
                  <a:gd name="connsiteY50" fmla="*/ 751483 h 2087602"/>
                  <a:gd name="connsiteX51" fmla="*/ 470725 w 1601250"/>
                  <a:gd name="connsiteY51" fmla="*/ 742235 h 2087602"/>
                  <a:gd name="connsiteX52" fmla="*/ 488840 w 1601250"/>
                  <a:gd name="connsiteY52" fmla="*/ 720446 h 2087602"/>
                  <a:gd name="connsiteX53" fmla="*/ 504042 w 1601250"/>
                  <a:gd name="connsiteY53" fmla="*/ 677880 h 2087602"/>
                  <a:gd name="connsiteX54" fmla="*/ 513797 w 1601250"/>
                  <a:gd name="connsiteY54" fmla="*/ 562599 h 2087602"/>
                  <a:gd name="connsiteX55" fmla="*/ 530773 w 1601250"/>
                  <a:gd name="connsiteY55" fmla="*/ 547397 h 2087602"/>
                  <a:gd name="connsiteX56" fmla="*/ 542174 w 1601250"/>
                  <a:gd name="connsiteY56" fmla="*/ 524594 h 2087602"/>
                  <a:gd name="connsiteX57" fmla="*/ 549648 w 1601250"/>
                  <a:gd name="connsiteY57" fmla="*/ 495711 h 2087602"/>
                  <a:gd name="connsiteX58" fmla="*/ 564597 w 1601250"/>
                  <a:gd name="connsiteY58" fmla="*/ 489123 h 2087602"/>
                  <a:gd name="connsiteX59" fmla="*/ 576632 w 1601250"/>
                  <a:gd name="connsiteY59" fmla="*/ 488997 h 2087602"/>
                  <a:gd name="connsiteX60" fmla="*/ 582206 w 1601250"/>
                  <a:gd name="connsiteY60" fmla="*/ 508633 h 2087602"/>
                  <a:gd name="connsiteX61" fmla="*/ 611216 w 1601250"/>
                  <a:gd name="connsiteY61" fmla="*/ 551325 h 2087602"/>
                  <a:gd name="connsiteX62" fmla="*/ 628572 w 1601250"/>
                  <a:gd name="connsiteY62" fmla="*/ 597817 h 2087602"/>
                  <a:gd name="connsiteX63" fmla="*/ 643520 w 1601250"/>
                  <a:gd name="connsiteY63" fmla="*/ 638989 h 2087602"/>
                  <a:gd name="connsiteX64" fmla="*/ 658595 w 1601250"/>
                  <a:gd name="connsiteY64" fmla="*/ 685735 h 2087602"/>
                  <a:gd name="connsiteX65" fmla="*/ 702681 w 1601250"/>
                  <a:gd name="connsiteY65" fmla="*/ 677120 h 2087602"/>
                  <a:gd name="connsiteX66" fmla="*/ 738405 w 1601250"/>
                  <a:gd name="connsiteY66" fmla="*/ 632021 h 2087602"/>
                  <a:gd name="connsiteX67" fmla="*/ 738912 w 1601250"/>
                  <a:gd name="connsiteY67" fmla="*/ 608458 h 2087602"/>
                  <a:gd name="connsiteX68" fmla="*/ 727511 w 1601250"/>
                  <a:gd name="connsiteY68" fmla="*/ 588696 h 2087602"/>
                  <a:gd name="connsiteX69" fmla="*/ 725230 w 1601250"/>
                  <a:gd name="connsiteY69" fmla="*/ 563866 h 2087602"/>
                  <a:gd name="connsiteX70" fmla="*/ 728397 w 1601250"/>
                  <a:gd name="connsiteY70" fmla="*/ 536756 h 2087602"/>
                  <a:gd name="connsiteX71" fmla="*/ 743852 w 1601250"/>
                  <a:gd name="connsiteY71" fmla="*/ 518260 h 2087602"/>
                  <a:gd name="connsiteX72" fmla="*/ 750820 w 1601250"/>
                  <a:gd name="connsiteY72" fmla="*/ 494951 h 2087602"/>
                  <a:gd name="connsiteX73" fmla="*/ 719403 w 1601250"/>
                  <a:gd name="connsiteY73" fmla="*/ 480509 h 2087602"/>
                  <a:gd name="connsiteX74" fmla="*/ 708255 w 1601250"/>
                  <a:gd name="connsiteY74" fmla="*/ 437817 h 2087602"/>
                  <a:gd name="connsiteX75" fmla="*/ 701667 w 1601250"/>
                  <a:gd name="connsiteY75" fmla="*/ 422995 h 2087602"/>
                  <a:gd name="connsiteX76" fmla="*/ 707368 w 1601250"/>
                  <a:gd name="connsiteY76" fmla="*/ 403866 h 2087602"/>
                  <a:gd name="connsiteX77" fmla="*/ 727131 w 1601250"/>
                  <a:gd name="connsiteY77" fmla="*/ 390438 h 2087602"/>
                  <a:gd name="connsiteX78" fmla="*/ 754620 w 1601250"/>
                  <a:gd name="connsiteY78" fmla="*/ 376883 h 2087602"/>
                  <a:gd name="connsiteX79" fmla="*/ 769569 w 1601250"/>
                  <a:gd name="connsiteY79" fmla="*/ 355347 h 2087602"/>
                  <a:gd name="connsiteX80" fmla="*/ 774256 w 1601250"/>
                  <a:gd name="connsiteY80" fmla="*/ 326210 h 2087602"/>
                  <a:gd name="connsiteX81" fmla="*/ 789205 w 1601250"/>
                  <a:gd name="connsiteY81" fmla="*/ 304547 h 2087602"/>
                  <a:gd name="connsiteX82" fmla="*/ 799086 w 1601250"/>
                  <a:gd name="connsiteY82" fmla="*/ 279211 h 2087602"/>
                  <a:gd name="connsiteX83" fmla="*/ 792498 w 1601250"/>
                  <a:gd name="connsiteY83" fmla="*/ 267936 h 2087602"/>
                  <a:gd name="connsiteX84" fmla="*/ 784011 w 1601250"/>
                  <a:gd name="connsiteY84" fmla="*/ 259321 h 2087602"/>
                  <a:gd name="connsiteX85" fmla="*/ 800353 w 1601250"/>
                  <a:gd name="connsiteY85" fmla="*/ 241079 h 2087602"/>
                  <a:gd name="connsiteX86" fmla="*/ 795412 w 1601250"/>
                  <a:gd name="connsiteY86" fmla="*/ 216123 h 2087602"/>
                  <a:gd name="connsiteX87" fmla="*/ 824803 w 1601250"/>
                  <a:gd name="connsiteY87" fmla="*/ 201934 h 2087602"/>
                  <a:gd name="connsiteX88" fmla="*/ 935143 w 1601250"/>
                  <a:gd name="connsiteY88" fmla="*/ 151768 h 2087602"/>
                  <a:gd name="connsiteX89" fmla="*/ 976948 w 1601250"/>
                  <a:gd name="connsiteY89" fmla="*/ 111483 h 2087602"/>
                  <a:gd name="connsiteX90" fmla="*/ 1017487 w 1601250"/>
                  <a:gd name="connsiteY90" fmla="*/ 73351 h 2087602"/>
                  <a:gd name="connsiteX91" fmla="*/ 1033702 w 1601250"/>
                  <a:gd name="connsiteY91" fmla="*/ 50295 h 2087602"/>
                  <a:gd name="connsiteX92" fmla="*/ 1042063 w 1601250"/>
                  <a:gd name="connsiteY92" fmla="*/ 41174 h 2087602"/>
                  <a:gd name="connsiteX93" fmla="*/ 1055491 w 1601250"/>
                  <a:gd name="connsiteY93" fmla="*/ 30660 h 2087602"/>
                  <a:gd name="connsiteX94" fmla="*/ 1064359 w 1601250"/>
                  <a:gd name="connsiteY94" fmla="*/ 22932 h 2087602"/>
                  <a:gd name="connsiteX95" fmla="*/ 1072467 w 1601250"/>
                  <a:gd name="connsiteY95" fmla="*/ 19765 h 2087602"/>
                  <a:gd name="connsiteX96" fmla="*/ 1090329 w 1601250"/>
                  <a:gd name="connsiteY96" fmla="*/ 4816 h 2087602"/>
                  <a:gd name="connsiteX97" fmla="*/ 1103251 w 1601250"/>
                  <a:gd name="connsiteY97" fmla="*/ 636 h 2087602"/>
                  <a:gd name="connsiteX98" fmla="*/ 1107051 w 1601250"/>
                  <a:gd name="connsiteY98" fmla="*/ 11910 h 2087602"/>
                  <a:gd name="connsiteX99" fmla="*/ 1113005 w 1601250"/>
                  <a:gd name="connsiteY99" fmla="*/ 20905 h 2087602"/>
                  <a:gd name="connsiteX100" fmla="*/ 1138849 w 1601250"/>
                  <a:gd name="connsiteY100" fmla="*/ 35727 h 2087602"/>
                  <a:gd name="connsiteX101" fmla="*/ 1155951 w 1601250"/>
                  <a:gd name="connsiteY101" fmla="*/ 39400 h 2087602"/>
                  <a:gd name="connsiteX102" fmla="*/ 1195476 w 1601250"/>
                  <a:gd name="connsiteY102" fmla="*/ 47888 h 2087602"/>
                  <a:gd name="connsiteX103" fmla="*/ 1210297 w 1601250"/>
                  <a:gd name="connsiteY103" fmla="*/ 133019 h 2087602"/>
                  <a:gd name="connsiteX104" fmla="*/ 1186861 w 1601250"/>
                  <a:gd name="connsiteY104" fmla="*/ 193193 h 2087602"/>
                  <a:gd name="connsiteX105" fmla="*/ 1156457 w 1601250"/>
                  <a:gd name="connsiteY105" fmla="*/ 244753 h 2087602"/>
                  <a:gd name="connsiteX106" fmla="*/ 1126941 w 1601250"/>
                  <a:gd name="connsiteY106" fmla="*/ 276550 h 2087602"/>
                  <a:gd name="connsiteX107" fmla="*/ 1087922 w 1601250"/>
                  <a:gd name="connsiteY107" fmla="*/ 298466 h 2087602"/>
                  <a:gd name="connsiteX108" fmla="*/ 1093876 w 1601250"/>
                  <a:gd name="connsiteY108" fmla="*/ 336218 h 2087602"/>
                  <a:gd name="connsiteX109" fmla="*/ 1100970 w 1601250"/>
                  <a:gd name="connsiteY109" fmla="*/ 393478 h 2087602"/>
                  <a:gd name="connsiteX110" fmla="*/ 1085135 w 1601250"/>
                  <a:gd name="connsiteY110" fmla="*/ 450739 h 2087602"/>
                  <a:gd name="connsiteX111" fmla="*/ 1053718 w 1601250"/>
                  <a:gd name="connsiteY111" fmla="*/ 486337 h 2087602"/>
                  <a:gd name="connsiteX112" fmla="*/ 1037883 w 1601250"/>
                  <a:gd name="connsiteY112" fmla="*/ 547524 h 2087602"/>
                  <a:gd name="connsiteX113" fmla="*/ 1011026 w 1601250"/>
                  <a:gd name="connsiteY113" fmla="*/ 593510 h 2087602"/>
                  <a:gd name="connsiteX114" fmla="*/ 987083 w 1601250"/>
                  <a:gd name="connsiteY114" fmla="*/ 651784 h 2087602"/>
                  <a:gd name="connsiteX115" fmla="*/ 970994 w 1601250"/>
                  <a:gd name="connsiteY115" fmla="*/ 698783 h 2087602"/>
                  <a:gd name="connsiteX116" fmla="*/ 974795 w 1601250"/>
                  <a:gd name="connsiteY116" fmla="*/ 805956 h 2087602"/>
                  <a:gd name="connsiteX117" fmla="*/ 930203 w 1601250"/>
                  <a:gd name="connsiteY117" fmla="*/ 839021 h 2087602"/>
                  <a:gd name="connsiteX118" fmla="*/ 914874 w 1601250"/>
                  <a:gd name="connsiteY118" fmla="*/ 903502 h 2087602"/>
                  <a:gd name="connsiteX119" fmla="*/ 871675 w 1601250"/>
                  <a:gd name="connsiteY119" fmla="*/ 919591 h 2087602"/>
                  <a:gd name="connsiteX120" fmla="*/ 830503 w 1601250"/>
                  <a:gd name="connsiteY120" fmla="*/ 966590 h 2087602"/>
                  <a:gd name="connsiteX121" fmla="*/ 783631 w 1601250"/>
                  <a:gd name="connsiteY121" fmla="*/ 992813 h 2087602"/>
                  <a:gd name="connsiteX122" fmla="*/ 751200 w 1601250"/>
                  <a:gd name="connsiteY122" fmla="*/ 1010675 h 2087602"/>
                  <a:gd name="connsiteX123" fmla="*/ 713322 w 1601250"/>
                  <a:gd name="connsiteY123" fmla="*/ 1042726 h 2087602"/>
                  <a:gd name="connsiteX124" fmla="*/ 656188 w 1601250"/>
                  <a:gd name="connsiteY124" fmla="*/ 1019543 h 2087602"/>
                  <a:gd name="connsiteX125" fmla="*/ 618944 w 1601250"/>
                  <a:gd name="connsiteY125" fmla="*/ 983058 h 2087602"/>
                  <a:gd name="connsiteX126" fmla="*/ 587400 w 1601250"/>
                  <a:gd name="connsiteY126" fmla="*/ 956328 h 2087602"/>
                  <a:gd name="connsiteX127" fmla="*/ 584106 w 1601250"/>
                  <a:gd name="connsiteY127" fmla="*/ 1001934 h 2087602"/>
                  <a:gd name="connsiteX128" fmla="*/ 613116 w 1601250"/>
                  <a:gd name="connsiteY128" fmla="*/ 1036899 h 2087602"/>
                  <a:gd name="connsiteX129" fmla="*/ 644026 w 1601250"/>
                  <a:gd name="connsiteY129" fmla="*/ 1069709 h 2087602"/>
                  <a:gd name="connsiteX130" fmla="*/ 667970 w 1601250"/>
                  <a:gd name="connsiteY130" fmla="*/ 1076297 h 2087602"/>
                  <a:gd name="connsiteX131" fmla="*/ 692039 w 1601250"/>
                  <a:gd name="connsiteY131" fmla="*/ 1086305 h 2087602"/>
                  <a:gd name="connsiteX132" fmla="*/ 745119 w 1601250"/>
                  <a:gd name="connsiteY132" fmla="*/ 1107081 h 2087602"/>
                  <a:gd name="connsiteX133" fmla="*/ 793005 w 1601250"/>
                  <a:gd name="connsiteY133" fmla="*/ 1085545 h 2087602"/>
                  <a:gd name="connsiteX134" fmla="*/ 919054 w 1601250"/>
                  <a:gd name="connsiteY134" fmla="*/ 1028157 h 2087602"/>
                  <a:gd name="connsiteX135" fmla="*/ 965927 w 1601250"/>
                  <a:gd name="connsiteY135" fmla="*/ 967857 h 2087602"/>
                  <a:gd name="connsiteX136" fmla="*/ 1022174 w 1601250"/>
                  <a:gd name="connsiteY136" fmla="*/ 938720 h 2087602"/>
                  <a:gd name="connsiteX137" fmla="*/ 1036489 w 1601250"/>
                  <a:gd name="connsiteY137" fmla="*/ 870945 h 2087602"/>
                  <a:gd name="connsiteX138" fmla="*/ 1046117 w 1601250"/>
                  <a:gd name="connsiteY138" fmla="*/ 807983 h 2087602"/>
                  <a:gd name="connsiteX139" fmla="*/ 1089062 w 1601250"/>
                  <a:gd name="connsiteY139" fmla="*/ 777579 h 2087602"/>
                  <a:gd name="connsiteX140" fmla="*/ 1155064 w 1601250"/>
                  <a:gd name="connsiteY140" fmla="*/ 782267 h 2087602"/>
                  <a:gd name="connsiteX141" fmla="*/ 1192435 w 1601250"/>
                  <a:gd name="connsiteY141" fmla="*/ 813177 h 2087602"/>
                  <a:gd name="connsiteX142" fmla="*/ 1203963 w 1601250"/>
                  <a:gd name="connsiteY142" fmla="*/ 877025 h 2087602"/>
                  <a:gd name="connsiteX143" fmla="*/ 1180527 w 1601250"/>
                  <a:gd name="connsiteY143" fmla="*/ 952908 h 2087602"/>
                  <a:gd name="connsiteX144" fmla="*/ 1160131 w 1601250"/>
                  <a:gd name="connsiteY144" fmla="*/ 990406 h 2087602"/>
                  <a:gd name="connsiteX145" fmla="*/ 1169126 w 1601250"/>
                  <a:gd name="connsiteY145" fmla="*/ 1039306 h 2087602"/>
                  <a:gd name="connsiteX146" fmla="*/ 1210931 w 1601250"/>
                  <a:gd name="connsiteY146" fmla="*/ 1063375 h 2087602"/>
                  <a:gd name="connsiteX147" fmla="*/ 1276933 w 1601250"/>
                  <a:gd name="connsiteY147" fmla="*/ 1149773 h 2087602"/>
                  <a:gd name="connsiteX148" fmla="*/ 1278960 w 1601250"/>
                  <a:gd name="connsiteY148" fmla="*/ 1101760 h 2087602"/>
                  <a:gd name="connsiteX149" fmla="*/ 1266038 w 1601250"/>
                  <a:gd name="connsiteY149" fmla="*/ 1080351 h 2087602"/>
                  <a:gd name="connsiteX150" fmla="*/ 1259450 w 1601250"/>
                  <a:gd name="connsiteY150" fmla="*/ 1056028 h 2087602"/>
                  <a:gd name="connsiteX151" fmla="*/ 1207257 w 1601250"/>
                  <a:gd name="connsiteY151" fmla="*/ 1033858 h 2087602"/>
                  <a:gd name="connsiteX152" fmla="*/ 1202063 w 1601250"/>
                  <a:gd name="connsiteY152" fmla="*/ 1010675 h 2087602"/>
                  <a:gd name="connsiteX153" fmla="*/ 1202190 w 1601250"/>
                  <a:gd name="connsiteY153" fmla="*/ 982298 h 2087602"/>
                  <a:gd name="connsiteX154" fmla="*/ 1207384 w 1601250"/>
                  <a:gd name="connsiteY154" fmla="*/ 950881 h 2087602"/>
                  <a:gd name="connsiteX155" fmla="*/ 1234367 w 1601250"/>
                  <a:gd name="connsiteY155" fmla="*/ 942013 h 2087602"/>
                  <a:gd name="connsiteX156" fmla="*/ 1247162 w 1601250"/>
                  <a:gd name="connsiteY156" fmla="*/ 913890 h 2087602"/>
                  <a:gd name="connsiteX157" fmla="*/ 1255016 w 1601250"/>
                  <a:gd name="connsiteY157" fmla="*/ 885386 h 2087602"/>
                  <a:gd name="connsiteX158" fmla="*/ 1259323 w 1601250"/>
                  <a:gd name="connsiteY158" fmla="*/ 855489 h 2087602"/>
                  <a:gd name="connsiteX159" fmla="*/ 1256536 w 1601250"/>
                  <a:gd name="connsiteY159" fmla="*/ 822045 h 2087602"/>
                  <a:gd name="connsiteX160" fmla="*/ 1225880 w 1601250"/>
                  <a:gd name="connsiteY160" fmla="*/ 798355 h 2087602"/>
                  <a:gd name="connsiteX161" fmla="*/ 1210551 w 1601250"/>
                  <a:gd name="connsiteY161" fmla="*/ 766685 h 2087602"/>
                  <a:gd name="connsiteX162" fmla="*/ 1184834 w 1601250"/>
                  <a:gd name="connsiteY162" fmla="*/ 750216 h 2087602"/>
                  <a:gd name="connsiteX163" fmla="*/ 1163678 w 1601250"/>
                  <a:gd name="connsiteY163" fmla="*/ 726020 h 2087602"/>
                  <a:gd name="connsiteX164" fmla="*/ 1127827 w 1601250"/>
                  <a:gd name="connsiteY164" fmla="*/ 727667 h 2087602"/>
                  <a:gd name="connsiteX165" fmla="*/ 1097297 w 1601250"/>
                  <a:gd name="connsiteY165" fmla="*/ 725386 h 2087602"/>
                  <a:gd name="connsiteX166" fmla="*/ 1070440 w 1601250"/>
                  <a:gd name="connsiteY166" fmla="*/ 707271 h 2087602"/>
                  <a:gd name="connsiteX167" fmla="*/ 1041810 w 1601250"/>
                  <a:gd name="connsiteY167" fmla="*/ 696376 h 2087602"/>
                  <a:gd name="connsiteX168" fmla="*/ 1060305 w 1601250"/>
                  <a:gd name="connsiteY168" fmla="*/ 663439 h 2087602"/>
                  <a:gd name="connsiteX169" fmla="*/ 1062966 w 1601250"/>
                  <a:gd name="connsiteY169" fmla="*/ 630754 h 2087602"/>
                  <a:gd name="connsiteX170" fmla="*/ 1073480 w 1601250"/>
                  <a:gd name="connsiteY170" fmla="*/ 602378 h 2087602"/>
                  <a:gd name="connsiteX171" fmla="*/ 1094130 w 1601250"/>
                  <a:gd name="connsiteY171" fmla="*/ 572607 h 2087602"/>
                  <a:gd name="connsiteX172" fmla="*/ 1103631 w 1601250"/>
                  <a:gd name="connsiteY172" fmla="*/ 540430 h 2087602"/>
                  <a:gd name="connsiteX173" fmla="*/ 1153924 w 1601250"/>
                  <a:gd name="connsiteY173" fmla="*/ 497864 h 2087602"/>
                  <a:gd name="connsiteX174" fmla="*/ 1171279 w 1601250"/>
                  <a:gd name="connsiteY174" fmla="*/ 422108 h 2087602"/>
                  <a:gd name="connsiteX175" fmla="*/ 1166972 w 1601250"/>
                  <a:gd name="connsiteY175" fmla="*/ 401713 h 2087602"/>
                  <a:gd name="connsiteX176" fmla="*/ 1172546 w 1601250"/>
                  <a:gd name="connsiteY176" fmla="*/ 381190 h 2087602"/>
                  <a:gd name="connsiteX177" fmla="*/ 1165325 w 1601250"/>
                  <a:gd name="connsiteY177" fmla="*/ 340778 h 2087602"/>
                  <a:gd name="connsiteX178" fmla="*/ 1161018 w 1601250"/>
                  <a:gd name="connsiteY178" fmla="*/ 310628 h 2087602"/>
                  <a:gd name="connsiteX179" fmla="*/ 1190408 w 1601250"/>
                  <a:gd name="connsiteY179" fmla="*/ 291245 h 2087602"/>
                  <a:gd name="connsiteX180" fmla="*/ 1212198 w 1601250"/>
                  <a:gd name="connsiteY180" fmla="*/ 265149 h 2087602"/>
                  <a:gd name="connsiteX181" fmla="*/ 1271739 w 1601250"/>
                  <a:gd name="connsiteY181" fmla="*/ 254381 h 2087602"/>
                  <a:gd name="connsiteX182" fmla="*/ 1293148 w 1601250"/>
                  <a:gd name="connsiteY182" fmla="*/ 236139 h 2087602"/>
                  <a:gd name="connsiteX183" fmla="*/ 1323805 w 1601250"/>
                  <a:gd name="connsiteY183" fmla="*/ 197880 h 2087602"/>
                  <a:gd name="connsiteX184" fmla="*/ 1334066 w 1601250"/>
                  <a:gd name="connsiteY184" fmla="*/ 154555 h 2087602"/>
                  <a:gd name="connsiteX185" fmla="*/ 1362696 w 1601250"/>
                  <a:gd name="connsiteY185" fmla="*/ 130739 h 2087602"/>
                  <a:gd name="connsiteX186" fmla="*/ 1354969 w 1601250"/>
                  <a:gd name="connsiteY186" fmla="*/ 189393 h 2087602"/>
                  <a:gd name="connsiteX187" fmla="*/ 1344328 w 1601250"/>
                  <a:gd name="connsiteY187" fmla="*/ 245260 h 2087602"/>
                  <a:gd name="connsiteX188" fmla="*/ 1301889 w 1601250"/>
                  <a:gd name="connsiteY188" fmla="*/ 283138 h 2087602"/>
                  <a:gd name="connsiteX189" fmla="*/ 1306069 w 1601250"/>
                  <a:gd name="connsiteY189" fmla="*/ 324056 h 2087602"/>
                  <a:gd name="connsiteX190" fmla="*/ 1295555 w 1601250"/>
                  <a:gd name="connsiteY190" fmla="*/ 394872 h 2087602"/>
                  <a:gd name="connsiteX191" fmla="*/ 1320258 w 1601250"/>
                  <a:gd name="connsiteY191" fmla="*/ 424769 h 2087602"/>
                  <a:gd name="connsiteX192" fmla="*/ 1353322 w 1601250"/>
                  <a:gd name="connsiteY192" fmla="*/ 443518 h 2087602"/>
                  <a:gd name="connsiteX193" fmla="*/ 1386893 w 1601250"/>
                  <a:gd name="connsiteY193" fmla="*/ 464294 h 2087602"/>
                  <a:gd name="connsiteX194" fmla="*/ 1410582 w 1601250"/>
                  <a:gd name="connsiteY194" fmla="*/ 501918 h 2087602"/>
                  <a:gd name="connsiteX195" fmla="*/ 1449854 w 1601250"/>
                  <a:gd name="connsiteY195" fmla="*/ 508506 h 2087602"/>
                  <a:gd name="connsiteX196" fmla="*/ 1428825 w 1601250"/>
                  <a:gd name="connsiteY196" fmla="*/ 480129 h 2087602"/>
                  <a:gd name="connsiteX197" fmla="*/ 1414763 w 1601250"/>
                  <a:gd name="connsiteY197" fmla="*/ 443011 h 2087602"/>
                  <a:gd name="connsiteX198" fmla="*/ 1380306 w 1601250"/>
                  <a:gd name="connsiteY198" fmla="*/ 414888 h 2087602"/>
                  <a:gd name="connsiteX199" fmla="*/ 1342427 w 1601250"/>
                  <a:gd name="connsiteY199" fmla="*/ 348759 h 2087602"/>
                  <a:gd name="connsiteX200" fmla="*/ 1343187 w 1601250"/>
                  <a:gd name="connsiteY200" fmla="*/ 313922 h 2087602"/>
                  <a:gd name="connsiteX201" fmla="*/ 1372071 w 1601250"/>
                  <a:gd name="connsiteY201" fmla="*/ 301633 h 2087602"/>
                  <a:gd name="connsiteX202" fmla="*/ 1398928 w 1601250"/>
                  <a:gd name="connsiteY202" fmla="*/ 294666 h 2087602"/>
                  <a:gd name="connsiteX203" fmla="*/ 1411723 w 1601250"/>
                  <a:gd name="connsiteY203" fmla="*/ 316962 h 2087602"/>
                  <a:gd name="connsiteX204" fmla="*/ 1454794 w 1601250"/>
                  <a:gd name="connsiteY204" fmla="*/ 349519 h 2087602"/>
                  <a:gd name="connsiteX205" fmla="*/ 1447447 w 1601250"/>
                  <a:gd name="connsiteY205" fmla="*/ 279211 h 2087602"/>
                  <a:gd name="connsiteX206" fmla="*/ 1481652 w 1601250"/>
                  <a:gd name="connsiteY206" fmla="*/ 266289 h 2087602"/>
                  <a:gd name="connsiteX207" fmla="*/ 1490899 w 1601250"/>
                  <a:gd name="connsiteY207" fmla="*/ 265529 h 2087602"/>
                  <a:gd name="connsiteX208" fmla="*/ 1524470 w 1601250"/>
                  <a:gd name="connsiteY208" fmla="*/ 308474 h 2087602"/>
                  <a:gd name="connsiteX209" fmla="*/ 1543472 w 1601250"/>
                  <a:gd name="connsiteY209" fmla="*/ 315568 h 2087602"/>
                  <a:gd name="connsiteX210" fmla="*/ 1546006 w 1601250"/>
                  <a:gd name="connsiteY210" fmla="*/ 335078 h 2087602"/>
                  <a:gd name="connsiteX211" fmla="*/ 1528397 w 1601250"/>
                  <a:gd name="connsiteY211" fmla="*/ 378276 h 2087602"/>
                  <a:gd name="connsiteX212" fmla="*/ 1496727 w 1601250"/>
                  <a:gd name="connsiteY212" fmla="*/ 396392 h 2087602"/>
                  <a:gd name="connsiteX213" fmla="*/ 1475951 w 1601250"/>
                  <a:gd name="connsiteY213" fmla="*/ 418815 h 2087602"/>
                  <a:gd name="connsiteX214" fmla="*/ 1499260 w 1601250"/>
                  <a:gd name="connsiteY214" fmla="*/ 456059 h 2087602"/>
                  <a:gd name="connsiteX215" fmla="*/ 1522443 w 1601250"/>
                  <a:gd name="connsiteY215" fmla="*/ 498371 h 2087602"/>
                  <a:gd name="connsiteX216" fmla="*/ 1527004 w 1601250"/>
                  <a:gd name="connsiteY216" fmla="*/ 548411 h 2087602"/>
                  <a:gd name="connsiteX217" fmla="*/ 1519529 w 1601250"/>
                  <a:gd name="connsiteY217" fmla="*/ 601744 h 2087602"/>
                  <a:gd name="connsiteX218" fmla="*/ 1485199 w 1601250"/>
                  <a:gd name="connsiteY218" fmla="*/ 618086 h 2087602"/>
                  <a:gd name="connsiteX219" fmla="*/ 1457201 w 1601250"/>
                  <a:gd name="connsiteY219" fmla="*/ 640129 h 2087602"/>
                  <a:gd name="connsiteX220" fmla="*/ 1422617 w 1601250"/>
                  <a:gd name="connsiteY220" fmla="*/ 669519 h 2087602"/>
                  <a:gd name="connsiteX221" fmla="*/ 1381446 w 1601250"/>
                  <a:gd name="connsiteY221" fmla="*/ 681174 h 2087602"/>
                  <a:gd name="connsiteX222" fmla="*/ 1370804 w 1601250"/>
                  <a:gd name="connsiteY222" fmla="*/ 719179 h 2087602"/>
                  <a:gd name="connsiteX223" fmla="*/ 1390060 w 1601250"/>
                  <a:gd name="connsiteY223" fmla="*/ 756677 h 2087602"/>
                  <a:gd name="connsiteX224" fmla="*/ 1401461 w 1601250"/>
                  <a:gd name="connsiteY224" fmla="*/ 797215 h 2087602"/>
                  <a:gd name="connsiteX225" fmla="*/ 1428318 w 1601250"/>
                  <a:gd name="connsiteY225" fmla="*/ 824959 h 2087602"/>
                  <a:gd name="connsiteX226" fmla="*/ 1480005 w 1601250"/>
                  <a:gd name="connsiteY226" fmla="*/ 826606 h 2087602"/>
                  <a:gd name="connsiteX227" fmla="*/ 1505974 w 1601250"/>
                  <a:gd name="connsiteY227" fmla="*/ 818498 h 2087602"/>
                  <a:gd name="connsiteX228" fmla="*/ 1518009 w 1601250"/>
                  <a:gd name="connsiteY228" fmla="*/ 815584 h 2087602"/>
                  <a:gd name="connsiteX229" fmla="*/ 1521303 w 1601250"/>
                  <a:gd name="connsiteY229" fmla="*/ 825465 h 2087602"/>
                  <a:gd name="connsiteX230" fmla="*/ 1531818 w 1601250"/>
                  <a:gd name="connsiteY230" fmla="*/ 857769 h 2087602"/>
                  <a:gd name="connsiteX231" fmla="*/ 1546766 w 1601250"/>
                  <a:gd name="connsiteY231" fmla="*/ 876772 h 2087602"/>
                  <a:gd name="connsiteX232" fmla="*/ 1547020 w 1601250"/>
                  <a:gd name="connsiteY232" fmla="*/ 928078 h 2087602"/>
                  <a:gd name="connsiteX233" fmla="*/ 1556394 w 1601250"/>
                  <a:gd name="connsiteY233" fmla="*/ 952148 h 2087602"/>
                  <a:gd name="connsiteX234" fmla="*/ 1549553 w 1601250"/>
                  <a:gd name="connsiteY234" fmla="*/ 977611 h 2087602"/>
                  <a:gd name="connsiteX235" fmla="*/ 1535492 w 1601250"/>
                  <a:gd name="connsiteY235" fmla="*/ 1013336 h 2087602"/>
                  <a:gd name="connsiteX236" fmla="*/ 1502934 w 1601250"/>
                  <a:gd name="connsiteY236" fmla="*/ 1055521 h 2087602"/>
                  <a:gd name="connsiteX237" fmla="*/ 1450107 w 1601250"/>
                  <a:gd name="connsiteY237" fmla="*/ 1048933 h 2087602"/>
                  <a:gd name="connsiteX238" fmla="*/ 1465309 w 1601250"/>
                  <a:gd name="connsiteY238" fmla="*/ 1121523 h 2087602"/>
                  <a:gd name="connsiteX239" fmla="*/ 1443520 w 1601250"/>
                  <a:gd name="connsiteY239" fmla="*/ 1173589 h 2087602"/>
                  <a:gd name="connsiteX240" fmla="*/ 1486465 w 1601250"/>
                  <a:gd name="connsiteY240" fmla="*/ 1249472 h 2087602"/>
                  <a:gd name="connsiteX241" fmla="*/ 1463409 w 1601250"/>
                  <a:gd name="connsiteY241" fmla="*/ 1301538 h 2087602"/>
                  <a:gd name="connsiteX242" fmla="*/ 1470630 w 1601250"/>
                  <a:gd name="connsiteY242" fmla="*/ 1349677 h 2087602"/>
                  <a:gd name="connsiteX243" fmla="*/ 1455428 w 1601250"/>
                  <a:gd name="connsiteY243" fmla="*/ 1409725 h 2087602"/>
                  <a:gd name="connsiteX244" fmla="*/ 1496347 w 1601250"/>
                  <a:gd name="connsiteY244" fmla="*/ 1463185 h 2087602"/>
                  <a:gd name="connsiteX245" fmla="*/ 1517502 w 1601250"/>
                  <a:gd name="connsiteY245" fmla="*/ 1525260 h 2087602"/>
                  <a:gd name="connsiteX246" fmla="*/ 1495080 w 1601250"/>
                  <a:gd name="connsiteY246" fmla="*/ 1622932 h 2087602"/>
                  <a:gd name="connsiteX247" fmla="*/ 1588825 w 1601250"/>
                  <a:gd name="connsiteY247" fmla="*/ 1654602 h 2087602"/>
                  <a:gd name="connsiteX248" fmla="*/ 1578944 w 1601250"/>
                  <a:gd name="connsiteY248" fmla="*/ 1728458 h 2087602"/>
                  <a:gd name="connsiteX249" fmla="*/ 1582111 w 1601250"/>
                  <a:gd name="connsiteY249" fmla="*/ 1779258 h 208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01250" h="2087602">
                    <a:moveTo>
                      <a:pt x="1582111" y="1779258"/>
                    </a:moveTo>
                    <a:cubicBezTo>
                      <a:pt x="1588065" y="1796360"/>
                      <a:pt x="1536632" y="1804974"/>
                      <a:pt x="1519403" y="1810295"/>
                    </a:cubicBezTo>
                    <a:cubicBezTo>
                      <a:pt x="1502300" y="1815616"/>
                      <a:pt x="1501540" y="1830818"/>
                      <a:pt x="1494953" y="1846653"/>
                    </a:cubicBezTo>
                    <a:cubicBezTo>
                      <a:pt x="1488366" y="1862488"/>
                      <a:pt x="1507494" y="1881618"/>
                      <a:pt x="1521303" y="1896819"/>
                    </a:cubicBezTo>
                    <a:cubicBezTo>
                      <a:pt x="1535112" y="1912021"/>
                      <a:pt x="1509395" y="1949646"/>
                      <a:pt x="1490899" y="1959527"/>
                    </a:cubicBezTo>
                    <a:cubicBezTo>
                      <a:pt x="1472404" y="1969408"/>
                      <a:pt x="1484312" y="1975996"/>
                      <a:pt x="1484312" y="1984610"/>
                    </a:cubicBezTo>
                    <a:cubicBezTo>
                      <a:pt x="1484312" y="1993225"/>
                      <a:pt x="1463156" y="2009693"/>
                      <a:pt x="1460495" y="2023629"/>
                    </a:cubicBezTo>
                    <a:cubicBezTo>
                      <a:pt x="1457835" y="2037437"/>
                      <a:pt x="1428825" y="2050739"/>
                      <a:pt x="1411596" y="2060620"/>
                    </a:cubicBezTo>
                    <a:cubicBezTo>
                      <a:pt x="1404755" y="2064547"/>
                      <a:pt x="1399181" y="2075188"/>
                      <a:pt x="1394747" y="2087603"/>
                    </a:cubicBezTo>
                    <a:cubicBezTo>
                      <a:pt x="1391707" y="2082536"/>
                      <a:pt x="1385373" y="2069994"/>
                      <a:pt x="1384866" y="2054032"/>
                    </a:cubicBezTo>
                    <a:cubicBezTo>
                      <a:pt x="1384233" y="2033003"/>
                      <a:pt x="1376632" y="1989424"/>
                      <a:pt x="1354842" y="1993352"/>
                    </a:cubicBezTo>
                    <a:cubicBezTo>
                      <a:pt x="1333053" y="1997279"/>
                      <a:pt x="1297708" y="2024389"/>
                      <a:pt x="1296441" y="2007920"/>
                    </a:cubicBezTo>
                    <a:cubicBezTo>
                      <a:pt x="1295175" y="1991451"/>
                      <a:pt x="1266038" y="1929630"/>
                      <a:pt x="1246909" y="1927730"/>
                    </a:cubicBezTo>
                    <a:cubicBezTo>
                      <a:pt x="1227780" y="1925703"/>
                      <a:pt x="1225499" y="1943945"/>
                      <a:pt x="1207257" y="1916835"/>
                    </a:cubicBezTo>
                    <a:cubicBezTo>
                      <a:pt x="1189142" y="1889725"/>
                      <a:pt x="1188128" y="1856027"/>
                      <a:pt x="1176220" y="1854507"/>
                    </a:cubicBezTo>
                    <a:cubicBezTo>
                      <a:pt x="1164312" y="1852860"/>
                      <a:pt x="1137202" y="1852227"/>
                      <a:pt x="1127067" y="1859068"/>
                    </a:cubicBezTo>
                    <a:cubicBezTo>
                      <a:pt x="1116806" y="1866035"/>
                      <a:pt x="1043963" y="1910248"/>
                      <a:pt x="1023187" y="1899986"/>
                    </a:cubicBezTo>
                    <a:cubicBezTo>
                      <a:pt x="1002411" y="1889725"/>
                      <a:pt x="976315" y="1870596"/>
                      <a:pt x="945658" y="1870596"/>
                    </a:cubicBezTo>
                    <a:cubicBezTo>
                      <a:pt x="915001" y="1870596"/>
                      <a:pt x="899418" y="1872623"/>
                      <a:pt x="893211" y="1846526"/>
                    </a:cubicBezTo>
                    <a:cubicBezTo>
                      <a:pt x="886877" y="1820430"/>
                      <a:pt x="886877" y="1765956"/>
                      <a:pt x="853939" y="1767983"/>
                    </a:cubicBezTo>
                    <a:cubicBezTo>
                      <a:pt x="821002" y="1770010"/>
                      <a:pt x="801113" y="1774951"/>
                      <a:pt x="801746" y="1759369"/>
                    </a:cubicBezTo>
                    <a:cubicBezTo>
                      <a:pt x="802380" y="1743914"/>
                      <a:pt x="807320" y="1691467"/>
                      <a:pt x="762855" y="1684120"/>
                    </a:cubicBezTo>
                    <a:cubicBezTo>
                      <a:pt x="718263" y="1676899"/>
                      <a:pt x="733465" y="1703248"/>
                      <a:pt x="708381" y="1684120"/>
                    </a:cubicBezTo>
                    <a:cubicBezTo>
                      <a:pt x="683298" y="1664990"/>
                      <a:pt x="655555" y="1652069"/>
                      <a:pt x="640353" y="1636614"/>
                    </a:cubicBezTo>
                    <a:cubicBezTo>
                      <a:pt x="625151" y="1621032"/>
                      <a:pt x="607669" y="1591388"/>
                      <a:pt x="578659" y="1588728"/>
                    </a:cubicBezTo>
                    <a:cubicBezTo>
                      <a:pt x="549648" y="1586067"/>
                      <a:pt x="516584" y="1596328"/>
                      <a:pt x="511010" y="1576819"/>
                    </a:cubicBezTo>
                    <a:cubicBezTo>
                      <a:pt x="505436" y="1557437"/>
                      <a:pt x="516964" y="1537548"/>
                      <a:pt x="504042" y="1525386"/>
                    </a:cubicBezTo>
                    <a:cubicBezTo>
                      <a:pt x="491121" y="1513225"/>
                      <a:pt x="462111" y="1481174"/>
                      <a:pt x="461731" y="1458751"/>
                    </a:cubicBezTo>
                    <a:cubicBezTo>
                      <a:pt x="461477" y="1436329"/>
                      <a:pt x="483520" y="1382489"/>
                      <a:pt x="474272" y="1370327"/>
                    </a:cubicBezTo>
                    <a:cubicBezTo>
                      <a:pt x="465024" y="1358165"/>
                      <a:pt x="424739" y="1331689"/>
                      <a:pt x="425373" y="1314840"/>
                    </a:cubicBezTo>
                    <a:cubicBezTo>
                      <a:pt x="426006" y="1297991"/>
                      <a:pt x="416885" y="1256819"/>
                      <a:pt x="403583" y="1262393"/>
                    </a:cubicBezTo>
                    <a:cubicBezTo>
                      <a:pt x="390408" y="1267968"/>
                      <a:pt x="388381" y="1315473"/>
                      <a:pt x="374573" y="1305972"/>
                    </a:cubicBezTo>
                    <a:cubicBezTo>
                      <a:pt x="360765" y="1296344"/>
                      <a:pt x="348856" y="1290770"/>
                      <a:pt x="343282" y="1297738"/>
                    </a:cubicBezTo>
                    <a:cubicBezTo>
                      <a:pt x="337708" y="1304705"/>
                      <a:pt x="327067" y="1336376"/>
                      <a:pt x="315286" y="1327762"/>
                    </a:cubicBezTo>
                    <a:cubicBezTo>
                      <a:pt x="303377" y="1319147"/>
                      <a:pt x="286529" y="1309266"/>
                      <a:pt x="283235" y="1299004"/>
                    </a:cubicBezTo>
                    <a:cubicBezTo>
                      <a:pt x="279941" y="1288743"/>
                      <a:pt x="279561" y="1283169"/>
                      <a:pt x="270060" y="1278229"/>
                    </a:cubicBezTo>
                    <a:cubicBezTo>
                      <a:pt x="260559" y="1273288"/>
                      <a:pt x="228888" y="1250485"/>
                      <a:pt x="232435" y="1235917"/>
                    </a:cubicBezTo>
                    <a:cubicBezTo>
                      <a:pt x="236109" y="1221348"/>
                      <a:pt x="268413" y="1227303"/>
                      <a:pt x="270060" y="1211467"/>
                    </a:cubicBezTo>
                    <a:cubicBezTo>
                      <a:pt x="271707" y="1195632"/>
                      <a:pt x="212293" y="1134951"/>
                      <a:pt x="173781" y="1130644"/>
                    </a:cubicBezTo>
                    <a:cubicBezTo>
                      <a:pt x="135143" y="1126337"/>
                      <a:pt x="109173" y="1141538"/>
                      <a:pt x="89284" y="1130644"/>
                    </a:cubicBezTo>
                    <a:cubicBezTo>
                      <a:pt x="69522" y="1119749"/>
                      <a:pt x="60274" y="1128617"/>
                      <a:pt x="54573" y="1109108"/>
                    </a:cubicBezTo>
                    <a:cubicBezTo>
                      <a:pt x="48999" y="1089599"/>
                      <a:pt x="44692" y="1076804"/>
                      <a:pt x="31390" y="1071230"/>
                    </a:cubicBezTo>
                    <a:cubicBezTo>
                      <a:pt x="18215" y="1065656"/>
                      <a:pt x="-13836" y="1058308"/>
                      <a:pt x="6687" y="1043866"/>
                    </a:cubicBezTo>
                    <a:cubicBezTo>
                      <a:pt x="27210" y="1029298"/>
                      <a:pt x="34430" y="1023090"/>
                      <a:pt x="45958" y="1007001"/>
                    </a:cubicBezTo>
                    <a:cubicBezTo>
                      <a:pt x="57487" y="990786"/>
                      <a:pt x="83583" y="967983"/>
                      <a:pt x="84217" y="944674"/>
                    </a:cubicBezTo>
                    <a:cubicBezTo>
                      <a:pt x="84723" y="924278"/>
                      <a:pt x="76489" y="866004"/>
                      <a:pt x="74336" y="851055"/>
                    </a:cubicBezTo>
                    <a:cubicBezTo>
                      <a:pt x="98532" y="853209"/>
                      <a:pt x="127415" y="855616"/>
                      <a:pt x="135016" y="848142"/>
                    </a:cubicBezTo>
                    <a:cubicBezTo>
                      <a:pt x="146924" y="836487"/>
                      <a:pt x="189743" y="782393"/>
                      <a:pt x="210519" y="780113"/>
                    </a:cubicBezTo>
                    <a:cubicBezTo>
                      <a:pt x="231295" y="777833"/>
                      <a:pt x="263472" y="775299"/>
                      <a:pt x="284248" y="782520"/>
                    </a:cubicBezTo>
                    <a:cubicBezTo>
                      <a:pt x="305024" y="789741"/>
                      <a:pt x="332768" y="797342"/>
                      <a:pt x="349870" y="784167"/>
                    </a:cubicBezTo>
                    <a:cubicBezTo>
                      <a:pt x="366972" y="770992"/>
                      <a:pt x="383821" y="750849"/>
                      <a:pt x="397122" y="751483"/>
                    </a:cubicBezTo>
                    <a:cubicBezTo>
                      <a:pt x="410297" y="752116"/>
                      <a:pt x="460464" y="754397"/>
                      <a:pt x="470725" y="742235"/>
                    </a:cubicBezTo>
                    <a:cubicBezTo>
                      <a:pt x="480986" y="730074"/>
                      <a:pt x="471992" y="720446"/>
                      <a:pt x="488840" y="720446"/>
                    </a:cubicBezTo>
                    <a:cubicBezTo>
                      <a:pt x="505689" y="720446"/>
                      <a:pt x="520511" y="694729"/>
                      <a:pt x="504042" y="677880"/>
                    </a:cubicBezTo>
                    <a:cubicBezTo>
                      <a:pt x="487827" y="661285"/>
                      <a:pt x="451596" y="616693"/>
                      <a:pt x="513797" y="562599"/>
                    </a:cubicBezTo>
                    <a:cubicBezTo>
                      <a:pt x="520638" y="560953"/>
                      <a:pt x="527732" y="552338"/>
                      <a:pt x="530773" y="547397"/>
                    </a:cubicBezTo>
                    <a:cubicBezTo>
                      <a:pt x="534953" y="540810"/>
                      <a:pt x="539894" y="532196"/>
                      <a:pt x="542174" y="524594"/>
                    </a:cubicBezTo>
                    <a:cubicBezTo>
                      <a:pt x="544834" y="515727"/>
                      <a:pt x="544707" y="503692"/>
                      <a:pt x="549648" y="495711"/>
                    </a:cubicBezTo>
                    <a:cubicBezTo>
                      <a:pt x="552942" y="490517"/>
                      <a:pt x="558896" y="489757"/>
                      <a:pt x="564597" y="489123"/>
                    </a:cubicBezTo>
                    <a:cubicBezTo>
                      <a:pt x="565484" y="488997"/>
                      <a:pt x="570804" y="488870"/>
                      <a:pt x="576632" y="488997"/>
                    </a:cubicBezTo>
                    <a:cubicBezTo>
                      <a:pt x="577899" y="495584"/>
                      <a:pt x="579292" y="502045"/>
                      <a:pt x="582206" y="508633"/>
                    </a:cubicBezTo>
                    <a:cubicBezTo>
                      <a:pt x="589300" y="524848"/>
                      <a:pt x="602601" y="536123"/>
                      <a:pt x="611216" y="551325"/>
                    </a:cubicBezTo>
                    <a:cubicBezTo>
                      <a:pt x="619324" y="565766"/>
                      <a:pt x="622364" y="582488"/>
                      <a:pt x="628572" y="597817"/>
                    </a:cubicBezTo>
                    <a:cubicBezTo>
                      <a:pt x="634145" y="611626"/>
                      <a:pt x="640733" y="624167"/>
                      <a:pt x="643520" y="638989"/>
                    </a:cubicBezTo>
                    <a:cubicBezTo>
                      <a:pt x="646180" y="652924"/>
                      <a:pt x="645293" y="676740"/>
                      <a:pt x="658595" y="685735"/>
                    </a:cubicBezTo>
                    <a:cubicBezTo>
                      <a:pt x="671517" y="694602"/>
                      <a:pt x="691406" y="684468"/>
                      <a:pt x="702681" y="677120"/>
                    </a:cubicBezTo>
                    <a:cubicBezTo>
                      <a:pt x="718643" y="666732"/>
                      <a:pt x="732578" y="650390"/>
                      <a:pt x="738405" y="632021"/>
                    </a:cubicBezTo>
                    <a:cubicBezTo>
                      <a:pt x="740812" y="624420"/>
                      <a:pt x="741445" y="616313"/>
                      <a:pt x="738912" y="608458"/>
                    </a:cubicBezTo>
                    <a:cubicBezTo>
                      <a:pt x="736505" y="600731"/>
                      <a:pt x="730931" y="595537"/>
                      <a:pt x="727511" y="588696"/>
                    </a:cubicBezTo>
                    <a:cubicBezTo>
                      <a:pt x="724343" y="582235"/>
                      <a:pt x="725610" y="571340"/>
                      <a:pt x="725230" y="563866"/>
                    </a:cubicBezTo>
                    <a:cubicBezTo>
                      <a:pt x="724724" y="554745"/>
                      <a:pt x="724597" y="545244"/>
                      <a:pt x="728397" y="536756"/>
                    </a:cubicBezTo>
                    <a:cubicBezTo>
                      <a:pt x="731818" y="529282"/>
                      <a:pt x="739165" y="524721"/>
                      <a:pt x="743852" y="518260"/>
                    </a:cubicBezTo>
                    <a:cubicBezTo>
                      <a:pt x="747273" y="513320"/>
                      <a:pt x="753354" y="501285"/>
                      <a:pt x="750820" y="494951"/>
                    </a:cubicBezTo>
                    <a:cubicBezTo>
                      <a:pt x="745372" y="481269"/>
                      <a:pt x="721556" y="496344"/>
                      <a:pt x="719403" y="480509"/>
                    </a:cubicBezTo>
                    <a:cubicBezTo>
                      <a:pt x="717249" y="464927"/>
                      <a:pt x="717756" y="451119"/>
                      <a:pt x="708255" y="437817"/>
                    </a:cubicBezTo>
                    <a:cubicBezTo>
                      <a:pt x="704581" y="432750"/>
                      <a:pt x="701160" y="429329"/>
                      <a:pt x="701667" y="422995"/>
                    </a:cubicBezTo>
                    <a:cubicBezTo>
                      <a:pt x="702174" y="416534"/>
                      <a:pt x="703821" y="409440"/>
                      <a:pt x="707368" y="403866"/>
                    </a:cubicBezTo>
                    <a:cubicBezTo>
                      <a:pt x="711928" y="396518"/>
                      <a:pt x="719656" y="394111"/>
                      <a:pt x="727131" y="390438"/>
                    </a:cubicBezTo>
                    <a:cubicBezTo>
                      <a:pt x="736125" y="386131"/>
                      <a:pt x="747146" y="383597"/>
                      <a:pt x="754620" y="376883"/>
                    </a:cubicBezTo>
                    <a:cubicBezTo>
                      <a:pt x="760448" y="371689"/>
                      <a:pt x="766909" y="362694"/>
                      <a:pt x="769569" y="355347"/>
                    </a:cubicBezTo>
                    <a:cubicBezTo>
                      <a:pt x="773116" y="345845"/>
                      <a:pt x="769949" y="335711"/>
                      <a:pt x="774256" y="326210"/>
                    </a:cubicBezTo>
                    <a:cubicBezTo>
                      <a:pt x="778057" y="317849"/>
                      <a:pt x="782871" y="311135"/>
                      <a:pt x="789205" y="304547"/>
                    </a:cubicBezTo>
                    <a:cubicBezTo>
                      <a:pt x="796045" y="297579"/>
                      <a:pt x="799846" y="289218"/>
                      <a:pt x="799086" y="279211"/>
                    </a:cubicBezTo>
                    <a:cubicBezTo>
                      <a:pt x="798706" y="274017"/>
                      <a:pt x="796679" y="271103"/>
                      <a:pt x="792498" y="267936"/>
                    </a:cubicBezTo>
                    <a:cubicBezTo>
                      <a:pt x="789458" y="265655"/>
                      <a:pt x="784011" y="263755"/>
                      <a:pt x="784011" y="259321"/>
                    </a:cubicBezTo>
                    <a:cubicBezTo>
                      <a:pt x="784011" y="251087"/>
                      <a:pt x="798832" y="250327"/>
                      <a:pt x="800353" y="241079"/>
                    </a:cubicBezTo>
                    <a:cubicBezTo>
                      <a:pt x="801873" y="231325"/>
                      <a:pt x="788318" y="225370"/>
                      <a:pt x="795412" y="216123"/>
                    </a:cubicBezTo>
                    <a:cubicBezTo>
                      <a:pt x="802253" y="207382"/>
                      <a:pt x="814541" y="204215"/>
                      <a:pt x="824803" y="201934"/>
                    </a:cubicBezTo>
                    <a:cubicBezTo>
                      <a:pt x="865341" y="193446"/>
                      <a:pt x="907399" y="184832"/>
                      <a:pt x="935143" y="151768"/>
                    </a:cubicBezTo>
                    <a:cubicBezTo>
                      <a:pt x="948191" y="136186"/>
                      <a:pt x="959719" y="122378"/>
                      <a:pt x="976948" y="111483"/>
                    </a:cubicBezTo>
                    <a:cubicBezTo>
                      <a:pt x="992784" y="101475"/>
                      <a:pt x="1006465" y="88553"/>
                      <a:pt x="1017487" y="73351"/>
                    </a:cubicBezTo>
                    <a:cubicBezTo>
                      <a:pt x="1023061" y="65750"/>
                      <a:pt x="1027875" y="57643"/>
                      <a:pt x="1033702" y="50295"/>
                    </a:cubicBezTo>
                    <a:cubicBezTo>
                      <a:pt x="1036362" y="47001"/>
                      <a:pt x="1039023" y="44088"/>
                      <a:pt x="1042063" y="41174"/>
                    </a:cubicBezTo>
                    <a:cubicBezTo>
                      <a:pt x="1046243" y="37120"/>
                      <a:pt x="1051057" y="34460"/>
                      <a:pt x="1055491" y="30660"/>
                    </a:cubicBezTo>
                    <a:cubicBezTo>
                      <a:pt x="1058532" y="28126"/>
                      <a:pt x="1060812" y="24959"/>
                      <a:pt x="1064359" y="22932"/>
                    </a:cubicBezTo>
                    <a:cubicBezTo>
                      <a:pt x="1067020" y="21412"/>
                      <a:pt x="1069807" y="20905"/>
                      <a:pt x="1072467" y="19765"/>
                    </a:cubicBezTo>
                    <a:cubicBezTo>
                      <a:pt x="1079435" y="16851"/>
                      <a:pt x="1084375" y="9250"/>
                      <a:pt x="1090329" y="4816"/>
                    </a:cubicBezTo>
                    <a:cubicBezTo>
                      <a:pt x="1093116" y="2789"/>
                      <a:pt x="1099830" y="-1645"/>
                      <a:pt x="1103251" y="636"/>
                    </a:cubicBezTo>
                    <a:cubicBezTo>
                      <a:pt x="1106418" y="2663"/>
                      <a:pt x="1106038" y="8870"/>
                      <a:pt x="1107051" y="11910"/>
                    </a:cubicBezTo>
                    <a:cubicBezTo>
                      <a:pt x="1108191" y="15584"/>
                      <a:pt x="1109965" y="18498"/>
                      <a:pt x="1113005" y="20905"/>
                    </a:cubicBezTo>
                    <a:cubicBezTo>
                      <a:pt x="1120986" y="27112"/>
                      <a:pt x="1129221" y="32686"/>
                      <a:pt x="1138849" y="35727"/>
                    </a:cubicBezTo>
                    <a:cubicBezTo>
                      <a:pt x="1144422" y="37627"/>
                      <a:pt x="1150123" y="38767"/>
                      <a:pt x="1155951" y="39400"/>
                    </a:cubicBezTo>
                    <a:cubicBezTo>
                      <a:pt x="1168999" y="40921"/>
                      <a:pt x="1184328" y="39781"/>
                      <a:pt x="1195476" y="47888"/>
                    </a:cubicBezTo>
                    <a:cubicBezTo>
                      <a:pt x="1218405" y="64484"/>
                      <a:pt x="1215111" y="108949"/>
                      <a:pt x="1210297" y="133019"/>
                    </a:cubicBezTo>
                    <a:cubicBezTo>
                      <a:pt x="1205990" y="154302"/>
                      <a:pt x="1196869" y="174191"/>
                      <a:pt x="1186861" y="193193"/>
                    </a:cubicBezTo>
                    <a:cubicBezTo>
                      <a:pt x="1177614" y="210929"/>
                      <a:pt x="1164818" y="226764"/>
                      <a:pt x="1156457" y="244753"/>
                    </a:cubicBezTo>
                    <a:cubicBezTo>
                      <a:pt x="1150376" y="257928"/>
                      <a:pt x="1141636" y="271736"/>
                      <a:pt x="1126941" y="276550"/>
                    </a:cubicBezTo>
                    <a:cubicBezTo>
                      <a:pt x="1112499" y="281238"/>
                      <a:pt x="1091723" y="279211"/>
                      <a:pt x="1087922" y="298466"/>
                    </a:cubicBezTo>
                    <a:cubicBezTo>
                      <a:pt x="1085642" y="310375"/>
                      <a:pt x="1090329" y="325070"/>
                      <a:pt x="1093876" y="336218"/>
                    </a:cubicBezTo>
                    <a:cubicBezTo>
                      <a:pt x="1100083" y="356487"/>
                      <a:pt x="1101730" y="372322"/>
                      <a:pt x="1100970" y="393478"/>
                    </a:cubicBezTo>
                    <a:cubicBezTo>
                      <a:pt x="1100337" y="412987"/>
                      <a:pt x="1101477" y="436804"/>
                      <a:pt x="1085135" y="450739"/>
                    </a:cubicBezTo>
                    <a:cubicBezTo>
                      <a:pt x="1070820" y="463027"/>
                      <a:pt x="1057518" y="465561"/>
                      <a:pt x="1053718" y="486337"/>
                    </a:cubicBezTo>
                    <a:cubicBezTo>
                      <a:pt x="1049791" y="507746"/>
                      <a:pt x="1051817" y="529282"/>
                      <a:pt x="1037883" y="547524"/>
                    </a:cubicBezTo>
                    <a:cubicBezTo>
                      <a:pt x="1025848" y="563359"/>
                      <a:pt x="1015966" y="573494"/>
                      <a:pt x="1011026" y="593510"/>
                    </a:cubicBezTo>
                    <a:cubicBezTo>
                      <a:pt x="1005705" y="614919"/>
                      <a:pt x="1000258" y="633795"/>
                      <a:pt x="987083" y="651784"/>
                    </a:cubicBezTo>
                    <a:cubicBezTo>
                      <a:pt x="976188" y="666732"/>
                      <a:pt x="969727" y="679781"/>
                      <a:pt x="970994" y="698783"/>
                    </a:cubicBezTo>
                    <a:cubicBezTo>
                      <a:pt x="973528" y="732734"/>
                      <a:pt x="1014193" y="781000"/>
                      <a:pt x="974795" y="805956"/>
                    </a:cubicBezTo>
                    <a:cubicBezTo>
                      <a:pt x="958326" y="816471"/>
                      <a:pt x="937803" y="818625"/>
                      <a:pt x="930203" y="839021"/>
                    </a:cubicBezTo>
                    <a:cubicBezTo>
                      <a:pt x="922728" y="859290"/>
                      <a:pt x="927669" y="885133"/>
                      <a:pt x="914874" y="903502"/>
                    </a:cubicBezTo>
                    <a:cubicBezTo>
                      <a:pt x="904866" y="917944"/>
                      <a:pt x="886244" y="913763"/>
                      <a:pt x="871675" y="919591"/>
                    </a:cubicBezTo>
                    <a:cubicBezTo>
                      <a:pt x="851026" y="927952"/>
                      <a:pt x="841778" y="949108"/>
                      <a:pt x="830503" y="966590"/>
                    </a:cubicBezTo>
                    <a:cubicBezTo>
                      <a:pt x="818849" y="984832"/>
                      <a:pt x="805167" y="992306"/>
                      <a:pt x="783631" y="992813"/>
                    </a:cubicBezTo>
                    <a:cubicBezTo>
                      <a:pt x="766402" y="993193"/>
                      <a:pt x="757281" y="993067"/>
                      <a:pt x="751200" y="1010675"/>
                    </a:cubicBezTo>
                    <a:cubicBezTo>
                      <a:pt x="744739" y="1029424"/>
                      <a:pt x="735618" y="1044120"/>
                      <a:pt x="713322" y="1042726"/>
                    </a:cubicBezTo>
                    <a:cubicBezTo>
                      <a:pt x="692926" y="1041459"/>
                      <a:pt x="673670" y="1029171"/>
                      <a:pt x="656188" y="1019543"/>
                    </a:cubicBezTo>
                    <a:cubicBezTo>
                      <a:pt x="639466" y="1010422"/>
                      <a:pt x="628445" y="999654"/>
                      <a:pt x="618944" y="983058"/>
                    </a:cubicBezTo>
                    <a:cubicBezTo>
                      <a:pt x="613243" y="973177"/>
                      <a:pt x="602855" y="945941"/>
                      <a:pt x="587400" y="956328"/>
                    </a:cubicBezTo>
                    <a:cubicBezTo>
                      <a:pt x="572958" y="966210"/>
                      <a:pt x="575872" y="989393"/>
                      <a:pt x="584106" y="1001934"/>
                    </a:cubicBezTo>
                    <a:cubicBezTo>
                      <a:pt x="592340" y="1014476"/>
                      <a:pt x="603488" y="1025244"/>
                      <a:pt x="613116" y="1036899"/>
                    </a:cubicBezTo>
                    <a:cubicBezTo>
                      <a:pt x="622871" y="1048807"/>
                      <a:pt x="631105" y="1060968"/>
                      <a:pt x="644026" y="1069709"/>
                    </a:cubicBezTo>
                    <a:cubicBezTo>
                      <a:pt x="651247" y="1074650"/>
                      <a:pt x="659862" y="1074397"/>
                      <a:pt x="667970" y="1076297"/>
                    </a:cubicBezTo>
                    <a:cubicBezTo>
                      <a:pt x="676458" y="1078324"/>
                      <a:pt x="684185" y="1082631"/>
                      <a:pt x="692039" y="1086305"/>
                    </a:cubicBezTo>
                    <a:cubicBezTo>
                      <a:pt x="707875" y="1093906"/>
                      <a:pt x="726750" y="1109234"/>
                      <a:pt x="745119" y="1107081"/>
                    </a:cubicBezTo>
                    <a:cubicBezTo>
                      <a:pt x="761588" y="1105180"/>
                      <a:pt x="777297" y="1091119"/>
                      <a:pt x="793005" y="1085545"/>
                    </a:cubicBezTo>
                    <a:cubicBezTo>
                      <a:pt x="836964" y="1069836"/>
                      <a:pt x="888777" y="1068823"/>
                      <a:pt x="919054" y="1028157"/>
                    </a:cubicBezTo>
                    <a:cubicBezTo>
                      <a:pt x="934130" y="1007888"/>
                      <a:pt x="944771" y="982932"/>
                      <a:pt x="965927" y="967857"/>
                    </a:cubicBezTo>
                    <a:cubicBezTo>
                      <a:pt x="983283" y="955568"/>
                      <a:pt x="1006845" y="954048"/>
                      <a:pt x="1022174" y="938720"/>
                    </a:cubicBezTo>
                    <a:cubicBezTo>
                      <a:pt x="1040036" y="920984"/>
                      <a:pt x="1038643" y="894127"/>
                      <a:pt x="1036489" y="870945"/>
                    </a:cubicBezTo>
                    <a:cubicBezTo>
                      <a:pt x="1034336" y="848395"/>
                      <a:pt x="1033575" y="827746"/>
                      <a:pt x="1046117" y="807983"/>
                    </a:cubicBezTo>
                    <a:cubicBezTo>
                      <a:pt x="1055871" y="792655"/>
                      <a:pt x="1070313" y="779226"/>
                      <a:pt x="1089062" y="777579"/>
                    </a:cubicBezTo>
                    <a:cubicBezTo>
                      <a:pt x="1110218" y="775679"/>
                      <a:pt x="1133908" y="779986"/>
                      <a:pt x="1155064" y="782267"/>
                    </a:cubicBezTo>
                    <a:cubicBezTo>
                      <a:pt x="1176473" y="784547"/>
                      <a:pt x="1189648" y="790375"/>
                      <a:pt x="1192435" y="813177"/>
                    </a:cubicBezTo>
                    <a:cubicBezTo>
                      <a:pt x="1195222" y="835347"/>
                      <a:pt x="1197502" y="855489"/>
                      <a:pt x="1203963" y="877025"/>
                    </a:cubicBezTo>
                    <a:cubicBezTo>
                      <a:pt x="1213084" y="907429"/>
                      <a:pt x="1198009" y="929725"/>
                      <a:pt x="1180527" y="952908"/>
                    </a:cubicBezTo>
                    <a:cubicBezTo>
                      <a:pt x="1171786" y="964563"/>
                      <a:pt x="1158864" y="974064"/>
                      <a:pt x="1160131" y="990406"/>
                    </a:cubicBezTo>
                    <a:cubicBezTo>
                      <a:pt x="1161271" y="1006241"/>
                      <a:pt x="1160638" y="1025117"/>
                      <a:pt x="1169126" y="1039306"/>
                    </a:cubicBezTo>
                    <a:cubicBezTo>
                      <a:pt x="1177487" y="1053367"/>
                      <a:pt x="1196489" y="1058055"/>
                      <a:pt x="1210931" y="1063375"/>
                    </a:cubicBezTo>
                    <a:cubicBezTo>
                      <a:pt x="1249189" y="1077437"/>
                      <a:pt x="1256283" y="1119622"/>
                      <a:pt x="1276933" y="1149773"/>
                    </a:cubicBezTo>
                    <a:cubicBezTo>
                      <a:pt x="1300242" y="1153320"/>
                      <a:pt x="1283900" y="1111768"/>
                      <a:pt x="1278960" y="1101760"/>
                    </a:cubicBezTo>
                    <a:cubicBezTo>
                      <a:pt x="1275159" y="1094159"/>
                      <a:pt x="1270852" y="1087318"/>
                      <a:pt x="1266038" y="1080351"/>
                    </a:cubicBezTo>
                    <a:cubicBezTo>
                      <a:pt x="1259830" y="1071356"/>
                      <a:pt x="1262491" y="1065402"/>
                      <a:pt x="1259450" y="1056028"/>
                    </a:cubicBezTo>
                    <a:cubicBezTo>
                      <a:pt x="1253116" y="1036392"/>
                      <a:pt x="1221699" y="1044626"/>
                      <a:pt x="1207257" y="1033858"/>
                    </a:cubicBezTo>
                    <a:cubicBezTo>
                      <a:pt x="1198389" y="1027271"/>
                      <a:pt x="1199783" y="1020177"/>
                      <a:pt x="1202063" y="1010675"/>
                    </a:cubicBezTo>
                    <a:cubicBezTo>
                      <a:pt x="1204343" y="1000794"/>
                      <a:pt x="1201936" y="992180"/>
                      <a:pt x="1202190" y="982298"/>
                    </a:cubicBezTo>
                    <a:cubicBezTo>
                      <a:pt x="1202443" y="972291"/>
                      <a:pt x="1202443" y="959876"/>
                      <a:pt x="1207384" y="950881"/>
                    </a:cubicBezTo>
                    <a:cubicBezTo>
                      <a:pt x="1215111" y="936946"/>
                      <a:pt x="1224866" y="952275"/>
                      <a:pt x="1234367" y="942013"/>
                    </a:cubicBezTo>
                    <a:cubicBezTo>
                      <a:pt x="1241081" y="934666"/>
                      <a:pt x="1242982" y="922758"/>
                      <a:pt x="1247162" y="913890"/>
                    </a:cubicBezTo>
                    <a:cubicBezTo>
                      <a:pt x="1251849" y="904135"/>
                      <a:pt x="1255776" y="896534"/>
                      <a:pt x="1255016" y="885386"/>
                    </a:cubicBezTo>
                    <a:cubicBezTo>
                      <a:pt x="1254129" y="873731"/>
                      <a:pt x="1254636" y="866384"/>
                      <a:pt x="1259323" y="855489"/>
                    </a:cubicBezTo>
                    <a:cubicBezTo>
                      <a:pt x="1264644" y="843074"/>
                      <a:pt x="1267178" y="832560"/>
                      <a:pt x="1256536" y="822045"/>
                    </a:cubicBezTo>
                    <a:cubicBezTo>
                      <a:pt x="1247162" y="812924"/>
                      <a:pt x="1233354" y="809503"/>
                      <a:pt x="1225880" y="798355"/>
                    </a:cubicBezTo>
                    <a:cubicBezTo>
                      <a:pt x="1219292" y="788474"/>
                      <a:pt x="1218532" y="775933"/>
                      <a:pt x="1210551" y="766685"/>
                    </a:cubicBezTo>
                    <a:cubicBezTo>
                      <a:pt x="1203456" y="758577"/>
                      <a:pt x="1193195" y="756424"/>
                      <a:pt x="1184834" y="750216"/>
                    </a:cubicBezTo>
                    <a:cubicBezTo>
                      <a:pt x="1176093" y="743755"/>
                      <a:pt x="1172293" y="732607"/>
                      <a:pt x="1163678" y="726020"/>
                    </a:cubicBezTo>
                    <a:cubicBezTo>
                      <a:pt x="1152277" y="717279"/>
                      <a:pt x="1139609" y="722979"/>
                      <a:pt x="1127827" y="727667"/>
                    </a:cubicBezTo>
                    <a:cubicBezTo>
                      <a:pt x="1116046" y="732227"/>
                      <a:pt x="1106418" y="735774"/>
                      <a:pt x="1097297" y="725386"/>
                    </a:cubicBezTo>
                    <a:cubicBezTo>
                      <a:pt x="1088556" y="715505"/>
                      <a:pt x="1084755" y="708664"/>
                      <a:pt x="1070440" y="707271"/>
                    </a:cubicBezTo>
                    <a:cubicBezTo>
                      <a:pt x="1061192" y="706257"/>
                      <a:pt x="1043330" y="709171"/>
                      <a:pt x="1041810" y="696376"/>
                    </a:cubicBezTo>
                    <a:cubicBezTo>
                      <a:pt x="1040416" y="684468"/>
                      <a:pt x="1055238" y="672940"/>
                      <a:pt x="1060305" y="663439"/>
                    </a:cubicBezTo>
                    <a:cubicBezTo>
                      <a:pt x="1066386" y="652417"/>
                      <a:pt x="1063726" y="642663"/>
                      <a:pt x="1062966" y="630754"/>
                    </a:cubicBezTo>
                    <a:cubicBezTo>
                      <a:pt x="1062079" y="618846"/>
                      <a:pt x="1065879" y="611372"/>
                      <a:pt x="1073480" y="602378"/>
                    </a:cubicBezTo>
                    <a:cubicBezTo>
                      <a:pt x="1081335" y="593003"/>
                      <a:pt x="1089569" y="584135"/>
                      <a:pt x="1094130" y="572607"/>
                    </a:cubicBezTo>
                    <a:cubicBezTo>
                      <a:pt x="1098310" y="562219"/>
                      <a:pt x="1099197" y="550818"/>
                      <a:pt x="1103631" y="540430"/>
                    </a:cubicBezTo>
                    <a:cubicBezTo>
                      <a:pt x="1112879" y="518134"/>
                      <a:pt x="1137582" y="512940"/>
                      <a:pt x="1153924" y="497864"/>
                    </a:cubicBezTo>
                    <a:cubicBezTo>
                      <a:pt x="1170646" y="482536"/>
                      <a:pt x="1174066" y="443391"/>
                      <a:pt x="1171279" y="422108"/>
                    </a:cubicBezTo>
                    <a:cubicBezTo>
                      <a:pt x="1170393" y="415268"/>
                      <a:pt x="1167099" y="408807"/>
                      <a:pt x="1166972" y="401713"/>
                    </a:cubicBezTo>
                    <a:cubicBezTo>
                      <a:pt x="1166845" y="394238"/>
                      <a:pt x="1170393" y="388031"/>
                      <a:pt x="1172546" y="381190"/>
                    </a:cubicBezTo>
                    <a:cubicBezTo>
                      <a:pt x="1176727" y="367762"/>
                      <a:pt x="1175333" y="351420"/>
                      <a:pt x="1165325" y="340778"/>
                    </a:cubicBezTo>
                    <a:cubicBezTo>
                      <a:pt x="1155697" y="330517"/>
                      <a:pt x="1143409" y="321649"/>
                      <a:pt x="1161018" y="310628"/>
                    </a:cubicBezTo>
                    <a:cubicBezTo>
                      <a:pt x="1171786" y="303914"/>
                      <a:pt x="1183694" y="302267"/>
                      <a:pt x="1190408" y="291245"/>
                    </a:cubicBezTo>
                    <a:cubicBezTo>
                      <a:pt x="1196362" y="281618"/>
                      <a:pt x="1201176" y="270089"/>
                      <a:pt x="1212198" y="265149"/>
                    </a:cubicBezTo>
                    <a:cubicBezTo>
                      <a:pt x="1231200" y="256408"/>
                      <a:pt x="1252483" y="265149"/>
                      <a:pt x="1271739" y="254381"/>
                    </a:cubicBezTo>
                    <a:cubicBezTo>
                      <a:pt x="1280100" y="249693"/>
                      <a:pt x="1286054" y="242473"/>
                      <a:pt x="1293148" y="236139"/>
                    </a:cubicBezTo>
                    <a:cubicBezTo>
                      <a:pt x="1305056" y="225624"/>
                      <a:pt x="1318358" y="213336"/>
                      <a:pt x="1323805" y="197880"/>
                    </a:cubicBezTo>
                    <a:cubicBezTo>
                      <a:pt x="1329126" y="182805"/>
                      <a:pt x="1323425" y="167857"/>
                      <a:pt x="1334066" y="154555"/>
                    </a:cubicBezTo>
                    <a:cubicBezTo>
                      <a:pt x="1340147" y="146954"/>
                      <a:pt x="1352308" y="129092"/>
                      <a:pt x="1362696" y="130739"/>
                    </a:cubicBezTo>
                    <a:cubicBezTo>
                      <a:pt x="1369031" y="152781"/>
                      <a:pt x="1361303" y="168870"/>
                      <a:pt x="1354969" y="189393"/>
                    </a:cubicBezTo>
                    <a:cubicBezTo>
                      <a:pt x="1349648" y="206368"/>
                      <a:pt x="1361050" y="232972"/>
                      <a:pt x="1344328" y="245260"/>
                    </a:cubicBezTo>
                    <a:cubicBezTo>
                      <a:pt x="1329633" y="255901"/>
                      <a:pt x="1307463" y="263375"/>
                      <a:pt x="1301889" y="283138"/>
                    </a:cubicBezTo>
                    <a:cubicBezTo>
                      <a:pt x="1297835" y="297199"/>
                      <a:pt x="1305182" y="310248"/>
                      <a:pt x="1306069" y="324056"/>
                    </a:cubicBezTo>
                    <a:cubicBezTo>
                      <a:pt x="1307843" y="352940"/>
                      <a:pt x="1271739" y="366115"/>
                      <a:pt x="1295555" y="394872"/>
                    </a:cubicBezTo>
                    <a:cubicBezTo>
                      <a:pt x="1303789" y="404880"/>
                      <a:pt x="1312277" y="414381"/>
                      <a:pt x="1320258" y="424769"/>
                    </a:cubicBezTo>
                    <a:cubicBezTo>
                      <a:pt x="1328872" y="435917"/>
                      <a:pt x="1340020" y="439717"/>
                      <a:pt x="1353322" y="443518"/>
                    </a:cubicBezTo>
                    <a:cubicBezTo>
                      <a:pt x="1366877" y="447445"/>
                      <a:pt x="1380812" y="450232"/>
                      <a:pt x="1386893" y="464294"/>
                    </a:cubicBezTo>
                    <a:cubicBezTo>
                      <a:pt x="1393480" y="479496"/>
                      <a:pt x="1395381" y="492290"/>
                      <a:pt x="1410582" y="501918"/>
                    </a:cubicBezTo>
                    <a:cubicBezTo>
                      <a:pt x="1416030" y="505339"/>
                      <a:pt x="1445293" y="519020"/>
                      <a:pt x="1449854" y="508506"/>
                    </a:cubicBezTo>
                    <a:cubicBezTo>
                      <a:pt x="1452641" y="501918"/>
                      <a:pt x="1432119" y="485323"/>
                      <a:pt x="1428825" y="480129"/>
                    </a:cubicBezTo>
                    <a:cubicBezTo>
                      <a:pt x="1421351" y="468601"/>
                      <a:pt x="1421224" y="454792"/>
                      <a:pt x="1414763" y="443011"/>
                    </a:cubicBezTo>
                    <a:cubicBezTo>
                      <a:pt x="1407415" y="429709"/>
                      <a:pt x="1392214" y="423248"/>
                      <a:pt x="1380306" y="414888"/>
                    </a:cubicBezTo>
                    <a:cubicBezTo>
                      <a:pt x="1359529" y="400192"/>
                      <a:pt x="1346481" y="373336"/>
                      <a:pt x="1342427" y="348759"/>
                    </a:cubicBezTo>
                    <a:cubicBezTo>
                      <a:pt x="1340654" y="338245"/>
                      <a:pt x="1339514" y="324183"/>
                      <a:pt x="1343187" y="313922"/>
                    </a:cubicBezTo>
                    <a:cubicBezTo>
                      <a:pt x="1348761" y="298340"/>
                      <a:pt x="1359783" y="304800"/>
                      <a:pt x="1372071" y="301633"/>
                    </a:cubicBezTo>
                    <a:cubicBezTo>
                      <a:pt x="1379672" y="299733"/>
                      <a:pt x="1390947" y="291879"/>
                      <a:pt x="1398928" y="294666"/>
                    </a:cubicBezTo>
                    <a:cubicBezTo>
                      <a:pt x="1406275" y="297199"/>
                      <a:pt x="1407415" y="310628"/>
                      <a:pt x="1411723" y="316962"/>
                    </a:cubicBezTo>
                    <a:cubicBezTo>
                      <a:pt x="1421477" y="331530"/>
                      <a:pt x="1433259" y="356234"/>
                      <a:pt x="1454794" y="349519"/>
                    </a:cubicBezTo>
                    <a:cubicBezTo>
                      <a:pt x="1488492" y="339005"/>
                      <a:pt x="1440606" y="295553"/>
                      <a:pt x="1447447" y="279211"/>
                    </a:cubicBezTo>
                    <a:cubicBezTo>
                      <a:pt x="1451627" y="269329"/>
                      <a:pt x="1472910" y="267429"/>
                      <a:pt x="1481652" y="266289"/>
                    </a:cubicBezTo>
                    <a:cubicBezTo>
                      <a:pt x="1484819" y="265782"/>
                      <a:pt x="1487859" y="265529"/>
                      <a:pt x="1490899" y="265529"/>
                    </a:cubicBezTo>
                    <a:cubicBezTo>
                      <a:pt x="1488619" y="284658"/>
                      <a:pt x="1506101" y="306194"/>
                      <a:pt x="1524470" y="308474"/>
                    </a:cubicBezTo>
                    <a:cubicBezTo>
                      <a:pt x="1530931" y="309234"/>
                      <a:pt x="1539292" y="309614"/>
                      <a:pt x="1543472" y="315568"/>
                    </a:cubicBezTo>
                    <a:cubicBezTo>
                      <a:pt x="1547020" y="320636"/>
                      <a:pt x="1546386" y="329123"/>
                      <a:pt x="1546006" y="335078"/>
                    </a:cubicBezTo>
                    <a:cubicBezTo>
                      <a:pt x="1544993" y="351420"/>
                      <a:pt x="1538405" y="365481"/>
                      <a:pt x="1528397" y="378276"/>
                    </a:cubicBezTo>
                    <a:cubicBezTo>
                      <a:pt x="1520416" y="388538"/>
                      <a:pt x="1509015" y="393351"/>
                      <a:pt x="1496727" y="396392"/>
                    </a:cubicBezTo>
                    <a:cubicBezTo>
                      <a:pt x="1484945" y="399306"/>
                      <a:pt x="1467716" y="403106"/>
                      <a:pt x="1475951" y="418815"/>
                    </a:cubicBezTo>
                    <a:cubicBezTo>
                      <a:pt x="1482792" y="431863"/>
                      <a:pt x="1494320" y="441998"/>
                      <a:pt x="1499260" y="456059"/>
                    </a:cubicBezTo>
                    <a:cubicBezTo>
                      <a:pt x="1504834" y="471768"/>
                      <a:pt x="1514842" y="483803"/>
                      <a:pt x="1522443" y="498371"/>
                    </a:cubicBezTo>
                    <a:cubicBezTo>
                      <a:pt x="1530171" y="513193"/>
                      <a:pt x="1527764" y="532322"/>
                      <a:pt x="1527004" y="548411"/>
                    </a:cubicBezTo>
                    <a:cubicBezTo>
                      <a:pt x="1526117" y="566020"/>
                      <a:pt x="1524723" y="584769"/>
                      <a:pt x="1519529" y="601744"/>
                    </a:cubicBezTo>
                    <a:cubicBezTo>
                      <a:pt x="1514842" y="616946"/>
                      <a:pt x="1498500" y="617326"/>
                      <a:pt x="1485199" y="618086"/>
                    </a:cubicBezTo>
                    <a:cubicBezTo>
                      <a:pt x="1469110" y="618973"/>
                      <a:pt x="1463789" y="626194"/>
                      <a:pt x="1457201" y="640129"/>
                    </a:cubicBezTo>
                    <a:cubicBezTo>
                      <a:pt x="1449981" y="655711"/>
                      <a:pt x="1439973" y="666099"/>
                      <a:pt x="1422617" y="669519"/>
                    </a:cubicBezTo>
                    <a:cubicBezTo>
                      <a:pt x="1408555" y="672306"/>
                      <a:pt x="1392594" y="670533"/>
                      <a:pt x="1381446" y="681174"/>
                    </a:cubicBezTo>
                    <a:cubicBezTo>
                      <a:pt x="1371564" y="690549"/>
                      <a:pt x="1367510" y="706131"/>
                      <a:pt x="1370804" y="719179"/>
                    </a:cubicBezTo>
                    <a:cubicBezTo>
                      <a:pt x="1374225" y="732861"/>
                      <a:pt x="1384739" y="743755"/>
                      <a:pt x="1390060" y="756677"/>
                    </a:cubicBezTo>
                    <a:cubicBezTo>
                      <a:pt x="1395507" y="769725"/>
                      <a:pt x="1396141" y="784167"/>
                      <a:pt x="1401461" y="797215"/>
                    </a:cubicBezTo>
                    <a:cubicBezTo>
                      <a:pt x="1406402" y="809377"/>
                      <a:pt x="1417043" y="818625"/>
                      <a:pt x="1428318" y="824959"/>
                    </a:cubicBezTo>
                    <a:cubicBezTo>
                      <a:pt x="1444533" y="834080"/>
                      <a:pt x="1462902" y="831546"/>
                      <a:pt x="1480005" y="826606"/>
                    </a:cubicBezTo>
                    <a:cubicBezTo>
                      <a:pt x="1488746" y="824072"/>
                      <a:pt x="1497233" y="821032"/>
                      <a:pt x="1505974" y="818498"/>
                    </a:cubicBezTo>
                    <a:cubicBezTo>
                      <a:pt x="1508508" y="817738"/>
                      <a:pt x="1515476" y="814571"/>
                      <a:pt x="1518009" y="815584"/>
                    </a:cubicBezTo>
                    <a:cubicBezTo>
                      <a:pt x="1520923" y="816724"/>
                      <a:pt x="1521176" y="822552"/>
                      <a:pt x="1521303" y="825465"/>
                    </a:cubicBezTo>
                    <a:cubicBezTo>
                      <a:pt x="1521810" y="838387"/>
                      <a:pt x="1520163" y="849408"/>
                      <a:pt x="1531818" y="857769"/>
                    </a:cubicBezTo>
                    <a:cubicBezTo>
                      <a:pt x="1539672" y="863470"/>
                      <a:pt x="1546893" y="865877"/>
                      <a:pt x="1546766" y="876772"/>
                    </a:cubicBezTo>
                    <a:cubicBezTo>
                      <a:pt x="1546639" y="893747"/>
                      <a:pt x="1540686" y="911610"/>
                      <a:pt x="1547020" y="928078"/>
                    </a:cubicBezTo>
                    <a:cubicBezTo>
                      <a:pt x="1550187" y="936186"/>
                      <a:pt x="1556014" y="943154"/>
                      <a:pt x="1556394" y="952148"/>
                    </a:cubicBezTo>
                    <a:cubicBezTo>
                      <a:pt x="1556774" y="960889"/>
                      <a:pt x="1552973" y="969757"/>
                      <a:pt x="1549553" y="977611"/>
                    </a:cubicBezTo>
                    <a:cubicBezTo>
                      <a:pt x="1545373" y="987366"/>
                      <a:pt x="1534985" y="1001174"/>
                      <a:pt x="1535492" y="1013336"/>
                    </a:cubicBezTo>
                    <a:cubicBezTo>
                      <a:pt x="1488239" y="1012702"/>
                      <a:pt x="1497107" y="1039686"/>
                      <a:pt x="1502934" y="1055521"/>
                    </a:cubicBezTo>
                    <a:cubicBezTo>
                      <a:pt x="1508888" y="1071356"/>
                      <a:pt x="1471897" y="1052227"/>
                      <a:pt x="1450107" y="1048933"/>
                    </a:cubicBezTo>
                    <a:cubicBezTo>
                      <a:pt x="1428318" y="1045640"/>
                      <a:pt x="1459355" y="1105687"/>
                      <a:pt x="1465309" y="1121523"/>
                    </a:cubicBezTo>
                    <a:cubicBezTo>
                      <a:pt x="1471263" y="1137358"/>
                      <a:pt x="1454161" y="1150533"/>
                      <a:pt x="1443520" y="1173589"/>
                    </a:cubicBezTo>
                    <a:cubicBezTo>
                      <a:pt x="1433005" y="1196645"/>
                      <a:pt x="1477218" y="1233637"/>
                      <a:pt x="1486465" y="1249472"/>
                    </a:cubicBezTo>
                    <a:cubicBezTo>
                      <a:pt x="1495713" y="1265307"/>
                      <a:pt x="1475951" y="1287097"/>
                      <a:pt x="1463409" y="1301538"/>
                    </a:cubicBezTo>
                    <a:cubicBezTo>
                      <a:pt x="1450867" y="1316107"/>
                      <a:pt x="1462142" y="1329282"/>
                      <a:pt x="1470630" y="1349677"/>
                    </a:cubicBezTo>
                    <a:cubicBezTo>
                      <a:pt x="1479245" y="1370200"/>
                      <a:pt x="1458088" y="1386669"/>
                      <a:pt x="1455428" y="1409725"/>
                    </a:cubicBezTo>
                    <a:cubicBezTo>
                      <a:pt x="1452768" y="1432782"/>
                      <a:pt x="1474557" y="1451910"/>
                      <a:pt x="1496347" y="1463185"/>
                    </a:cubicBezTo>
                    <a:cubicBezTo>
                      <a:pt x="1518136" y="1474333"/>
                      <a:pt x="1512815" y="1504103"/>
                      <a:pt x="1517502" y="1525260"/>
                    </a:cubicBezTo>
                    <a:cubicBezTo>
                      <a:pt x="1522063" y="1546416"/>
                      <a:pt x="1485199" y="1584674"/>
                      <a:pt x="1495080" y="1622932"/>
                    </a:cubicBezTo>
                    <a:cubicBezTo>
                      <a:pt x="1504961" y="1661190"/>
                      <a:pt x="1559688" y="1650042"/>
                      <a:pt x="1588825" y="1654602"/>
                    </a:cubicBezTo>
                    <a:cubicBezTo>
                      <a:pt x="1617835" y="1659163"/>
                      <a:pt x="1588192" y="1717944"/>
                      <a:pt x="1578944" y="1728458"/>
                    </a:cubicBezTo>
                    <a:cubicBezTo>
                      <a:pt x="1570202" y="1738973"/>
                      <a:pt x="1576157" y="1762156"/>
                      <a:pt x="1582111" y="1779258"/>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06" name="Рисунок 388">
                <a:extLst>
                  <a:ext uri="{FF2B5EF4-FFF2-40B4-BE49-F238E27FC236}">
                    <a16:creationId xmlns:a16="http://schemas.microsoft.com/office/drawing/2014/main" id="{1DA397FD-DC6E-439E-BB40-D0F80476817D}"/>
                  </a:ext>
                </a:extLst>
              </p:cNvPr>
              <p:cNvGrpSpPr/>
              <p:nvPr/>
            </p:nvGrpSpPr>
            <p:grpSpPr>
              <a:xfrm>
                <a:off x="5656330" y="2491877"/>
                <a:ext cx="804275" cy="536390"/>
                <a:chOff x="5656330" y="2491877"/>
                <a:chExt cx="804275" cy="536390"/>
              </a:xfrm>
              <a:solidFill>
                <a:srgbClr val="E3E8EC"/>
              </a:solidFill>
            </p:grpSpPr>
            <p:sp>
              <p:nvSpPr>
                <p:cNvPr id="607" name="Полилиния: фигура 606">
                  <a:extLst>
                    <a:ext uri="{FF2B5EF4-FFF2-40B4-BE49-F238E27FC236}">
                      <a16:creationId xmlns:a16="http://schemas.microsoft.com/office/drawing/2014/main" id="{A9FA9587-70CA-4006-AF46-9E8745A28E23}"/>
                    </a:ext>
                  </a:extLst>
                </p:cNvPr>
                <p:cNvSpPr/>
                <p:nvPr/>
              </p:nvSpPr>
              <p:spPr>
                <a:xfrm>
                  <a:off x="6376875" y="2768878"/>
                  <a:ext cx="83730" cy="49815"/>
                </a:xfrm>
                <a:custGeom>
                  <a:avLst/>
                  <a:gdLst>
                    <a:gd name="connsiteX0" fmla="*/ 18774 w 83730"/>
                    <a:gd name="connsiteY0" fmla="*/ 44662 h 49815"/>
                    <a:gd name="connsiteX1" fmla="*/ 2052 w 83730"/>
                    <a:gd name="connsiteY1" fmla="*/ 44409 h 49815"/>
                    <a:gd name="connsiteX2" fmla="*/ 4459 w 83730"/>
                    <a:gd name="connsiteY2" fmla="*/ 32627 h 49815"/>
                    <a:gd name="connsiteX3" fmla="*/ 17760 w 83730"/>
                    <a:gd name="connsiteY3" fmla="*/ 19706 h 49815"/>
                    <a:gd name="connsiteX4" fmla="*/ 31822 w 83730"/>
                    <a:gd name="connsiteY4" fmla="*/ 3997 h 49815"/>
                    <a:gd name="connsiteX5" fmla="*/ 67800 w 83730"/>
                    <a:gd name="connsiteY5" fmla="*/ 10331 h 49815"/>
                    <a:gd name="connsiteX6" fmla="*/ 82622 w 83730"/>
                    <a:gd name="connsiteY6" fmla="*/ 26040 h 49815"/>
                    <a:gd name="connsiteX7" fmla="*/ 62353 w 83730"/>
                    <a:gd name="connsiteY7" fmla="*/ 46943 h 49815"/>
                    <a:gd name="connsiteX8" fmla="*/ 40436 w 83730"/>
                    <a:gd name="connsiteY8" fmla="*/ 48843 h 49815"/>
                    <a:gd name="connsiteX9" fmla="*/ 18774 w 83730"/>
                    <a:gd name="connsiteY9" fmla="*/ 44662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0" h="49815">
                      <a:moveTo>
                        <a:pt x="18774" y="44662"/>
                      </a:moveTo>
                      <a:cubicBezTo>
                        <a:pt x="14087" y="45042"/>
                        <a:pt x="6232" y="47576"/>
                        <a:pt x="2052" y="44409"/>
                      </a:cubicBezTo>
                      <a:cubicBezTo>
                        <a:pt x="-2509" y="40988"/>
                        <a:pt x="1545" y="35668"/>
                        <a:pt x="4459" y="32627"/>
                      </a:cubicBezTo>
                      <a:cubicBezTo>
                        <a:pt x="8639" y="27940"/>
                        <a:pt x="13580" y="24266"/>
                        <a:pt x="17760" y="19706"/>
                      </a:cubicBezTo>
                      <a:cubicBezTo>
                        <a:pt x="22448" y="14638"/>
                        <a:pt x="26375" y="8431"/>
                        <a:pt x="31822" y="3997"/>
                      </a:cubicBezTo>
                      <a:cubicBezTo>
                        <a:pt x="42590" y="-4997"/>
                        <a:pt x="58172" y="2984"/>
                        <a:pt x="67800" y="10331"/>
                      </a:cubicBezTo>
                      <a:cubicBezTo>
                        <a:pt x="73247" y="14385"/>
                        <a:pt x="79708" y="19832"/>
                        <a:pt x="82622" y="26040"/>
                      </a:cubicBezTo>
                      <a:cubicBezTo>
                        <a:pt x="88322" y="37821"/>
                        <a:pt x="70587" y="44155"/>
                        <a:pt x="62353" y="46943"/>
                      </a:cubicBezTo>
                      <a:cubicBezTo>
                        <a:pt x="55765" y="49223"/>
                        <a:pt x="47277" y="50996"/>
                        <a:pt x="40436" y="48843"/>
                      </a:cubicBezTo>
                      <a:cubicBezTo>
                        <a:pt x="33089" y="46309"/>
                        <a:pt x="26628" y="44029"/>
                        <a:pt x="18774" y="446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8" name="Полилиния: фигура 607">
                  <a:extLst>
                    <a:ext uri="{FF2B5EF4-FFF2-40B4-BE49-F238E27FC236}">
                      <a16:creationId xmlns:a16="http://schemas.microsoft.com/office/drawing/2014/main" id="{C78B1DF4-7F03-402C-B03B-6A40497595F5}"/>
                    </a:ext>
                  </a:extLst>
                </p:cNvPr>
                <p:cNvSpPr/>
                <p:nvPr/>
              </p:nvSpPr>
              <p:spPr>
                <a:xfrm>
                  <a:off x="6393014" y="2662715"/>
                  <a:ext cx="24114" cy="15950"/>
                </a:xfrm>
                <a:custGeom>
                  <a:avLst/>
                  <a:gdLst>
                    <a:gd name="connsiteX0" fmla="*/ 1622 w 24114"/>
                    <a:gd name="connsiteY0" fmla="*/ 4759 h 15950"/>
                    <a:gd name="connsiteX1" fmla="*/ 23411 w 24114"/>
                    <a:gd name="connsiteY1" fmla="*/ 9700 h 15950"/>
                    <a:gd name="connsiteX2" fmla="*/ 7829 w 24114"/>
                    <a:gd name="connsiteY2" fmla="*/ 15908 h 15950"/>
                    <a:gd name="connsiteX3" fmla="*/ 1622 w 24114"/>
                    <a:gd name="connsiteY3" fmla="*/ 4759 h 15950"/>
                  </a:gdLst>
                  <a:ahLst/>
                  <a:cxnLst>
                    <a:cxn ang="0">
                      <a:pos x="connsiteX0" y="connsiteY0"/>
                    </a:cxn>
                    <a:cxn ang="0">
                      <a:pos x="connsiteX1" y="connsiteY1"/>
                    </a:cxn>
                    <a:cxn ang="0">
                      <a:pos x="connsiteX2" y="connsiteY2"/>
                    </a:cxn>
                    <a:cxn ang="0">
                      <a:pos x="connsiteX3" y="connsiteY3"/>
                    </a:cxn>
                  </a:cxnLst>
                  <a:rect l="l" t="t" r="r" b="b"/>
                  <a:pathLst>
                    <a:path w="24114" h="15950">
                      <a:moveTo>
                        <a:pt x="1622" y="4759"/>
                      </a:moveTo>
                      <a:cubicBezTo>
                        <a:pt x="6942" y="-2081"/>
                        <a:pt x="28225" y="-2461"/>
                        <a:pt x="23411" y="9700"/>
                      </a:cubicBezTo>
                      <a:cubicBezTo>
                        <a:pt x="21384" y="14768"/>
                        <a:pt x="12389" y="15528"/>
                        <a:pt x="7829" y="15908"/>
                      </a:cubicBezTo>
                      <a:cubicBezTo>
                        <a:pt x="2002" y="16541"/>
                        <a:pt x="-2559" y="10080"/>
                        <a:pt x="1622" y="47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09" name="Полилиния: фигура 608">
                  <a:extLst>
                    <a:ext uri="{FF2B5EF4-FFF2-40B4-BE49-F238E27FC236}">
                      <a16:creationId xmlns:a16="http://schemas.microsoft.com/office/drawing/2014/main" id="{D22D1E2D-B444-4748-A2BE-219571D7715A}"/>
                    </a:ext>
                  </a:extLst>
                </p:cNvPr>
                <p:cNvSpPr/>
                <p:nvPr/>
              </p:nvSpPr>
              <p:spPr>
                <a:xfrm>
                  <a:off x="6414479" y="2604996"/>
                  <a:ext cx="15314" cy="29112"/>
                </a:xfrm>
                <a:custGeom>
                  <a:avLst/>
                  <a:gdLst>
                    <a:gd name="connsiteX0" fmla="*/ 8026 w 15314"/>
                    <a:gd name="connsiteY0" fmla="*/ 1671 h 29112"/>
                    <a:gd name="connsiteX1" fmla="*/ 14487 w 15314"/>
                    <a:gd name="connsiteY1" fmla="*/ 25361 h 29112"/>
                    <a:gd name="connsiteX2" fmla="*/ 1185 w 15314"/>
                    <a:gd name="connsiteY2" fmla="*/ 18393 h 29112"/>
                    <a:gd name="connsiteX3" fmla="*/ 8026 w 15314"/>
                    <a:gd name="connsiteY3" fmla="*/ 1671 h 29112"/>
                  </a:gdLst>
                  <a:ahLst/>
                  <a:cxnLst>
                    <a:cxn ang="0">
                      <a:pos x="connsiteX0" y="connsiteY0"/>
                    </a:cxn>
                    <a:cxn ang="0">
                      <a:pos x="connsiteX1" y="connsiteY1"/>
                    </a:cxn>
                    <a:cxn ang="0">
                      <a:pos x="connsiteX2" y="connsiteY2"/>
                    </a:cxn>
                    <a:cxn ang="0">
                      <a:pos x="connsiteX3" y="connsiteY3"/>
                    </a:cxn>
                  </a:cxnLst>
                  <a:rect l="l" t="t" r="r" b="b"/>
                  <a:pathLst>
                    <a:path w="15314" h="29112">
                      <a:moveTo>
                        <a:pt x="8026" y="1671"/>
                      </a:moveTo>
                      <a:cubicBezTo>
                        <a:pt x="12967" y="5598"/>
                        <a:pt x="17147" y="19533"/>
                        <a:pt x="14487" y="25361"/>
                      </a:cubicBezTo>
                      <a:cubicBezTo>
                        <a:pt x="10180" y="35115"/>
                        <a:pt x="3212" y="23334"/>
                        <a:pt x="1185" y="18393"/>
                      </a:cubicBezTo>
                      <a:cubicBezTo>
                        <a:pt x="-715" y="13959"/>
                        <a:pt x="-1475" y="-5803"/>
                        <a:pt x="8026" y="167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0" name="Полилиния: фигура 609">
                  <a:extLst>
                    <a:ext uri="{FF2B5EF4-FFF2-40B4-BE49-F238E27FC236}">
                      <a16:creationId xmlns:a16="http://schemas.microsoft.com/office/drawing/2014/main" id="{D8062306-261D-4CC3-BFD6-63A14BDAB2F0}"/>
                    </a:ext>
                  </a:extLst>
                </p:cNvPr>
                <p:cNvSpPr/>
                <p:nvPr/>
              </p:nvSpPr>
              <p:spPr>
                <a:xfrm>
                  <a:off x="6359299" y="2580734"/>
                  <a:ext cx="43315" cy="26866"/>
                </a:xfrm>
                <a:custGeom>
                  <a:avLst/>
                  <a:gdLst>
                    <a:gd name="connsiteX0" fmla="*/ 499 w 43315"/>
                    <a:gd name="connsiteY0" fmla="*/ 26567 h 26866"/>
                    <a:gd name="connsiteX1" fmla="*/ 23555 w 43315"/>
                    <a:gd name="connsiteY1" fmla="*/ 850 h 26866"/>
                    <a:gd name="connsiteX2" fmla="*/ 39644 w 43315"/>
                    <a:gd name="connsiteY2" fmla="*/ 4397 h 26866"/>
                    <a:gd name="connsiteX3" fmla="*/ 37617 w 43315"/>
                    <a:gd name="connsiteY3" fmla="*/ 20486 h 26866"/>
                    <a:gd name="connsiteX4" fmla="*/ 19628 w 43315"/>
                    <a:gd name="connsiteY4" fmla="*/ 20106 h 26866"/>
                    <a:gd name="connsiteX5" fmla="*/ 499 w 43315"/>
                    <a:gd name="connsiteY5" fmla="*/ 26567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5" h="26866">
                      <a:moveTo>
                        <a:pt x="499" y="26567"/>
                      </a:moveTo>
                      <a:cubicBezTo>
                        <a:pt x="-2668" y="10605"/>
                        <a:pt x="9746" y="3637"/>
                        <a:pt x="23555" y="850"/>
                      </a:cubicBezTo>
                      <a:cubicBezTo>
                        <a:pt x="29382" y="-290"/>
                        <a:pt x="36350" y="-1177"/>
                        <a:pt x="39644" y="4397"/>
                      </a:cubicBezTo>
                      <a:cubicBezTo>
                        <a:pt x="42811" y="9718"/>
                        <a:pt x="46865" y="20106"/>
                        <a:pt x="37617" y="20486"/>
                      </a:cubicBezTo>
                      <a:cubicBezTo>
                        <a:pt x="30523" y="20739"/>
                        <a:pt x="26469" y="16685"/>
                        <a:pt x="19628" y="20106"/>
                      </a:cubicBezTo>
                      <a:cubicBezTo>
                        <a:pt x="18107" y="20739"/>
                        <a:pt x="879" y="28467"/>
                        <a:pt x="499" y="265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1" name="Полилиния: фигура 610">
                  <a:extLst>
                    <a:ext uri="{FF2B5EF4-FFF2-40B4-BE49-F238E27FC236}">
                      <a16:creationId xmlns:a16="http://schemas.microsoft.com/office/drawing/2014/main" id="{C6BE3B5C-A9CE-49E6-9B33-3A0A6DE39BBF}"/>
                    </a:ext>
                  </a:extLst>
                </p:cNvPr>
                <p:cNvSpPr/>
                <p:nvPr/>
              </p:nvSpPr>
              <p:spPr>
                <a:xfrm>
                  <a:off x="6291364" y="2623373"/>
                  <a:ext cx="33463" cy="39604"/>
                </a:xfrm>
                <a:custGeom>
                  <a:avLst/>
                  <a:gdLst>
                    <a:gd name="connsiteX0" fmla="*/ 1165 w 33463"/>
                    <a:gd name="connsiteY0" fmla="*/ 32700 h 39604"/>
                    <a:gd name="connsiteX1" fmla="*/ 18521 w 33463"/>
                    <a:gd name="connsiteY1" fmla="*/ 1283 h 39604"/>
                    <a:gd name="connsiteX2" fmla="*/ 32076 w 33463"/>
                    <a:gd name="connsiteY2" fmla="*/ 14205 h 39604"/>
                    <a:gd name="connsiteX3" fmla="*/ 1165 w 33463"/>
                    <a:gd name="connsiteY3" fmla="*/ 32700 h 39604"/>
                  </a:gdLst>
                  <a:ahLst/>
                  <a:cxnLst>
                    <a:cxn ang="0">
                      <a:pos x="connsiteX0" y="connsiteY0"/>
                    </a:cxn>
                    <a:cxn ang="0">
                      <a:pos x="connsiteX1" y="connsiteY1"/>
                    </a:cxn>
                    <a:cxn ang="0">
                      <a:pos x="connsiteX2" y="connsiteY2"/>
                    </a:cxn>
                    <a:cxn ang="0">
                      <a:pos x="connsiteX3" y="connsiteY3"/>
                    </a:cxn>
                  </a:cxnLst>
                  <a:rect l="l" t="t" r="r" b="b"/>
                  <a:pathLst>
                    <a:path w="33463" h="39604">
                      <a:moveTo>
                        <a:pt x="1165" y="32700"/>
                      </a:moveTo>
                      <a:cubicBezTo>
                        <a:pt x="-3268" y="18385"/>
                        <a:pt x="5473" y="7110"/>
                        <a:pt x="18521" y="1283"/>
                      </a:cubicBezTo>
                      <a:cubicBezTo>
                        <a:pt x="28402" y="-3151"/>
                        <a:pt x="36890" y="4577"/>
                        <a:pt x="32076" y="14205"/>
                      </a:cubicBezTo>
                      <a:cubicBezTo>
                        <a:pt x="28402" y="21426"/>
                        <a:pt x="7626" y="53476"/>
                        <a:pt x="1165" y="327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2" name="Полилиния: фигура 611">
                  <a:extLst>
                    <a:ext uri="{FF2B5EF4-FFF2-40B4-BE49-F238E27FC236}">
                      <a16:creationId xmlns:a16="http://schemas.microsoft.com/office/drawing/2014/main" id="{FBF0F3B8-F94F-43D6-9ED6-D8C2246C4832}"/>
                    </a:ext>
                  </a:extLst>
                </p:cNvPr>
                <p:cNvSpPr/>
                <p:nvPr/>
              </p:nvSpPr>
              <p:spPr>
                <a:xfrm>
                  <a:off x="6086733" y="2491877"/>
                  <a:ext cx="96345" cy="77154"/>
                </a:xfrm>
                <a:custGeom>
                  <a:avLst/>
                  <a:gdLst>
                    <a:gd name="connsiteX0" fmla="*/ 25654 w 96345"/>
                    <a:gd name="connsiteY0" fmla="*/ 65765 h 77154"/>
                    <a:gd name="connsiteX1" fmla="*/ 4498 w 96345"/>
                    <a:gd name="connsiteY1" fmla="*/ 66398 h 77154"/>
                    <a:gd name="connsiteX2" fmla="*/ 12352 w 96345"/>
                    <a:gd name="connsiteY2" fmla="*/ 30167 h 77154"/>
                    <a:gd name="connsiteX3" fmla="*/ 61632 w 96345"/>
                    <a:gd name="connsiteY3" fmla="*/ 16 h 77154"/>
                    <a:gd name="connsiteX4" fmla="*/ 96343 w 96345"/>
                    <a:gd name="connsiteY4" fmla="*/ 37008 h 77154"/>
                    <a:gd name="connsiteX5" fmla="*/ 81521 w 96345"/>
                    <a:gd name="connsiteY5" fmla="*/ 73999 h 77154"/>
                    <a:gd name="connsiteX6" fmla="*/ 62265 w 96345"/>
                    <a:gd name="connsiteY6" fmla="*/ 75773 h 77154"/>
                    <a:gd name="connsiteX7" fmla="*/ 46557 w 96345"/>
                    <a:gd name="connsiteY7" fmla="*/ 64371 h 77154"/>
                    <a:gd name="connsiteX8" fmla="*/ 25654 w 96345"/>
                    <a:gd name="connsiteY8" fmla="*/ 65765 h 7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45" h="77154">
                      <a:moveTo>
                        <a:pt x="25654" y="65765"/>
                      </a:moveTo>
                      <a:cubicBezTo>
                        <a:pt x="18940" y="67665"/>
                        <a:pt x="10325" y="72479"/>
                        <a:pt x="4498" y="66398"/>
                      </a:cubicBezTo>
                      <a:cubicBezTo>
                        <a:pt x="-6017" y="55377"/>
                        <a:pt x="4118" y="38655"/>
                        <a:pt x="12352" y="30167"/>
                      </a:cubicBezTo>
                      <a:cubicBezTo>
                        <a:pt x="24894" y="17245"/>
                        <a:pt x="42123" y="-617"/>
                        <a:pt x="61632" y="16"/>
                      </a:cubicBezTo>
                      <a:cubicBezTo>
                        <a:pt x="80127" y="523"/>
                        <a:pt x="96596" y="19019"/>
                        <a:pt x="96343" y="37008"/>
                      </a:cubicBezTo>
                      <a:cubicBezTo>
                        <a:pt x="96090" y="49676"/>
                        <a:pt x="92922" y="66652"/>
                        <a:pt x="81521" y="73999"/>
                      </a:cubicBezTo>
                      <a:cubicBezTo>
                        <a:pt x="76073" y="77546"/>
                        <a:pt x="68346" y="78053"/>
                        <a:pt x="62265" y="75773"/>
                      </a:cubicBezTo>
                      <a:cubicBezTo>
                        <a:pt x="56185" y="73366"/>
                        <a:pt x="52511" y="66652"/>
                        <a:pt x="46557" y="64371"/>
                      </a:cubicBezTo>
                      <a:cubicBezTo>
                        <a:pt x="40349" y="61964"/>
                        <a:pt x="31608" y="64118"/>
                        <a:pt x="25654" y="657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3" name="Полилиния: фигура 612">
                  <a:extLst>
                    <a:ext uri="{FF2B5EF4-FFF2-40B4-BE49-F238E27FC236}">
                      <a16:creationId xmlns:a16="http://schemas.microsoft.com/office/drawing/2014/main" id="{F78B6764-978E-481D-BEDF-3C35B4C2D83E}"/>
                    </a:ext>
                  </a:extLst>
                </p:cNvPr>
                <p:cNvSpPr/>
                <p:nvPr/>
              </p:nvSpPr>
              <p:spPr>
                <a:xfrm>
                  <a:off x="5656330" y="3001663"/>
                  <a:ext cx="11908" cy="26603"/>
                </a:xfrm>
                <a:custGeom>
                  <a:avLst/>
                  <a:gdLst>
                    <a:gd name="connsiteX0" fmla="*/ 11908 w 11908"/>
                    <a:gd name="connsiteY0" fmla="*/ 13302 h 26603"/>
                    <a:gd name="connsiteX1" fmla="*/ 5954 w 11908"/>
                    <a:gd name="connsiteY1" fmla="*/ 26603 h 26603"/>
                    <a:gd name="connsiteX2" fmla="*/ 0 w 11908"/>
                    <a:gd name="connsiteY2" fmla="*/ 13302 h 26603"/>
                    <a:gd name="connsiteX3" fmla="*/ 5954 w 11908"/>
                    <a:gd name="connsiteY3" fmla="*/ 0 h 26603"/>
                    <a:gd name="connsiteX4" fmla="*/ 11908 w 11908"/>
                    <a:gd name="connsiteY4" fmla="*/ 13302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26603">
                      <a:moveTo>
                        <a:pt x="11908" y="13302"/>
                      </a:moveTo>
                      <a:cubicBezTo>
                        <a:pt x="11908" y="20649"/>
                        <a:pt x="9248" y="26603"/>
                        <a:pt x="5954" y="26603"/>
                      </a:cubicBezTo>
                      <a:cubicBezTo>
                        <a:pt x="2660" y="26603"/>
                        <a:pt x="0" y="20649"/>
                        <a:pt x="0" y="13302"/>
                      </a:cubicBezTo>
                      <a:cubicBezTo>
                        <a:pt x="0" y="5954"/>
                        <a:pt x="2660" y="0"/>
                        <a:pt x="5954" y="0"/>
                      </a:cubicBezTo>
                      <a:cubicBezTo>
                        <a:pt x="9248" y="0"/>
                        <a:pt x="11908" y="5954"/>
                        <a:pt x="11908" y="1330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14" name="Рисунок 388">
              <a:extLst>
                <a:ext uri="{FF2B5EF4-FFF2-40B4-BE49-F238E27FC236}">
                  <a16:creationId xmlns:a16="http://schemas.microsoft.com/office/drawing/2014/main" id="{1DA397FD-DC6E-439E-BB40-D0F80476817D}"/>
                </a:ext>
              </a:extLst>
            </p:cNvPr>
            <p:cNvGrpSpPr/>
            <p:nvPr/>
          </p:nvGrpSpPr>
          <p:grpSpPr>
            <a:xfrm>
              <a:off x="4103836" y="2229434"/>
              <a:ext cx="1439493" cy="976313"/>
              <a:chOff x="4103836" y="2229434"/>
              <a:chExt cx="1439493" cy="976313"/>
            </a:xfrm>
            <a:solidFill>
              <a:srgbClr val="E3E8EC"/>
            </a:solidFill>
          </p:grpSpPr>
          <p:sp>
            <p:nvSpPr>
              <p:cNvPr id="615" name="Полилиния: фигура 614">
                <a:extLst>
                  <a:ext uri="{FF2B5EF4-FFF2-40B4-BE49-F238E27FC236}">
                    <a16:creationId xmlns:a16="http://schemas.microsoft.com/office/drawing/2014/main" id="{0FAA043C-B449-4FA2-A13A-F14292305684}"/>
                  </a:ext>
                </a:extLst>
              </p:cNvPr>
              <p:cNvSpPr/>
              <p:nvPr/>
            </p:nvSpPr>
            <p:spPr>
              <a:xfrm>
                <a:off x="4111690" y="2229434"/>
                <a:ext cx="1431639" cy="976313"/>
              </a:xfrm>
              <a:custGeom>
                <a:avLst/>
                <a:gdLst>
                  <a:gd name="connsiteX0" fmla="*/ 1431639 w 1431639"/>
                  <a:gd name="connsiteY0" fmla="*/ 820622 h 976313"/>
                  <a:gd name="connsiteX1" fmla="*/ 1419604 w 1431639"/>
                  <a:gd name="connsiteY1" fmla="*/ 820749 h 976313"/>
                  <a:gd name="connsiteX2" fmla="*/ 1404656 w 1431639"/>
                  <a:gd name="connsiteY2" fmla="*/ 827336 h 976313"/>
                  <a:gd name="connsiteX3" fmla="*/ 1397181 w 1431639"/>
                  <a:gd name="connsiteY3" fmla="*/ 856220 h 976313"/>
                  <a:gd name="connsiteX4" fmla="*/ 1385780 w 1431639"/>
                  <a:gd name="connsiteY4" fmla="*/ 879022 h 976313"/>
                  <a:gd name="connsiteX5" fmla="*/ 1368805 w 1431639"/>
                  <a:gd name="connsiteY5" fmla="*/ 894225 h 976313"/>
                  <a:gd name="connsiteX6" fmla="*/ 1365511 w 1431639"/>
                  <a:gd name="connsiteY6" fmla="*/ 894478 h 976313"/>
                  <a:gd name="connsiteX7" fmla="*/ 1353476 w 1431639"/>
                  <a:gd name="connsiteY7" fmla="*/ 886497 h 976313"/>
                  <a:gd name="connsiteX8" fmla="*/ 1340301 w 1431639"/>
                  <a:gd name="connsiteY8" fmla="*/ 882696 h 976313"/>
                  <a:gd name="connsiteX9" fmla="*/ 1302170 w 1431639"/>
                  <a:gd name="connsiteY9" fmla="*/ 886497 h 976313"/>
                  <a:gd name="connsiteX10" fmla="*/ 1272146 w 1431639"/>
                  <a:gd name="connsiteY10" fmla="*/ 891057 h 976313"/>
                  <a:gd name="connsiteX11" fmla="*/ 1229074 w 1431639"/>
                  <a:gd name="connsiteY11" fmla="*/ 912340 h 976313"/>
                  <a:gd name="connsiteX12" fmla="*/ 1198417 w 1431639"/>
                  <a:gd name="connsiteY12" fmla="*/ 909553 h 976313"/>
                  <a:gd name="connsiteX13" fmla="*/ 1181314 w 1431639"/>
                  <a:gd name="connsiteY13" fmla="*/ 902332 h 976313"/>
                  <a:gd name="connsiteX14" fmla="*/ 1166493 w 1431639"/>
                  <a:gd name="connsiteY14" fmla="*/ 906006 h 976313"/>
                  <a:gd name="connsiteX15" fmla="*/ 1134442 w 1431639"/>
                  <a:gd name="connsiteY15" fmla="*/ 929569 h 976313"/>
                  <a:gd name="connsiteX16" fmla="*/ 1103278 w 1431639"/>
                  <a:gd name="connsiteY16" fmla="*/ 959466 h 976313"/>
                  <a:gd name="connsiteX17" fmla="*/ 1052352 w 1431639"/>
                  <a:gd name="connsiteY17" fmla="*/ 975935 h 976313"/>
                  <a:gd name="connsiteX18" fmla="*/ 1040317 w 1431639"/>
                  <a:gd name="connsiteY18" fmla="*/ 976061 h 976313"/>
                  <a:gd name="connsiteX19" fmla="*/ 1023595 w 1431639"/>
                  <a:gd name="connsiteY19" fmla="*/ 970107 h 976313"/>
                  <a:gd name="connsiteX20" fmla="*/ 1007506 w 1431639"/>
                  <a:gd name="connsiteY20" fmla="*/ 967574 h 976313"/>
                  <a:gd name="connsiteX21" fmla="*/ 975202 w 1431639"/>
                  <a:gd name="connsiteY21" fmla="*/ 946798 h 976313"/>
                  <a:gd name="connsiteX22" fmla="*/ 912241 w 1431639"/>
                  <a:gd name="connsiteY22" fmla="*/ 904106 h 976313"/>
                  <a:gd name="connsiteX23" fmla="*/ 851813 w 1431639"/>
                  <a:gd name="connsiteY23" fmla="*/ 866228 h 976313"/>
                  <a:gd name="connsiteX24" fmla="*/ 823436 w 1431639"/>
                  <a:gd name="connsiteY24" fmla="*/ 842538 h 976313"/>
                  <a:gd name="connsiteX25" fmla="*/ 793666 w 1431639"/>
                  <a:gd name="connsiteY25" fmla="*/ 819609 h 976313"/>
                  <a:gd name="connsiteX26" fmla="*/ 758448 w 1431639"/>
                  <a:gd name="connsiteY26" fmla="*/ 800353 h 976313"/>
                  <a:gd name="connsiteX27" fmla="*/ 740333 w 1431639"/>
                  <a:gd name="connsiteY27" fmla="*/ 790345 h 976313"/>
                  <a:gd name="connsiteX28" fmla="*/ 697894 w 1431639"/>
                  <a:gd name="connsiteY28" fmla="*/ 764248 h 976313"/>
                  <a:gd name="connsiteX29" fmla="*/ 656596 w 1431639"/>
                  <a:gd name="connsiteY29" fmla="*/ 733591 h 976313"/>
                  <a:gd name="connsiteX30" fmla="*/ 635186 w 1431639"/>
                  <a:gd name="connsiteY30" fmla="*/ 712815 h 976313"/>
                  <a:gd name="connsiteX31" fmla="*/ 616437 w 1431639"/>
                  <a:gd name="connsiteY31" fmla="*/ 692673 h 976313"/>
                  <a:gd name="connsiteX32" fmla="*/ 598702 w 1431639"/>
                  <a:gd name="connsiteY32" fmla="*/ 674810 h 976313"/>
                  <a:gd name="connsiteX33" fmla="*/ 574885 w 1431639"/>
                  <a:gd name="connsiteY33" fmla="*/ 656821 h 976313"/>
                  <a:gd name="connsiteX34" fmla="*/ 550056 w 1431639"/>
                  <a:gd name="connsiteY34" fmla="*/ 623631 h 976313"/>
                  <a:gd name="connsiteX35" fmla="*/ 530166 w 1431639"/>
                  <a:gd name="connsiteY35" fmla="*/ 597661 h 976313"/>
                  <a:gd name="connsiteX36" fmla="*/ 471132 w 1431639"/>
                  <a:gd name="connsiteY36" fmla="*/ 584866 h 976313"/>
                  <a:gd name="connsiteX37" fmla="*/ 422866 w 1431639"/>
                  <a:gd name="connsiteY37" fmla="*/ 575618 h 976313"/>
                  <a:gd name="connsiteX38" fmla="*/ 393729 w 1431639"/>
                  <a:gd name="connsiteY38" fmla="*/ 568397 h 976313"/>
                  <a:gd name="connsiteX39" fmla="*/ 365479 w 1431639"/>
                  <a:gd name="connsiteY39" fmla="*/ 560416 h 976313"/>
                  <a:gd name="connsiteX40" fmla="*/ 340016 w 1431639"/>
                  <a:gd name="connsiteY40" fmla="*/ 563203 h 976313"/>
                  <a:gd name="connsiteX41" fmla="*/ 311639 w 1431639"/>
                  <a:gd name="connsiteY41" fmla="*/ 559656 h 976313"/>
                  <a:gd name="connsiteX42" fmla="*/ 255772 w 1431639"/>
                  <a:gd name="connsiteY42" fmla="*/ 547494 h 976313"/>
                  <a:gd name="connsiteX43" fmla="*/ 248425 w 1431639"/>
                  <a:gd name="connsiteY43" fmla="*/ 546734 h 976313"/>
                  <a:gd name="connsiteX44" fmla="*/ 200919 w 1431639"/>
                  <a:gd name="connsiteY44" fmla="*/ 524438 h 976313"/>
                  <a:gd name="connsiteX45" fmla="*/ 171401 w 1431639"/>
                  <a:gd name="connsiteY45" fmla="*/ 504929 h 976313"/>
                  <a:gd name="connsiteX46" fmla="*/ 150752 w 1431639"/>
                  <a:gd name="connsiteY46" fmla="*/ 507970 h 976313"/>
                  <a:gd name="connsiteX47" fmla="*/ 137957 w 1431639"/>
                  <a:gd name="connsiteY47" fmla="*/ 528745 h 976313"/>
                  <a:gd name="connsiteX48" fmla="*/ 122882 w 1431639"/>
                  <a:gd name="connsiteY48" fmla="*/ 522411 h 976313"/>
                  <a:gd name="connsiteX49" fmla="*/ 104640 w 1431639"/>
                  <a:gd name="connsiteY49" fmla="*/ 518104 h 976313"/>
                  <a:gd name="connsiteX50" fmla="*/ 89945 w 1431639"/>
                  <a:gd name="connsiteY50" fmla="*/ 505689 h 976313"/>
                  <a:gd name="connsiteX51" fmla="*/ 76390 w 1431639"/>
                  <a:gd name="connsiteY51" fmla="*/ 459704 h 976313"/>
                  <a:gd name="connsiteX52" fmla="*/ 69042 w 1431639"/>
                  <a:gd name="connsiteY52" fmla="*/ 430060 h 976313"/>
                  <a:gd name="connsiteX53" fmla="*/ 54474 w 1431639"/>
                  <a:gd name="connsiteY53" fmla="*/ 403836 h 976313"/>
                  <a:gd name="connsiteX54" fmla="*/ 40539 w 1431639"/>
                  <a:gd name="connsiteY54" fmla="*/ 374826 h 976313"/>
                  <a:gd name="connsiteX55" fmla="*/ 21663 w 1431639"/>
                  <a:gd name="connsiteY55" fmla="*/ 346956 h 976313"/>
                  <a:gd name="connsiteX56" fmla="*/ 5448 w 1431639"/>
                  <a:gd name="connsiteY56" fmla="*/ 325547 h 976313"/>
                  <a:gd name="connsiteX57" fmla="*/ 0 w 1431639"/>
                  <a:gd name="connsiteY57" fmla="*/ 315032 h 976313"/>
                  <a:gd name="connsiteX58" fmla="*/ 3547 w 1431639"/>
                  <a:gd name="connsiteY58" fmla="*/ 313765 h 976313"/>
                  <a:gd name="connsiteX59" fmla="*/ 24830 w 1431639"/>
                  <a:gd name="connsiteY59" fmla="*/ 296283 h 976313"/>
                  <a:gd name="connsiteX60" fmla="*/ 52574 w 1431639"/>
                  <a:gd name="connsiteY60" fmla="*/ 287162 h 976313"/>
                  <a:gd name="connsiteX61" fmla="*/ 64862 w 1431639"/>
                  <a:gd name="connsiteY61" fmla="*/ 265626 h 976313"/>
                  <a:gd name="connsiteX62" fmla="*/ 91465 w 1431639"/>
                  <a:gd name="connsiteY62" fmla="*/ 253718 h 976313"/>
                  <a:gd name="connsiteX63" fmla="*/ 112621 w 1431639"/>
                  <a:gd name="connsiteY63" fmla="*/ 202031 h 976313"/>
                  <a:gd name="connsiteX64" fmla="*/ 113508 w 1431639"/>
                  <a:gd name="connsiteY64" fmla="*/ 170361 h 976313"/>
                  <a:gd name="connsiteX65" fmla="*/ 135044 w 1431639"/>
                  <a:gd name="connsiteY65" fmla="*/ 156679 h 976313"/>
                  <a:gd name="connsiteX66" fmla="*/ 180016 w 1431639"/>
                  <a:gd name="connsiteY66" fmla="*/ 135143 h 976313"/>
                  <a:gd name="connsiteX67" fmla="*/ 207126 w 1431639"/>
                  <a:gd name="connsiteY67" fmla="*/ 137550 h 976313"/>
                  <a:gd name="connsiteX68" fmla="*/ 229675 w 1431639"/>
                  <a:gd name="connsiteY68" fmla="*/ 112847 h 976313"/>
                  <a:gd name="connsiteX69" fmla="*/ 266287 w 1431639"/>
                  <a:gd name="connsiteY69" fmla="*/ 69015 h 976313"/>
                  <a:gd name="connsiteX70" fmla="*/ 283389 w 1431639"/>
                  <a:gd name="connsiteY70" fmla="*/ 13148 h 976313"/>
                  <a:gd name="connsiteX71" fmla="*/ 298844 w 1431639"/>
                  <a:gd name="connsiteY71" fmla="*/ 1873 h 976313"/>
                  <a:gd name="connsiteX72" fmla="*/ 305305 w 1431639"/>
                  <a:gd name="connsiteY72" fmla="*/ 30883 h 976313"/>
                  <a:gd name="connsiteX73" fmla="*/ 322407 w 1431639"/>
                  <a:gd name="connsiteY73" fmla="*/ 53686 h 976313"/>
                  <a:gd name="connsiteX74" fmla="*/ 368520 w 1431639"/>
                  <a:gd name="connsiteY74" fmla="*/ 114240 h 976313"/>
                  <a:gd name="connsiteX75" fmla="*/ 357498 w 1431639"/>
                  <a:gd name="connsiteY75" fmla="*/ 152498 h 976313"/>
                  <a:gd name="connsiteX76" fmla="*/ 356992 w 1431639"/>
                  <a:gd name="connsiteY76" fmla="*/ 187336 h 976313"/>
                  <a:gd name="connsiteX77" fmla="*/ 325827 w 1431639"/>
                  <a:gd name="connsiteY77" fmla="*/ 244090 h 976313"/>
                  <a:gd name="connsiteX78" fmla="*/ 298718 w 1431639"/>
                  <a:gd name="connsiteY78" fmla="*/ 223821 h 976313"/>
                  <a:gd name="connsiteX79" fmla="*/ 268060 w 1431639"/>
                  <a:gd name="connsiteY79" fmla="*/ 202791 h 976313"/>
                  <a:gd name="connsiteX80" fmla="*/ 225622 w 1431639"/>
                  <a:gd name="connsiteY80" fmla="*/ 204312 h 976313"/>
                  <a:gd name="connsiteX81" fmla="*/ 186603 w 1431639"/>
                  <a:gd name="connsiteY81" fmla="*/ 214066 h 976313"/>
                  <a:gd name="connsiteX82" fmla="*/ 184196 w 1431639"/>
                  <a:gd name="connsiteY82" fmla="*/ 284502 h 976313"/>
                  <a:gd name="connsiteX83" fmla="*/ 177482 w 1431639"/>
                  <a:gd name="connsiteY83" fmla="*/ 347463 h 976313"/>
                  <a:gd name="connsiteX84" fmla="*/ 238037 w 1431639"/>
                  <a:gd name="connsiteY84" fmla="*/ 390788 h 976313"/>
                  <a:gd name="connsiteX85" fmla="*/ 310879 w 1431639"/>
                  <a:gd name="connsiteY85" fmla="*/ 370012 h 976313"/>
                  <a:gd name="connsiteX86" fmla="*/ 355978 w 1431639"/>
                  <a:gd name="connsiteY86" fmla="*/ 339608 h 976313"/>
                  <a:gd name="connsiteX87" fmla="*/ 402344 w 1431639"/>
                  <a:gd name="connsiteY87" fmla="*/ 362791 h 976313"/>
                  <a:gd name="connsiteX88" fmla="*/ 422486 w 1431639"/>
                  <a:gd name="connsiteY88" fmla="*/ 338088 h 976313"/>
                  <a:gd name="connsiteX89" fmla="*/ 452003 w 1431639"/>
                  <a:gd name="connsiteY89" fmla="*/ 350250 h 976313"/>
                  <a:gd name="connsiteX90" fmla="*/ 468472 w 1431639"/>
                  <a:gd name="connsiteY90" fmla="*/ 366845 h 976313"/>
                  <a:gd name="connsiteX91" fmla="*/ 495202 w 1431639"/>
                  <a:gd name="connsiteY91" fmla="*/ 373306 h 976313"/>
                  <a:gd name="connsiteX92" fmla="*/ 547395 w 1431639"/>
                  <a:gd name="connsiteY92" fmla="*/ 371406 h 976313"/>
                  <a:gd name="connsiteX93" fmla="*/ 587807 w 1431639"/>
                  <a:gd name="connsiteY93" fmla="*/ 372673 h 976313"/>
                  <a:gd name="connsiteX94" fmla="*/ 609723 w 1431639"/>
                  <a:gd name="connsiteY94" fmla="*/ 390281 h 976313"/>
                  <a:gd name="connsiteX95" fmla="*/ 670784 w 1431639"/>
                  <a:gd name="connsiteY95" fmla="*/ 397376 h 976313"/>
                  <a:gd name="connsiteX96" fmla="*/ 686366 w 1431639"/>
                  <a:gd name="connsiteY96" fmla="*/ 415998 h 976313"/>
                  <a:gd name="connsiteX97" fmla="*/ 694347 w 1431639"/>
                  <a:gd name="connsiteY97" fmla="*/ 430440 h 976313"/>
                  <a:gd name="connsiteX98" fmla="*/ 709422 w 1431639"/>
                  <a:gd name="connsiteY98" fmla="*/ 399403 h 976313"/>
                  <a:gd name="connsiteX99" fmla="*/ 742486 w 1431639"/>
                  <a:gd name="connsiteY99" fmla="*/ 402570 h 976313"/>
                  <a:gd name="connsiteX100" fmla="*/ 775804 w 1431639"/>
                  <a:gd name="connsiteY100" fmla="*/ 416505 h 976313"/>
                  <a:gd name="connsiteX101" fmla="*/ 817862 w 1431639"/>
                  <a:gd name="connsiteY101" fmla="*/ 420305 h 976313"/>
                  <a:gd name="connsiteX102" fmla="*/ 836231 w 1431639"/>
                  <a:gd name="connsiteY102" fmla="*/ 429933 h 976313"/>
                  <a:gd name="connsiteX103" fmla="*/ 833698 w 1431639"/>
                  <a:gd name="connsiteY103" fmla="*/ 442855 h 976313"/>
                  <a:gd name="connsiteX104" fmla="*/ 817356 w 1431639"/>
                  <a:gd name="connsiteY104" fmla="*/ 436521 h 976313"/>
                  <a:gd name="connsiteX105" fmla="*/ 800507 w 1431639"/>
                  <a:gd name="connsiteY105" fmla="*/ 440701 h 976313"/>
                  <a:gd name="connsiteX106" fmla="*/ 783785 w 1431639"/>
                  <a:gd name="connsiteY106" fmla="*/ 453876 h 976313"/>
                  <a:gd name="connsiteX107" fmla="*/ 768836 w 1431639"/>
                  <a:gd name="connsiteY107" fmla="*/ 457677 h 976313"/>
                  <a:gd name="connsiteX108" fmla="*/ 752368 w 1431639"/>
                  <a:gd name="connsiteY108" fmla="*/ 491754 h 976313"/>
                  <a:gd name="connsiteX109" fmla="*/ 728424 w 1431639"/>
                  <a:gd name="connsiteY109" fmla="*/ 489474 h 976313"/>
                  <a:gd name="connsiteX110" fmla="*/ 728298 w 1431639"/>
                  <a:gd name="connsiteY110" fmla="*/ 511643 h 976313"/>
                  <a:gd name="connsiteX111" fmla="*/ 764403 w 1431639"/>
                  <a:gd name="connsiteY111" fmla="*/ 534320 h 976313"/>
                  <a:gd name="connsiteX112" fmla="*/ 778844 w 1431639"/>
                  <a:gd name="connsiteY112" fmla="*/ 572958 h 976313"/>
                  <a:gd name="connsiteX113" fmla="*/ 791766 w 1431639"/>
                  <a:gd name="connsiteY113" fmla="*/ 550281 h 976313"/>
                  <a:gd name="connsiteX114" fmla="*/ 808235 w 1431639"/>
                  <a:gd name="connsiteY114" fmla="*/ 536600 h 976313"/>
                  <a:gd name="connsiteX115" fmla="*/ 877656 w 1431639"/>
                  <a:gd name="connsiteY115" fmla="*/ 551548 h 976313"/>
                  <a:gd name="connsiteX116" fmla="*/ 907554 w 1431639"/>
                  <a:gd name="connsiteY116" fmla="*/ 568904 h 976313"/>
                  <a:gd name="connsiteX117" fmla="*/ 931370 w 1431639"/>
                  <a:gd name="connsiteY117" fmla="*/ 595000 h 976313"/>
                  <a:gd name="connsiteX118" fmla="*/ 954806 w 1431639"/>
                  <a:gd name="connsiteY118" fmla="*/ 608049 h 976313"/>
                  <a:gd name="connsiteX119" fmla="*/ 995091 w 1431639"/>
                  <a:gd name="connsiteY119" fmla="*/ 603868 h 976313"/>
                  <a:gd name="connsiteX120" fmla="*/ 1020935 w 1431639"/>
                  <a:gd name="connsiteY120" fmla="*/ 610709 h 976313"/>
                  <a:gd name="connsiteX121" fmla="*/ 1047284 w 1431639"/>
                  <a:gd name="connsiteY121" fmla="*/ 600068 h 976313"/>
                  <a:gd name="connsiteX122" fmla="*/ 1083515 w 1431639"/>
                  <a:gd name="connsiteY122" fmla="*/ 610709 h 976313"/>
                  <a:gd name="connsiteX123" fmla="*/ 1073508 w 1431639"/>
                  <a:gd name="connsiteY123" fmla="*/ 631105 h 976313"/>
                  <a:gd name="connsiteX124" fmla="*/ 1077561 w 1431639"/>
                  <a:gd name="connsiteY124" fmla="*/ 658342 h 976313"/>
                  <a:gd name="connsiteX125" fmla="*/ 1041584 w 1431639"/>
                  <a:gd name="connsiteY125" fmla="*/ 677471 h 976313"/>
                  <a:gd name="connsiteX126" fmla="*/ 1056152 w 1431639"/>
                  <a:gd name="connsiteY126" fmla="*/ 715602 h 976313"/>
                  <a:gd name="connsiteX127" fmla="*/ 1067680 w 1431639"/>
                  <a:gd name="connsiteY127" fmla="*/ 686972 h 976313"/>
                  <a:gd name="connsiteX128" fmla="*/ 1099604 w 1431639"/>
                  <a:gd name="connsiteY128" fmla="*/ 673163 h 976313"/>
                  <a:gd name="connsiteX129" fmla="*/ 1123041 w 1431639"/>
                  <a:gd name="connsiteY129" fmla="*/ 689632 h 976313"/>
                  <a:gd name="connsiteX130" fmla="*/ 1149897 w 1431639"/>
                  <a:gd name="connsiteY130" fmla="*/ 684565 h 976313"/>
                  <a:gd name="connsiteX131" fmla="*/ 1187775 w 1431639"/>
                  <a:gd name="connsiteY131" fmla="*/ 653021 h 976313"/>
                  <a:gd name="connsiteX132" fmla="*/ 1170547 w 1431639"/>
                  <a:gd name="connsiteY132" fmla="*/ 627938 h 976313"/>
                  <a:gd name="connsiteX133" fmla="*/ 1181061 w 1431639"/>
                  <a:gd name="connsiteY133" fmla="*/ 600448 h 976313"/>
                  <a:gd name="connsiteX134" fmla="*/ 1196010 w 1431639"/>
                  <a:gd name="connsiteY134" fmla="*/ 572451 h 976313"/>
                  <a:gd name="connsiteX135" fmla="*/ 1225907 w 1431639"/>
                  <a:gd name="connsiteY135" fmla="*/ 562823 h 976313"/>
                  <a:gd name="connsiteX136" fmla="*/ 1255297 w 1431639"/>
                  <a:gd name="connsiteY136" fmla="*/ 551042 h 976313"/>
                  <a:gd name="connsiteX137" fmla="*/ 1277720 w 1431639"/>
                  <a:gd name="connsiteY137" fmla="*/ 585626 h 976313"/>
                  <a:gd name="connsiteX138" fmla="*/ 1306604 w 1431639"/>
                  <a:gd name="connsiteY138" fmla="*/ 620844 h 976313"/>
                  <a:gd name="connsiteX139" fmla="*/ 1337134 w 1431639"/>
                  <a:gd name="connsiteY139" fmla="*/ 639213 h 976313"/>
                  <a:gd name="connsiteX140" fmla="*/ 1363738 w 1431639"/>
                  <a:gd name="connsiteY140" fmla="*/ 662269 h 976313"/>
                  <a:gd name="connsiteX141" fmla="*/ 1390594 w 1431639"/>
                  <a:gd name="connsiteY141" fmla="*/ 709775 h 976313"/>
                  <a:gd name="connsiteX142" fmla="*/ 1397055 w 1431639"/>
                  <a:gd name="connsiteY142" fmla="*/ 724470 h 976313"/>
                  <a:gd name="connsiteX143" fmla="*/ 1405923 w 1431639"/>
                  <a:gd name="connsiteY143" fmla="*/ 732198 h 976313"/>
                  <a:gd name="connsiteX144" fmla="*/ 1411750 w 1431639"/>
                  <a:gd name="connsiteY144" fmla="*/ 769569 h 976313"/>
                  <a:gd name="connsiteX145" fmla="*/ 1427332 w 1431639"/>
                  <a:gd name="connsiteY145" fmla="*/ 801999 h 976313"/>
                  <a:gd name="connsiteX146" fmla="*/ 1431639 w 1431639"/>
                  <a:gd name="connsiteY146" fmla="*/ 820622 h 97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31639" h="976313">
                    <a:moveTo>
                      <a:pt x="1431639" y="820622"/>
                    </a:moveTo>
                    <a:cubicBezTo>
                      <a:pt x="1425812" y="820495"/>
                      <a:pt x="1420491" y="820622"/>
                      <a:pt x="1419604" y="820749"/>
                    </a:cubicBezTo>
                    <a:cubicBezTo>
                      <a:pt x="1413904" y="821382"/>
                      <a:pt x="1407950" y="822269"/>
                      <a:pt x="1404656" y="827336"/>
                    </a:cubicBezTo>
                    <a:cubicBezTo>
                      <a:pt x="1399715" y="835317"/>
                      <a:pt x="1399842" y="847352"/>
                      <a:pt x="1397181" y="856220"/>
                    </a:cubicBezTo>
                    <a:cubicBezTo>
                      <a:pt x="1394901" y="863694"/>
                      <a:pt x="1389960" y="872435"/>
                      <a:pt x="1385780" y="879022"/>
                    </a:cubicBezTo>
                    <a:cubicBezTo>
                      <a:pt x="1382740" y="883963"/>
                      <a:pt x="1375646" y="892578"/>
                      <a:pt x="1368805" y="894225"/>
                    </a:cubicBezTo>
                    <a:cubicBezTo>
                      <a:pt x="1367791" y="894605"/>
                      <a:pt x="1366651" y="894605"/>
                      <a:pt x="1365511" y="894478"/>
                    </a:cubicBezTo>
                    <a:cubicBezTo>
                      <a:pt x="1360697" y="893844"/>
                      <a:pt x="1357150" y="889157"/>
                      <a:pt x="1353476" y="886497"/>
                    </a:cubicBezTo>
                    <a:cubicBezTo>
                      <a:pt x="1349169" y="883456"/>
                      <a:pt x="1345622" y="882696"/>
                      <a:pt x="1340301" y="882696"/>
                    </a:cubicBezTo>
                    <a:cubicBezTo>
                      <a:pt x="1327253" y="882570"/>
                      <a:pt x="1314965" y="884470"/>
                      <a:pt x="1302170" y="886497"/>
                    </a:cubicBezTo>
                    <a:cubicBezTo>
                      <a:pt x="1291782" y="888144"/>
                      <a:pt x="1282027" y="886877"/>
                      <a:pt x="1272146" y="891057"/>
                    </a:cubicBezTo>
                    <a:cubicBezTo>
                      <a:pt x="1257831" y="897138"/>
                      <a:pt x="1244276" y="909046"/>
                      <a:pt x="1229074" y="912340"/>
                    </a:cubicBezTo>
                    <a:cubicBezTo>
                      <a:pt x="1220460" y="914240"/>
                      <a:pt x="1206778" y="912213"/>
                      <a:pt x="1198417" y="909553"/>
                    </a:cubicBezTo>
                    <a:cubicBezTo>
                      <a:pt x="1192589" y="907653"/>
                      <a:pt x="1187522" y="903472"/>
                      <a:pt x="1181314" y="902332"/>
                    </a:cubicBezTo>
                    <a:cubicBezTo>
                      <a:pt x="1175740" y="901319"/>
                      <a:pt x="1171560" y="904106"/>
                      <a:pt x="1166493" y="906006"/>
                    </a:cubicBezTo>
                    <a:cubicBezTo>
                      <a:pt x="1153444" y="910947"/>
                      <a:pt x="1144703" y="920448"/>
                      <a:pt x="1134442" y="929569"/>
                    </a:cubicBezTo>
                    <a:cubicBezTo>
                      <a:pt x="1123674" y="939323"/>
                      <a:pt x="1113666" y="949458"/>
                      <a:pt x="1103278" y="959466"/>
                    </a:cubicBezTo>
                    <a:cubicBezTo>
                      <a:pt x="1090103" y="972261"/>
                      <a:pt x="1070087" y="975808"/>
                      <a:pt x="1052352" y="975935"/>
                    </a:cubicBezTo>
                    <a:cubicBezTo>
                      <a:pt x="1048551" y="975935"/>
                      <a:pt x="1043991" y="976695"/>
                      <a:pt x="1040317" y="976061"/>
                    </a:cubicBezTo>
                    <a:cubicBezTo>
                      <a:pt x="1034236" y="975048"/>
                      <a:pt x="1029675" y="970614"/>
                      <a:pt x="1023595" y="970107"/>
                    </a:cubicBezTo>
                    <a:cubicBezTo>
                      <a:pt x="1017641" y="969601"/>
                      <a:pt x="1013207" y="970107"/>
                      <a:pt x="1007506" y="967574"/>
                    </a:cubicBezTo>
                    <a:cubicBezTo>
                      <a:pt x="995725" y="962380"/>
                      <a:pt x="986223" y="953258"/>
                      <a:pt x="975202" y="946798"/>
                    </a:cubicBezTo>
                    <a:cubicBezTo>
                      <a:pt x="953793" y="934256"/>
                      <a:pt x="930610" y="921081"/>
                      <a:pt x="912241" y="904106"/>
                    </a:cubicBezTo>
                    <a:cubicBezTo>
                      <a:pt x="894379" y="887637"/>
                      <a:pt x="871702" y="879656"/>
                      <a:pt x="851813" y="866228"/>
                    </a:cubicBezTo>
                    <a:cubicBezTo>
                      <a:pt x="841425" y="859260"/>
                      <a:pt x="832684" y="850772"/>
                      <a:pt x="823436" y="842538"/>
                    </a:cubicBezTo>
                    <a:cubicBezTo>
                      <a:pt x="813935" y="834050"/>
                      <a:pt x="804054" y="826956"/>
                      <a:pt x="793666" y="819609"/>
                    </a:cubicBezTo>
                    <a:cubicBezTo>
                      <a:pt x="783025" y="812008"/>
                      <a:pt x="769976" y="806687"/>
                      <a:pt x="758448" y="800353"/>
                    </a:cubicBezTo>
                    <a:cubicBezTo>
                      <a:pt x="752368" y="797059"/>
                      <a:pt x="746287" y="793892"/>
                      <a:pt x="740333" y="790345"/>
                    </a:cubicBezTo>
                    <a:cubicBezTo>
                      <a:pt x="726017" y="781984"/>
                      <a:pt x="712209" y="772863"/>
                      <a:pt x="697894" y="764248"/>
                    </a:cubicBezTo>
                    <a:cubicBezTo>
                      <a:pt x="683199" y="755507"/>
                      <a:pt x="668377" y="746259"/>
                      <a:pt x="656596" y="733591"/>
                    </a:cubicBezTo>
                    <a:cubicBezTo>
                      <a:pt x="649755" y="726243"/>
                      <a:pt x="642280" y="719783"/>
                      <a:pt x="635186" y="712815"/>
                    </a:cubicBezTo>
                    <a:cubicBezTo>
                      <a:pt x="628599" y="706354"/>
                      <a:pt x="623405" y="698880"/>
                      <a:pt x="616437" y="692673"/>
                    </a:cubicBezTo>
                    <a:cubicBezTo>
                      <a:pt x="609977" y="686845"/>
                      <a:pt x="604529" y="681018"/>
                      <a:pt x="598702" y="674810"/>
                    </a:cubicBezTo>
                    <a:cubicBezTo>
                      <a:pt x="591861" y="667463"/>
                      <a:pt x="582866" y="662649"/>
                      <a:pt x="574885" y="656821"/>
                    </a:cubicBezTo>
                    <a:cubicBezTo>
                      <a:pt x="563737" y="648587"/>
                      <a:pt x="554996" y="636426"/>
                      <a:pt x="550056" y="623631"/>
                    </a:cubicBezTo>
                    <a:cubicBezTo>
                      <a:pt x="546255" y="613749"/>
                      <a:pt x="537894" y="604755"/>
                      <a:pt x="530166" y="597661"/>
                    </a:cubicBezTo>
                    <a:cubicBezTo>
                      <a:pt x="512431" y="581699"/>
                      <a:pt x="492415" y="588286"/>
                      <a:pt x="471132" y="584866"/>
                    </a:cubicBezTo>
                    <a:cubicBezTo>
                      <a:pt x="454664" y="582205"/>
                      <a:pt x="439208" y="579418"/>
                      <a:pt x="422866" y="575618"/>
                    </a:cubicBezTo>
                    <a:cubicBezTo>
                      <a:pt x="413112" y="573464"/>
                      <a:pt x="403484" y="570931"/>
                      <a:pt x="393729" y="568397"/>
                    </a:cubicBezTo>
                    <a:cubicBezTo>
                      <a:pt x="384988" y="565990"/>
                      <a:pt x="374473" y="561176"/>
                      <a:pt x="365479" y="560416"/>
                    </a:cubicBezTo>
                    <a:cubicBezTo>
                      <a:pt x="357372" y="559783"/>
                      <a:pt x="348631" y="563583"/>
                      <a:pt x="340016" y="563203"/>
                    </a:cubicBezTo>
                    <a:cubicBezTo>
                      <a:pt x="330515" y="562823"/>
                      <a:pt x="321014" y="560923"/>
                      <a:pt x="311639" y="559656"/>
                    </a:cubicBezTo>
                    <a:cubicBezTo>
                      <a:pt x="292510" y="557249"/>
                      <a:pt x="275154" y="548254"/>
                      <a:pt x="255772" y="547494"/>
                    </a:cubicBezTo>
                    <a:cubicBezTo>
                      <a:pt x="253239" y="547368"/>
                      <a:pt x="250832" y="547241"/>
                      <a:pt x="248425" y="546734"/>
                    </a:cubicBezTo>
                    <a:cubicBezTo>
                      <a:pt x="230689" y="543947"/>
                      <a:pt x="216754" y="533686"/>
                      <a:pt x="200919" y="524438"/>
                    </a:cubicBezTo>
                    <a:cubicBezTo>
                      <a:pt x="190657" y="518357"/>
                      <a:pt x="181409" y="511263"/>
                      <a:pt x="171401" y="504929"/>
                    </a:cubicBezTo>
                    <a:cubicBezTo>
                      <a:pt x="163041" y="499608"/>
                      <a:pt x="156707" y="499608"/>
                      <a:pt x="150752" y="507970"/>
                    </a:cubicBezTo>
                    <a:cubicBezTo>
                      <a:pt x="147459" y="512657"/>
                      <a:pt x="143785" y="526972"/>
                      <a:pt x="137957" y="528745"/>
                    </a:cubicBezTo>
                    <a:cubicBezTo>
                      <a:pt x="133523" y="530139"/>
                      <a:pt x="126936" y="523805"/>
                      <a:pt x="122882" y="522411"/>
                    </a:cubicBezTo>
                    <a:cubicBezTo>
                      <a:pt x="116928" y="520258"/>
                      <a:pt x="110341" y="520638"/>
                      <a:pt x="104640" y="518104"/>
                    </a:cubicBezTo>
                    <a:cubicBezTo>
                      <a:pt x="99066" y="515444"/>
                      <a:pt x="93999" y="510250"/>
                      <a:pt x="89945" y="505689"/>
                    </a:cubicBezTo>
                    <a:cubicBezTo>
                      <a:pt x="78923" y="493148"/>
                      <a:pt x="80063" y="475159"/>
                      <a:pt x="76390" y="459704"/>
                    </a:cubicBezTo>
                    <a:cubicBezTo>
                      <a:pt x="73983" y="449822"/>
                      <a:pt x="72336" y="439688"/>
                      <a:pt x="69042" y="430060"/>
                    </a:cubicBezTo>
                    <a:cubicBezTo>
                      <a:pt x="65748" y="420432"/>
                      <a:pt x="59794" y="412578"/>
                      <a:pt x="54474" y="403836"/>
                    </a:cubicBezTo>
                    <a:cubicBezTo>
                      <a:pt x="48900" y="394589"/>
                      <a:pt x="45479" y="384454"/>
                      <a:pt x="40539" y="374826"/>
                    </a:cubicBezTo>
                    <a:cubicBezTo>
                      <a:pt x="35471" y="364818"/>
                      <a:pt x="28250" y="356077"/>
                      <a:pt x="21663" y="346956"/>
                    </a:cubicBezTo>
                    <a:cubicBezTo>
                      <a:pt x="16469" y="339482"/>
                      <a:pt x="11655" y="332261"/>
                      <a:pt x="5448" y="325547"/>
                    </a:cubicBezTo>
                    <a:cubicBezTo>
                      <a:pt x="2281" y="322126"/>
                      <a:pt x="634" y="318579"/>
                      <a:pt x="0" y="315032"/>
                    </a:cubicBezTo>
                    <a:cubicBezTo>
                      <a:pt x="1267" y="314652"/>
                      <a:pt x="2407" y="314272"/>
                      <a:pt x="3547" y="313765"/>
                    </a:cubicBezTo>
                    <a:cubicBezTo>
                      <a:pt x="12162" y="309838"/>
                      <a:pt x="16722" y="300970"/>
                      <a:pt x="24830" y="296283"/>
                    </a:cubicBezTo>
                    <a:cubicBezTo>
                      <a:pt x="33318" y="291342"/>
                      <a:pt x="44592" y="292736"/>
                      <a:pt x="52574" y="287162"/>
                    </a:cubicBezTo>
                    <a:cubicBezTo>
                      <a:pt x="60174" y="281968"/>
                      <a:pt x="59668" y="272467"/>
                      <a:pt x="64862" y="265626"/>
                    </a:cubicBezTo>
                    <a:cubicBezTo>
                      <a:pt x="71322" y="257138"/>
                      <a:pt x="82344" y="257518"/>
                      <a:pt x="91465" y="253718"/>
                    </a:cubicBezTo>
                    <a:cubicBezTo>
                      <a:pt x="110087" y="245863"/>
                      <a:pt x="111988" y="219893"/>
                      <a:pt x="112621" y="202031"/>
                    </a:cubicBezTo>
                    <a:cubicBezTo>
                      <a:pt x="112874" y="192023"/>
                      <a:pt x="109834" y="179989"/>
                      <a:pt x="113508" y="170361"/>
                    </a:cubicBezTo>
                    <a:cubicBezTo>
                      <a:pt x="117181" y="160606"/>
                      <a:pt x="126049" y="159466"/>
                      <a:pt x="135044" y="156679"/>
                    </a:cubicBezTo>
                    <a:cubicBezTo>
                      <a:pt x="152526" y="151358"/>
                      <a:pt x="160254" y="131849"/>
                      <a:pt x="180016" y="135143"/>
                    </a:cubicBezTo>
                    <a:cubicBezTo>
                      <a:pt x="189137" y="136663"/>
                      <a:pt x="197878" y="141224"/>
                      <a:pt x="207126" y="137550"/>
                    </a:cubicBezTo>
                    <a:cubicBezTo>
                      <a:pt x="217387" y="133496"/>
                      <a:pt x="224101" y="121715"/>
                      <a:pt x="229675" y="112847"/>
                    </a:cubicBezTo>
                    <a:cubicBezTo>
                      <a:pt x="240697" y="95491"/>
                      <a:pt x="251718" y="83203"/>
                      <a:pt x="266287" y="69015"/>
                    </a:cubicBezTo>
                    <a:cubicBezTo>
                      <a:pt x="284149" y="51532"/>
                      <a:pt x="277435" y="34937"/>
                      <a:pt x="283389" y="13148"/>
                    </a:cubicBezTo>
                    <a:cubicBezTo>
                      <a:pt x="285289" y="6307"/>
                      <a:pt x="290737" y="-4335"/>
                      <a:pt x="298844" y="1873"/>
                    </a:cubicBezTo>
                    <a:cubicBezTo>
                      <a:pt x="306445" y="7447"/>
                      <a:pt x="304165" y="22902"/>
                      <a:pt x="305305" y="30883"/>
                    </a:cubicBezTo>
                    <a:cubicBezTo>
                      <a:pt x="306952" y="42411"/>
                      <a:pt x="313033" y="47479"/>
                      <a:pt x="322407" y="53686"/>
                    </a:cubicBezTo>
                    <a:cubicBezTo>
                      <a:pt x="340776" y="65594"/>
                      <a:pt x="374473" y="87384"/>
                      <a:pt x="368520" y="114240"/>
                    </a:cubicBezTo>
                    <a:cubicBezTo>
                      <a:pt x="365733" y="127289"/>
                      <a:pt x="359399" y="139197"/>
                      <a:pt x="357498" y="152498"/>
                    </a:cubicBezTo>
                    <a:cubicBezTo>
                      <a:pt x="355725" y="164153"/>
                      <a:pt x="357498" y="175681"/>
                      <a:pt x="356992" y="187336"/>
                    </a:cubicBezTo>
                    <a:cubicBezTo>
                      <a:pt x="356358" y="203425"/>
                      <a:pt x="347617" y="243836"/>
                      <a:pt x="325827" y="244090"/>
                    </a:cubicBezTo>
                    <a:cubicBezTo>
                      <a:pt x="314553" y="244216"/>
                      <a:pt x="305432" y="231168"/>
                      <a:pt x="298718" y="223821"/>
                    </a:cubicBezTo>
                    <a:cubicBezTo>
                      <a:pt x="289976" y="214319"/>
                      <a:pt x="281235" y="205198"/>
                      <a:pt x="268060" y="202791"/>
                    </a:cubicBezTo>
                    <a:cubicBezTo>
                      <a:pt x="254505" y="200258"/>
                      <a:pt x="239303" y="203298"/>
                      <a:pt x="225622" y="204312"/>
                    </a:cubicBezTo>
                    <a:cubicBezTo>
                      <a:pt x="213334" y="205198"/>
                      <a:pt x="195978" y="204565"/>
                      <a:pt x="186603" y="214066"/>
                    </a:cubicBezTo>
                    <a:cubicBezTo>
                      <a:pt x="168868" y="232055"/>
                      <a:pt x="191164" y="263092"/>
                      <a:pt x="184196" y="284502"/>
                    </a:cubicBezTo>
                    <a:cubicBezTo>
                      <a:pt x="176849" y="307178"/>
                      <a:pt x="159620" y="324280"/>
                      <a:pt x="177482" y="347463"/>
                    </a:cubicBezTo>
                    <a:cubicBezTo>
                      <a:pt x="191291" y="365325"/>
                      <a:pt x="214474" y="388635"/>
                      <a:pt x="238037" y="390788"/>
                    </a:cubicBezTo>
                    <a:cubicBezTo>
                      <a:pt x="261600" y="393068"/>
                      <a:pt x="292383" y="384581"/>
                      <a:pt x="310879" y="370012"/>
                    </a:cubicBezTo>
                    <a:cubicBezTo>
                      <a:pt x="324054" y="359751"/>
                      <a:pt x="337862" y="340242"/>
                      <a:pt x="355978" y="339608"/>
                    </a:cubicBezTo>
                    <a:cubicBezTo>
                      <a:pt x="373333" y="338975"/>
                      <a:pt x="388282" y="355824"/>
                      <a:pt x="402344" y="362791"/>
                    </a:cubicBezTo>
                    <a:cubicBezTo>
                      <a:pt x="417546" y="370392"/>
                      <a:pt x="417672" y="346323"/>
                      <a:pt x="422486" y="338088"/>
                    </a:cubicBezTo>
                    <a:cubicBezTo>
                      <a:pt x="433761" y="318832"/>
                      <a:pt x="445669" y="340875"/>
                      <a:pt x="452003" y="350250"/>
                    </a:cubicBezTo>
                    <a:cubicBezTo>
                      <a:pt x="456311" y="356457"/>
                      <a:pt x="462011" y="363171"/>
                      <a:pt x="468472" y="366845"/>
                    </a:cubicBezTo>
                    <a:cubicBezTo>
                      <a:pt x="476706" y="371532"/>
                      <a:pt x="486208" y="371406"/>
                      <a:pt x="495202" y="373306"/>
                    </a:cubicBezTo>
                    <a:cubicBezTo>
                      <a:pt x="514331" y="377360"/>
                      <a:pt x="529280" y="377993"/>
                      <a:pt x="547395" y="371406"/>
                    </a:cubicBezTo>
                    <a:cubicBezTo>
                      <a:pt x="559937" y="366845"/>
                      <a:pt x="575645" y="365578"/>
                      <a:pt x="587807" y="372673"/>
                    </a:cubicBezTo>
                    <a:cubicBezTo>
                      <a:pt x="596168" y="377487"/>
                      <a:pt x="601996" y="384581"/>
                      <a:pt x="609723" y="390281"/>
                    </a:cubicBezTo>
                    <a:cubicBezTo>
                      <a:pt x="626318" y="402443"/>
                      <a:pt x="652035" y="391802"/>
                      <a:pt x="670784" y="397376"/>
                    </a:cubicBezTo>
                    <a:cubicBezTo>
                      <a:pt x="680285" y="400289"/>
                      <a:pt x="683452" y="407257"/>
                      <a:pt x="686366" y="415998"/>
                    </a:cubicBezTo>
                    <a:cubicBezTo>
                      <a:pt x="687506" y="419418"/>
                      <a:pt x="689153" y="431707"/>
                      <a:pt x="694347" y="430440"/>
                    </a:cubicBezTo>
                    <a:cubicBezTo>
                      <a:pt x="702708" y="428540"/>
                      <a:pt x="699794" y="404217"/>
                      <a:pt x="709422" y="399403"/>
                    </a:cubicBezTo>
                    <a:cubicBezTo>
                      <a:pt x="717910" y="395222"/>
                      <a:pt x="734379" y="399022"/>
                      <a:pt x="742486" y="402570"/>
                    </a:cubicBezTo>
                    <a:cubicBezTo>
                      <a:pt x="753888" y="407637"/>
                      <a:pt x="763642" y="413084"/>
                      <a:pt x="775804" y="416505"/>
                    </a:cubicBezTo>
                    <a:cubicBezTo>
                      <a:pt x="790499" y="420559"/>
                      <a:pt x="803041" y="419038"/>
                      <a:pt x="817862" y="420305"/>
                    </a:cubicBezTo>
                    <a:cubicBezTo>
                      <a:pt x="825083" y="420939"/>
                      <a:pt x="832684" y="423092"/>
                      <a:pt x="836231" y="429933"/>
                    </a:cubicBezTo>
                    <a:cubicBezTo>
                      <a:pt x="838512" y="434367"/>
                      <a:pt x="839145" y="440828"/>
                      <a:pt x="833698" y="442855"/>
                    </a:cubicBezTo>
                    <a:cubicBezTo>
                      <a:pt x="828504" y="444755"/>
                      <a:pt x="822043" y="437914"/>
                      <a:pt x="817356" y="436521"/>
                    </a:cubicBezTo>
                    <a:cubicBezTo>
                      <a:pt x="810135" y="434240"/>
                      <a:pt x="806208" y="436141"/>
                      <a:pt x="800507" y="440701"/>
                    </a:cubicBezTo>
                    <a:cubicBezTo>
                      <a:pt x="794933" y="445262"/>
                      <a:pt x="790626" y="451089"/>
                      <a:pt x="783785" y="453876"/>
                    </a:cubicBezTo>
                    <a:cubicBezTo>
                      <a:pt x="778971" y="455776"/>
                      <a:pt x="773270" y="455016"/>
                      <a:pt x="768836" y="457677"/>
                    </a:cubicBezTo>
                    <a:cubicBezTo>
                      <a:pt x="758575" y="463757"/>
                      <a:pt x="755915" y="481366"/>
                      <a:pt x="752368" y="491754"/>
                    </a:cubicBezTo>
                    <a:cubicBezTo>
                      <a:pt x="746540" y="490614"/>
                      <a:pt x="733872" y="485547"/>
                      <a:pt x="728424" y="489474"/>
                    </a:cubicBezTo>
                    <a:cubicBezTo>
                      <a:pt x="722724" y="493528"/>
                      <a:pt x="725131" y="506576"/>
                      <a:pt x="728298" y="511643"/>
                    </a:cubicBezTo>
                    <a:cubicBezTo>
                      <a:pt x="736405" y="524438"/>
                      <a:pt x="756928" y="517597"/>
                      <a:pt x="764403" y="534320"/>
                    </a:cubicBezTo>
                    <a:cubicBezTo>
                      <a:pt x="768583" y="543694"/>
                      <a:pt x="759842" y="583852"/>
                      <a:pt x="778844" y="572958"/>
                    </a:cubicBezTo>
                    <a:cubicBezTo>
                      <a:pt x="787712" y="567890"/>
                      <a:pt x="787965" y="558516"/>
                      <a:pt x="791766" y="550281"/>
                    </a:cubicBezTo>
                    <a:cubicBezTo>
                      <a:pt x="795060" y="543187"/>
                      <a:pt x="800887" y="539133"/>
                      <a:pt x="808235" y="536600"/>
                    </a:cubicBezTo>
                    <a:cubicBezTo>
                      <a:pt x="833444" y="527732"/>
                      <a:pt x="856247" y="540780"/>
                      <a:pt x="877656" y="551548"/>
                    </a:cubicBezTo>
                    <a:cubicBezTo>
                      <a:pt x="888805" y="557249"/>
                      <a:pt x="898052" y="559909"/>
                      <a:pt x="907554" y="568904"/>
                    </a:cubicBezTo>
                    <a:cubicBezTo>
                      <a:pt x="916041" y="577011"/>
                      <a:pt x="923262" y="586513"/>
                      <a:pt x="931370" y="595000"/>
                    </a:cubicBezTo>
                    <a:cubicBezTo>
                      <a:pt x="939858" y="603741"/>
                      <a:pt x="941885" y="610709"/>
                      <a:pt x="954806" y="608049"/>
                    </a:cubicBezTo>
                    <a:cubicBezTo>
                      <a:pt x="967981" y="605262"/>
                      <a:pt x="981536" y="599054"/>
                      <a:pt x="995091" y="603868"/>
                    </a:cubicBezTo>
                    <a:cubicBezTo>
                      <a:pt x="1005099" y="607415"/>
                      <a:pt x="1009913" y="615016"/>
                      <a:pt x="1020935" y="610709"/>
                    </a:cubicBezTo>
                    <a:cubicBezTo>
                      <a:pt x="1030436" y="606909"/>
                      <a:pt x="1036263" y="598801"/>
                      <a:pt x="1047284" y="600068"/>
                    </a:cubicBezTo>
                    <a:cubicBezTo>
                      <a:pt x="1055392" y="600954"/>
                      <a:pt x="1077815" y="604882"/>
                      <a:pt x="1083515" y="610709"/>
                    </a:cubicBezTo>
                    <a:cubicBezTo>
                      <a:pt x="1091117" y="618563"/>
                      <a:pt x="1076295" y="623631"/>
                      <a:pt x="1073508" y="631105"/>
                    </a:cubicBezTo>
                    <a:cubicBezTo>
                      <a:pt x="1069834" y="640860"/>
                      <a:pt x="1081615" y="648967"/>
                      <a:pt x="1077561" y="658342"/>
                    </a:cubicBezTo>
                    <a:cubicBezTo>
                      <a:pt x="1072621" y="669743"/>
                      <a:pt x="1050705" y="670250"/>
                      <a:pt x="1041584" y="677471"/>
                    </a:cubicBezTo>
                    <a:cubicBezTo>
                      <a:pt x="1023215" y="691913"/>
                      <a:pt x="1030689" y="735365"/>
                      <a:pt x="1056152" y="715602"/>
                    </a:cubicBezTo>
                    <a:cubicBezTo>
                      <a:pt x="1065400" y="708381"/>
                      <a:pt x="1062107" y="696093"/>
                      <a:pt x="1067680" y="686972"/>
                    </a:cubicBezTo>
                    <a:cubicBezTo>
                      <a:pt x="1073508" y="677597"/>
                      <a:pt x="1088836" y="672023"/>
                      <a:pt x="1099604" y="673163"/>
                    </a:cubicBezTo>
                    <a:cubicBezTo>
                      <a:pt x="1110373" y="674304"/>
                      <a:pt x="1114680" y="684058"/>
                      <a:pt x="1123041" y="689632"/>
                    </a:cubicBezTo>
                    <a:cubicBezTo>
                      <a:pt x="1133935" y="696726"/>
                      <a:pt x="1140903" y="691913"/>
                      <a:pt x="1149897" y="684565"/>
                    </a:cubicBezTo>
                    <a:cubicBezTo>
                      <a:pt x="1160665" y="675697"/>
                      <a:pt x="1181694" y="665943"/>
                      <a:pt x="1187775" y="653021"/>
                    </a:cubicBezTo>
                    <a:cubicBezTo>
                      <a:pt x="1194363" y="639213"/>
                      <a:pt x="1176121" y="636932"/>
                      <a:pt x="1170547" y="627938"/>
                    </a:cubicBezTo>
                    <a:cubicBezTo>
                      <a:pt x="1164466" y="618057"/>
                      <a:pt x="1176627" y="608809"/>
                      <a:pt x="1181061" y="600448"/>
                    </a:cubicBezTo>
                    <a:cubicBezTo>
                      <a:pt x="1186128" y="590947"/>
                      <a:pt x="1186762" y="579418"/>
                      <a:pt x="1196010" y="572451"/>
                    </a:cubicBezTo>
                    <a:cubicBezTo>
                      <a:pt x="1204751" y="565990"/>
                      <a:pt x="1216279" y="567004"/>
                      <a:pt x="1225907" y="562823"/>
                    </a:cubicBezTo>
                    <a:cubicBezTo>
                      <a:pt x="1234268" y="559276"/>
                      <a:pt x="1245543" y="546988"/>
                      <a:pt x="1255297" y="551042"/>
                    </a:cubicBezTo>
                    <a:cubicBezTo>
                      <a:pt x="1265559" y="555349"/>
                      <a:pt x="1270752" y="577265"/>
                      <a:pt x="1277720" y="585626"/>
                    </a:cubicBezTo>
                    <a:cubicBezTo>
                      <a:pt x="1287474" y="597407"/>
                      <a:pt x="1297229" y="608935"/>
                      <a:pt x="1306604" y="620844"/>
                    </a:cubicBezTo>
                    <a:cubicBezTo>
                      <a:pt x="1314205" y="630471"/>
                      <a:pt x="1327633" y="631105"/>
                      <a:pt x="1337134" y="639213"/>
                    </a:cubicBezTo>
                    <a:cubicBezTo>
                      <a:pt x="1346002" y="646687"/>
                      <a:pt x="1356517" y="653401"/>
                      <a:pt x="1363738" y="662269"/>
                    </a:cubicBezTo>
                    <a:cubicBezTo>
                      <a:pt x="1375646" y="676964"/>
                      <a:pt x="1381599" y="693306"/>
                      <a:pt x="1390594" y="709775"/>
                    </a:cubicBezTo>
                    <a:cubicBezTo>
                      <a:pt x="1393128" y="714335"/>
                      <a:pt x="1393761" y="720289"/>
                      <a:pt x="1397055" y="724470"/>
                    </a:cubicBezTo>
                    <a:cubicBezTo>
                      <a:pt x="1399462" y="727637"/>
                      <a:pt x="1403769" y="728904"/>
                      <a:pt x="1405923" y="732198"/>
                    </a:cubicBezTo>
                    <a:cubicBezTo>
                      <a:pt x="1412384" y="741572"/>
                      <a:pt x="1408710" y="758547"/>
                      <a:pt x="1411750" y="769569"/>
                    </a:cubicBezTo>
                    <a:cubicBezTo>
                      <a:pt x="1414791" y="781224"/>
                      <a:pt x="1423785" y="790472"/>
                      <a:pt x="1427332" y="801999"/>
                    </a:cubicBezTo>
                    <a:cubicBezTo>
                      <a:pt x="1429612" y="808460"/>
                      <a:pt x="1430626" y="814541"/>
                      <a:pt x="1431639" y="82062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16" name="Рисунок 388">
                <a:extLst>
                  <a:ext uri="{FF2B5EF4-FFF2-40B4-BE49-F238E27FC236}">
                    <a16:creationId xmlns:a16="http://schemas.microsoft.com/office/drawing/2014/main" id="{1DA397FD-DC6E-439E-BB40-D0F80476817D}"/>
                  </a:ext>
                </a:extLst>
              </p:cNvPr>
              <p:cNvGrpSpPr/>
              <p:nvPr/>
            </p:nvGrpSpPr>
            <p:grpSpPr>
              <a:xfrm>
                <a:off x="4103836" y="2364621"/>
                <a:ext cx="1247124" cy="458039"/>
                <a:chOff x="4103836" y="2364621"/>
                <a:chExt cx="1247124" cy="458039"/>
              </a:xfrm>
              <a:solidFill>
                <a:srgbClr val="E3E8EC"/>
              </a:solidFill>
            </p:grpSpPr>
            <p:grpSp>
              <p:nvGrpSpPr>
                <p:cNvPr id="617" name="Рисунок 388">
                  <a:extLst>
                    <a:ext uri="{FF2B5EF4-FFF2-40B4-BE49-F238E27FC236}">
                      <a16:creationId xmlns:a16="http://schemas.microsoft.com/office/drawing/2014/main" id="{1DA397FD-DC6E-439E-BB40-D0F80476817D}"/>
                    </a:ext>
                  </a:extLst>
                </p:cNvPr>
                <p:cNvGrpSpPr/>
                <p:nvPr/>
              </p:nvGrpSpPr>
              <p:grpSpPr>
                <a:xfrm>
                  <a:off x="4620700" y="2364621"/>
                  <a:ext cx="730259" cy="458039"/>
                  <a:chOff x="4620700" y="2364621"/>
                  <a:chExt cx="730259" cy="458039"/>
                </a:xfrm>
                <a:solidFill>
                  <a:srgbClr val="E3E8EC"/>
                </a:solidFill>
              </p:grpSpPr>
              <p:sp>
                <p:nvSpPr>
                  <p:cNvPr id="618" name="Полилиния: фигура 617">
                    <a:extLst>
                      <a:ext uri="{FF2B5EF4-FFF2-40B4-BE49-F238E27FC236}">
                        <a16:creationId xmlns:a16="http://schemas.microsoft.com/office/drawing/2014/main" id="{F8F177E8-78C8-43AB-B434-06E680704076}"/>
                      </a:ext>
                    </a:extLst>
                  </p:cNvPr>
                  <p:cNvSpPr/>
                  <p:nvPr/>
                </p:nvSpPr>
                <p:spPr>
                  <a:xfrm>
                    <a:off x="5195585" y="2782628"/>
                    <a:ext cx="21789" cy="40033"/>
                  </a:xfrm>
                  <a:custGeom>
                    <a:avLst/>
                    <a:gdLst>
                      <a:gd name="connsiteX0" fmla="*/ 21789 w 21789"/>
                      <a:gd name="connsiteY0" fmla="*/ 20017 h 40033"/>
                      <a:gd name="connsiteX1" fmla="*/ 10895 w 21789"/>
                      <a:gd name="connsiteY1" fmla="*/ 40033 h 40033"/>
                      <a:gd name="connsiteX2" fmla="*/ 0 w 21789"/>
                      <a:gd name="connsiteY2" fmla="*/ 20017 h 40033"/>
                      <a:gd name="connsiteX3" fmla="*/ 10895 w 21789"/>
                      <a:gd name="connsiteY3" fmla="*/ 1 h 40033"/>
                      <a:gd name="connsiteX4" fmla="*/ 21789 w 21789"/>
                      <a:gd name="connsiteY4" fmla="*/ 20017 h 4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40033">
                        <a:moveTo>
                          <a:pt x="21789" y="20017"/>
                        </a:moveTo>
                        <a:cubicBezTo>
                          <a:pt x="21789" y="31039"/>
                          <a:pt x="16849" y="40033"/>
                          <a:pt x="10895" y="40033"/>
                        </a:cubicBezTo>
                        <a:cubicBezTo>
                          <a:pt x="4941" y="40033"/>
                          <a:pt x="0" y="31039"/>
                          <a:pt x="0" y="20017"/>
                        </a:cubicBezTo>
                        <a:cubicBezTo>
                          <a:pt x="0" y="8996"/>
                          <a:pt x="4814" y="1"/>
                          <a:pt x="10895" y="1"/>
                        </a:cubicBezTo>
                        <a:cubicBezTo>
                          <a:pt x="16976" y="-125"/>
                          <a:pt x="21789" y="8869"/>
                          <a:pt x="21789" y="200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19" name="Полилиния: фигура 618">
                    <a:extLst>
                      <a:ext uri="{FF2B5EF4-FFF2-40B4-BE49-F238E27FC236}">
                        <a16:creationId xmlns:a16="http://schemas.microsoft.com/office/drawing/2014/main" id="{6FB455FC-D6EC-4548-B8DA-78DFE3445683}"/>
                      </a:ext>
                    </a:extLst>
                  </p:cNvPr>
                  <p:cNvSpPr/>
                  <p:nvPr/>
                </p:nvSpPr>
                <p:spPr>
                  <a:xfrm>
                    <a:off x="5269900" y="2628920"/>
                    <a:ext cx="81060" cy="153304"/>
                  </a:xfrm>
                  <a:custGeom>
                    <a:avLst/>
                    <a:gdLst>
                      <a:gd name="connsiteX0" fmla="*/ 18924 w 81060"/>
                      <a:gd name="connsiteY0" fmla="*/ 99996 h 153304"/>
                      <a:gd name="connsiteX1" fmla="*/ 3596 w 81060"/>
                      <a:gd name="connsiteY1" fmla="*/ 67692 h 153304"/>
                      <a:gd name="connsiteX2" fmla="*/ 5623 w 81060"/>
                      <a:gd name="connsiteY2" fmla="*/ 35895 h 153304"/>
                      <a:gd name="connsiteX3" fmla="*/ 36280 w 81060"/>
                      <a:gd name="connsiteY3" fmla="*/ 9545 h 153304"/>
                      <a:gd name="connsiteX4" fmla="*/ 55282 w 81060"/>
                      <a:gd name="connsiteY4" fmla="*/ 3971 h 153304"/>
                      <a:gd name="connsiteX5" fmla="*/ 64910 w 81060"/>
                      <a:gd name="connsiteY5" fmla="*/ 38048 h 153304"/>
                      <a:gd name="connsiteX6" fmla="*/ 78592 w 81060"/>
                      <a:gd name="connsiteY6" fmla="*/ 68579 h 153304"/>
                      <a:gd name="connsiteX7" fmla="*/ 79605 w 81060"/>
                      <a:gd name="connsiteY7" fmla="*/ 101263 h 153304"/>
                      <a:gd name="connsiteX8" fmla="*/ 74158 w 81060"/>
                      <a:gd name="connsiteY8" fmla="*/ 125333 h 153304"/>
                      <a:gd name="connsiteX9" fmla="*/ 66050 w 81060"/>
                      <a:gd name="connsiteY9" fmla="*/ 144715 h 153304"/>
                      <a:gd name="connsiteX10" fmla="*/ 44387 w 81060"/>
                      <a:gd name="connsiteY10" fmla="*/ 152823 h 153304"/>
                      <a:gd name="connsiteX11" fmla="*/ 17784 w 81060"/>
                      <a:gd name="connsiteY11" fmla="*/ 144335 h 153304"/>
                      <a:gd name="connsiteX12" fmla="*/ 20191 w 81060"/>
                      <a:gd name="connsiteY12" fmla="*/ 107217 h 153304"/>
                      <a:gd name="connsiteX13" fmla="*/ 18924 w 81060"/>
                      <a:gd name="connsiteY13" fmla="*/ 99996 h 15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60" h="153304">
                        <a:moveTo>
                          <a:pt x="18924" y="99996"/>
                        </a:moveTo>
                        <a:cubicBezTo>
                          <a:pt x="15757" y="88468"/>
                          <a:pt x="8029" y="78967"/>
                          <a:pt x="3596" y="67692"/>
                        </a:cubicBezTo>
                        <a:cubicBezTo>
                          <a:pt x="-711" y="56924"/>
                          <a:pt x="-2358" y="45269"/>
                          <a:pt x="5623" y="35895"/>
                        </a:cubicBezTo>
                        <a:cubicBezTo>
                          <a:pt x="14237" y="25887"/>
                          <a:pt x="26398" y="18286"/>
                          <a:pt x="36280" y="9545"/>
                        </a:cubicBezTo>
                        <a:cubicBezTo>
                          <a:pt x="41220" y="5238"/>
                          <a:pt x="50595" y="-5910"/>
                          <a:pt x="55282" y="3971"/>
                        </a:cubicBezTo>
                        <a:cubicBezTo>
                          <a:pt x="60223" y="14485"/>
                          <a:pt x="60603" y="27154"/>
                          <a:pt x="64910" y="38048"/>
                        </a:cubicBezTo>
                        <a:cubicBezTo>
                          <a:pt x="69090" y="48436"/>
                          <a:pt x="75424" y="57811"/>
                          <a:pt x="78592" y="68579"/>
                        </a:cubicBezTo>
                        <a:cubicBezTo>
                          <a:pt x="81759" y="79220"/>
                          <a:pt x="81632" y="90368"/>
                          <a:pt x="79605" y="101263"/>
                        </a:cubicBezTo>
                        <a:cubicBezTo>
                          <a:pt x="78085" y="109244"/>
                          <a:pt x="75424" y="117352"/>
                          <a:pt x="74158" y="125333"/>
                        </a:cubicBezTo>
                        <a:cubicBezTo>
                          <a:pt x="73017" y="132807"/>
                          <a:pt x="72637" y="139648"/>
                          <a:pt x="66050" y="144715"/>
                        </a:cubicBezTo>
                        <a:cubicBezTo>
                          <a:pt x="60983" y="148642"/>
                          <a:pt x="50722" y="152316"/>
                          <a:pt x="44387" y="152823"/>
                        </a:cubicBezTo>
                        <a:cubicBezTo>
                          <a:pt x="35140" y="153456"/>
                          <a:pt x="21964" y="155103"/>
                          <a:pt x="17784" y="144335"/>
                        </a:cubicBezTo>
                        <a:cubicBezTo>
                          <a:pt x="12970" y="131793"/>
                          <a:pt x="21078" y="119759"/>
                          <a:pt x="20191" y="107217"/>
                        </a:cubicBezTo>
                        <a:cubicBezTo>
                          <a:pt x="20064" y="104810"/>
                          <a:pt x="19557" y="102403"/>
                          <a:pt x="18924" y="9999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0" name="Полилиния: фигура 619">
                    <a:extLst>
                      <a:ext uri="{FF2B5EF4-FFF2-40B4-BE49-F238E27FC236}">
                        <a16:creationId xmlns:a16="http://schemas.microsoft.com/office/drawing/2014/main" id="{3DA44E30-39B8-4308-B223-59FEF85E96AD}"/>
                      </a:ext>
                    </a:extLst>
                  </p:cNvPr>
                  <p:cNvSpPr/>
                  <p:nvPr/>
                </p:nvSpPr>
                <p:spPr>
                  <a:xfrm>
                    <a:off x="4719639" y="2590956"/>
                    <a:ext cx="30403" cy="15838"/>
                  </a:xfrm>
                  <a:custGeom>
                    <a:avLst/>
                    <a:gdLst>
                      <a:gd name="connsiteX0" fmla="*/ 30404 w 30403"/>
                      <a:gd name="connsiteY0" fmla="*/ 7858 h 15838"/>
                      <a:gd name="connsiteX1" fmla="*/ 15202 w 30403"/>
                      <a:gd name="connsiteY1" fmla="*/ 15839 h 15838"/>
                      <a:gd name="connsiteX2" fmla="*/ 0 w 30403"/>
                      <a:gd name="connsiteY2" fmla="*/ 7858 h 15838"/>
                      <a:gd name="connsiteX3" fmla="*/ 15202 w 30403"/>
                      <a:gd name="connsiteY3" fmla="*/ 3 h 15838"/>
                      <a:gd name="connsiteX4" fmla="*/ 30404 w 30403"/>
                      <a:gd name="connsiteY4" fmla="*/ 7858 h 1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 h="15838">
                        <a:moveTo>
                          <a:pt x="30404" y="7858"/>
                        </a:moveTo>
                        <a:cubicBezTo>
                          <a:pt x="30404" y="12292"/>
                          <a:pt x="23563" y="15839"/>
                          <a:pt x="15202" y="15839"/>
                        </a:cubicBezTo>
                        <a:cubicBezTo>
                          <a:pt x="6841" y="15839"/>
                          <a:pt x="0" y="12292"/>
                          <a:pt x="0" y="7858"/>
                        </a:cubicBezTo>
                        <a:cubicBezTo>
                          <a:pt x="0" y="3550"/>
                          <a:pt x="6841" y="3"/>
                          <a:pt x="15202" y="3"/>
                        </a:cubicBezTo>
                        <a:cubicBezTo>
                          <a:pt x="23563" y="-124"/>
                          <a:pt x="30404" y="3424"/>
                          <a:pt x="30404" y="785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1" name="Полилиния: фигура 620">
                    <a:extLst>
                      <a:ext uri="{FF2B5EF4-FFF2-40B4-BE49-F238E27FC236}">
                        <a16:creationId xmlns:a16="http://schemas.microsoft.com/office/drawing/2014/main" id="{833F1971-E39F-4F5D-AB84-7BA7E771B04E}"/>
                      </a:ext>
                    </a:extLst>
                  </p:cNvPr>
                  <p:cNvSpPr/>
                  <p:nvPr/>
                </p:nvSpPr>
                <p:spPr>
                  <a:xfrm>
                    <a:off x="4677454" y="2491513"/>
                    <a:ext cx="13175" cy="8361"/>
                  </a:xfrm>
                  <a:custGeom>
                    <a:avLst/>
                    <a:gdLst>
                      <a:gd name="connsiteX0" fmla="*/ 13175 w 13175"/>
                      <a:gd name="connsiteY0" fmla="*/ 4181 h 8361"/>
                      <a:gd name="connsiteX1" fmla="*/ 6588 w 13175"/>
                      <a:gd name="connsiteY1" fmla="*/ 8361 h 8361"/>
                      <a:gd name="connsiteX2" fmla="*/ 0 w 13175"/>
                      <a:gd name="connsiteY2" fmla="*/ 4181 h 8361"/>
                      <a:gd name="connsiteX3" fmla="*/ 6588 w 13175"/>
                      <a:gd name="connsiteY3" fmla="*/ 0 h 8361"/>
                      <a:gd name="connsiteX4" fmla="*/ 13175 w 13175"/>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8361">
                        <a:moveTo>
                          <a:pt x="13175" y="4181"/>
                        </a:moveTo>
                        <a:cubicBezTo>
                          <a:pt x="13175" y="6461"/>
                          <a:pt x="10261" y="8361"/>
                          <a:pt x="6588" y="8361"/>
                        </a:cubicBezTo>
                        <a:cubicBezTo>
                          <a:pt x="2914" y="8361"/>
                          <a:pt x="0" y="6461"/>
                          <a:pt x="0" y="4181"/>
                        </a:cubicBezTo>
                        <a:cubicBezTo>
                          <a:pt x="0" y="1900"/>
                          <a:pt x="2914" y="0"/>
                          <a:pt x="6588" y="0"/>
                        </a:cubicBezTo>
                        <a:cubicBezTo>
                          <a:pt x="10261" y="0"/>
                          <a:pt x="13175" y="1900"/>
                          <a:pt x="13175"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2" name="Полилиния: фигура 621">
                    <a:extLst>
                      <a:ext uri="{FF2B5EF4-FFF2-40B4-BE49-F238E27FC236}">
                        <a16:creationId xmlns:a16="http://schemas.microsoft.com/office/drawing/2014/main" id="{10A8B22B-2FF8-471C-8E20-D18D3B535075}"/>
                      </a:ext>
                    </a:extLst>
                  </p:cNvPr>
                  <p:cNvSpPr/>
                  <p:nvPr/>
                </p:nvSpPr>
                <p:spPr>
                  <a:xfrm>
                    <a:off x="4641856" y="2476311"/>
                    <a:ext cx="11148" cy="9627"/>
                  </a:xfrm>
                  <a:custGeom>
                    <a:avLst/>
                    <a:gdLst>
                      <a:gd name="connsiteX0" fmla="*/ 11148 w 11148"/>
                      <a:gd name="connsiteY0" fmla="*/ 4814 h 9627"/>
                      <a:gd name="connsiteX1" fmla="*/ 5574 w 11148"/>
                      <a:gd name="connsiteY1" fmla="*/ 9628 h 9627"/>
                      <a:gd name="connsiteX2" fmla="*/ 0 w 11148"/>
                      <a:gd name="connsiteY2" fmla="*/ 4814 h 9627"/>
                      <a:gd name="connsiteX3" fmla="*/ 5574 w 11148"/>
                      <a:gd name="connsiteY3" fmla="*/ 0 h 9627"/>
                      <a:gd name="connsiteX4" fmla="*/ 11148 w 11148"/>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627">
                        <a:moveTo>
                          <a:pt x="11148" y="4814"/>
                        </a:moveTo>
                        <a:cubicBezTo>
                          <a:pt x="11148" y="7474"/>
                          <a:pt x="8614" y="9628"/>
                          <a:pt x="5574" y="9628"/>
                        </a:cubicBezTo>
                        <a:cubicBezTo>
                          <a:pt x="2407" y="9628"/>
                          <a:pt x="0" y="7474"/>
                          <a:pt x="0" y="4814"/>
                        </a:cubicBezTo>
                        <a:cubicBezTo>
                          <a:pt x="0" y="2154"/>
                          <a:pt x="2534" y="0"/>
                          <a:pt x="5574" y="0"/>
                        </a:cubicBezTo>
                        <a:cubicBezTo>
                          <a:pt x="8614" y="127"/>
                          <a:pt x="11148" y="2154"/>
                          <a:pt x="11148" y="48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3" name="Полилиния: фигура 622">
                    <a:extLst>
                      <a:ext uri="{FF2B5EF4-FFF2-40B4-BE49-F238E27FC236}">
                        <a16:creationId xmlns:a16="http://schemas.microsoft.com/office/drawing/2014/main" id="{46B5D8ED-DDAB-42B1-8447-B428B73059A4}"/>
                      </a:ext>
                    </a:extLst>
                  </p:cNvPr>
                  <p:cNvSpPr/>
                  <p:nvPr/>
                </p:nvSpPr>
                <p:spPr>
                  <a:xfrm>
                    <a:off x="4620700" y="2451228"/>
                    <a:ext cx="13174" cy="11908"/>
                  </a:xfrm>
                  <a:custGeom>
                    <a:avLst/>
                    <a:gdLst>
                      <a:gd name="connsiteX0" fmla="*/ 13175 w 13174"/>
                      <a:gd name="connsiteY0" fmla="*/ 5954 h 11908"/>
                      <a:gd name="connsiteX1" fmla="*/ 6587 w 13174"/>
                      <a:gd name="connsiteY1" fmla="*/ 11908 h 11908"/>
                      <a:gd name="connsiteX2" fmla="*/ 0 w 13174"/>
                      <a:gd name="connsiteY2" fmla="*/ 5954 h 11908"/>
                      <a:gd name="connsiteX3" fmla="*/ 6587 w 13174"/>
                      <a:gd name="connsiteY3" fmla="*/ 0 h 11908"/>
                      <a:gd name="connsiteX4" fmla="*/ 13175 w 13174"/>
                      <a:gd name="connsiteY4" fmla="*/ 5954 h 11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4" h="11908">
                        <a:moveTo>
                          <a:pt x="13175" y="5954"/>
                        </a:moveTo>
                        <a:cubicBezTo>
                          <a:pt x="13175" y="9248"/>
                          <a:pt x="10261" y="11908"/>
                          <a:pt x="6587" y="11908"/>
                        </a:cubicBezTo>
                        <a:cubicBezTo>
                          <a:pt x="2913" y="11908"/>
                          <a:pt x="0" y="9248"/>
                          <a:pt x="0" y="5954"/>
                        </a:cubicBezTo>
                        <a:cubicBezTo>
                          <a:pt x="0" y="2660"/>
                          <a:pt x="2913" y="0"/>
                          <a:pt x="6587" y="0"/>
                        </a:cubicBezTo>
                        <a:cubicBezTo>
                          <a:pt x="10261" y="127"/>
                          <a:pt x="13175" y="2787"/>
                          <a:pt x="13175" y="595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4" name="Полилиния: фигура 623">
                    <a:extLst>
                      <a:ext uri="{FF2B5EF4-FFF2-40B4-BE49-F238E27FC236}">
                        <a16:creationId xmlns:a16="http://schemas.microsoft.com/office/drawing/2014/main" id="{5A112452-DEC1-4B9B-835F-3E239E4BB1E9}"/>
                      </a:ext>
                    </a:extLst>
                  </p:cNvPr>
                  <p:cNvSpPr/>
                  <p:nvPr/>
                </p:nvSpPr>
                <p:spPr>
                  <a:xfrm>
                    <a:off x="4634571" y="2364621"/>
                    <a:ext cx="149859" cy="115498"/>
                  </a:xfrm>
                  <a:custGeom>
                    <a:avLst/>
                    <a:gdLst>
                      <a:gd name="connsiteX0" fmla="*/ 7285 w 149859"/>
                      <a:gd name="connsiteY0" fmla="*/ 54556 h 115498"/>
                      <a:gd name="connsiteX1" fmla="*/ 44023 w 149859"/>
                      <a:gd name="connsiteY1" fmla="*/ 29979 h 115498"/>
                      <a:gd name="connsiteX2" fmla="*/ 75694 w 149859"/>
                      <a:gd name="connsiteY2" fmla="*/ 4263 h 115498"/>
                      <a:gd name="connsiteX3" fmla="*/ 131307 w 149859"/>
                      <a:gd name="connsiteY3" fmla="*/ 19338 h 115498"/>
                      <a:gd name="connsiteX4" fmla="*/ 139415 w 149859"/>
                      <a:gd name="connsiteY4" fmla="*/ 49995 h 115498"/>
                      <a:gd name="connsiteX5" fmla="*/ 148536 w 149859"/>
                      <a:gd name="connsiteY5" fmla="*/ 81033 h 115498"/>
                      <a:gd name="connsiteX6" fmla="*/ 144989 w 149859"/>
                      <a:gd name="connsiteY6" fmla="*/ 100542 h 115498"/>
                      <a:gd name="connsiteX7" fmla="*/ 115599 w 149859"/>
                      <a:gd name="connsiteY7" fmla="*/ 107636 h 115498"/>
                      <a:gd name="connsiteX8" fmla="*/ 104831 w 149859"/>
                      <a:gd name="connsiteY8" fmla="*/ 107256 h 115498"/>
                      <a:gd name="connsiteX9" fmla="*/ 92669 w 149859"/>
                      <a:gd name="connsiteY9" fmla="*/ 109789 h 115498"/>
                      <a:gd name="connsiteX10" fmla="*/ 68853 w 149859"/>
                      <a:gd name="connsiteY10" fmla="*/ 113590 h 115498"/>
                      <a:gd name="connsiteX11" fmla="*/ 53144 w 149859"/>
                      <a:gd name="connsiteY11" fmla="*/ 115490 h 115498"/>
                      <a:gd name="connsiteX12" fmla="*/ 34269 w 149859"/>
                      <a:gd name="connsiteY12" fmla="*/ 111310 h 115498"/>
                      <a:gd name="connsiteX13" fmla="*/ 24514 w 149859"/>
                      <a:gd name="connsiteY13" fmla="*/ 102695 h 115498"/>
                      <a:gd name="connsiteX14" fmla="*/ 7285 w 149859"/>
                      <a:gd name="connsiteY14" fmla="*/ 54556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859" h="115498">
                        <a:moveTo>
                          <a:pt x="7285" y="54556"/>
                        </a:moveTo>
                        <a:cubicBezTo>
                          <a:pt x="18306" y="44928"/>
                          <a:pt x="32368" y="38847"/>
                          <a:pt x="44023" y="29979"/>
                        </a:cubicBezTo>
                        <a:cubicBezTo>
                          <a:pt x="54791" y="21872"/>
                          <a:pt x="63912" y="10850"/>
                          <a:pt x="75694" y="4263"/>
                        </a:cubicBezTo>
                        <a:cubicBezTo>
                          <a:pt x="92669" y="-5238"/>
                          <a:pt x="121806" y="1729"/>
                          <a:pt x="131307" y="19338"/>
                        </a:cubicBezTo>
                        <a:cubicBezTo>
                          <a:pt x="136248" y="28586"/>
                          <a:pt x="137135" y="39861"/>
                          <a:pt x="139415" y="49995"/>
                        </a:cubicBezTo>
                        <a:cubicBezTo>
                          <a:pt x="141822" y="60637"/>
                          <a:pt x="145623" y="70644"/>
                          <a:pt x="148536" y="81033"/>
                        </a:cubicBezTo>
                        <a:cubicBezTo>
                          <a:pt x="150437" y="88000"/>
                          <a:pt x="151070" y="95348"/>
                          <a:pt x="144989" y="100542"/>
                        </a:cubicBezTo>
                        <a:cubicBezTo>
                          <a:pt x="137262" y="107256"/>
                          <a:pt x="125227" y="107509"/>
                          <a:pt x="115599" y="107636"/>
                        </a:cubicBezTo>
                        <a:cubicBezTo>
                          <a:pt x="111925" y="107636"/>
                          <a:pt x="108505" y="106876"/>
                          <a:pt x="104831" y="107256"/>
                        </a:cubicBezTo>
                        <a:cubicBezTo>
                          <a:pt x="100777" y="107763"/>
                          <a:pt x="96850" y="109156"/>
                          <a:pt x="92669" y="109789"/>
                        </a:cubicBezTo>
                        <a:cubicBezTo>
                          <a:pt x="84688" y="111056"/>
                          <a:pt x="76707" y="112070"/>
                          <a:pt x="68853" y="113590"/>
                        </a:cubicBezTo>
                        <a:cubicBezTo>
                          <a:pt x="63659" y="114603"/>
                          <a:pt x="58465" y="115363"/>
                          <a:pt x="53144" y="115490"/>
                        </a:cubicBezTo>
                        <a:cubicBezTo>
                          <a:pt x="47444" y="115617"/>
                          <a:pt x="39336" y="114350"/>
                          <a:pt x="34269" y="111310"/>
                        </a:cubicBezTo>
                        <a:cubicBezTo>
                          <a:pt x="30595" y="109029"/>
                          <a:pt x="28061" y="105102"/>
                          <a:pt x="24514" y="102695"/>
                        </a:cubicBezTo>
                        <a:cubicBezTo>
                          <a:pt x="10579" y="92687"/>
                          <a:pt x="-11590" y="70898"/>
                          <a:pt x="7285" y="5455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25" name="Полилиния: фигура 624">
                  <a:extLst>
                    <a:ext uri="{FF2B5EF4-FFF2-40B4-BE49-F238E27FC236}">
                      <a16:creationId xmlns:a16="http://schemas.microsoft.com/office/drawing/2014/main" id="{C48D37F7-D6B3-48C8-927B-EAC48DC81A33}"/>
                    </a:ext>
                  </a:extLst>
                </p:cNvPr>
                <p:cNvSpPr/>
                <p:nvPr/>
              </p:nvSpPr>
              <p:spPr>
                <a:xfrm>
                  <a:off x="4103836" y="2396501"/>
                  <a:ext cx="19762" cy="18748"/>
                </a:xfrm>
                <a:custGeom>
                  <a:avLst/>
                  <a:gdLst>
                    <a:gd name="connsiteX0" fmla="*/ 19762 w 19762"/>
                    <a:gd name="connsiteY0" fmla="*/ 9375 h 18748"/>
                    <a:gd name="connsiteX1" fmla="*/ 9881 w 19762"/>
                    <a:gd name="connsiteY1" fmla="*/ 18749 h 18748"/>
                    <a:gd name="connsiteX2" fmla="*/ 0 w 19762"/>
                    <a:gd name="connsiteY2" fmla="*/ 9375 h 18748"/>
                    <a:gd name="connsiteX3" fmla="*/ 9881 w 19762"/>
                    <a:gd name="connsiteY3" fmla="*/ 0 h 18748"/>
                    <a:gd name="connsiteX4" fmla="*/ 19762 w 19762"/>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2" h="18748">
                      <a:moveTo>
                        <a:pt x="19762" y="9375"/>
                      </a:moveTo>
                      <a:cubicBezTo>
                        <a:pt x="19762" y="14569"/>
                        <a:pt x="15329" y="18749"/>
                        <a:pt x="9881" y="18749"/>
                      </a:cubicBezTo>
                      <a:cubicBezTo>
                        <a:pt x="4434" y="18749"/>
                        <a:pt x="0" y="14569"/>
                        <a:pt x="0" y="9375"/>
                      </a:cubicBezTo>
                      <a:cubicBezTo>
                        <a:pt x="0" y="4181"/>
                        <a:pt x="4434" y="0"/>
                        <a:pt x="9881" y="0"/>
                      </a:cubicBezTo>
                      <a:cubicBezTo>
                        <a:pt x="15329" y="0"/>
                        <a:pt x="19762" y="4181"/>
                        <a:pt x="19762" y="937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nvGrpSpPr>
            <p:cNvPr id="626"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grpSp>
            <p:nvGrpSpPr>
              <p:cNvPr id="627" name="Рисунок 388">
                <a:extLst>
                  <a:ext uri="{FF2B5EF4-FFF2-40B4-BE49-F238E27FC236}">
                    <a16:creationId xmlns:a16="http://schemas.microsoft.com/office/drawing/2014/main" id="{1DA397FD-DC6E-439E-BB40-D0F80476817D}"/>
                  </a:ext>
                </a:extLst>
              </p:cNvPr>
              <p:cNvGrpSpPr/>
              <p:nvPr/>
            </p:nvGrpSpPr>
            <p:grpSpPr>
              <a:xfrm>
                <a:off x="3568349" y="2166826"/>
                <a:ext cx="56880" cy="44085"/>
                <a:chOff x="3568349" y="2166826"/>
                <a:chExt cx="56880" cy="44085"/>
              </a:xfrm>
              <a:solidFill>
                <a:srgbClr val="E3E8EC"/>
              </a:solidFill>
            </p:grpSpPr>
            <p:sp>
              <p:nvSpPr>
                <p:cNvPr id="628" name="Полилиния: фигура 627">
                  <a:extLst>
                    <a:ext uri="{FF2B5EF4-FFF2-40B4-BE49-F238E27FC236}">
                      <a16:creationId xmlns:a16="http://schemas.microsoft.com/office/drawing/2014/main" id="{EB9FD5D9-671A-4885-92C6-3318D313455C}"/>
                    </a:ext>
                  </a:extLst>
                </p:cNvPr>
                <p:cNvSpPr/>
                <p:nvPr/>
              </p:nvSpPr>
              <p:spPr>
                <a:xfrm>
                  <a:off x="3608507" y="2182788"/>
                  <a:ext cx="16721" cy="28123"/>
                </a:xfrm>
                <a:custGeom>
                  <a:avLst/>
                  <a:gdLst>
                    <a:gd name="connsiteX0" fmla="*/ 16722 w 16721"/>
                    <a:gd name="connsiteY0" fmla="*/ 14062 h 28123"/>
                    <a:gd name="connsiteX1" fmla="*/ 8361 w 16721"/>
                    <a:gd name="connsiteY1" fmla="*/ 28124 h 28123"/>
                    <a:gd name="connsiteX2" fmla="*/ 0 w 16721"/>
                    <a:gd name="connsiteY2" fmla="*/ 14062 h 28123"/>
                    <a:gd name="connsiteX3" fmla="*/ 8361 w 16721"/>
                    <a:gd name="connsiteY3" fmla="*/ 0 h 28123"/>
                    <a:gd name="connsiteX4" fmla="*/ 16722 w 16721"/>
                    <a:gd name="connsiteY4" fmla="*/ 14062 h 2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1" h="28123">
                      <a:moveTo>
                        <a:pt x="16722" y="14062"/>
                      </a:moveTo>
                      <a:cubicBezTo>
                        <a:pt x="16722" y="21916"/>
                        <a:pt x="12922" y="28124"/>
                        <a:pt x="8361" y="28124"/>
                      </a:cubicBezTo>
                      <a:cubicBezTo>
                        <a:pt x="3674" y="28124"/>
                        <a:pt x="0" y="21789"/>
                        <a:pt x="0" y="14062"/>
                      </a:cubicBezTo>
                      <a:cubicBezTo>
                        <a:pt x="0" y="6334"/>
                        <a:pt x="3801" y="0"/>
                        <a:pt x="8361" y="0"/>
                      </a:cubicBezTo>
                      <a:cubicBezTo>
                        <a:pt x="12922" y="0"/>
                        <a:pt x="16722" y="6207"/>
                        <a:pt x="16722" y="1406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29" name="Полилиния: фигура 628">
                  <a:extLst>
                    <a:ext uri="{FF2B5EF4-FFF2-40B4-BE49-F238E27FC236}">
                      <a16:creationId xmlns:a16="http://schemas.microsoft.com/office/drawing/2014/main" id="{FF743D37-5C5E-4062-BBD4-FCBB93EE55D0}"/>
                    </a:ext>
                  </a:extLst>
                </p:cNvPr>
                <p:cNvSpPr/>
                <p:nvPr/>
              </p:nvSpPr>
              <p:spPr>
                <a:xfrm>
                  <a:off x="3568349" y="2166826"/>
                  <a:ext cx="17735" cy="24829"/>
                </a:xfrm>
                <a:custGeom>
                  <a:avLst/>
                  <a:gdLst>
                    <a:gd name="connsiteX0" fmla="*/ 17735 w 17735"/>
                    <a:gd name="connsiteY0" fmla="*/ 12415 h 24829"/>
                    <a:gd name="connsiteX1" fmla="*/ 8868 w 17735"/>
                    <a:gd name="connsiteY1" fmla="*/ 24830 h 24829"/>
                    <a:gd name="connsiteX2" fmla="*/ 0 w 17735"/>
                    <a:gd name="connsiteY2" fmla="*/ 12415 h 24829"/>
                    <a:gd name="connsiteX3" fmla="*/ 8868 w 17735"/>
                    <a:gd name="connsiteY3" fmla="*/ 0 h 24829"/>
                    <a:gd name="connsiteX4" fmla="*/ 17735 w 17735"/>
                    <a:gd name="connsiteY4" fmla="*/ 12415 h 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4829">
                      <a:moveTo>
                        <a:pt x="17735" y="12415"/>
                      </a:moveTo>
                      <a:cubicBezTo>
                        <a:pt x="17735" y="19256"/>
                        <a:pt x="13808" y="24830"/>
                        <a:pt x="8868" y="24830"/>
                      </a:cubicBezTo>
                      <a:cubicBezTo>
                        <a:pt x="3927" y="24830"/>
                        <a:pt x="0" y="19256"/>
                        <a:pt x="0" y="12415"/>
                      </a:cubicBezTo>
                      <a:cubicBezTo>
                        <a:pt x="0" y="5574"/>
                        <a:pt x="3927" y="0"/>
                        <a:pt x="8868" y="0"/>
                      </a:cubicBezTo>
                      <a:cubicBezTo>
                        <a:pt x="13808" y="0"/>
                        <a:pt x="17735" y="5574"/>
                        <a:pt x="17735" y="1241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630"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sp>
              <p:nvSpPr>
                <p:cNvPr id="631" name="Полилиния: фигура 630">
                  <a:extLst>
                    <a:ext uri="{FF2B5EF4-FFF2-40B4-BE49-F238E27FC236}">
                      <a16:creationId xmlns:a16="http://schemas.microsoft.com/office/drawing/2014/main" id="{02D3B825-B551-4F29-B579-90A5AA6AFFBE}"/>
                    </a:ext>
                  </a:extLst>
                </p:cNvPr>
                <p:cNvSpPr/>
                <p:nvPr/>
              </p:nvSpPr>
              <p:spPr>
                <a:xfrm>
                  <a:off x="2758296" y="1636153"/>
                  <a:ext cx="963464" cy="1039683"/>
                </a:xfrm>
                <a:custGeom>
                  <a:avLst/>
                  <a:gdLst>
                    <a:gd name="connsiteX0" fmla="*/ 942816 w 963464"/>
                    <a:gd name="connsiteY0" fmla="*/ 207379 h 1039683"/>
                    <a:gd name="connsiteX1" fmla="*/ 880741 w 963464"/>
                    <a:gd name="connsiteY1" fmla="*/ 234489 h 1039683"/>
                    <a:gd name="connsiteX2" fmla="*/ 878714 w 963464"/>
                    <a:gd name="connsiteY2" fmla="*/ 181029 h 1039683"/>
                    <a:gd name="connsiteX3" fmla="*/ 891256 w 963464"/>
                    <a:gd name="connsiteY3" fmla="*/ 139477 h 1039683"/>
                    <a:gd name="connsiteX4" fmla="*/ 808912 w 963464"/>
                    <a:gd name="connsiteY4" fmla="*/ 0 h 1039683"/>
                    <a:gd name="connsiteX5" fmla="*/ 800678 w 963464"/>
                    <a:gd name="connsiteY5" fmla="*/ 6714 h 1039683"/>
                    <a:gd name="connsiteX6" fmla="*/ 783069 w 963464"/>
                    <a:gd name="connsiteY6" fmla="*/ 23436 h 1039683"/>
                    <a:gd name="connsiteX7" fmla="*/ 770147 w 963464"/>
                    <a:gd name="connsiteY7" fmla="*/ 67142 h 1039683"/>
                    <a:gd name="connsiteX8" fmla="*/ 744304 w 963464"/>
                    <a:gd name="connsiteY8" fmla="*/ 105780 h 1039683"/>
                    <a:gd name="connsiteX9" fmla="*/ 705920 w 963464"/>
                    <a:gd name="connsiteY9" fmla="*/ 126809 h 1039683"/>
                    <a:gd name="connsiteX10" fmla="*/ 642325 w 963464"/>
                    <a:gd name="connsiteY10" fmla="*/ 142518 h 1039683"/>
                    <a:gd name="connsiteX11" fmla="*/ 617115 w 963464"/>
                    <a:gd name="connsiteY11" fmla="*/ 154679 h 1039683"/>
                    <a:gd name="connsiteX12" fmla="*/ 600266 w 963464"/>
                    <a:gd name="connsiteY12" fmla="*/ 178749 h 1039683"/>
                    <a:gd name="connsiteX13" fmla="*/ 585064 w 963464"/>
                    <a:gd name="connsiteY13" fmla="*/ 183310 h 1039683"/>
                    <a:gd name="connsiteX14" fmla="*/ 571003 w 963464"/>
                    <a:gd name="connsiteY14" fmla="*/ 183183 h 1039683"/>
                    <a:gd name="connsiteX15" fmla="*/ 560108 w 963464"/>
                    <a:gd name="connsiteY15" fmla="*/ 175582 h 1039683"/>
                    <a:gd name="connsiteX16" fmla="*/ 548960 w 963464"/>
                    <a:gd name="connsiteY16" fmla="*/ 190784 h 1039683"/>
                    <a:gd name="connsiteX17" fmla="*/ 552760 w 963464"/>
                    <a:gd name="connsiteY17" fmla="*/ 227142 h 1039683"/>
                    <a:gd name="connsiteX18" fmla="*/ 529071 w 963464"/>
                    <a:gd name="connsiteY18" fmla="*/ 261726 h 1039683"/>
                    <a:gd name="connsiteX19" fmla="*/ 481438 w 963464"/>
                    <a:gd name="connsiteY19" fmla="*/ 267427 h 1039683"/>
                    <a:gd name="connsiteX20" fmla="*/ 475231 w 963464"/>
                    <a:gd name="connsiteY20" fmla="*/ 315693 h 1039683"/>
                    <a:gd name="connsiteX21" fmla="*/ 416577 w 963464"/>
                    <a:gd name="connsiteY21" fmla="*/ 323420 h 1039683"/>
                    <a:gd name="connsiteX22" fmla="*/ 385919 w 963464"/>
                    <a:gd name="connsiteY22" fmla="*/ 356865 h 1039683"/>
                    <a:gd name="connsiteX23" fmla="*/ 380979 w 963464"/>
                    <a:gd name="connsiteY23" fmla="*/ 433634 h 1039683"/>
                    <a:gd name="connsiteX24" fmla="*/ 346268 w 963464"/>
                    <a:gd name="connsiteY24" fmla="*/ 496849 h 1039683"/>
                    <a:gd name="connsiteX25" fmla="*/ 259744 w 963464"/>
                    <a:gd name="connsiteY25" fmla="*/ 516611 h 1039683"/>
                    <a:gd name="connsiteX26" fmla="*/ 161818 w 963464"/>
                    <a:gd name="connsiteY26" fmla="*/ 507110 h 1039683"/>
                    <a:gd name="connsiteX27" fmla="*/ 124447 w 963464"/>
                    <a:gd name="connsiteY27" fmla="*/ 502043 h 1039683"/>
                    <a:gd name="connsiteX28" fmla="*/ 37289 w 963464"/>
                    <a:gd name="connsiteY28" fmla="*/ 482787 h 1039683"/>
                    <a:gd name="connsiteX29" fmla="*/ 1311 w 963464"/>
                    <a:gd name="connsiteY29" fmla="*/ 478607 h 1039683"/>
                    <a:gd name="connsiteX30" fmla="*/ 14233 w 963464"/>
                    <a:gd name="connsiteY30" fmla="*/ 547268 h 1039683"/>
                    <a:gd name="connsiteX31" fmla="*/ 42990 w 963464"/>
                    <a:gd name="connsiteY31" fmla="*/ 543341 h 1039683"/>
                    <a:gd name="connsiteX32" fmla="*/ 115959 w 963464"/>
                    <a:gd name="connsiteY32" fmla="*/ 549802 h 1039683"/>
                    <a:gd name="connsiteX33" fmla="*/ 135468 w 963464"/>
                    <a:gd name="connsiteY33" fmla="*/ 578306 h 1039683"/>
                    <a:gd name="connsiteX34" fmla="*/ 148770 w 963464"/>
                    <a:gd name="connsiteY34" fmla="*/ 611243 h 1039683"/>
                    <a:gd name="connsiteX35" fmla="*/ 136228 w 963464"/>
                    <a:gd name="connsiteY35" fmla="*/ 644561 h 1039683"/>
                    <a:gd name="connsiteX36" fmla="*/ 117353 w 963464"/>
                    <a:gd name="connsiteY36" fmla="*/ 679905 h 1039683"/>
                    <a:gd name="connsiteX37" fmla="*/ 113172 w 963464"/>
                    <a:gd name="connsiteY37" fmla="*/ 714109 h 1039683"/>
                    <a:gd name="connsiteX38" fmla="*/ 94676 w 963464"/>
                    <a:gd name="connsiteY38" fmla="*/ 752621 h 1039683"/>
                    <a:gd name="connsiteX39" fmla="*/ 40456 w 963464"/>
                    <a:gd name="connsiteY39" fmla="*/ 802914 h 1039683"/>
                    <a:gd name="connsiteX40" fmla="*/ 35009 w 963464"/>
                    <a:gd name="connsiteY40" fmla="*/ 802660 h 1039683"/>
                    <a:gd name="connsiteX41" fmla="*/ 39950 w 963464"/>
                    <a:gd name="connsiteY41" fmla="*/ 813808 h 1039683"/>
                    <a:gd name="connsiteX42" fmla="*/ 92143 w 963464"/>
                    <a:gd name="connsiteY42" fmla="*/ 821789 h 1039683"/>
                    <a:gd name="connsiteX43" fmla="*/ 108611 w 963464"/>
                    <a:gd name="connsiteY43" fmla="*/ 776184 h 1039683"/>
                    <a:gd name="connsiteX44" fmla="*/ 154091 w 963464"/>
                    <a:gd name="connsiteY44" fmla="*/ 813175 h 1039683"/>
                    <a:gd name="connsiteX45" fmla="*/ 175880 w 963464"/>
                    <a:gd name="connsiteY45" fmla="*/ 766302 h 1039683"/>
                    <a:gd name="connsiteX46" fmla="*/ 204257 w 963464"/>
                    <a:gd name="connsiteY46" fmla="*/ 842819 h 1039683"/>
                    <a:gd name="connsiteX47" fmla="*/ 258984 w 963464"/>
                    <a:gd name="connsiteY47" fmla="*/ 891718 h 1039683"/>
                    <a:gd name="connsiteX48" fmla="*/ 259744 w 963464"/>
                    <a:gd name="connsiteY48" fmla="*/ 947965 h 1039683"/>
                    <a:gd name="connsiteX49" fmla="*/ 268992 w 963464"/>
                    <a:gd name="connsiteY49" fmla="*/ 945685 h 1039683"/>
                    <a:gd name="connsiteX50" fmla="*/ 292174 w 963464"/>
                    <a:gd name="connsiteY50" fmla="*/ 901853 h 1039683"/>
                    <a:gd name="connsiteX51" fmla="*/ 279633 w 963464"/>
                    <a:gd name="connsiteY51" fmla="*/ 835598 h 1039683"/>
                    <a:gd name="connsiteX52" fmla="*/ 316624 w 963464"/>
                    <a:gd name="connsiteY52" fmla="*/ 798353 h 1039683"/>
                    <a:gd name="connsiteX53" fmla="*/ 343481 w 963464"/>
                    <a:gd name="connsiteY53" fmla="*/ 759588 h 1039683"/>
                    <a:gd name="connsiteX54" fmla="*/ 350448 w 963464"/>
                    <a:gd name="connsiteY54" fmla="*/ 786318 h 1039683"/>
                    <a:gd name="connsiteX55" fmla="*/ 366410 w 963464"/>
                    <a:gd name="connsiteY55" fmla="*/ 769850 h 1039683"/>
                    <a:gd name="connsiteX56" fmla="*/ 397448 w 963464"/>
                    <a:gd name="connsiteY56" fmla="*/ 750467 h 1039683"/>
                    <a:gd name="connsiteX57" fmla="*/ 412776 w 963464"/>
                    <a:gd name="connsiteY57" fmla="*/ 751481 h 1039683"/>
                    <a:gd name="connsiteX58" fmla="*/ 380219 w 963464"/>
                    <a:gd name="connsiteY58" fmla="*/ 800633 h 1039683"/>
                    <a:gd name="connsiteX59" fmla="*/ 369831 w 963464"/>
                    <a:gd name="connsiteY59" fmla="*/ 819762 h 1039683"/>
                    <a:gd name="connsiteX60" fmla="*/ 394027 w 963464"/>
                    <a:gd name="connsiteY60" fmla="*/ 815835 h 1039683"/>
                    <a:gd name="connsiteX61" fmla="*/ 424684 w 963464"/>
                    <a:gd name="connsiteY61" fmla="*/ 823690 h 1039683"/>
                    <a:gd name="connsiteX62" fmla="*/ 439759 w 963464"/>
                    <a:gd name="connsiteY62" fmla="*/ 755788 h 1039683"/>
                    <a:gd name="connsiteX63" fmla="*/ 459902 w 963464"/>
                    <a:gd name="connsiteY63" fmla="*/ 711956 h 1039683"/>
                    <a:gd name="connsiteX64" fmla="*/ 470923 w 963464"/>
                    <a:gd name="connsiteY64" fmla="*/ 785305 h 1039683"/>
                    <a:gd name="connsiteX65" fmla="*/ 461422 w 963464"/>
                    <a:gd name="connsiteY65" fmla="*/ 837878 h 1039683"/>
                    <a:gd name="connsiteX66" fmla="*/ 412523 w 963464"/>
                    <a:gd name="connsiteY66" fmla="*/ 867015 h 1039683"/>
                    <a:gd name="connsiteX67" fmla="*/ 386680 w 963464"/>
                    <a:gd name="connsiteY67" fmla="*/ 907300 h 1039683"/>
                    <a:gd name="connsiteX68" fmla="*/ 357923 w 963464"/>
                    <a:gd name="connsiteY68" fmla="*/ 942518 h 1039683"/>
                    <a:gd name="connsiteX69" fmla="*/ 346395 w 963464"/>
                    <a:gd name="connsiteY69" fmla="*/ 961647 h 1039683"/>
                    <a:gd name="connsiteX70" fmla="*/ 395167 w 963464"/>
                    <a:gd name="connsiteY70" fmla="*/ 1039683 h 1039683"/>
                    <a:gd name="connsiteX71" fmla="*/ 467376 w 963464"/>
                    <a:gd name="connsiteY71" fmla="*/ 1013967 h 1039683"/>
                    <a:gd name="connsiteX72" fmla="*/ 502594 w 963464"/>
                    <a:gd name="connsiteY72" fmla="*/ 958987 h 1039683"/>
                    <a:gd name="connsiteX73" fmla="*/ 569862 w 963464"/>
                    <a:gd name="connsiteY73" fmla="*/ 912494 h 1039683"/>
                    <a:gd name="connsiteX74" fmla="*/ 559475 w 963464"/>
                    <a:gd name="connsiteY74" fmla="*/ 875883 h 1039683"/>
                    <a:gd name="connsiteX75" fmla="*/ 534771 w 963464"/>
                    <a:gd name="connsiteY75" fmla="*/ 823943 h 1039683"/>
                    <a:gd name="connsiteX76" fmla="*/ 580757 w 963464"/>
                    <a:gd name="connsiteY76" fmla="*/ 757561 h 1039683"/>
                    <a:gd name="connsiteX77" fmla="*/ 604067 w 963464"/>
                    <a:gd name="connsiteY77" fmla="*/ 728805 h 1039683"/>
                    <a:gd name="connsiteX78" fmla="*/ 621929 w 963464"/>
                    <a:gd name="connsiteY78" fmla="*/ 703595 h 1039683"/>
                    <a:gd name="connsiteX79" fmla="*/ 704653 w 963464"/>
                    <a:gd name="connsiteY79" fmla="*/ 717023 h 1039683"/>
                    <a:gd name="connsiteX80" fmla="*/ 703893 w 963464"/>
                    <a:gd name="connsiteY80" fmla="*/ 716263 h 1039683"/>
                    <a:gd name="connsiteX81" fmla="*/ 695405 w 963464"/>
                    <a:gd name="connsiteY81" fmla="*/ 696120 h 1039683"/>
                    <a:gd name="connsiteX82" fmla="*/ 716054 w 963464"/>
                    <a:gd name="connsiteY82" fmla="*/ 673571 h 1039683"/>
                    <a:gd name="connsiteX83" fmla="*/ 719728 w 963464"/>
                    <a:gd name="connsiteY83" fmla="*/ 619857 h 1039683"/>
                    <a:gd name="connsiteX84" fmla="*/ 711240 w 963464"/>
                    <a:gd name="connsiteY84" fmla="*/ 596421 h 1039683"/>
                    <a:gd name="connsiteX85" fmla="*/ 716434 w 963464"/>
                    <a:gd name="connsiteY85" fmla="*/ 568171 h 1039683"/>
                    <a:gd name="connsiteX86" fmla="*/ 724795 w 963464"/>
                    <a:gd name="connsiteY86" fmla="*/ 544101 h 1039683"/>
                    <a:gd name="connsiteX87" fmla="*/ 758620 w 963464"/>
                    <a:gd name="connsiteY87" fmla="*/ 534727 h 1039683"/>
                    <a:gd name="connsiteX88" fmla="*/ 799031 w 963464"/>
                    <a:gd name="connsiteY88" fmla="*/ 495075 h 1039683"/>
                    <a:gd name="connsiteX89" fmla="*/ 821961 w 963464"/>
                    <a:gd name="connsiteY89" fmla="*/ 449723 h 1039683"/>
                    <a:gd name="connsiteX90" fmla="*/ 855278 w 963464"/>
                    <a:gd name="connsiteY90" fmla="*/ 455930 h 1039683"/>
                    <a:gd name="connsiteX91" fmla="*/ 874787 w 963464"/>
                    <a:gd name="connsiteY91" fmla="*/ 441108 h 1039683"/>
                    <a:gd name="connsiteX92" fmla="*/ 913932 w 963464"/>
                    <a:gd name="connsiteY92" fmla="*/ 415012 h 1039683"/>
                    <a:gd name="connsiteX93" fmla="*/ 930781 w 963464"/>
                    <a:gd name="connsiteY93" fmla="*/ 297450 h 1039683"/>
                    <a:gd name="connsiteX94" fmla="*/ 960805 w 963464"/>
                    <a:gd name="connsiteY94" fmla="*/ 237783 h 1039683"/>
                    <a:gd name="connsiteX95" fmla="*/ 963465 w 963464"/>
                    <a:gd name="connsiteY95" fmla="*/ 227268 h 1039683"/>
                    <a:gd name="connsiteX96" fmla="*/ 942816 w 963464"/>
                    <a:gd name="connsiteY96" fmla="*/ 207379 h 1039683"/>
                    <a:gd name="connsiteX97" fmla="*/ 613061 w 963464"/>
                    <a:gd name="connsiteY97" fmla="*/ 631386 h 1039683"/>
                    <a:gd name="connsiteX98" fmla="*/ 590765 w 963464"/>
                    <a:gd name="connsiteY98" fmla="*/ 651021 h 1039683"/>
                    <a:gd name="connsiteX99" fmla="*/ 585951 w 963464"/>
                    <a:gd name="connsiteY99" fmla="*/ 683579 h 1039683"/>
                    <a:gd name="connsiteX100" fmla="*/ 579490 w 963464"/>
                    <a:gd name="connsiteY100" fmla="*/ 705748 h 1039683"/>
                    <a:gd name="connsiteX101" fmla="*/ 561628 w 963464"/>
                    <a:gd name="connsiteY101" fmla="*/ 695107 h 1039683"/>
                    <a:gd name="connsiteX102" fmla="*/ 557194 w 963464"/>
                    <a:gd name="connsiteY102" fmla="*/ 668630 h 1039683"/>
                    <a:gd name="connsiteX103" fmla="*/ 556434 w 963464"/>
                    <a:gd name="connsiteY103" fmla="*/ 645447 h 1039683"/>
                    <a:gd name="connsiteX104" fmla="*/ 574170 w 963464"/>
                    <a:gd name="connsiteY104" fmla="*/ 624671 h 1039683"/>
                    <a:gd name="connsiteX105" fmla="*/ 585951 w 963464"/>
                    <a:gd name="connsiteY105" fmla="*/ 601109 h 1039683"/>
                    <a:gd name="connsiteX106" fmla="*/ 612301 w 963464"/>
                    <a:gd name="connsiteY106" fmla="*/ 600982 h 1039683"/>
                    <a:gd name="connsiteX107" fmla="*/ 613061 w 963464"/>
                    <a:gd name="connsiteY107" fmla="*/ 631386 h 103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63464" h="1039683">
                      <a:moveTo>
                        <a:pt x="942816" y="207379"/>
                      </a:moveTo>
                      <a:cubicBezTo>
                        <a:pt x="927614" y="221188"/>
                        <a:pt x="893916" y="250958"/>
                        <a:pt x="880741" y="234489"/>
                      </a:cubicBezTo>
                      <a:cubicBezTo>
                        <a:pt x="867566" y="218021"/>
                        <a:pt x="858952" y="193571"/>
                        <a:pt x="878714" y="181029"/>
                      </a:cubicBezTo>
                      <a:cubicBezTo>
                        <a:pt x="898477" y="168488"/>
                        <a:pt x="899870" y="152652"/>
                        <a:pt x="891256" y="139477"/>
                      </a:cubicBezTo>
                      <a:cubicBezTo>
                        <a:pt x="884795" y="129470"/>
                        <a:pt x="833742" y="42312"/>
                        <a:pt x="808912" y="0"/>
                      </a:cubicBezTo>
                      <a:cubicBezTo>
                        <a:pt x="806252" y="2407"/>
                        <a:pt x="803592" y="4561"/>
                        <a:pt x="800678" y="6714"/>
                      </a:cubicBezTo>
                      <a:cubicBezTo>
                        <a:pt x="793837" y="11908"/>
                        <a:pt x="788010" y="16469"/>
                        <a:pt x="783069" y="23436"/>
                      </a:cubicBezTo>
                      <a:cubicBezTo>
                        <a:pt x="773188" y="37371"/>
                        <a:pt x="772301" y="50926"/>
                        <a:pt x="770147" y="67142"/>
                      </a:cubicBezTo>
                      <a:cubicBezTo>
                        <a:pt x="767867" y="83737"/>
                        <a:pt x="754819" y="94252"/>
                        <a:pt x="744304" y="105780"/>
                      </a:cubicBezTo>
                      <a:cubicBezTo>
                        <a:pt x="733156" y="118068"/>
                        <a:pt x="722895" y="125162"/>
                        <a:pt x="705920" y="126809"/>
                      </a:cubicBezTo>
                      <a:cubicBezTo>
                        <a:pt x="680456" y="129343"/>
                        <a:pt x="661074" y="120728"/>
                        <a:pt x="642325" y="142518"/>
                      </a:cubicBezTo>
                      <a:cubicBezTo>
                        <a:pt x="634344" y="151766"/>
                        <a:pt x="626490" y="148979"/>
                        <a:pt x="617115" y="154679"/>
                      </a:cubicBezTo>
                      <a:cubicBezTo>
                        <a:pt x="607107" y="160760"/>
                        <a:pt x="608374" y="173175"/>
                        <a:pt x="600266" y="178749"/>
                      </a:cubicBezTo>
                      <a:cubicBezTo>
                        <a:pt x="596212" y="181536"/>
                        <a:pt x="589878" y="182930"/>
                        <a:pt x="585064" y="183310"/>
                      </a:cubicBezTo>
                      <a:cubicBezTo>
                        <a:pt x="581011" y="183690"/>
                        <a:pt x="575056" y="184070"/>
                        <a:pt x="571003" y="183183"/>
                      </a:cubicBezTo>
                      <a:cubicBezTo>
                        <a:pt x="565175" y="182043"/>
                        <a:pt x="564668" y="177989"/>
                        <a:pt x="560108" y="175582"/>
                      </a:cubicBezTo>
                      <a:cubicBezTo>
                        <a:pt x="546933" y="168614"/>
                        <a:pt x="548326" y="181789"/>
                        <a:pt x="548960" y="190784"/>
                      </a:cubicBezTo>
                      <a:cubicBezTo>
                        <a:pt x="549847" y="202945"/>
                        <a:pt x="551494" y="214980"/>
                        <a:pt x="552760" y="227142"/>
                      </a:cubicBezTo>
                      <a:cubicBezTo>
                        <a:pt x="554534" y="244244"/>
                        <a:pt x="549340" y="262106"/>
                        <a:pt x="529071" y="261726"/>
                      </a:cubicBezTo>
                      <a:cubicBezTo>
                        <a:pt x="513869" y="261473"/>
                        <a:pt x="490179" y="247158"/>
                        <a:pt x="481438" y="267427"/>
                      </a:cubicBezTo>
                      <a:cubicBezTo>
                        <a:pt x="474217" y="284149"/>
                        <a:pt x="493219" y="302264"/>
                        <a:pt x="475231" y="315693"/>
                      </a:cubicBezTo>
                      <a:cubicBezTo>
                        <a:pt x="458255" y="328361"/>
                        <a:pt x="435832" y="321520"/>
                        <a:pt x="416577" y="323420"/>
                      </a:cubicBezTo>
                      <a:cubicBezTo>
                        <a:pt x="396434" y="325574"/>
                        <a:pt x="392380" y="340269"/>
                        <a:pt x="385919" y="356865"/>
                      </a:cubicBezTo>
                      <a:cubicBezTo>
                        <a:pt x="376038" y="382455"/>
                        <a:pt x="383766" y="406904"/>
                        <a:pt x="380979" y="433634"/>
                      </a:cubicBezTo>
                      <a:cubicBezTo>
                        <a:pt x="378319" y="458464"/>
                        <a:pt x="367550" y="482787"/>
                        <a:pt x="346268" y="496849"/>
                      </a:cubicBezTo>
                      <a:cubicBezTo>
                        <a:pt x="320298" y="514078"/>
                        <a:pt x="290021" y="517118"/>
                        <a:pt x="259744" y="516611"/>
                      </a:cubicBezTo>
                      <a:cubicBezTo>
                        <a:pt x="226046" y="515978"/>
                        <a:pt x="194882" y="511164"/>
                        <a:pt x="161818" y="507110"/>
                      </a:cubicBezTo>
                      <a:cubicBezTo>
                        <a:pt x="149150" y="505590"/>
                        <a:pt x="136862" y="505336"/>
                        <a:pt x="124447" y="502043"/>
                      </a:cubicBezTo>
                      <a:cubicBezTo>
                        <a:pt x="95056" y="494062"/>
                        <a:pt x="67440" y="487474"/>
                        <a:pt x="37289" y="482787"/>
                      </a:cubicBezTo>
                      <a:cubicBezTo>
                        <a:pt x="25508" y="480887"/>
                        <a:pt x="13346" y="479747"/>
                        <a:pt x="1311" y="478607"/>
                      </a:cubicBezTo>
                      <a:cubicBezTo>
                        <a:pt x="-1096" y="495202"/>
                        <a:pt x="-1856" y="523325"/>
                        <a:pt x="14233" y="547268"/>
                      </a:cubicBezTo>
                      <a:cubicBezTo>
                        <a:pt x="22341" y="542961"/>
                        <a:pt x="35516" y="543848"/>
                        <a:pt x="42990" y="543341"/>
                      </a:cubicBezTo>
                      <a:cubicBezTo>
                        <a:pt x="68580" y="541188"/>
                        <a:pt x="93663" y="531940"/>
                        <a:pt x="115959" y="549802"/>
                      </a:cubicBezTo>
                      <a:cubicBezTo>
                        <a:pt x="125334" y="557276"/>
                        <a:pt x="130528" y="567538"/>
                        <a:pt x="135468" y="578306"/>
                      </a:cubicBezTo>
                      <a:cubicBezTo>
                        <a:pt x="140282" y="588820"/>
                        <a:pt x="146743" y="599715"/>
                        <a:pt x="148770" y="611243"/>
                      </a:cubicBezTo>
                      <a:cubicBezTo>
                        <a:pt x="151177" y="624545"/>
                        <a:pt x="144083" y="634679"/>
                        <a:pt x="136228" y="644561"/>
                      </a:cubicBezTo>
                      <a:cubicBezTo>
                        <a:pt x="127614" y="655329"/>
                        <a:pt x="119633" y="665843"/>
                        <a:pt x="117353" y="679905"/>
                      </a:cubicBezTo>
                      <a:cubicBezTo>
                        <a:pt x="115579" y="691306"/>
                        <a:pt x="116846" y="702835"/>
                        <a:pt x="113172" y="714109"/>
                      </a:cubicBezTo>
                      <a:cubicBezTo>
                        <a:pt x="108865" y="727538"/>
                        <a:pt x="101011" y="740079"/>
                        <a:pt x="94676" y="752621"/>
                      </a:cubicBezTo>
                      <a:cubicBezTo>
                        <a:pt x="83022" y="775804"/>
                        <a:pt x="70733" y="804814"/>
                        <a:pt x="40456" y="802914"/>
                      </a:cubicBezTo>
                      <a:cubicBezTo>
                        <a:pt x="38556" y="802787"/>
                        <a:pt x="36782" y="802787"/>
                        <a:pt x="35009" y="802660"/>
                      </a:cubicBezTo>
                      <a:cubicBezTo>
                        <a:pt x="36022" y="808488"/>
                        <a:pt x="37669" y="812415"/>
                        <a:pt x="39950" y="813808"/>
                      </a:cubicBezTo>
                      <a:cubicBezTo>
                        <a:pt x="61105" y="826350"/>
                        <a:pt x="92776" y="852700"/>
                        <a:pt x="92143" y="821789"/>
                      </a:cubicBezTo>
                      <a:cubicBezTo>
                        <a:pt x="91509" y="790752"/>
                        <a:pt x="95437" y="768963"/>
                        <a:pt x="108611" y="776184"/>
                      </a:cubicBezTo>
                      <a:cubicBezTo>
                        <a:pt x="121786" y="783405"/>
                        <a:pt x="144969" y="834964"/>
                        <a:pt x="154091" y="813175"/>
                      </a:cubicBezTo>
                      <a:cubicBezTo>
                        <a:pt x="163338" y="791385"/>
                        <a:pt x="162071" y="743880"/>
                        <a:pt x="175880" y="766302"/>
                      </a:cubicBezTo>
                      <a:cubicBezTo>
                        <a:pt x="189688" y="788725"/>
                        <a:pt x="179174" y="828377"/>
                        <a:pt x="204257" y="842819"/>
                      </a:cubicBezTo>
                      <a:cubicBezTo>
                        <a:pt x="229340" y="857387"/>
                        <a:pt x="257717" y="863975"/>
                        <a:pt x="258984" y="891718"/>
                      </a:cubicBezTo>
                      <a:cubicBezTo>
                        <a:pt x="259870" y="909327"/>
                        <a:pt x="261264" y="934030"/>
                        <a:pt x="259744" y="947965"/>
                      </a:cubicBezTo>
                      <a:cubicBezTo>
                        <a:pt x="262404" y="947965"/>
                        <a:pt x="265571" y="947332"/>
                        <a:pt x="268992" y="945685"/>
                      </a:cubicBezTo>
                      <a:cubicBezTo>
                        <a:pt x="284193" y="938717"/>
                        <a:pt x="297495" y="918575"/>
                        <a:pt x="292174" y="901853"/>
                      </a:cubicBezTo>
                      <a:cubicBezTo>
                        <a:pt x="285080" y="879430"/>
                        <a:pt x="274439" y="860428"/>
                        <a:pt x="279633" y="835598"/>
                      </a:cubicBezTo>
                      <a:cubicBezTo>
                        <a:pt x="284447" y="812922"/>
                        <a:pt x="303576" y="813682"/>
                        <a:pt x="316624" y="798353"/>
                      </a:cubicBezTo>
                      <a:cubicBezTo>
                        <a:pt x="326759" y="786445"/>
                        <a:pt x="326885" y="762249"/>
                        <a:pt x="343481" y="759588"/>
                      </a:cubicBezTo>
                      <a:cubicBezTo>
                        <a:pt x="344494" y="766809"/>
                        <a:pt x="333726" y="793792"/>
                        <a:pt x="350448" y="786318"/>
                      </a:cubicBezTo>
                      <a:cubicBezTo>
                        <a:pt x="356403" y="783658"/>
                        <a:pt x="361850" y="774410"/>
                        <a:pt x="366410" y="769850"/>
                      </a:cubicBezTo>
                      <a:cubicBezTo>
                        <a:pt x="375278" y="760855"/>
                        <a:pt x="386300" y="755534"/>
                        <a:pt x="397448" y="750467"/>
                      </a:cubicBezTo>
                      <a:cubicBezTo>
                        <a:pt x="404162" y="747427"/>
                        <a:pt x="420250" y="735772"/>
                        <a:pt x="412776" y="751481"/>
                      </a:cubicBezTo>
                      <a:cubicBezTo>
                        <a:pt x="404415" y="768963"/>
                        <a:pt x="391493" y="785051"/>
                        <a:pt x="380219" y="800633"/>
                      </a:cubicBezTo>
                      <a:cubicBezTo>
                        <a:pt x="377558" y="804434"/>
                        <a:pt x="364890" y="817989"/>
                        <a:pt x="369831" y="819762"/>
                      </a:cubicBezTo>
                      <a:cubicBezTo>
                        <a:pt x="375152" y="821789"/>
                        <a:pt x="386553" y="813808"/>
                        <a:pt x="394027" y="815835"/>
                      </a:cubicBezTo>
                      <a:cubicBezTo>
                        <a:pt x="409482" y="820142"/>
                        <a:pt x="410243" y="844085"/>
                        <a:pt x="424684" y="823690"/>
                      </a:cubicBezTo>
                      <a:cubicBezTo>
                        <a:pt x="439759" y="802280"/>
                        <a:pt x="444067" y="780998"/>
                        <a:pt x="439759" y="755788"/>
                      </a:cubicBezTo>
                      <a:cubicBezTo>
                        <a:pt x="437986" y="745653"/>
                        <a:pt x="438366" y="700301"/>
                        <a:pt x="459902" y="711956"/>
                      </a:cubicBezTo>
                      <a:cubicBezTo>
                        <a:pt x="478651" y="722217"/>
                        <a:pt x="471684" y="768329"/>
                        <a:pt x="470923" y="785305"/>
                      </a:cubicBezTo>
                      <a:cubicBezTo>
                        <a:pt x="470163" y="802407"/>
                        <a:pt x="471430" y="822930"/>
                        <a:pt x="461422" y="837878"/>
                      </a:cubicBezTo>
                      <a:cubicBezTo>
                        <a:pt x="450401" y="854347"/>
                        <a:pt x="428485" y="857134"/>
                        <a:pt x="412523" y="867015"/>
                      </a:cubicBezTo>
                      <a:cubicBezTo>
                        <a:pt x="395927" y="877276"/>
                        <a:pt x="393394" y="890578"/>
                        <a:pt x="386680" y="907300"/>
                      </a:cubicBezTo>
                      <a:cubicBezTo>
                        <a:pt x="380599" y="922375"/>
                        <a:pt x="367677" y="930230"/>
                        <a:pt x="357923" y="942518"/>
                      </a:cubicBezTo>
                      <a:cubicBezTo>
                        <a:pt x="353362" y="948345"/>
                        <a:pt x="350068" y="955186"/>
                        <a:pt x="346395" y="961647"/>
                      </a:cubicBezTo>
                      <a:cubicBezTo>
                        <a:pt x="364130" y="974949"/>
                        <a:pt x="396434" y="1004086"/>
                        <a:pt x="395167" y="1039683"/>
                      </a:cubicBezTo>
                      <a:cubicBezTo>
                        <a:pt x="396941" y="1039683"/>
                        <a:pt x="444447" y="1039683"/>
                        <a:pt x="467376" y="1013967"/>
                      </a:cubicBezTo>
                      <a:cubicBezTo>
                        <a:pt x="490686" y="987743"/>
                        <a:pt x="492079" y="968868"/>
                        <a:pt x="502594" y="958987"/>
                      </a:cubicBezTo>
                      <a:cubicBezTo>
                        <a:pt x="512982" y="949105"/>
                        <a:pt x="561501" y="932257"/>
                        <a:pt x="569862" y="912494"/>
                      </a:cubicBezTo>
                      <a:cubicBezTo>
                        <a:pt x="578224" y="892731"/>
                        <a:pt x="579237" y="885257"/>
                        <a:pt x="559475" y="875883"/>
                      </a:cubicBezTo>
                      <a:cubicBezTo>
                        <a:pt x="539712" y="866508"/>
                        <a:pt x="519823" y="851686"/>
                        <a:pt x="534771" y="823943"/>
                      </a:cubicBezTo>
                      <a:cubicBezTo>
                        <a:pt x="549593" y="796199"/>
                        <a:pt x="564415" y="774410"/>
                        <a:pt x="580757" y="757561"/>
                      </a:cubicBezTo>
                      <a:cubicBezTo>
                        <a:pt x="597099" y="740713"/>
                        <a:pt x="599126" y="744260"/>
                        <a:pt x="604067" y="728805"/>
                      </a:cubicBezTo>
                      <a:cubicBezTo>
                        <a:pt x="609007" y="713476"/>
                        <a:pt x="611921" y="689153"/>
                        <a:pt x="621929" y="703595"/>
                      </a:cubicBezTo>
                      <a:cubicBezTo>
                        <a:pt x="631177" y="717023"/>
                        <a:pt x="660821" y="763009"/>
                        <a:pt x="704653" y="717023"/>
                      </a:cubicBezTo>
                      <a:cubicBezTo>
                        <a:pt x="704399" y="716770"/>
                        <a:pt x="704146" y="716516"/>
                        <a:pt x="703893" y="716263"/>
                      </a:cubicBezTo>
                      <a:cubicBezTo>
                        <a:pt x="697178" y="710055"/>
                        <a:pt x="689577" y="705622"/>
                        <a:pt x="695405" y="696120"/>
                      </a:cubicBezTo>
                      <a:cubicBezTo>
                        <a:pt x="700852" y="687379"/>
                        <a:pt x="711240" y="683199"/>
                        <a:pt x="716054" y="673571"/>
                      </a:cubicBezTo>
                      <a:cubicBezTo>
                        <a:pt x="723908" y="657609"/>
                        <a:pt x="729229" y="635439"/>
                        <a:pt x="719728" y="619857"/>
                      </a:cubicBezTo>
                      <a:cubicBezTo>
                        <a:pt x="714914" y="612003"/>
                        <a:pt x="708960" y="606049"/>
                        <a:pt x="711240" y="596421"/>
                      </a:cubicBezTo>
                      <a:cubicBezTo>
                        <a:pt x="713520" y="586160"/>
                        <a:pt x="717194" y="579319"/>
                        <a:pt x="716434" y="568171"/>
                      </a:cubicBezTo>
                      <a:cubicBezTo>
                        <a:pt x="715801" y="557783"/>
                        <a:pt x="713901" y="549042"/>
                        <a:pt x="724795" y="544101"/>
                      </a:cubicBezTo>
                      <a:cubicBezTo>
                        <a:pt x="735310" y="539287"/>
                        <a:pt x="747851" y="539161"/>
                        <a:pt x="758620" y="534727"/>
                      </a:cubicBezTo>
                      <a:cubicBezTo>
                        <a:pt x="776862" y="527253"/>
                        <a:pt x="796371" y="516485"/>
                        <a:pt x="799031" y="495075"/>
                      </a:cubicBezTo>
                      <a:cubicBezTo>
                        <a:pt x="801058" y="478860"/>
                        <a:pt x="796497" y="446809"/>
                        <a:pt x="821961" y="449723"/>
                      </a:cubicBezTo>
                      <a:cubicBezTo>
                        <a:pt x="832982" y="450990"/>
                        <a:pt x="843877" y="458844"/>
                        <a:pt x="855278" y="455930"/>
                      </a:cubicBezTo>
                      <a:cubicBezTo>
                        <a:pt x="864019" y="453777"/>
                        <a:pt x="867566" y="445542"/>
                        <a:pt x="874787" y="441108"/>
                      </a:cubicBezTo>
                      <a:cubicBezTo>
                        <a:pt x="890876" y="431227"/>
                        <a:pt x="907091" y="437181"/>
                        <a:pt x="913932" y="415012"/>
                      </a:cubicBezTo>
                      <a:cubicBezTo>
                        <a:pt x="925587" y="377007"/>
                        <a:pt x="909878" y="333175"/>
                        <a:pt x="930781" y="297450"/>
                      </a:cubicBezTo>
                      <a:cubicBezTo>
                        <a:pt x="942562" y="277308"/>
                        <a:pt x="954851" y="260713"/>
                        <a:pt x="960805" y="237783"/>
                      </a:cubicBezTo>
                      <a:cubicBezTo>
                        <a:pt x="961692" y="234236"/>
                        <a:pt x="962578" y="230689"/>
                        <a:pt x="963465" y="227268"/>
                      </a:cubicBezTo>
                      <a:cubicBezTo>
                        <a:pt x="956878" y="212447"/>
                        <a:pt x="949403" y="201425"/>
                        <a:pt x="942816" y="207379"/>
                      </a:cubicBezTo>
                      <a:close/>
                      <a:moveTo>
                        <a:pt x="613061" y="631386"/>
                      </a:moveTo>
                      <a:cubicBezTo>
                        <a:pt x="607234" y="642027"/>
                        <a:pt x="600773" y="645447"/>
                        <a:pt x="590765" y="651021"/>
                      </a:cubicBezTo>
                      <a:cubicBezTo>
                        <a:pt x="577970" y="658116"/>
                        <a:pt x="583291" y="671544"/>
                        <a:pt x="585951" y="683579"/>
                      </a:cubicBezTo>
                      <a:cubicBezTo>
                        <a:pt x="587978" y="692573"/>
                        <a:pt x="588611" y="701061"/>
                        <a:pt x="579490" y="705748"/>
                      </a:cubicBezTo>
                      <a:cubicBezTo>
                        <a:pt x="569989" y="710689"/>
                        <a:pt x="563275" y="704101"/>
                        <a:pt x="561628" y="695107"/>
                      </a:cubicBezTo>
                      <a:cubicBezTo>
                        <a:pt x="559728" y="685732"/>
                        <a:pt x="560741" y="677751"/>
                        <a:pt x="557194" y="668630"/>
                      </a:cubicBezTo>
                      <a:cubicBezTo>
                        <a:pt x="554027" y="660522"/>
                        <a:pt x="551874" y="653682"/>
                        <a:pt x="556434" y="645447"/>
                      </a:cubicBezTo>
                      <a:cubicBezTo>
                        <a:pt x="560868" y="637466"/>
                        <a:pt x="569609" y="632779"/>
                        <a:pt x="574170" y="624671"/>
                      </a:cubicBezTo>
                      <a:cubicBezTo>
                        <a:pt x="578224" y="617577"/>
                        <a:pt x="578730" y="605922"/>
                        <a:pt x="585951" y="601109"/>
                      </a:cubicBezTo>
                      <a:cubicBezTo>
                        <a:pt x="591905" y="597055"/>
                        <a:pt x="606601" y="596801"/>
                        <a:pt x="612301" y="600982"/>
                      </a:cubicBezTo>
                      <a:cubicBezTo>
                        <a:pt x="622816" y="608583"/>
                        <a:pt x="618255" y="622011"/>
                        <a:pt x="613061" y="631386"/>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32" name="Рисунок 388">
                  <a:extLst>
                    <a:ext uri="{FF2B5EF4-FFF2-40B4-BE49-F238E27FC236}">
                      <a16:creationId xmlns:a16="http://schemas.microsoft.com/office/drawing/2014/main" id="{1DA397FD-DC6E-439E-BB40-D0F80476817D}"/>
                    </a:ext>
                  </a:extLst>
                </p:cNvPr>
                <p:cNvGrpSpPr/>
                <p:nvPr/>
              </p:nvGrpSpPr>
              <p:grpSpPr>
                <a:xfrm>
                  <a:off x="3489806" y="2179241"/>
                  <a:ext cx="101346" cy="109326"/>
                  <a:chOff x="3489806" y="2179241"/>
                  <a:chExt cx="101346" cy="109326"/>
                </a:xfrm>
                <a:solidFill>
                  <a:srgbClr val="E3E8EC"/>
                </a:solidFill>
              </p:grpSpPr>
              <p:sp>
                <p:nvSpPr>
                  <p:cNvPr id="633" name="Полилиния: фигура 632">
                    <a:extLst>
                      <a:ext uri="{FF2B5EF4-FFF2-40B4-BE49-F238E27FC236}">
                        <a16:creationId xmlns:a16="http://schemas.microsoft.com/office/drawing/2014/main" id="{A0C3E586-8B45-4043-93C3-B207177FFD3E}"/>
                      </a:ext>
                    </a:extLst>
                  </p:cNvPr>
                  <p:cNvSpPr/>
                  <p:nvPr/>
                </p:nvSpPr>
                <p:spPr>
                  <a:xfrm>
                    <a:off x="3579750" y="2213445"/>
                    <a:ext cx="11401" cy="8361"/>
                  </a:xfrm>
                  <a:custGeom>
                    <a:avLst/>
                    <a:gdLst>
                      <a:gd name="connsiteX0" fmla="*/ 11402 w 11401"/>
                      <a:gd name="connsiteY0" fmla="*/ 4181 h 8361"/>
                      <a:gd name="connsiteX1" fmla="*/ 5701 w 11401"/>
                      <a:gd name="connsiteY1" fmla="*/ 8361 h 8361"/>
                      <a:gd name="connsiteX2" fmla="*/ 0 w 11401"/>
                      <a:gd name="connsiteY2" fmla="*/ 4181 h 8361"/>
                      <a:gd name="connsiteX3" fmla="*/ 5701 w 11401"/>
                      <a:gd name="connsiteY3" fmla="*/ 0 h 8361"/>
                      <a:gd name="connsiteX4" fmla="*/ 11402 w 11401"/>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1" h="8361">
                        <a:moveTo>
                          <a:pt x="11402" y="4181"/>
                        </a:moveTo>
                        <a:cubicBezTo>
                          <a:pt x="11402" y="6461"/>
                          <a:pt x="8868" y="8361"/>
                          <a:pt x="5701" y="8361"/>
                        </a:cubicBezTo>
                        <a:cubicBezTo>
                          <a:pt x="2534" y="8361"/>
                          <a:pt x="0" y="6461"/>
                          <a:pt x="0" y="4181"/>
                        </a:cubicBezTo>
                        <a:cubicBezTo>
                          <a:pt x="0" y="1900"/>
                          <a:pt x="2534" y="0"/>
                          <a:pt x="5701" y="0"/>
                        </a:cubicBezTo>
                        <a:cubicBezTo>
                          <a:pt x="8741" y="0"/>
                          <a:pt x="11402" y="1900"/>
                          <a:pt x="11402" y="41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4" name="Полилиния: фигура 633">
                    <a:extLst>
                      <a:ext uri="{FF2B5EF4-FFF2-40B4-BE49-F238E27FC236}">
                        <a16:creationId xmlns:a16="http://schemas.microsoft.com/office/drawing/2014/main" id="{C2781342-107C-4C4A-BFB8-D7E5C62671A6}"/>
                      </a:ext>
                    </a:extLst>
                  </p:cNvPr>
                  <p:cNvSpPr/>
                  <p:nvPr/>
                </p:nvSpPr>
                <p:spPr>
                  <a:xfrm>
                    <a:off x="3489806" y="2277166"/>
                    <a:ext cx="16215" cy="11401"/>
                  </a:xfrm>
                  <a:custGeom>
                    <a:avLst/>
                    <a:gdLst>
                      <a:gd name="connsiteX0" fmla="*/ 16215 w 16215"/>
                      <a:gd name="connsiteY0" fmla="*/ 5701 h 11401"/>
                      <a:gd name="connsiteX1" fmla="*/ 8108 w 16215"/>
                      <a:gd name="connsiteY1" fmla="*/ 11401 h 11401"/>
                      <a:gd name="connsiteX2" fmla="*/ 0 w 16215"/>
                      <a:gd name="connsiteY2" fmla="*/ 5701 h 11401"/>
                      <a:gd name="connsiteX3" fmla="*/ 8108 w 16215"/>
                      <a:gd name="connsiteY3" fmla="*/ 0 h 11401"/>
                      <a:gd name="connsiteX4" fmla="*/ 16215 w 16215"/>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5" h="11401">
                        <a:moveTo>
                          <a:pt x="16215" y="5701"/>
                        </a:moveTo>
                        <a:cubicBezTo>
                          <a:pt x="16215" y="8868"/>
                          <a:pt x="12541" y="11401"/>
                          <a:pt x="8108" y="11401"/>
                        </a:cubicBezTo>
                        <a:cubicBezTo>
                          <a:pt x="3674" y="11401"/>
                          <a:pt x="0" y="8868"/>
                          <a:pt x="0" y="5701"/>
                        </a:cubicBezTo>
                        <a:cubicBezTo>
                          <a:pt x="0" y="2534"/>
                          <a:pt x="3674" y="0"/>
                          <a:pt x="8108" y="0"/>
                        </a:cubicBezTo>
                        <a:cubicBezTo>
                          <a:pt x="12541" y="0"/>
                          <a:pt x="16215" y="2660"/>
                          <a:pt x="16215"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5" name="Полилиния: фигура 634">
                    <a:extLst>
                      <a:ext uri="{FF2B5EF4-FFF2-40B4-BE49-F238E27FC236}">
                        <a16:creationId xmlns:a16="http://schemas.microsoft.com/office/drawing/2014/main" id="{1DE5628B-043A-4EC5-83BC-B7146D79585E}"/>
                      </a:ext>
                    </a:extLst>
                  </p:cNvPr>
                  <p:cNvSpPr/>
                  <p:nvPr/>
                </p:nvSpPr>
                <p:spPr>
                  <a:xfrm>
                    <a:off x="3513369" y="2205971"/>
                    <a:ext cx="10387" cy="11654"/>
                  </a:xfrm>
                  <a:custGeom>
                    <a:avLst/>
                    <a:gdLst>
                      <a:gd name="connsiteX0" fmla="*/ 10388 w 10387"/>
                      <a:gd name="connsiteY0" fmla="*/ 5827 h 11654"/>
                      <a:gd name="connsiteX1" fmla="*/ 5194 w 10387"/>
                      <a:gd name="connsiteY1" fmla="*/ 11655 h 11654"/>
                      <a:gd name="connsiteX2" fmla="*/ 0 w 10387"/>
                      <a:gd name="connsiteY2" fmla="*/ 5827 h 11654"/>
                      <a:gd name="connsiteX3" fmla="*/ 5194 w 10387"/>
                      <a:gd name="connsiteY3" fmla="*/ 0 h 11654"/>
                      <a:gd name="connsiteX4" fmla="*/ 10388 w 10387"/>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 h="11654">
                        <a:moveTo>
                          <a:pt x="10388" y="5827"/>
                        </a:moveTo>
                        <a:cubicBezTo>
                          <a:pt x="10388" y="8994"/>
                          <a:pt x="8108" y="11655"/>
                          <a:pt x="5194" y="11655"/>
                        </a:cubicBezTo>
                        <a:cubicBezTo>
                          <a:pt x="2280" y="11655"/>
                          <a:pt x="0" y="8994"/>
                          <a:pt x="0" y="5827"/>
                        </a:cubicBezTo>
                        <a:cubicBezTo>
                          <a:pt x="0" y="2660"/>
                          <a:pt x="2280" y="0"/>
                          <a:pt x="5194" y="0"/>
                        </a:cubicBezTo>
                        <a:cubicBezTo>
                          <a:pt x="8108" y="0"/>
                          <a:pt x="10388" y="2660"/>
                          <a:pt x="10388" y="582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6" name="Полилиния: фигура 635">
                    <a:extLst>
                      <a:ext uri="{FF2B5EF4-FFF2-40B4-BE49-F238E27FC236}">
                        <a16:creationId xmlns:a16="http://schemas.microsoft.com/office/drawing/2014/main" id="{6235DAD6-57F8-40BD-8920-1AEB544512CA}"/>
                      </a:ext>
                    </a:extLst>
                  </p:cNvPr>
                  <p:cNvSpPr/>
                  <p:nvPr/>
                </p:nvSpPr>
                <p:spPr>
                  <a:xfrm>
                    <a:off x="3537692" y="2179241"/>
                    <a:ext cx="9881" cy="12414"/>
                  </a:xfrm>
                  <a:custGeom>
                    <a:avLst/>
                    <a:gdLst>
                      <a:gd name="connsiteX0" fmla="*/ 9881 w 9881"/>
                      <a:gd name="connsiteY0" fmla="*/ 6207 h 12414"/>
                      <a:gd name="connsiteX1" fmla="*/ 4941 w 9881"/>
                      <a:gd name="connsiteY1" fmla="*/ 12415 h 12414"/>
                      <a:gd name="connsiteX2" fmla="*/ 0 w 9881"/>
                      <a:gd name="connsiteY2" fmla="*/ 6207 h 12414"/>
                      <a:gd name="connsiteX3" fmla="*/ 4941 w 9881"/>
                      <a:gd name="connsiteY3" fmla="*/ 0 h 12414"/>
                      <a:gd name="connsiteX4" fmla="*/ 9881 w 9881"/>
                      <a:gd name="connsiteY4" fmla="*/ 6207 h 12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12414">
                        <a:moveTo>
                          <a:pt x="9881" y="6207"/>
                        </a:moveTo>
                        <a:cubicBezTo>
                          <a:pt x="9881" y="9628"/>
                          <a:pt x="7601" y="12415"/>
                          <a:pt x="4941" y="12415"/>
                        </a:cubicBezTo>
                        <a:cubicBezTo>
                          <a:pt x="2280" y="12415"/>
                          <a:pt x="0" y="9628"/>
                          <a:pt x="0" y="6207"/>
                        </a:cubicBezTo>
                        <a:cubicBezTo>
                          <a:pt x="0" y="2787"/>
                          <a:pt x="2154" y="0"/>
                          <a:pt x="4941" y="0"/>
                        </a:cubicBezTo>
                        <a:cubicBezTo>
                          <a:pt x="7728" y="0"/>
                          <a:pt x="9881" y="2787"/>
                          <a:pt x="9881" y="62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grpSp>
        <p:grpSp>
          <p:nvGrpSpPr>
            <p:cNvPr id="637" name="Рисунок 388">
              <a:extLst>
                <a:ext uri="{FF2B5EF4-FFF2-40B4-BE49-F238E27FC236}">
                  <a16:creationId xmlns:a16="http://schemas.microsoft.com/office/drawing/2014/main" id="{1DA397FD-DC6E-439E-BB40-D0F80476817D}"/>
                </a:ext>
              </a:extLst>
            </p:cNvPr>
            <p:cNvGrpSpPr/>
            <p:nvPr/>
          </p:nvGrpSpPr>
          <p:grpSpPr>
            <a:xfrm>
              <a:off x="5099560" y="869651"/>
              <a:ext cx="1470371" cy="1674258"/>
              <a:chOff x="5099560" y="869651"/>
              <a:chExt cx="1470371" cy="1674258"/>
            </a:xfrm>
            <a:solidFill>
              <a:srgbClr val="E3E8EC"/>
            </a:solidFill>
          </p:grpSpPr>
          <p:sp>
            <p:nvSpPr>
              <p:cNvPr id="638" name="Полилиния: фигура 637">
                <a:extLst>
                  <a:ext uri="{FF2B5EF4-FFF2-40B4-BE49-F238E27FC236}">
                    <a16:creationId xmlns:a16="http://schemas.microsoft.com/office/drawing/2014/main" id="{3680ABAE-4C73-4D3A-AF74-C34D75CD6259}"/>
                  </a:ext>
                </a:extLst>
              </p:cNvPr>
              <p:cNvSpPr/>
              <p:nvPr/>
            </p:nvSpPr>
            <p:spPr>
              <a:xfrm>
                <a:off x="5099560" y="2368758"/>
                <a:ext cx="10894" cy="18749"/>
              </a:xfrm>
              <a:custGeom>
                <a:avLst/>
                <a:gdLst>
                  <a:gd name="connsiteX0" fmla="*/ 5447 w 10894"/>
                  <a:gd name="connsiteY0" fmla="*/ 0 h 18749"/>
                  <a:gd name="connsiteX1" fmla="*/ 0 w 10894"/>
                  <a:gd name="connsiteY1" fmla="*/ 9375 h 18749"/>
                  <a:gd name="connsiteX2" fmla="*/ 5447 w 10894"/>
                  <a:gd name="connsiteY2" fmla="*/ 18749 h 18749"/>
                  <a:gd name="connsiteX3" fmla="*/ 10895 w 10894"/>
                  <a:gd name="connsiteY3" fmla="*/ 9375 h 18749"/>
                  <a:gd name="connsiteX4" fmla="*/ 5447 w 10894"/>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8749">
                    <a:moveTo>
                      <a:pt x="5447" y="0"/>
                    </a:moveTo>
                    <a:cubicBezTo>
                      <a:pt x="2407" y="0"/>
                      <a:pt x="0" y="4181"/>
                      <a:pt x="0" y="9375"/>
                    </a:cubicBezTo>
                    <a:cubicBezTo>
                      <a:pt x="0" y="14569"/>
                      <a:pt x="2407" y="18749"/>
                      <a:pt x="5447" y="18749"/>
                    </a:cubicBezTo>
                    <a:cubicBezTo>
                      <a:pt x="8488" y="18749"/>
                      <a:pt x="10895" y="14569"/>
                      <a:pt x="10895" y="9375"/>
                    </a:cubicBezTo>
                    <a:cubicBezTo>
                      <a:pt x="10895" y="430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39" name="Полилиния: фигура 638">
                <a:extLst>
                  <a:ext uri="{FF2B5EF4-FFF2-40B4-BE49-F238E27FC236}">
                    <a16:creationId xmlns:a16="http://schemas.microsoft.com/office/drawing/2014/main" id="{751C082C-D871-4D30-9E2A-78D1018B7775}"/>
                  </a:ext>
                </a:extLst>
              </p:cNvPr>
              <p:cNvSpPr/>
              <p:nvPr/>
            </p:nvSpPr>
            <p:spPr>
              <a:xfrm>
                <a:off x="5139719" y="2290595"/>
                <a:ext cx="8867" cy="11401"/>
              </a:xfrm>
              <a:custGeom>
                <a:avLst/>
                <a:gdLst>
                  <a:gd name="connsiteX0" fmla="*/ 8868 w 8867"/>
                  <a:gd name="connsiteY0" fmla="*/ 5701 h 11401"/>
                  <a:gd name="connsiteX1" fmla="*/ 4434 w 8867"/>
                  <a:gd name="connsiteY1" fmla="*/ 0 h 11401"/>
                  <a:gd name="connsiteX2" fmla="*/ 0 w 8867"/>
                  <a:gd name="connsiteY2" fmla="*/ 5701 h 11401"/>
                  <a:gd name="connsiteX3" fmla="*/ 4434 w 8867"/>
                  <a:gd name="connsiteY3" fmla="*/ 11402 h 11401"/>
                  <a:gd name="connsiteX4" fmla="*/ 8868 w 8867"/>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1401">
                    <a:moveTo>
                      <a:pt x="8868" y="5701"/>
                    </a:moveTo>
                    <a:cubicBezTo>
                      <a:pt x="8868" y="2534"/>
                      <a:pt x="6841" y="0"/>
                      <a:pt x="4434" y="0"/>
                    </a:cubicBezTo>
                    <a:cubicBezTo>
                      <a:pt x="2027" y="0"/>
                      <a:pt x="0" y="2534"/>
                      <a:pt x="0" y="5701"/>
                    </a:cubicBezTo>
                    <a:cubicBezTo>
                      <a:pt x="0" y="8868"/>
                      <a:pt x="2027" y="11402"/>
                      <a:pt x="4434" y="11402"/>
                    </a:cubicBezTo>
                    <a:cubicBezTo>
                      <a:pt x="6841" y="11402"/>
                      <a:pt x="8868" y="8868"/>
                      <a:pt x="8868" y="57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0" name="Полилиния: фигура 639">
                <a:extLst>
                  <a:ext uri="{FF2B5EF4-FFF2-40B4-BE49-F238E27FC236}">
                    <a16:creationId xmlns:a16="http://schemas.microsoft.com/office/drawing/2014/main" id="{54383B59-4AED-40B3-BCEA-E29B739DC485}"/>
                  </a:ext>
                </a:extLst>
              </p:cNvPr>
              <p:cNvSpPr/>
              <p:nvPr/>
            </p:nvSpPr>
            <p:spPr>
              <a:xfrm>
                <a:off x="5121350" y="2138322"/>
                <a:ext cx="13935" cy="17228"/>
              </a:xfrm>
              <a:custGeom>
                <a:avLst/>
                <a:gdLst>
                  <a:gd name="connsiteX0" fmla="*/ 6967 w 13935"/>
                  <a:gd name="connsiteY0" fmla="*/ 17229 h 17228"/>
                  <a:gd name="connsiteX1" fmla="*/ 13935 w 13935"/>
                  <a:gd name="connsiteY1" fmla="*/ 8615 h 17228"/>
                  <a:gd name="connsiteX2" fmla="*/ 6967 w 13935"/>
                  <a:gd name="connsiteY2" fmla="*/ 0 h 17228"/>
                  <a:gd name="connsiteX3" fmla="*/ 0 w 13935"/>
                  <a:gd name="connsiteY3" fmla="*/ 8615 h 17228"/>
                  <a:gd name="connsiteX4" fmla="*/ 6967 w 13935"/>
                  <a:gd name="connsiteY4" fmla="*/ 17229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7228">
                    <a:moveTo>
                      <a:pt x="6967" y="17229"/>
                    </a:moveTo>
                    <a:cubicBezTo>
                      <a:pt x="10768" y="17229"/>
                      <a:pt x="13935" y="13302"/>
                      <a:pt x="13935" y="8615"/>
                    </a:cubicBezTo>
                    <a:cubicBezTo>
                      <a:pt x="13935" y="3801"/>
                      <a:pt x="10895" y="0"/>
                      <a:pt x="6967" y="0"/>
                    </a:cubicBezTo>
                    <a:cubicBezTo>
                      <a:pt x="3167" y="0"/>
                      <a:pt x="0" y="3927"/>
                      <a:pt x="0" y="8615"/>
                    </a:cubicBezTo>
                    <a:cubicBezTo>
                      <a:pt x="0" y="13302"/>
                      <a:pt x="3167" y="17229"/>
                      <a:pt x="6967" y="172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1" name="Полилиния: фигура 640">
                <a:extLst>
                  <a:ext uri="{FF2B5EF4-FFF2-40B4-BE49-F238E27FC236}">
                    <a16:creationId xmlns:a16="http://schemas.microsoft.com/office/drawing/2014/main" id="{21227E50-6255-4F2C-91EE-8FEA0252C4C3}"/>
                  </a:ext>
                </a:extLst>
              </p:cNvPr>
              <p:cNvSpPr/>
              <p:nvPr/>
            </p:nvSpPr>
            <p:spPr>
              <a:xfrm>
                <a:off x="5099789" y="2267103"/>
                <a:ext cx="33344" cy="65769"/>
              </a:xfrm>
              <a:custGeom>
                <a:avLst/>
                <a:gdLst>
                  <a:gd name="connsiteX0" fmla="*/ 29668 w 33344"/>
                  <a:gd name="connsiteY0" fmla="*/ 14117 h 65769"/>
                  <a:gd name="connsiteX1" fmla="*/ 6105 w 33344"/>
                  <a:gd name="connsiteY1" fmla="*/ 1955 h 65769"/>
                  <a:gd name="connsiteX2" fmla="*/ 4078 w 33344"/>
                  <a:gd name="connsiteY2" fmla="*/ 26532 h 65769"/>
                  <a:gd name="connsiteX3" fmla="*/ 2178 w 33344"/>
                  <a:gd name="connsiteY3" fmla="*/ 48068 h 65769"/>
                  <a:gd name="connsiteX4" fmla="*/ 4205 w 33344"/>
                  <a:gd name="connsiteY4" fmla="*/ 64157 h 65769"/>
                  <a:gd name="connsiteX5" fmla="*/ 30808 w 33344"/>
                  <a:gd name="connsiteY5" fmla="*/ 43127 h 65769"/>
                  <a:gd name="connsiteX6" fmla="*/ 29668 w 33344"/>
                  <a:gd name="connsiteY6" fmla="*/ 14117 h 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44" h="65769">
                    <a:moveTo>
                      <a:pt x="29668" y="14117"/>
                    </a:moveTo>
                    <a:cubicBezTo>
                      <a:pt x="26375" y="6009"/>
                      <a:pt x="15353" y="-4379"/>
                      <a:pt x="6105" y="1955"/>
                    </a:cubicBezTo>
                    <a:cubicBezTo>
                      <a:pt x="-2129" y="7530"/>
                      <a:pt x="2431" y="18931"/>
                      <a:pt x="4078" y="26532"/>
                    </a:cubicBezTo>
                    <a:cubicBezTo>
                      <a:pt x="5852" y="34386"/>
                      <a:pt x="5852" y="40974"/>
                      <a:pt x="2178" y="48068"/>
                    </a:cubicBezTo>
                    <a:cubicBezTo>
                      <a:pt x="-482" y="53135"/>
                      <a:pt x="-1622" y="60610"/>
                      <a:pt x="4205" y="64157"/>
                    </a:cubicBezTo>
                    <a:cubicBezTo>
                      <a:pt x="16493" y="71504"/>
                      <a:pt x="26501" y="51868"/>
                      <a:pt x="30808" y="43127"/>
                    </a:cubicBezTo>
                    <a:cubicBezTo>
                      <a:pt x="35242" y="34006"/>
                      <a:pt x="33215" y="23111"/>
                      <a:pt x="29668" y="1411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2" name="Полилиния: фигура 641">
                <a:extLst>
                  <a:ext uri="{FF2B5EF4-FFF2-40B4-BE49-F238E27FC236}">
                    <a16:creationId xmlns:a16="http://schemas.microsoft.com/office/drawing/2014/main" id="{5DC6B968-7255-493F-B8DF-1A706E2C18A5}"/>
                  </a:ext>
                </a:extLst>
              </p:cNvPr>
              <p:cNvSpPr/>
              <p:nvPr/>
            </p:nvSpPr>
            <p:spPr>
              <a:xfrm>
                <a:off x="5101551" y="2057231"/>
                <a:ext cx="379360" cy="486678"/>
              </a:xfrm>
              <a:custGeom>
                <a:avLst/>
                <a:gdLst>
                  <a:gd name="connsiteX0" fmla="*/ 338151 w 379360"/>
                  <a:gd name="connsiteY0" fmla="*/ 36372 h 486678"/>
                  <a:gd name="connsiteX1" fmla="*/ 317249 w 379360"/>
                  <a:gd name="connsiteY1" fmla="*/ 18637 h 486678"/>
                  <a:gd name="connsiteX2" fmla="*/ 292292 w 379360"/>
                  <a:gd name="connsiteY2" fmla="*/ 2928 h 486678"/>
                  <a:gd name="connsiteX3" fmla="*/ 261255 w 379360"/>
                  <a:gd name="connsiteY3" fmla="*/ 2041 h 486678"/>
                  <a:gd name="connsiteX4" fmla="*/ 247827 w 379360"/>
                  <a:gd name="connsiteY4" fmla="*/ 8882 h 486678"/>
                  <a:gd name="connsiteX5" fmla="*/ 239212 w 379360"/>
                  <a:gd name="connsiteY5" fmla="*/ 22057 h 486678"/>
                  <a:gd name="connsiteX6" fmla="*/ 211215 w 379360"/>
                  <a:gd name="connsiteY6" fmla="*/ 23071 h 486678"/>
                  <a:gd name="connsiteX7" fmla="*/ 187273 w 379360"/>
                  <a:gd name="connsiteY7" fmla="*/ 9515 h 486678"/>
                  <a:gd name="connsiteX8" fmla="*/ 175364 w 379360"/>
                  <a:gd name="connsiteY8" fmla="*/ 33205 h 486678"/>
                  <a:gd name="connsiteX9" fmla="*/ 191327 w 379360"/>
                  <a:gd name="connsiteY9" fmla="*/ 52207 h 486678"/>
                  <a:gd name="connsiteX10" fmla="*/ 183472 w 379360"/>
                  <a:gd name="connsiteY10" fmla="*/ 62975 h 486678"/>
                  <a:gd name="connsiteX11" fmla="*/ 175491 w 379360"/>
                  <a:gd name="connsiteY11" fmla="*/ 72603 h 486678"/>
                  <a:gd name="connsiteX12" fmla="*/ 145848 w 379360"/>
                  <a:gd name="connsiteY12" fmla="*/ 81851 h 486678"/>
                  <a:gd name="connsiteX13" fmla="*/ 122918 w 379360"/>
                  <a:gd name="connsiteY13" fmla="*/ 106934 h 486678"/>
                  <a:gd name="connsiteX14" fmla="*/ 94541 w 379360"/>
                  <a:gd name="connsiteY14" fmla="*/ 113268 h 486678"/>
                  <a:gd name="connsiteX15" fmla="*/ 79592 w 379360"/>
                  <a:gd name="connsiteY15" fmla="*/ 99333 h 486678"/>
                  <a:gd name="connsiteX16" fmla="*/ 68191 w 379360"/>
                  <a:gd name="connsiteY16" fmla="*/ 84258 h 486678"/>
                  <a:gd name="connsiteX17" fmla="*/ 34240 w 379360"/>
                  <a:gd name="connsiteY17" fmla="*/ 111875 h 486678"/>
                  <a:gd name="connsiteX18" fmla="*/ 4343 w 379360"/>
                  <a:gd name="connsiteY18" fmla="*/ 159507 h 486678"/>
                  <a:gd name="connsiteX19" fmla="*/ 12324 w 379360"/>
                  <a:gd name="connsiteY19" fmla="*/ 194092 h 486678"/>
                  <a:gd name="connsiteX20" fmla="*/ 31073 w 379360"/>
                  <a:gd name="connsiteY20" fmla="*/ 190418 h 486678"/>
                  <a:gd name="connsiteX21" fmla="*/ 41081 w 379360"/>
                  <a:gd name="connsiteY21" fmla="*/ 203086 h 486678"/>
                  <a:gd name="connsiteX22" fmla="*/ 41588 w 379360"/>
                  <a:gd name="connsiteY22" fmla="*/ 202073 h 486678"/>
                  <a:gd name="connsiteX23" fmla="*/ 41588 w 379360"/>
                  <a:gd name="connsiteY23" fmla="*/ 201059 h 486678"/>
                  <a:gd name="connsiteX24" fmla="*/ 56283 w 379360"/>
                  <a:gd name="connsiteY24" fmla="*/ 224242 h 486678"/>
                  <a:gd name="connsiteX25" fmla="*/ 64137 w 379360"/>
                  <a:gd name="connsiteY25" fmla="*/ 235517 h 486678"/>
                  <a:gd name="connsiteX26" fmla="*/ 65150 w 379360"/>
                  <a:gd name="connsiteY26" fmla="*/ 245905 h 486678"/>
                  <a:gd name="connsiteX27" fmla="*/ 70344 w 379360"/>
                  <a:gd name="connsiteY27" fmla="*/ 255026 h 486678"/>
                  <a:gd name="connsiteX28" fmla="*/ 77185 w 379360"/>
                  <a:gd name="connsiteY28" fmla="*/ 262374 h 486678"/>
                  <a:gd name="connsiteX29" fmla="*/ 57296 w 379360"/>
                  <a:gd name="connsiteY29" fmla="*/ 271368 h 486678"/>
                  <a:gd name="connsiteX30" fmla="*/ 63504 w 379360"/>
                  <a:gd name="connsiteY30" fmla="*/ 296831 h 486678"/>
                  <a:gd name="connsiteX31" fmla="*/ 55396 w 379360"/>
                  <a:gd name="connsiteY31" fmla="*/ 299872 h 486678"/>
                  <a:gd name="connsiteX32" fmla="*/ 32593 w 379360"/>
                  <a:gd name="connsiteY32" fmla="*/ 299492 h 486678"/>
                  <a:gd name="connsiteX33" fmla="*/ 23599 w 379360"/>
                  <a:gd name="connsiteY33" fmla="*/ 328502 h 486678"/>
                  <a:gd name="connsiteX34" fmla="*/ 31706 w 379360"/>
                  <a:gd name="connsiteY34" fmla="*/ 352445 h 486678"/>
                  <a:gd name="connsiteX35" fmla="*/ 46655 w 379360"/>
                  <a:gd name="connsiteY35" fmla="*/ 374361 h 486678"/>
                  <a:gd name="connsiteX36" fmla="*/ 40828 w 379360"/>
                  <a:gd name="connsiteY36" fmla="*/ 402738 h 486678"/>
                  <a:gd name="connsiteX37" fmla="*/ 58310 w 379360"/>
                  <a:gd name="connsiteY37" fmla="*/ 413759 h 486678"/>
                  <a:gd name="connsiteX38" fmla="*/ 81873 w 379360"/>
                  <a:gd name="connsiteY38" fmla="*/ 417813 h 486678"/>
                  <a:gd name="connsiteX39" fmla="*/ 101382 w 379360"/>
                  <a:gd name="connsiteY39" fmla="*/ 438969 h 486678"/>
                  <a:gd name="connsiteX40" fmla="*/ 125071 w 379360"/>
                  <a:gd name="connsiteY40" fmla="*/ 449230 h 486678"/>
                  <a:gd name="connsiteX41" fmla="*/ 146734 w 379360"/>
                  <a:gd name="connsiteY41" fmla="*/ 482168 h 486678"/>
                  <a:gd name="connsiteX42" fmla="*/ 173084 w 379360"/>
                  <a:gd name="connsiteY42" fmla="*/ 482675 h 486678"/>
                  <a:gd name="connsiteX43" fmla="*/ 180052 w 379360"/>
                  <a:gd name="connsiteY43" fmla="*/ 461138 h 486678"/>
                  <a:gd name="connsiteX44" fmla="*/ 177518 w 379360"/>
                  <a:gd name="connsiteY44" fmla="*/ 435169 h 486678"/>
                  <a:gd name="connsiteX45" fmla="*/ 177011 w 379360"/>
                  <a:gd name="connsiteY45" fmla="*/ 403498 h 486678"/>
                  <a:gd name="connsiteX46" fmla="*/ 173844 w 379360"/>
                  <a:gd name="connsiteY46" fmla="*/ 383609 h 486678"/>
                  <a:gd name="connsiteX47" fmla="*/ 176378 w 379360"/>
                  <a:gd name="connsiteY47" fmla="*/ 370054 h 486678"/>
                  <a:gd name="connsiteX48" fmla="*/ 181699 w 379360"/>
                  <a:gd name="connsiteY48" fmla="*/ 328882 h 486678"/>
                  <a:gd name="connsiteX49" fmla="*/ 198928 w 379360"/>
                  <a:gd name="connsiteY49" fmla="*/ 269215 h 486678"/>
                  <a:gd name="connsiteX50" fmla="*/ 199688 w 379360"/>
                  <a:gd name="connsiteY50" fmla="*/ 241598 h 486678"/>
                  <a:gd name="connsiteX51" fmla="*/ 223504 w 379360"/>
                  <a:gd name="connsiteY51" fmla="*/ 221962 h 486678"/>
                  <a:gd name="connsiteX52" fmla="*/ 239212 w 379360"/>
                  <a:gd name="connsiteY52" fmla="*/ 213347 h 486678"/>
                  <a:gd name="connsiteX53" fmla="*/ 253781 w 379360"/>
                  <a:gd name="connsiteY53" fmla="*/ 208027 h 486678"/>
                  <a:gd name="connsiteX54" fmla="*/ 262142 w 379360"/>
                  <a:gd name="connsiteY54" fmla="*/ 177243 h 486678"/>
                  <a:gd name="connsiteX55" fmla="*/ 264295 w 379360"/>
                  <a:gd name="connsiteY55" fmla="*/ 166982 h 486678"/>
                  <a:gd name="connsiteX56" fmla="*/ 272403 w 379360"/>
                  <a:gd name="connsiteY56" fmla="*/ 169135 h 486678"/>
                  <a:gd name="connsiteX57" fmla="*/ 289252 w 379360"/>
                  <a:gd name="connsiteY57" fmla="*/ 161154 h 486678"/>
                  <a:gd name="connsiteX58" fmla="*/ 309268 w 379360"/>
                  <a:gd name="connsiteY58" fmla="*/ 157734 h 486678"/>
                  <a:gd name="connsiteX59" fmla="*/ 325483 w 379360"/>
                  <a:gd name="connsiteY59" fmla="*/ 138858 h 486678"/>
                  <a:gd name="connsiteX60" fmla="*/ 343472 w 379360"/>
                  <a:gd name="connsiteY60" fmla="*/ 140758 h 486678"/>
                  <a:gd name="connsiteX61" fmla="*/ 344992 w 379360"/>
                  <a:gd name="connsiteY61" fmla="*/ 114155 h 486678"/>
                  <a:gd name="connsiteX62" fmla="*/ 379196 w 379360"/>
                  <a:gd name="connsiteY62" fmla="*/ 91352 h 486678"/>
                  <a:gd name="connsiteX63" fmla="*/ 338151 w 379360"/>
                  <a:gd name="connsiteY63" fmla="*/ 36372 h 4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79360" h="486678">
                    <a:moveTo>
                      <a:pt x="338151" y="36372"/>
                    </a:moveTo>
                    <a:cubicBezTo>
                      <a:pt x="331311" y="30038"/>
                      <a:pt x="325356" y="23451"/>
                      <a:pt x="317249" y="18637"/>
                    </a:cubicBezTo>
                    <a:cubicBezTo>
                      <a:pt x="309141" y="13823"/>
                      <a:pt x="301414" y="5335"/>
                      <a:pt x="292292" y="2928"/>
                    </a:cubicBezTo>
                    <a:cubicBezTo>
                      <a:pt x="282284" y="268"/>
                      <a:pt x="271263" y="-1633"/>
                      <a:pt x="261255" y="2041"/>
                    </a:cubicBezTo>
                    <a:cubicBezTo>
                      <a:pt x="256695" y="3688"/>
                      <a:pt x="251374" y="5588"/>
                      <a:pt x="247827" y="8882"/>
                    </a:cubicBezTo>
                    <a:cubicBezTo>
                      <a:pt x="243900" y="12556"/>
                      <a:pt x="242633" y="18003"/>
                      <a:pt x="239212" y="22057"/>
                    </a:cubicBezTo>
                    <a:cubicBezTo>
                      <a:pt x="231611" y="30925"/>
                      <a:pt x="219703" y="29658"/>
                      <a:pt x="211215" y="23071"/>
                    </a:cubicBezTo>
                    <a:cubicBezTo>
                      <a:pt x="203995" y="17370"/>
                      <a:pt x="198167" y="6095"/>
                      <a:pt x="187273" y="9515"/>
                    </a:cubicBezTo>
                    <a:cubicBezTo>
                      <a:pt x="179418" y="12049"/>
                      <a:pt x="171057" y="25224"/>
                      <a:pt x="175364" y="33205"/>
                    </a:cubicBezTo>
                    <a:cubicBezTo>
                      <a:pt x="179672" y="41439"/>
                      <a:pt x="194747" y="39919"/>
                      <a:pt x="191327" y="52207"/>
                    </a:cubicBezTo>
                    <a:cubicBezTo>
                      <a:pt x="190060" y="56768"/>
                      <a:pt x="186639" y="59682"/>
                      <a:pt x="183472" y="62975"/>
                    </a:cubicBezTo>
                    <a:cubicBezTo>
                      <a:pt x="180558" y="65889"/>
                      <a:pt x="178405" y="69563"/>
                      <a:pt x="175491" y="72603"/>
                    </a:cubicBezTo>
                    <a:cubicBezTo>
                      <a:pt x="166876" y="81471"/>
                      <a:pt x="155982" y="77417"/>
                      <a:pt x="145848" y="81851"/>
                    </a:cubicBezTo>
                    <a:cubicBezTo>
                      <a:pt x="135079" y="86665"/>
                      <a:pt x="132419" y="100474"/>
                      <a:pt x="122918" y="106934"/>
                    </a:cubicBezTo>
                    <a:cubicBezTo>
                      <a:pt x="114430" y="112635"/>
                      <a:pt x="104296" y="112255"/>
                      <a:pt x="94541" y="113268"/>
                    </a:cubicBezTo>
                    <a:cubicBezTo>
                      <a:pt x="85293" y="114155"/>
                      <a:pt x="81746" y="107821"/>
                      <a:pt x="79592" y="99333"/>
                    </a:cubicBezTo>
                    <a:cubicBezTo>
                      <a:pt x="77819" y="92746"/>
                      <a:pt x="76805" y="83751"/>
                      <a:pt x="68191" y="84258"/>
                    </a:cubicBezTo>
                    <a:cubicBezTo>
                      <a:pt x="53749" y="85018"/>
                      <a:pt x="42601" y="102120"/>
                      <a:pt x="34240" y="111875"/>
                    </a:cubicBezTo>
                    <a:cubicBezTo>
                      <a:pt x="21572" y="126697"/>
                      <a:pt x="11310" y="141012"/>
                      <a:pt x="4343" y="159507"/>
                    </a:cubicBezTo>
                    <a:cubicBezTo>
                      <a:pt x="163" y="170656"/>
                      <a:pt x="-5665" y="191811"/>
                      <a:pt x="12324" y="194092"/>
                    </a:cubicBezTo>
                    <a:cubicBezTo>
                      <a:pt x="19038" y="194852"/>
                      <a:pt x="24612" y="190545"/>
                      <a:pt x="31073" y="190418"/>
                    </a:cubicBezTo>
                    <a:cubicBezTo>
                      <a:pt x="38041" y="190291"/>
                      <a:pt x="39561" y="197639"/>
                      <a:pt x="41081" y="203086"/>
                    </a:cubicBezTo>
                    <a:cubicBezTo>
                      <a:pt x="41841" y="202833"/>
                      <a:pt x="41334" y="202580"/>
                      <a:pt x="41588" y="202073"/>
                    </a:cubicBezTo>
                    <a:lnTo>
                      <a:pt x="41588" y="201059"/>
                    </a:lnTo>
                    <a:cubicBezTo>
                      <a:pt x="42601" y="211574"/>
                      <a:pt x="49315" y="217148"/>
                      <a:pt x="56283" y="224242"/>
                    </a:cubicBezTo>
                    <a:cubicBezTo>
                      <a:pt x="59577" y="227536"/>
                      <a:pt x="62870" y="231083"/>
                      <a:pt x="64137" y="235517"/>
                    </a:cubicBezTo>
                    <a:cubicBezTo>
                      <a:pt x="65150" y="238937"/>
                      <a:pt x="64517" y="242484"/>
                      <a:pt x="65150" y="245905"/>
                    </a:cubicBezTo>
                    <a:cubicBezTo>
                      <a:pt x="65784" y="249579"/>
                      <a:pt x="67811" y="252366"/>
                      <a:pt x="70344" y="255026"/>
                    </a:cubicBezTo>
                    <a:cubicBezTo>
                      <a:pt x="71991" y="256800"/>
                      <a:pt x="77059" y="259713"/>
                      <a:pt x="77185" y="262374"/>
                    </a:cubicBezTo>
                    <a:cubicBezTo>
                      <a:pt x="77565" y="268201"/>
                      <a:pt x="61097" y="268454"/>
                      <a:pt x="57296" y="271368"/>
                    </a:cubicBezTo>
                    <a:cubicBezTo>
                      <a:pt x="49062" y="277576"/>
                      <a:pt x="60337" y="290370"/>
                      <a:pt x="63504" y="296831"/>
                    </a:cubicBezTo>
                    <a:cubicBezTo>
                      <a:pt x="68698" y="307473"/>
                      <a:pt x="61857" y="304306"/>
                      <a:pt x="55396" y="299872"/>
                    </a:cubicBezTo>
                    <a:cubicBezTo>
                      <a:pt x="47415" y="294424"/>
                      <a:pt x="39561" y="290624"/>
                      <a:pt x="32593" y="299492"/>
                    </a:cubicBezTo>
                    <a:cubicBezTo>
                      <a:pt x="26386" y="307346"/>
                      <a:pt x="23219" y="318747"/>
                      <a:pt x="23599" y="328502"/>
                    </a:cubicBezTo>
                    <a:cubicBezTo>
                      <a:pt x="23852" y="337116"/>
                      <a:pt x="27019" y="345351"/>
                      <a:pt x="31706" y="352445"/>
                    </a:cubicBezTo>
                    <a:cubicBezTo>
                      <a:pt x="36267" y="359412"/>
                      <a:pt x="45008" y="365873"/>
                      <a:pt x="46655" y="374361"/>
                    </a:cubicBezTo>
                    <a:cubicBezTo>
                      <a:pt x="48555" y="383989"/>
                      <a:pt x="41334" y="393237"/>
                      <a:pt x="40828" y="402738"/>
                    </a:cubicBezTo>
                    <a:cubicBezTo>
                      <a:pt x="40194" y="414013"/>
                      <a:pt x="49062" y="415659"/>
                      <a:pt x="58310" y="413759"/>
                    </a:cubicBezTo>
                    <a:cubicBezTo>
                      <a:pt x="67557" y="411859"/>
                      <a:pt x="75412" y="408945"/>
                      <a:pt x="81873" y="417813"/>
                    </a:cubicBezTo>
                    <a:cubicBezTo>
                      <a:pt x="87700" y="425921"/>
                      <a:pt x="90867" y="435929"/>
                      <a:pt x="101382" y="438969"/>
                    </a:cubicBezTo>
                    <a:cubicBezTo>
                      <a:pt x="110883" y="441756"/>
                      <a:pt x="118864" y="439856"/>
                      <a:pt x="125071" y="449230"/>
                    </a:cubicBezTo>
                    <a:cubicBezTo>
                      <a:pt x="132419" y="460125"/>
                      <a:pt x="135333" y="474187"/>
                      <a:pt x="146734" y="482168"/>
                    </a:cubicBezTo>
                    <a:cubicBezTo>
                      <a:pt x="154208" y="487362"/>
                      <a:pt x="165483" y="488755"/>
                      <a:pt x="173084" y="482675"/>
                    </a:cubicBezTo>
                    <a:cubicBezTo>
                      <a:pt x="179418" y="477607"/>
                      <a:pt x="180178" y="468613"/>
                      <a:pt x="180052" y="461138"/>
                    </a:cubicBezTo>
                    <a:cubicBezTo>
                      <a:pt x="180052" y="452397"/>
                      <a:pt x="177771" y="443910"/>
                      <a:pt x="177518" y="435169"/>
                    </a:cubicBezTo>
                    <a:cubicBezTo>
                      <a:pt x="177138" y="424527"/>
                      <a:pt x="178531" y="414139"/>
                      <a:pt x="177011" y="403498"/>
                    </a:cubicBezTo>
                    <a:cubicBezTo>
                      <a:pt x="175998" y="397037"/>
                      <a:pt x="173337" y="390196"/>
                      <a:pt x="173844" y="383609"/>
                    </a:cubicBezTo>
                    <a:cubicBezTo>
                      <a:pt x="174224" y="379048"/>
                      <a:pt x="175998" y="374614"/>
                      <a:pt x="176378" y="370054"/>
                    </a:cubicBezTo>
                    <a:cubicBezTo>
                      <a:pt x="177518" y="356119"/>
                      <a:pt x="175744" y="341930"/>
                      <a:pt x="181699" y="328882"/>
                    </a:cubicBezTo>
                    <a:cubicBezTo>
                      <a:pt x="190186" y="310766"/>
                      <a:pt x="201968" y="289990"/>
                      <a:pt x="198928" y="269215"/>
                    </a:cubicBezTo>
                    <a:cubicBezTo>
                      <a:pt x="197661" y="260220"/>
                      <a:pt x="195000" y="250086"/>
                      <a:pt x="199688" y="241598"/>
                    </a:cubicBezTo>
                    <a:cubicBezTo>
                      <a:pt x="204375" y="232983"/>
                      <a:pt x="215649" y="227283"/>
                      <a:pt x="223504" y="221962"/>
                    </a:cubicBezTo>
                    <a:cubicBezTo>
                      <a:pt x="228444" y="218668"/>
                      <a:pt x="233638" y="215501"/>
                      <a:pt x="239212" y="213347"/>
                    </a:cubicBezTo>
                    <a:cubicBezTo>
                      <a:pt x="243900" y="211447"/>
                      <a:pt x="249220" y="210560"/>
                      <a:pt x="253781" y="208027"/>
                    </a:cubicBezTo>
                    <a:cubicBezTo>
                      <a:pt x="264422" y="202073"/>
                      <a:pt x="262269" y="187631"/>
                      <a:pt x="262142" y="177243"/>
                    </a:cubicBezTo>
                    <a:cubicBezTo>
                      <a:pt x="262142" y="174583"/>
                      <a:pt x="261255" y="168375"/>
                      <a:pt x="264295" y="166982"/>
                    </a:cubicBezTo>
                    <a:cubicBezTo>
                      <a:pt x="266576" y="165842"/>
                      <a:pt x="270249" y="168629"/>
                      <a:pt x="272403" y="169135"/>
                    </a:cubicBezTo>
                    <a:cubicBezTo>
                      <a:pt x="280638" y="171162"/>
                      <a:pt x="282918" y="164448"/>
                      <a:pt x="289252" y="161154"/>
                    </a:cubicBezTo>
                    <a:cubicBezTo>
                      <a:pt x="295713" y="157861"/>
                      <a:pt x="303060" y="162294"/>
                      <a:pt x="309268" y="157734"/>
                    </a:cubicBezTo>
                    <a:cubicBezTo>
                      <a:pt x="315348" y="153173"/>
                      <a:pt x="317249" y="139998"/>
                      <a:pt x="325483" y="138858"/>
                    </a:cubicBezTo>
                    <a:cubicBezTo>
                      <a:pt x="331311" y="138098"/>
                      <a:pt x="338912" y="146966"/>
                      <a:pt x="343472" y="140758"/>
                    </a:cubicBezTo>
                    <a:cubicBezTo>
                      <a:pt x="348666" y="133791"/>
                      <a:pt x="342459" y="122010"/>
                      <a:pt x="344992" y="114155"/>
                    </a:cubicBezTo>
                    <a:cubicBezTo>
                      <a:pt x="349680" y="99460"/>
                      <a:pt x="377170" y="110481"/>
                      <a:pt x="379196" y="91352"/>
                    </a:cubicBezTo>
                    <a:cubicBezTo>
                      <a:pt x="381730" y="65636"/>
                      <a:pt x="354240" y="51447"/>
                      <a:pt x="338151" y="3637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3" name="Полилиния: фигура 642">
                <a:extLst>
                  <a:ext uri="{FF2B5EF4-FFF2-40B4-BE49-F238E27FC236}">
                    <a16:creationId xmlns:a16="http://schemas.microsoft.com/office/drawing/2014/main" id="{DBDFB500-A685-4AD1-B6DB-116DBC4849D2}"/>
                  </a:ext>
                </a:extLst>
              </p:cNvPr>
              <p:cNvSpPr/>
              <p:nvPr/>
            </p:nvSpPr>
            <p:spPr>
              <a:xfrm>
                <a:off x="5436603" y="1844957"/>
                <a:ext cx="889081" cy="307329"/>
              </a:xfrm>
              <a:custGeom>
                <a:avLst/>
                <a:gdLst>
                  <a:gd name="connsiteX0" fmla="*/ 872775 w 889081"/>
                  <a:gd name="connsiteY0" fmla="*/ 43801 h 307329"/>
                  <a:gd name="connsiteX1" fmla="*/ 795879 w 889081"/>
                  <a:gd name="connsiteY1" fmla="*/ 35566 h 307329"/>
                  <a:gd name="connsiteX2" fmla="*/ 734944 w 889081"/>
                  <a:gd name="connsiteY2" fmla="*/ 60016 h 307329"/>
                  <a:gd name="connsiteX3" fmla="*/ 702007 w 889081"/>
                  <a:gd name="connsiteY3" fmla="*/ 58876 h 307329"/>
                  <a:gd name="connsiteX4" fmla="*/ 672997 w 889081"/>
                  <a:gd name="connsiteY4" fmla="*/ 49121 h 307329"/>
                  <a:gd name="connsiteX5" fmla="*/ 609656 w 889081"/>
                  <a:gd name="connsiteY5" fmla="*/ 37086 h 307329"/>
                  <a:gd name="connsiteX6" fmla="*/ 548595 w 889081"/>
                  <a:gd name="connsiteY6" fmla="*/ 5542 h 307329"/>
                  <a:gd name="connsiteX7" fmla="*/ 531619 w 889081"/>
                  <a:gd name="connsiteY7" fmla="*/ 14664 h 307329"/>
                  <a:gd name="connsiteX8" fmla="*/ 517557 w 889081"/>
                  <a:gd name="connsiteY8" fmla="*/ 24545 h 307329"/>
                  <a:gd name="connsiteX9" fmla="*/ 500582 w 889081"/>
                  <a:gd name="connsiteY9" fmla="*/ 17577 h 307329"/>
                  <a:gd name="connsiteX10" fmla="*/ 482846 w 889081"/>
                  <a:gd name="connsiteY10" fmla="*/ 13777 h 307329"/>
                  <a:gd name="connsiteX11" fmla="*/ 445728 w 889081"/>
                  <a:gd name="connsiteY11" fmla="*/ 3262 h 307329"/>
                  <a:gd name="connsiteX12" fmla="*/ 408104 w 889081"/>
                  <a:gd name="connsiteY12" fmla="*/ 2375 h 307329"/>
                  <a:gd name="connsiteX13" fmla="*/ 364398 w 889081"/>
                  <a:gd name="connsiteY13" fmla="*/ 15170 h 307329"/>
                  <a:gd name="connsiteX14" fmla="*/ 347803 w 889081"/>
                  <a:gd name="connsiteY14" fmla="*/ 18084 h 307329"/>
                  <a:gd name="connsiteX15" fmla="*/ 334754 w 889081"/>
                  <a:gd name="connsiteY15" fmla="*/ 33033 h 307329"/>
                  <a:gd name="connsiteX16" fmla="*/ 292949 w 889081"/>
                  <a:gd name="connsiteY16" fmla="*/ 27079 h 307329"/>
                  <a:gd name="connsiteX17" fmla="*/ 275720 w 889081"/>
                  <a:gd name="connsiteY17" fmla="*/ 43547 h 307329"/>
                  <a:gd name="connsiteX18" fmla="*/ 258998 w 889081"/>
                  <a:gd name="connsiteY18" fmla="*/ 34553 h 307329"/>
                  <a:gd name="connsiteX19" fmla="*/ 242656 w 889081"/>
                  <a:gd name="connsiteY19" fmla="*/ 18084 h 307329"/>
                  <a:gd name="connsiteX20" fmla="*/ 223780 w 889081"/>
                  <a:gd name="connsiteY20" fmla="*/ 25052 h 307329"/>
                  <a:gd name="connsiteX21" fmla="*/ 231635 w 889081"/>
                  <a:gd name="connsiteY21" fmla="*/ 57862 h 307329"/>
                  <a:gd name="connsiteX22" fmla="*/ 222894 w 889081"/>
                  <a:gd name="connsiteY22" fmla="*/ 70784 h 307329"/>
                  <a:gd name="connsiteX23" fmla="*/ 207692 w 889081"/>
                  <a:gd name="connsiteY23" fmla="*/ 83199 h 307329"/>
                  <a:gd name="connsiteX24" fmla="*/ 211239 w 889081"/>
                  <a:gd name="connsiteY24" fmla="*/ 103848 h 307329"/>
                  <a:gd name="connsiteX25" fmla="*/ 171461 w 889081"/>
                  <a:gd name="connsiteY25" fmla="*/ 88013 h 307329"/>
                  <a:gd name="connsiteX26" fmla="*/ 160439 w 889081"/>
                  <a:gd name="connsiteY26" fmla="*/ 115756 h 307329"/>
                  <a:gd name="connsiteX27" fmla="*/ 122561 w 889081"/>
                  <a:gd name="connsiteY27" fmla="*/ 129058 h 307329"/>
                  <a:gd name="connsiteX28" fmla="*/ 104826 w 889081"/>
                  <a:gd name="connsiteY28" fmla="*/ 147173 h 307329"/>
                  <a:gd name="connsiteX29" fmla="*/ 84176 w 889081"/>
                  <a:gd name="connsiteY29" fmla="*/ 135899 h 307329"/>
                  <a:gd name="connsiteX30" fmla="*/ 64794 w 889081"/>
                  <a:gd name="connsiteY30" fmla="*/ 143120 h 307329"/>
                  <a:gd name="connsiteX31" fmla="*/ 45285 w 889081"/>
                  <a:gd name="connsiteY31" fmla="*/ 153508 h 307329"/>
                  <a:gd name="connsiteX32" fmla="*/ 24002 w 889081"/>
                  <a:gd name="connsiteY32" fmla="*/ 145147 h 307329"/>
                  <a:gd name="connsiteX33" fmla="*/ 5380 w 889081"/>
                  <a:gd name="connsiteY33" fmla="*/ 153128 h 307329"/>
                  <a:gd name="connsiteX34" fmla="*/ 13234 w 889081"/>
                  <a:gd name="connsiteY34" fmla="*/ 173523 h 307329"/>
                  <a:gd name="connsiteX35" fmla="*/ 37937 w 889081"/>
                  <a:gd name="connsiteY35" fmla="*/ 188472 h 307329"/>
                  <a:gd name="connsiteX36" fmla="*/ 24762 w 889081"/>
                  <a:gd name="connsiteY36" fmla="*/ 201140 h 307329"/>
                  <a:gd name="connsiteX37" fmla="*/ 440 w 889081"/>
                  <a:gd name="connsiteY37" fmla="*/ 207094 h 307329"/>
                  <a:gd name="connsiteX38" fmla="*/ 11587 w 889081"/>
                  <a:gd name="connsiteY38" fmla="*/ 225590 h 307329"/>
                  <a:gd name="connsiteX39" fmla="*/ 27043 w 889081"/>
                  <a:gd name="connsiteY39" fmla="*/ 245352 h 307329"/>
                  <a:gd name="connsiteX40" fmla="*/ 41231 w 889081"/>
                  <a:gd name="connsiteY40" fmla="*/ 259288 h 307329"/>
                  <a:gd name="connsiteX41" fmla="*/ 59473 w 889081"/>
                  <a:gd name="connsiteY41" fmla="*/ 285638 h 307329"/>
                  <a:gd name="connsiteX42" fmla="*/ 69481 w 889081"/>
                  <a:gd name="connsiteY42" fmla="*/ 299699 h 307329"/>
                  <a:gd name="connsiteX43" fmla="*/ 106346 w 889081"/>
                  <a:gd name="connsiteY43" fmla="*/ 296025 h 307329"/>
                  <a:gd name="connsiteX44" fmla="*/ 112553 w 889081"/>
                  <a:gd name="connsiteY44" fmla="*/ 261694 h 307329"/>
                  <a:gd name="connsiteX45" fmla="*/ 124461 w 889081"/>
                  <a:gd name="connsiteY45" fmla="*/ 267395 h 307329"/>
                  <a:gd name="connsiteX46" fmla="*/ 139283 w 889081"/>
                  <a:gd name="connsiteY46" fmla="*/ 271956 h 307329"/>
                  <a:gd name="connsiteX47" fmla="*/ 149291 w 889081"/>
                  <a:gd name="connsiteY47" fmla="*/ 251307 h 307329"/>
                  <a:gd name="connsiteX48" fmla="*/ 165760 w 889081"/>
                  <a:gd name="connsiteY48" fmla="*/ 254854 h 307329"/>
                  <a:gd name="connsiteX49" fmla="*/ 187803 w 889081"/>
                  <a:gd name="connsiteY49" fmla="*/ 236991 h 307329"/>
                  <a:gd name="connsiteX50" fmla="*/ 204525 w 889081"/>
                  <a:gd name="connsiteY50" fmla="*/ 215582 h 307329"/>
                  <a:gd name="connsiteX51" fmla="*/ 219347 w 889081"/>
                  <a:gd name="connsiteY51" fmla="*/ 236358 h 307329"/>
                  <a:gd name="connsiteX52" fmla="*/ 260772 w 889081"/>
                  <a:gd name="connsiteY52" fmla="*/ 205954 h 307329"/>
                  <a:gd name="connsiteX53" fmla="*/ 271540 w 889081"/>
                  <a:gd name="connsiteY53" fmla="*/ 180491 h 307329"/>
                  <a:gd name="connsiteX54" fmla="*/ 282055 w 889081"/>
                  <a:gd name="connsiteY54" fmla="*/ 197086 h 307329"/>
                  <a:gd name="connsiteX55" fmla="*/ 298017 w 889081"/>
                  <a:gd name="connsiteY55" fmla="*/ 205321 h 307329"/>
                  <a:gd name="connsiteX56" fmla="*/ 313852 w 889081"/>
                  <a:gd name="connsiteY56" fmla="*/ 181884 h 307329"/>
                  <a:gd name="connsiteX57" fmla="*/ 325126 w 889081"/>
                  <a:gd name="connsiteY57" fmla="*/ 192399 h 307329"/>
                  <a:gd name="connsiteX58" fmla="*/ 336528 w 889081"/>
                  <a:gd name="connsiteY58" fmla="*/ 203547 h 307329"/>
                  <a:gd name="connsiteX59" fmla="*/ 361611 w 889081"/>
                  <a:gd name="connsiteY59" fmla="*/ 199493 h 307329"/>
                  <a:gd name="connsiteX60" fmla="*/ 383527 w 889081"/>
                  <a:gd name="connsiteY60" fmla="*/ 194173 h 307329"/>
                  <a:gd name="connsiteX61" fmla="*/ 384541 w 889081"/>
                  <a:gd name="connsiteY61" fmla="*/ 172257 h 307329"/>
                  <a:gd name="connsiteX62" fmla="*/ 399616 w 889081"/>
                  <a:gd name="connsiteY62" fmla="*/ 165162 h 307329"/>
                  <a:gd name="connsiteX63" fmla="*/ 419125 w 889081"/>
                  <a:gd name="connsiteY63" fmla="*/ 172257 h 307329"/>
                  <a:gd name="connsiteX64" fmla="*/ 428753 w 889081"/>
                  <a:gd name="connsiteY64" fmla="*/ 163896 h 307329"/>
                  <a:gd name="connsiteX65" fmla="*/ 457383 w 889081"/>
                  <a:gd name="connsiteY65" fmla="*/ 155028 h 307329"/>
                  <a:gd name="connsiteX66" fmla="*/ 474992 w 889081"/>
                  <a:gd name="connsiteY66" fmla="*/ 166936 h 307329"/>
                  <a:gd name="connsiteX67" fmla="*/ 499569 w 889081"/>
                  <a:gd name="connsiteY67" fmla="*/ 156421 h 307329"/>
                  <a:gd name="connsiteX68" fmla="*/ 513377 w 889081"/>
                  <a:gd name="connsiteY68" fmla="*/ 152748 h 307329"/>
                  <a:gd name="connsiteX69" fmla="*/ 550115 w 889081"/>
                  <a:gd name="connsiteY69" fmla="*/ 150467 h 307329"/>
                  <a:gd name="connsiteX70" fmla="*/ 578111 w 889081"/>
                  <a:gd name="connsiteY70" fmla="*/ 145020 h 307329"/>
                  <a:gd name="connsiteX71" fmla="*/ 603068 w 889081"/>
                  <a:gd name="connsiteY71" fmla="*/ 150214 h 307329"/>
                  <a:gd name="connsiteX72" fmla="*/ 628784 w 889081"/>
                  <a:gd name="connsiteY72" fmla="*/ 169976 h 307329"/>
                  <a:gd name="connsiteX73" fmla="*/ 658935 w 889081"/>
                  <a:gd name="connsiteY73" fmla="*/ 168203 h 307329"/>
                  <a:gd name="connsiteX74" fmla="*/ 694279 w 889081"/>
                  <a:gd name="connsiteY74" fmla="*/ 159588 h 307329"/>
                  <a:gd name="connsiteX75" fmla="*/ 728104 w 889081"/>
                  <a:gd name="connsiteY75" fmla="*/ 165923 h 307329"/>
                  <a:gd name="connsiteX76" fmla="*/ 768769 w 889081"/>
                  <a:gd name="connsiteY76" fmla="*/ 158322 h 307329"/>
                  <a:gd name="connsiteX77" fmla="*/ 813614 w 889081"/>
                  <a:gd name="connsiteY77" fmla="*/ 151734 h 307329"/>
                  <a:gd name="connsiteX78" fmla="*/ 850352 w 889081"/>
                  <a:gd name="connsiteY78" fmla="*/ 146793 h 307329"/>
                  <a:gd name="connsiteX79" fmla="*/ 877462 w 889081"/>
                  <a:gd name="connsiteY79" fmla="*/ 112463 h 307329"/>
                  <a:gd name="connsiteX80" fmla="*/ 872775 w 889081"/>
                  <a:gd name="connsiteY80" fmla="*/ 43801 h 30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9081" h="307329">
                    <a:moveTo>
                      <a:pt x="872775" y="43801"/>
                    </a:moveTo>
                    <a:cubicBezTo>
                      <a:pt x="850606" y="28345"/>
                      <a:pt x="820455" y="23278"/>
                      <a:pt x="795879" y="35566"/>
                    </a:cubicBezTo>
                    <a:cubicBezTo>
                      <a:pt x="775356" y="45827"/>
                      <a:pt x="758381" y="56722"/>
                      <a:pt x="734944" y="60016"/>
                    </a:cubicBezTo>
                    <a:cubicBezTo>
                      <a:pt x="723923" y="61536"/>
                      <a:pt x="712775" y="61663"/>
                      <a:pt x="702007" y="58876"/>
                    </a:cubicBezTo>
                    <a:cubicBezTo>
                      <a:pt x="692126" y="56342"/>
                      <a:pt x="683005" y="51528"/>
                      <a:pt x="672997" y="49121"/>
                    </a:cubicBezTo>
                    <a:cubicBezTo>
                      <a:pt x="651968" y="43927"/>
                      <a:pt x="627771" y="51655"/>
                      <a:pt x="609656" y="37086"/>
                    </a:cubicBezTo>
                    <a:cubicBezTo>
                      <a:pt x="590907" y="22011"/>
                      <a:pt x="576845" y="-4592"/>
                      <a:pt x="548595" y="5542"/>
                    </a:cubicBezTo>
                    <a:cubicBezTo>
                      <a:pt x="542514" y="7696"/>
                      <a:pt x="537066" y="11243"/>
                      <a:pt x="531619" y="14664"/>
                    </a:cubicBezTo>
                    <a:cubicBezTo>
                      <a:pt x="527058" y="17451"/>
                      <a:pt x="522371" y="22771"/>
                      <a:pt x="517557" y="24545"/>
                    </a:cubicBezTo>
                    <a:cubicBezTo>
                      <a:pt x="510717" y="27079"/>
                      <a:pt x="505903" y="20871"/>
                      <a:pt x="500582" y="17577"/>
                    </a:cubicBezTo>
                    <a:cubicBezTo>
                      <a:pt x="494755" y="13904"/>
                      <a:pt x="489561" y="13777"/>
                      <a:pt x="482846" y="13777"/>
                    </a:cubicBezTo>
                    <a:cubicBezTo>
                      <a:pt x="469545" y="13650"/>
                      <a:pt x="457637" y="8456"/>
                      <a:pt x="445728" y="3262"/>
                    </a:cubicBezTo>
                    <a:cubicBezTo>
                      <a:pt x="433693" y="-1932"/>
                      <a:pt x="420645" y="95"/>
                      <a:pt x="408104" y="2375"/>
                    </a:cubicBezTo>
                    <a:cubicBezTo>
                      <a:pt x="392015" y="5416"/>
                      <a:pt x="381754" y="18084"/>
                      <a:pt x="364398" y="15170"/>
                    </a:cubicBezTo>
                    <a:cubicBezTo>
                      <a:pt x="357811" y="14030"/>
                      <a:pt x="352744" y="12763"/>
                      <a:pt x="347803" y="18084"/>
                    </a:cubicBezTo>
                    <a:cubicBezTo>
                      <a:pt x="343116" y="23025"/>
                      <a:pt x="341089" y="29739"/>
                      <a:pt x="334754" y="33033"/>
                    </a:cubicBezTo>
                    <a:cubicBezTo>
                      <a:pt x="319806" y="40887"/>
                      <a:pt x="307138" y="21378"/>
                      <a:pt x="292949" y="27079"/>
                    </a:cubicBezTo>
                    <a:cubicBezTo>
                      <a:pt x="285095" y="30246"/>
                      <a:pt x="282561" y="39493"/>
                      <a:pt x="275720" y="43547"/>
                    </a:cubicBezTo>
                    <a:cubicBezTo>
                      <a:pt x="268119" y="47981"/>
                      <a:pt x="262926" y="40253"/>
                      <a:pt x="258998" y="34553"/>
                    </a:cubicBezTo>
                    <a:cubicBezTo>
                      <a:pt x="254691" y="28345"/>
                      <a:pt x="250637" y="19858"/>
                      <a:pt x="242656" y="18084"/>
                    </a:cubicBezTo>
                    <a:cubicBezTo>
                      <a:pt x="235942" y="16564"/>
                      <a:pt x="228214" y="20111"/>
                      <a:pt x="223780" y="25052"/>
                    </a:cubicBezTo>
                    <a:cubicBezTo>
                      <a:pt x="211872" y="37847"/>
                      <a:pt x="225681" y="47094"/>
                      <a:pt x="231635" y="57862"/>
                    </a:cubicBezTo>
                    <a:cubicBezTo>
                      <a:pt x="235815" y="65463"/>
                      <a:pt x="229481" y="69010"/>
                      <a:pt x="222894" y="70784"/>
                    </a:cubicBezTo>
                    <a:cubicBezTo>
                      <a:pt x="214533" y="72938"/>
                      <a:pt x="207692" y="71797"/>
                      <a:pt x="207692" y="83199"/>
                    </a:cubicBezTo>
                    <a:cubicBezTo>
                      <a:pt x="207692" y="87126"/>
                      <a:pt x="213519" y="100934"/>
                      <a:pt x="211239" y="103848"/>
                    </a:cubicBezTo>
                    <a:cubicBezTo>
                      <a:pt x="206425" y="110056"/>
                      <a:pt x="181975" y="79525"/>
                      <a:pt x="171461" y="88013"/>
                    </a:cubicBezTo>
                    <a:cubicBezTo>
                      <a:pt x="163226" y="94727"/>
                      <a:pt x="175134" y="116770"/>
                      <a:pt x="160439" y="115756"/>
                    </a:cubicBezTo>
                    <a:cubicBezTo>
                      <a:pt x="145238" y="114616"/>
                      <a:pt x="131049" y="113476"/>
                      <a:pt x="122561" y="129058"/>
                    </a:cubicBezTo>
                    <a:cubicBezTo>
                      <a:pt x="117747" y="137926"/>
                      <a:pt x="118634" y="154014"/>
                      <a:pt x="104826" y="147173"/>
                    </a:cubicBezTo>
                    <a:cubicBezTo>
                      <a:pt x="97858" y="143753"/>
                      <a:pt x="91778" y="137799"/>
                      <a:pt x="84176" y="135899"/>
                    </a:cubicBezTo>
                    <a:cubicBezTo>
                      <a:pt x="76322" y="133745"/>
                      <a:pt x="70495" y="138179"/>
                      <a:pt x="64794" y="143120"/>
                    </a:cubicBezTo>
                    <a:cubicBezTo>
                      <a:pt x="59220" y="148060"/>
                      <a:pt x="53393" y="154141"/>
                      <a:pt x="45285" y="153508"/>
                    </a:cubicBezTo>
                    <a:cubicBezTo>
                      <a:pt x="37557" y="152874"/>
                      <a:pt x="31350" y="146920"/>
                      <a:pt x="24002" y="145147"/>
                    </a:cubicBezTo>
                    <a:cubicBezTo>
                      <a:pt x="16655" y="143246"/>
                      <a:pt x="8927" y="146160"/>
                      <a:pt x="5380" y="153128"/>
                    </a:cubicBezTo>
                    <a:cubicBezTo>
                      <a:pt x="1326" y="161489"/>
                      <a:pt x="6394" y="168836"/>
                      <a:pt x="13234" y="173523"/>
                    </a:cubicBezTo>
                    <a:cubicBezTo>
                      <a:pt x="20202" y="178337"/>
                      <a:pt x="33250" y="181124"/>
                      <a:pt x="37937" y="188472"/>
                    </a:cubicBezTo>
                    <a:cubicBezTo>
                      <a:pt x="42878" y="196200"/>
                      <a:pt x="30083" y="199747"/>
                      <a:pt x="24762" y="201140"/>
                    </a:cubicBezTo>
                    <a:cubicBezTo>
                      <a:pt x="19948" y="202407"/>
                      <a:pt x="3227" y="202154"/>
                      <a:pt x="440" y="207094"/>
                    </a:cubicBezTo>
                    <a:cubicBezTo>
                      <a:pt x="-2347" y="212035"/>
                      <a:pt x="8927" y="222296"/>
                      <a:pt x="11587" y="225590"/>
                    </a:cubicBezTo>
                    <a:cubicBezTo>
                      <a:pt x="16781" y="232051"/>
                      <a:pt x="21468" y="239145"/>
                      <a:pt x="27043" y="245352"/>
                    </a:cubicBezTo>
                    <a:cubicBezTo>
                      <a:pt x="31477" y="250293"/>
                      <a:pt x="36797" y="254347"/>
                      <a:pt x="41231" y="259288"/>
                    </a:cubicBezTo>
                    <a:cubicBezTo>
                      <a:pt x="48452" y="267268"/>
                      <a:pt x="54280" y="276263"/>
                      <a:pt x="59473" y="285638"/>
                    </a:cubicBezTo>
                    <a:cubicBezTo>
                      <a:pt x="62260" y="290578"/>
                      <a:pt x="64541" y="296405"/>
                      <a:pt x="69481" y="299699"/>
                    </a:cubicBezTo>
                    <a:cubicBezTo>
                      <a:pt x="81643" y="307680"/>
                      <a:pt x="100265" y="313254"/>
                      <a:pt x="106346" y="296025"/>
                    </a:cubicBezTo>
                    <a:cubicBezTo>
                      <a:pt x="110146" y="285131"/>
                      <a:pt x="108246" y="272336"/>
                      <a:pt x="112553" y="261694"/>
                    </a:cubicBezTo>
                    <a:cubicBezTo>
                      <a:pt x="115847" y="253587"/>
                      <a:pt x="121548" y="263721"/>
                      <a:pt x="124461" y="267395"/>
                    </a:cubicBezTo>
                    <a:cubicBezTo>
                      <a:pt x="128389" y="272336"/>
                      <a:pt x="134089" y="279303"/>
                      <a:pt x="139283" y="271956"/>
                    </a:cubicBezTo>
                    <a:cubicBezTo>
                      <a:pt x="143211" y="266382"/>
                      <a:pt x="143337" y="255234"/>
                      <a:pt x="149291" y="251307"/>
                    </a:cubicBezTo>
                    <a:cubicBezTo>
                      <a:pt x="154359" y="248013"/>
                      <a:pt x="160566" y="254347"/>
                      <a:pt x="165760" y="254854"/>
                    </a:cubicBezTo>
                    <a:cubicBezTo>
                      <a:pt x="176275" y="256121"/>
                      <a:pt x="183115" y="244719"/>
                      <a:pt x="187803" y="236991"/>
                    </a:cubicBezTo>
                    <a:cubicBezTo>
                      <a:pt x="190590" y="232431"/>
                      <a:pt x="197304" y="214442"/>
                      <a:pt x="204525" y="215582"/>
                    </a:cubicBezTo>
                    <a:cubicBezTo>
                      <a:pt x="210986" y="216595"/>
                      <a:pt x="215800" y="231671"/>
                      <a:pt x="219347" y="236358"/>
                    </a:cubicBezTo>
                    <a:cubicBezTo>
                      <a:pt x="237462" y="259668"/>
                      <a:pt x="255325" y="219889"/>
                      <a:pt x="260772" y="205954"/>
                    </a:cubicBezTo>
                    <a:cubicBezTo>
                      <a:pt x="262419" y="201900"/>
                      <a:pt x="266346" y="181758"/>
                      <a:pt x="271540" y="180491"/>
                    </a:cubicBezTo>
                    <a:cubicBezTo>
                      <a:pt x="276227" y="179351"/>
                      <a:pt x="280534" y="194046"/>
                      <a:pt x="282055" y="197086"/>
                    </a:cubicBezTo>
                    <a:cubicBezTo>
                      <a:pt x="285348" y="203547"/>
                      <a:pt x="290669" y="212162"/>
                      <a:pt x="298017" y="205321"/>
                    </a:cubicBezTo>
                    <a:cubicBezTo>
                      <a:pt x="304351" y="199493"/>
                      <a:pt x="306378" y="185938"/>
                      <a:pt x="313852" y="181884"/>
                    </a:cubicBezTo>
                    <a:cubicBezTo>
                      <a:pt x="319172" y="178971"/>
                      <a:pt x="323480" y="188599"/>
                      <a:pt x="325126" y="192399"/>
                    </a:cubicBezTo>
                    <a:cubicBezTo>
                      <a:pt x="327660" y="198100"/>
                      <a:pt x="329054" y="203421"/>
                      <a:pt x="336528" y="203547"/>
                    </a:cubicBezTo>
                    <a:cubicBezTo>
                      <a:pt x="344636" y="203547"/>
                      <a:pt x="353250" y="199873"/>
                      <a:pt x="361611" y="199493"/>
                    </a:cubicBezTo>
                    <a:cubicBezTo>
                      <a:pt x="368072" y="199240"/>
                      <a:pt x="379093" y="200760"/>
                      <a:pt x="383527" y="194173"/>
                    </a:cubicBezTo>
                    <a:cubicBezTo>
                      <a:pt x="386694" y="189232"/>
                      <a:pt x="384414" y="177831"/>
                      <a:pt x="384541" y="172257"/>
                    </a:cubicBezTo>
                    <a:cubicBezTo>
                      <a:pt x="384667" y="161615"/>
                      <a:pt x="391762" y="158068"/>
                      <a:pt x="399616" y="165162"/>
                    </a:cubicBezTo>
                    <a:cubicBezTo>
                      <a:pt x="404303" y="169343"/>
                      <a:pt x="412538" y="172890"/>
                      <a:pt x="419125" y="172257"/>
                    </a:cubicBezTo>
                    <a:cubicBezTo>
                      <a:pt x="424572" y="171623"/>
                      <a:pt x="424826" y="167316"/>
                      <a:pt x="428753" y="163896"/>
                    </a:cubicBezTo>
                    <a:cubicBezTo>
                      <a:pt x="435467" y="158322"/>
                      <a:pt x="448642" y="155788"/>
                      <a:pt x="457383" y="155028"/>
                    </a:cubicBezTo>
                    <a:cubicBezTo>
                      <a:pt x="467898" y="154014"/>
                      <a:pt x="466758" y="163389"/>
                      <a:pt x="474992" y="166936"/>
                    </a:cubicBezTo>
                    <a:cubicBezTo>
                      <a:pt x="483986" y="170736"/>
                      <a:pt x="492221" y="159715"/>
                      <a:pt x="499569" y="156421"/>
                    </a:cubicBezTo>
                    <a:cubicBezTo>
                      <a:pt x="504256" y="154268"/>
                      <a:pt x="508310" y="151861"/>
                      <a:pt x="513377" y="152748"/>
                    </a:cubicBezTo>
                    <a:cubicBezTo>
                      <a:pt x="525665" y="154901"/>
                      <a:pt x="537700" y="152748"/>
                      <a:pt x="550115" y="150467"/>
                    </a:cubicBezTo>
                    <a:cubicBezTo>
                      <a:pt x="559743" y="148694"/>
                      <a:pt x="568610" y="148314"/>
                      <a:pt x="578111" y="145020"/>
                    </a:cubicBezTo>
                    <a:cubicBezTo>
                      <a:pt x="588880" y="141219"/>
                      <a:pt x="595087" y="141726"/>
                      <a:pt x="603068" y="150214"/>
                    </a:cubicBezTo>
                    <a:cubicBezTo>
                      <a:pt x="610162" y="157688"/>
                      <a:pt x="619537" y="165036"/>
                      <a:pt x="628784" y="169976"/>
                    </a:cubicBezTo>
                    <a:cubicBezTo>
                      <a:pt x="638792" y="175297"/>
                      <a:pt x="649561" y="173143"/>
                      <a:pt x="658935" y="168203"/>
                    </a:cubicBezTo>
                    <a:cubicBezTo>
                      <a:pt x="669323" y="162755"/>
                      <a:pt x="682498" y="158828"/>
                      <a:pt x="694279" y="159588"/>
                    </a:cubicBezTo>
                    <a:cubicBezTo>
                      <a:pt x="705808" y="160348"/>
                      <a:pt x="716576" y="165162"/>
                      <a:pt x="728104" y="165923"/>
                    </a:cubicBezTo>
                    <a:cubicBezTo>
                      <a:pt x="742039" y="166809"/>
                      <a:pt x="755467" y="162122"/>
                      <a:pt x="768769" y="158322"/>
                    </a:cubicBezTo>
                    <a:cubicBezTo>
                      <a:pt x="783591" y="154141"/>
                      <a:pt x="798286" y="151607"/>
                      <a:pt x="813614" y="151734"/>
                    </a:cubicBezTo>
                    <a:cubicBezTo>
                      <a:pt x="826029" y="151861"/>
                      <a:pt x="839077" y="153254"/>
                      <a:pt x="850352" y="146793"/>
                    </a:cubicBezTo>
                    <a:cubicBezTo>
                      <a:pt x="863147" y="139573"/>
                      <a:pt x="871255" y="125257"/>
                      <a:pt x="877462" y="112463"/>
                    </a:cubicBezTo>
                    <a:cubicBezTo>
                      <a:pt x="889244" y="88900"/>
                      <a:pt x="898112" y="61409"/>
                      <a:pt x="872775" y="4380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4" name="Полилиния: фигура 643">
                <a:extLst>
                  <a:ext uri="{FF2B5EF4-FFF2-40B4-BE49-F238E27FC236}">
                    <a16:creationId xmlns:a16="http://schemas.microsoft.com/office/drawing/2014/main" id="{CBF79BBC-ED3A-4F7D-9D50-E4D1DA28B2C6}"/>
                  </a:ext>
                </a:extLst>
              </p:cNvPr>
              <p:cNvSpPr/>
              <p:nvPr/>
            </p:nvSpPr>
            <p:spPr>
              <a:xfrm>
                <a:off x="6466377" y="1187200"/>
                <a:ext cx="100554" cy="68056"/>
              </a:xfrm>
              <a:custGeom>
                <a:avLst/>
                <a:gdLst>
                  <a:gd name="connsiteX0" fmla="*/ 93326 w 100554"/>
                  <a:gd name="connsiteY0" fmla="*/ 5437 h 68056"/>
                  <a:gd name="connsiteX1" fmla="*/ 79771 w 100554"/>
                  <a:gd name="connsiteY1" fmla="*/ 4170 h 68056"/>
                  <a:gd name="connsiteX2" fmla="*/ 55701 w 100554"/>
                  <a:gd name="connsiteY2" fmla="*/ 15825 h 68056"/>
                  <a:gd name="connsiteX3" fmla="*/ 4775 w 100554"/>
                  <a:gd name="connsiteY3" fmla="*/ 25960 h 68056"/>
                  <a:gd name="connsiteX4" fmla="*/ 8702 w 100554"/>
                  <a:gd name="connsiteY4" fmla="*/ 56364 h 68056"/>
                  <a:gd name="connsiteX5" fmla="*/ 29098 w 100554"/>
                  <a:gd name="connsiteY5" fmla="*/ 66498 h 68056"/>
                  <a:gd name="connsiteX6" fmla="*/ 51014 w 100554"/>
                  <a:gd name="connsiteY6" fmla="*/ 66752 h 68056"/>
                  <a:gd name="connsiteX7" fmla="*/ 74070 w 100554"/>
                  <a:gd name="connsiteY7" fmla="*/ 56997 h 68056"/>
                  <a:gd name="connsiteX8" fmla="*/ 100547 w 100554"/>
                  <a:gd name="connsiteY8" fmla="*/ 39135 h 68056"/>
                  <a:gd name="connsiteX9" fmla="*/ 97886 w 100554"/>
                  <a:gd name="connsiteY9" fmla="*/ 22286 h 68056"/>
                  <a:gd name="connsiteX10" fmla="*/ 93326 w 100554"/>
                  <a:gd name="connsiteY10" fmla="*/ 5437 h 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54" h="68056">
                    <a:moveTo>
                      <a:pt x="93326" y="5437"/>
                    </a:moveTo>
                    <a:cubicBezTo>
                      <a:pt x="90159" y="-2670"/>
                      <a:pt x="85598" y="-517"/>
                      <a:pt x="79771" y="4170"/>
                    </a:cubicBezTo>
                    <a:cubicBezTo>
                      <a:pt x="72550" y="9998"/>
                      <a:pt x="65456" y="15445"/>
                      <a:pt x="55701" y="15825"/>
                    </a:cubicBezTo>
                    <a:cubicBezTo>
                      <a:pt x="37966" y="16459"/>
                      <a:pt x="16810" y="7464"/>
                      <a:pt x="4775" y="25960"/>
                    </a:cubicBezTo>
                    <a:cubicBezTo>
                      <a:pt x="-2193" y="36601"/>
                      <a:pt x="-2066" y="48889"/>
                      <a:pt x="8702" y="56364"/>
                    </a:cubicBezTo>
                    <a:cubicBezTo>
                      <a:pt x="14783" y="60671"/>
                      <a:pt x="21877" y="64471"/>
                      <a:pt x="29098" y="66498"/>
                    </a:cubicBezTo>
                    <a:cubicBezTo>
                      <a:pt x="35685" y="68398"/>
                      <a:pt x="44300" y="68652"/>
                      <a:pt x="51014" y="66752"/>
                    </a:cubicBezTo>
                    <a:cubicBezTo>
                      <a:pt x="58742" y="64598"/>
                      <a:pt x="66596" y="60037"/>
                      <a:pt x="74070" y="56997"/>
                    </a:cubicBezTo>
                    <a:cubicBezTo>
                      <a:pt x="83318" y="53197"/>
                      <a:pt x="100167" y="52816"/>
                      <a:pt x="100547" y="39135"/>
                    </a:cubicBezTo>
                    <a:cubicBezTo>
                      <a:pt x="100673" y="33561"/>
                      <a:pt x="99153" y="27733"/>
                      <a:pt x="97886" y="22286"/>
                    </a:cubicBezTo>
                    <a:cubicBezTo>
                      <a:pt x="96619" y="16712"/>
                      <a:pt x="95479" y="10758"/>
                      <a:pt x="93326" y="543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5" name="Полилиния: фигура 644">
                <a:extLst>
                  <a:ext uri="{FF2B5EF4-FFF2-40B4-BE49-F238E27FC236}">
                    <a16:creationId xmlns:a16="http://schemas.microsoft.com/office/drawing/2014/main" id="{F8D6D75C-DF01-4CDD-8D42-D07B6C24FDF6}"/>
                  </a:ext>
                </a:extLst>
              </p:cNvPr>
              <p:cNvSpPr/>
              <p:nvPr/>
            </p:nvSpPr>
            <p:spPr>
              <a:xfrm>
                <a:off x="6548974" y="1071841"/>
                <a:ext cx="20957" cy="39792"/>
              </a:xfrm>
              <a:custGeom>
                <a:avLst/>
                <a:gdLst>
                  <a:gd name="connsiteX0" fmla="*/ 20483 w 20957"/>
                  <a:gd name="connsiteY0" fmla="*/ 30979 h 39792"/>
                  <a:gd name="connsiteX1" fmla="*/ 17063 w 20957"/>
                  <a:gd name="connsiteY1" fmla="*/ 19070 h 39792"/>
                  <a:gd name="connsiteX2" fmla="*/ 11742 w 20957"/>
                  <a:gd name="connsiteY2" fmla="*/ 2855 h 39792"/>
                  <a:gd name="connsiteX3" fmla="*/ 468 w 20957"/>
                  <a:gd name="connsiteY3" fmla="*/ 8556 h 39792"/>
                  <a:gd name="connsiteX4" fmla="*/ 9969 w 20957"/>
                  <a:gd name="connsiteY4" fmla="*/ 36933 h 39792"/>
                  <a:gd name="connsiteX5" fmla="*/ 18076 w 20957"/>
                  <a:gd name="connsiteY5" fmla="*/ 39593 h 39792"/>
                  <a:gd name="connsiteX6" fmla="*/ 20483 w 20957"/>
                  <a:gd name="connsiteY6" fmla="*/ 30979 h 3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7" h="39792">
                    <a:moveTo>
                      <a:pt x="20483" y="30979"/>
                    </a:moveTo>
                    <a:cubicBezTo>
                      <a:pt x="19090" y="26925"/>
                      <a:pt x="17823" y="23251"/>
                      <a:pt x="17063" y="19070"/>
                    </a:cubicBezTo>
                    <a:cubicBezTo>
                      <a:pt x="16049" y="13750"/>
                      <a:pt x="15163" y="7416"/>
                      <a:pt x="11742" y="2855"/>
                    </a:cubicBezTo>
                    <a:cubicBezTo>
                      <a:pt x="6548" y="-3859"/>
                      <a:pt x="1608" y="2602"/>
                      <a:pt x="468" y="8556"/>
                    </a:cubicBezTo>
                    <a:cubicBezTo>
                      <a:pt x="-1306" y="17297"/>
                      <a:pt x="1988" y="31612"/>
                      <a:pt x="9969" y="36933"/>
                    </a:cubicBezTo>
                    <a:cubicBezTo>
                      <a:pt x="11996" y="38199"/>
                      <a:pt x="15669" y="40480"/>
                      <a:pt x="18076" y="39593"/>
                    </a:cubicBezTo>
                    <a:cubicBezTo>
                      <a:pt x="21243" y="38580"/>
                      <a:pt x="21370" y="33639"/>
                      <a:pt x="20483" y="309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6" name="Полилиния: фигура 645">
                <a:extLst>
                  <a:ext uri="{FF2B5EF4-FFF2-40B4-BE49-F238E27FC236}">
                    <a16:creationId xmlns:a16="http://schemas.microsoft.com/office/drawing/2014/main" id="{189E01BB-1388-4EA5-8C8E-48A494A1C605}"/>
                  </a:ext>
                </a:extLst>
              </p:cNvPr>
              <p:cNvSpPr/>
              <p:nvPr/>
            </p:nvSpPr>
            <p:spPr>
              <a:xfrm>
                <a:off x="6507803" y="1075223"/>
                <a:ext cx="16434" cy="29775"/>
              </a:xfrm>
              <a:custGeom>
                <a:avLst/>
                <a:gdLst>
                  <a:gd name="connsiteX0" fmla="*/ 1607 w 16434"/>
                  <a:gd name="connsiteY0" fmla="*/ 22783 h 29775"/>
                  <a:gd name="connsiteX1" fmla="*/ 10855 w 16434"/>
                  <a:gd name="connsiteY1" fmla="*/ 29750 h 29775"/>
                  <a:gd name="connsiteX2" fmla="*/ 16429 w 16434"/>
                  <a:gd name="connsiteY2" fmla="*/ 22656 h 29775"/>
                  <a:gd name="connsiteX3" fmla="*/ 9968 w 16434"/>
                  <a:gd name="connsiteY3" fmla="*/ 1373 h 29775"/>
                  <a:gd name="connsiteX4" fmla="*/ 1354 w 16434"/>
                  <a:gd name="connsiteY4" fmla="*/ 2260 h 29775"/>
                  <a:gd name="connsiteX5" fmla="*/ 87 w 16434"/>
                  <a:gd name="connsiteY5" fmla="*/ 11128 h 29775"/>
                  <a:gd name="connsiteX6" fmla="*/ 1607 w 16434"/>
                  <a:gd name="connsiteY6" fmla="*/ 22783 h 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34" h="29775">
                    <a:moveTo>
                      <a:pt x="1607" y="22783"/>
                    </a:moveTo>
                    <a:cubicBezTo>
                      <a:pt x="3127" y="26203"/>
                      <a:pt x="6801" y="30130"/>
                      <a:pt x="10855" y="29750"/>
                    </a:cubicBezTo>
                    <a:cubicBezTo>
                      <a:pt x="14655" y="29370"/>
                      <a:pt x="16556" y="26203"/>
                      <a:pt x="16429" y="22656"/>
                    </a:cubicBezTo>
                    <a:cubicBezTo>
                      <a:pt x="16176" y="15182"/>
                      <a:pt x="16936" y="6187"/>
                      <a:pt x="9968" y="1373"/>
                    </a:cubicBezTo>
                    <a:cubicBezTo>
                      <a:pt x="7054" y="-527"/>
                      <a:pt x="3634" y="-654"/>
                      <a:pt x="1354" y="2260"/>
                    </a:cubicBezTo>
                    <a:cubicBezTo>
                      <a:pt x="-673" y="4920"/>
                      <a:pt x="213" y="8087"/>
                      <a:pt x="87" y="11128"/>
                    </a:cubicBezTo>
                    <a:cubicBezTo>
                      <a:pt x="-40" y="15182"/>
                      <a:pt x="-40" y="19109"/>
                      <a:pt x="1607" y="227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7" name="Полилиния: фигура 646">
                <a:extLst>
                  <a:ext uri="{FF2B5EF4-FFF2-40B4-BE49-F238E27FC236}">
                    <a16:creationId xmlns:a16="http://schemas.microsoft.com/office/drawing/2014/main" id="{E51A919A-384A-4FB5-BA0D-EECCE04D62D4}"/>
                  </a:ext>
                </a:extLst>
              </p:cNvPr>
              <p:cNvSpPr/>
              <p:nvPr/>
            </p:nvSpPr>
            <p:spPr>
              <a:xfrm>
                <a:off x="6410959" y="1143352"/>
                <a:ext cx="61846" cy="34278"/>
              </a:xfrm>
              <a:custGeom>
                <a:avLst/>
                <a:gdLst>
                  <a:gd name="connsiteX0" fmla="*/ 59686 w 61846"/>
                  <a:gd name="connsiteY0" fmla="*/ 20529 h 34278"/>
                  <a:gd name="connsiteX1" fmla="*/ 58293 w 61846"/>
                  <a:gd name="connsiteY1" fmla="*/ 5073 h 34278"/>
                  <a:gd name="connsiteX2" fmla="*/ 31816 w 61846"/>
                  <a:gd name="connsiteY2" fmla="*/ 1273 h 34278"/>
                  <a:gd name="connsiteX3" fmla="*/ 1539 w 61846"/>
                  <a:gd name="connsiteY3" fmla="*/ 5200 h 34278"/>
                  <a:gd name="connsiteX4" fmla="*/ 5846 w 61846"/>
                  <a:gd name="connsiteY4" fmla="*/ 23062 h 34278"/>
                  <a:gd name="connsiteX5" fmla="*/ 31943 w 61846"/>
                  <a:gd name="connsiteY5" fmla="*/ 34210 h 34278"/>
                  <a:gd name="connsiteX6" fmla="*/ 47271 w 61846"/>
                  <a:gd name="connsiteY6" fmla="*/ 30283 h 34278"/>
                  <a:gd name="connsiteX7" fmla="*/ 59686 w 61846"/>
                  <a:gd name="connsiteY7" fmla="*/ 20529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46" h="34278">
                    <a:moveTo>
                      <a:pt x="59686" y="20529"/>
                    </a:moveTo>
                    <a:cubicBezTo>
                      <a:pt x="62473" y="15588"/>
                      <a:pt x="63107" y="8874"/>
                      <a:pt x="58293" y="5073"/>
                    </a:cubicBezTo>
                    <a:cubicBezTo>
                      <a:pt x="50945" y="-627"/>
                      <a:pt x="40304" y="1146"/>
                      <a:pt x="31816" y="1273"/>
                    </a:cubicBezTo>
                    <a:cubicBezTo>
                      <a:pt x="22568" y="1273"/>
                      <a:pt x="8380" y="-3414"/>
                      <a:pt x="1539" y="5200"/>
                    </a:cubicBezTo>
                    <a:cubicBezTo>
                      <a:pt x="-2642" y="10521"/>
                      <a:pt x="2679" y="18248"/>
                      <a:pt x="5846" y="23062"/>
                    </a:cubicBezTo>
                    <a:cubicBezTo>
                      <a:pt x="11167" y="31043"/>
                      <a:pt x="22822" y="34844"/>
                      <a:pt x="31943" y="34210"/>
                    </a:cubicBezTo>
                    <a:cubicBezTo>
                      <a:pt x="37770" y="33830"/>
                      <a:pt x="42457" y="33577"/>
                      <a:pt x="47271" y="30283"/>
                    </a:cubicBezTo>
                    <a:cubicBezTo>
                      <a:pt x="51832" y="27116"/>
                      <a:pt x="56519" y="25849"/>
                      <a:pt x="59686" y="2052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8" name="Полилиния: фигура 647">
                <a:extLst>
                  <a:ext uri="{FF2B5EF4-FFF2-40B4-BE49-F238E27FC236}">
                    <a16:creationId xmlns:a16="http://schemas.microsoft.com/office/drawing/2014/main" id="{1B72ECA5-968A-4FB4-826C-3B7A6EE24C34}"/>
                  </a:ext>
                </a:extLst>
              </p:cNvPr>
              <p:cNvSpPr/>
              <p:nvPr/>
            </p:nvSpPr>
            <p:spPr>
              <a:xfrm>
                <a:off x="6343500" y="1169218"/>
                <a:ext cx="107161" cy="73529"/>
              </a:xfrm>
              <a:custGeom>
                <a:avLst/>
                <a:gdLst>
                  <a:gd name="connsiteX0" fmla="*/ 99147 w 107161"/>
                  <a:gd name="connsiteY0" fmla="*/ 20379 h 73529"/>
                  <a:gd name="connsiteX1" fmla="*/ 72164 w 107161"/>
                  <a:gd name="connsiteY1" fmla="*/ 16579 h 73529"/>
                  <a:gd name="connsiteX2" fmla="*/ 24658 w 107161"/>
                  <a:gd name="connsiteY2" fmla="*/ 2264 h 73529"/>
                  <a:gd name="connsiteX3" fmla="*/ 82 w 107161"/>
                  <a:gd name="connsiteY3" fmla="*/ 43056 h 73529"/>
                  <a:gd name="connsiteX4" fmla="*/ 23265 w 107161"/>
                  <a:gd name="connsiteY4" fmla="*/ 72066 h 73529"/>
                  <a:gd name="connsiteX5" fmla="*/ 41254 w 107161"/>
                  <a:gd name="connsiteY5" fmla="*/ 73206 h 73529"/>
                  <a:gd name="connsiteX6" fmla="*/ 57722 w 107161"/>
                  <a:gd name="connsiteY6" fmla="*/ 69659 h 73529"/>
                  <a:gd name="connsiteX7" fmla="*/ 72544 w 107161"/>
                  <a:gd name="connsiteY7" fmla="*/ 64845 h 73529"/>
                  <a:gd name="connsiteX8" fmla="*/ 96487 w 107161"/>
                  <a:gd name="connsiteY8" fmla="*/ 51037 h 73529"/>
                  <a:gd name="connsiteX9" fmla="*/ 99147 w 107161"/>
                  <a:gd name="connsiteY9" fmla="*/ 20379 h 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1" h="73529">
                    <a:moveTo>
                      <a:pt x="99147" y="20379"/>
                    </a:moveTo>
                    <a:cubicBezTo>
                      <a:pt x="90406" y="16579"/>
                      <a:pt x="81159" y="18099"/>
                      <a:pt x="72164" y="16579"/>
                    </a:cubicBezTo>
                    <a:cubicBezTo>
                      <a:pt x="57089" y="13792"/>
                      <a:pt x="40494" y="-6731"/>
                      <a:pt x="24658" y="2264"/>
                    </a:cubicBezTo>
                    <a:cubicBezTo>
                      <a:pt x="11357" y="9865"/>
                      <a:pt x="1222" y="28107"/>
                      <a:pt x="82" y="43056"/>
                    </a:cubicBezTo>
                    <a:cubicBezTo>
                      <a:pt x="-1058" y="57497"/>
                      <a:pt x="9836" y="68519"/>
                      <a:pt x="23265" y="72066"/>
                    </a:cubicBezTo>
                    <a:cubicBezTo>
                      <a:pt x="29092" y="73586"/>
                      <a:pt x="35300" y="73839"/>
                      <a:pt x="41254" y="73206"/>
                    </a:cubicBezTo>
                    <a:cubicBezTo>
                      <a:pt x="46828" y="72699"/>
                      <a:pt x="52402" y="71306"/>
                      <a:pt x="57722" y="69659"/>
                    </a:cubicBezTo>
                    <a:cubicBezTo>
                      <a:pt x="62663" y="68139"/>
                      <a:pt x="67350" y="65605"/>
                      <a:pt x="72544" y="64845"/>
                    </a:cubicBezTo>
                    <a:cubicBezTo>
                      <a:pt x="81792" y="63198"/>
                      <a:pt x="89900" y="57624"/>
                      <a:pt x="96487" y="51037"/>
                    </a:cubicBezTo>
                    <a:cubicBezTo>
                      <a:pt x="104722" y="42929"/>
                      <a:pt x="114350" y="26967"/>
                      <a:pt x="99147" y="2037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49" name="Полилиния: фигура 648">
                <a:extLst>
                  <a:ext uri="{FF2B5EF4-FFF2-40B4-BE49-F238E27FC236}">
                    <a16:creationId xmlns:a16="http://schemas.microsoft.com/office/drawing/2014/main" id="{C3EA0A19-C967-4490-B795-2F3498D4047B}"/>
                  </a:ext>
                </a:extLst>
              </p:cNvPr>
              <p:cNvSpPr/>
              <p:nvPr/>
            </p:nvSpPr>
            <p:spPr>
              <a:xfrm>
                <a:off x="6327494" y="1160460"/>
                <a:ext cx="13175" cy="11654"/>
              </a:xfrm>
              <a:custGeom>
                <a:avLst/>
                <a:gdLst>
                  <a:gd name="connsiteX0" fmla="*/ 6588 w 13175"/>
                  <a:gd name="connsiteY0" fmla="*/ 0 h 11654"/>
                  <a:gd name="connsiteX1" fmla="*/ 0 w 13175"/>
                  <a:gd name="connsiteY1" fmla="*/ 5827 h 11654"/>
                  <a:gd name="connsiteX2" fmla="*/ 6588 w 13175"/>
                  <a:gd name="connsiteY2" fmla="*/ 11655 h 11654"/>
                  <a:gd name="connsiteX3" fmla="*/ 13175 w 13175"/>
                  <a:gd name="connsiteY3" fmla="*/ 5827 h 11654"/>
                  <a:gd name="connsiteX4" fmla="*/ 6588 w 13175"/>
                  <a:gd name="connsiteY4" fmla="*/ 0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1654">
                    <a:moveTo>
                      <a:pt x="6588" y="0"/>
                    </a:moveTo>
                    <a:cubicBezTo>
                      <a:pt x="2914" y="0"/>
                      <a:pt x="0" y="2660"/>
                      <a:pt x="0" y="5827"/>
                    </a:cubicBezTo>
                    <a:cubicBezTo>
                      <a:pt x="0" y="8994"/>
                      <a:pt x="2914" y="11655"/>
                      <a:pt x="6588" y="11655"/>
                    </a:cubicBezTo>
                    <a:cubicBezTo>
                      <a:pt x="10261" y="11655"/>
                      <a:pt x="13175" y="9121"/>
                      <a:pt x="13175" y="5827"/>
                    </a:cubicBezTo>
                    <a:cubicBezTo>
                      <a:pt x="13175" y="2660"/>
                      <a:pt x="10261" y="0"/>
                      <a:pt x="6588"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0" name="Полилиния: фигура 649">
                <a:extLst>
                  <a:ext uri="{FF2B5EF4-FFF2-40B4-BE49-F238E27FC236}">
                    <a16:creationId xmlns:a16="http://schemas.microsoft.com/office/drawing/2014/main" id="{3BFEFF06-A549-4435-B4CF-69D474D049DE}"/>
                  </a:ext>
                </a:extLst>
              </p:cNvPr>
              <p:cNvSpPr/>
              <p:nvPr/>
            </p:nvSpPr>
            <p:spPr>
              <a:xfrm>
                <a:off x="6312292" y="1139051"/>
                <a:ext cx="10641" cy="15835"/>
              </a:xfrm>
              <a:custGeom>
                <a:avLst/>
                <a:gdLst>
                  <a:gd name="connsiteX0" fmla="*/ 5320 w 10641"/>
                  <a:gd name="connsiteY0" fmla="*/ 0 h 15835"/>
                  <a:gd name="connsiteX1" fmla="*/ 0 w 10641"/>
                  <a:gd name="connsiteY1" fmla="*/ 7981 h 15835"/>
                  <a:gd name="connsiteX2" fmla="*/ 5320 w 10641"/>
                  <a:gd name="connsiteY2" fmla="*/ 15835 h 15835"/>
                  <a:gd name="connsiteX3" fmla="*/ 10641 w 10641"/>
                  <a:gd name="connsiteY3" fmla="*/ 7981 h 15835"/>
                  <a:gd name="connsiteX4" fmla="*/ 5320 w 10641"/>
                  <a:gd name="connsiteY4" fmla="*/ 0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5835">
                    <a:moveTo>
                      <a:pt x="5320" y="0"/>
                    </a:moveTo>
                    <a:cubicBezTo>
                      <a:pt x="2407" y="0"/>
                      <a:pt x="0" y="3547"/>
                      <a:pt x="0" y="7981"/>
                    </a:cubicBezTo>
                    <a:cubicBezTo>
                      <a:pt x="0" y="12288"/>
                      <a:pt x="2407" y="15835"/>
                      <a:pt x="5320" y="15835"/>
                    </a:cubicBezTo>
                    <a:cubicBezTo>
                      <a:pt x="8234" y="15835"/>
                      <a:pt x="10641" y="12288"/>
                      <a:pt x="10641" y="7981"/>
                    </a:cubicBezTo>
                    <a:cubicBezTo>
                      <a:pt x="10641" y="3547"/>
                      <a:pt x="8234" y="0"/>
                      <a:pt x="5320"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1" name="Полилиния: фигура 650">
                <a:extLst>
                  <a:ext uri="{FF2B5EF4-FFF2-40B4-BE49-F238E27FC236}">
                    <a16:creationId xmlns:a16="http://schemas.microsoft.com/office/drawing/2014/main" id="{D1969387-407F-4A4D-8192-9712CB521DE3}"/>
                  </a:ext>
                </a:extLst>
              </p:cNvPr>
              <p:cNvSpPr/>
              <p:nvPr/>
            </p:nvSpPr>
            <p:spPr>
              <a:xfrm>
                <a:off x="6350930" y="1130563"/>
                <a:ext cx="18495" cy="16468"/>
              </a:xfrm>
              <a:custGeom>
                <a:avLst/>
                <a:gdLst>
                  <a:gd name="connsiteX0" fmla="*/ 0 w 18495"/>
                  <a:gd name="connsiteY0" fmla="*/ 8234 h 16468"/>
                  <a:gd name="connsiteX1" fmla="*/ 9248 w 18495"/>
                  <a:gd name="connsiteY1" fmla="*/ 16469 h 16468"/>
                  <a:gd name="connsiteX2" fmla="*/ 18496 w 18495"/>
                  <a:gd name="connsiteY2" fmla="*/ 8234 h 16468"/>
                  <a:gd name="connsiteX3" fmla="*/ 9248 w 18495"/>
                  <a:gd name="connsiteY3" fmla="*/ 0 h 16468"/>
                  <a:gd name="connsiteX4" fmla="*/ 0 w 18495"/>
                  <a:gd name="connsiteY4" fmla="*/ 8234 h 1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6468">
                    <a:moveTo>
                      <a:pt x="0" y="8234"/>
                    </a:moveTo>
                    <a:cubicBezTo>
                      <a:pt x="0" y="12795"/>
                      <a:pt x="4181" y="16469"/>
                      <a:pt x="9248" y="16469"/>
                    </a:cubicBezTo>
                    <a:cubicBezTo>
                      <a:pt x="14315" y="16469"/>
                      <a:pt x="18496" y="12795"/>
                      <a:pt x="18496" y="8234"/>
                    </a:cubicBezTo>
                    <a:cubicBezTo>
                      <a:pt x="18496" y="3674"/>
                      <a:pt x="14315" y="0"/>
                      <a:pt x="9248" y="0"/>
                    </a:cubicBezTo>
                    <a:cubicBezTo>
                      <a:pt x="4181" y="0"/>
                      <a:pt x="0" y="3674"/>
                      <a:pt x="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2" name="Полилиния: фигура 651">
                <a:extLst>
                  <a:ext uri="{FF2B5EF4-FFF2-40B4-BE49-F238E27FC236}">
                    <a16:creationId xmlns:a16="http://schemas.microsoft.com/office/drawing/2014/main" id="{676B1B7A-AB33-4288-8DE2-D25E8DE89007}"/>
                  </a:ext>
                </a:extLst>
              </p:cNvPr>
              <p:cNvSpPr/>
              <p:nvPr/>
            </p:nvSpPr>
            <p:spPr>
              <a:xfrm>
                <a:off x="6356757" y="1093952"/>
                <a:ext cx="12541" cy="18749"/>
              </a:xfrm>
              <a:custGeom>
                <a:avLst/>
                <a:gdLst>
                  <a:gd name="connsiteX0" fmla="*/ 6334 w 12541"/>
                  <a:gd name="connsiteY0" fmla="*/ 0 h 18749"/>
                  <a:gd name="connsiteX1" fmla="*/ 0 w 12541"/>
                  <a:gd name="connsiteY1" fmla="*/ 9374 h 18749"/>
                  <a:gd name="connsiteX2" fmla="*/ 6334 w 12541"/>
                  <a:gd name="connsiteY2" fmla="*/ 18749 h 18749"/>
                  <a:gd name="connsiteX3" fmla="*/ 12542 w 12541"/>
                  <a:gd name="connsiteY3" fmla="*/ 9374 h 18749"/>
                  <a:gd name="connsiteX4" fmla="*/ 6334 w 12541"/>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 h="18749">
                    <a:moveTo>
                      <a:pt x="6334" y="0"/>
                    </a:moveTo>
                    <a:cubicBezTo>
                      <a:pt x="2914" y="0"/>
                      <a:pt x="0" y="4180"/>
                      <a:pt x="0" y="9374"/>
                    </a:cubicBezTo>
                    <a:cubicBezTo>
                      <a:pt x="0" y="14568"/>
                      <a:pt x="2787" y="18749"/>
                      <a:pt x="6334" y="18749"/>
                    </a:cubicBezTo>
                    <a:cubicBezTo>
                      <a:pt x="9755" y="18749"/>
                      <a:pt x="12542" y="14568"/>
                      <a:pt x="12542" y="9374"/>
                    </a:cubicBezTo>
                    <a:cubicBezTo>
                      <a:pt x="12542" y="4180"/>
                      <a:pt x="9881" y="0"/>
                      <a:pt x="6334"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3" name="Полилиния: фигура 652">
                <a:extLst>
                  <a:ext uri="{FF2B5EF4-FFF2-40B4-BE49-F238E27FC236}">
                    <a16:creationId xmlns:a16="http://schemas.microsoft.com/office/drawing/2014/main" id="{0F37FE4F-4952-48A6-800E-E0181F31787E}"/>
                  </a:ext>
                </a:extLst>
              </p:cNvPr>
              <p:cNvSpPr/>
              <p:nvPr/>
            </p:nvSpPr>
            <p:spPr>
              <a:xfrm>
                <a:off x="6358531" y="1064815"/>
                <a:ext cx="10894" cy="12161"/>
              </a:xfrm>
              <a:custGeom>
                <a:avLst/>
                <a:gdLst>
                  <a:gd name="connsiteX0" fmla="*/ 5447 w 10894"/>
                  <a:gd name="connsiteY0" fmla="*/ 0 h 12161"/>
                  <a:gd name="connsiteX1" fmla="*/ 0 w 10894"/>
                  <a:gd name="connsiteY1" fmla="*/ 6081 h 12161"/>
                  <a:gd name="connsiteX2" fmla="*/ 5447 w 10894"/>
                  <a:gd name="connsiteY2" fmla="*/ 12162 h 12161"/>
                  <a:gd name="connsiteX3" fmla="*/ 10895 w 10894"/>
                  <a:gd name="connsiteY3" fmla="*/ 6081 h 12161"/>
                  <a:gd name="connsiteX4" fmla="*/ 5447 w 10894"/>
                  <a:gd name="connsiteY4" fmla="*/ 0 h 12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2161">
                    <a:moveTo>
                      <a:pt x="5447" y="0"/>
                    </a:moveTo>
                    <a:cubicBezTo>
                      <a:pt x="2407" y="0"/>
                      <a:pt x="0" y="2787"/>
                      <a:pt x="0" y="6081"/>
                    </a:cubicBezTo>
                    <a:cubicBezTo>
                      <a:pt x="0" y="9501"/>
                      <a:pt x="2407" y="12162"/>
                      <a:pt x="5447" y="12162"/>
                    </a:cubicBezTo>
                    <a:cubicBezTo>
                      <a:pt x="8488" y="12162"/>
                      <a:pt x="10895" y="9375"/>
                      <a:pt x="10895" y="6081"/>
                    </a:cubicBezTo>
                    <a:cubicBezTo>
                      <a:pt x="10895" y="278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4" name="Полилиния: фигура 653">
                <a:extLst>
                  <a:ext uri="{FF2B5EF4-FFF2-40B4-BE49-F238E27FC236}">
                    <a16:creationId xmlns:a16="http://schemas.microsoft.com/office/drawing/2014/main" id="{C0BEA2A4-AFB2-4F18-B6C3-64312B0C7555}"/>
                  </a:ext>
                </a:extLst>
              </p:cNvPr>
              <p:cNvSpPr/>
              <p:nvPr/>
            </p:nvSpPr>
            <p:spPr>
              <a:xfrm>
                <a:off x="6418198" y="1057087"/>
                <a:ext cx="17482" cy="24323"/>
              </a:xfrm>
              <a:custGeom>
                <a:avLst/>
                <a:gdLst>
                  <a:gd name="connsiteX0" fmla="*/ 8741 w 17482"/>
                  <a:gd name="connsiteY0" fmla="*/ 24323 h 24323"/>
                  <a:gd name="connsiteX1" fmla="*/ 17482 w 17482"/>
                  <a:gd name="connsiteY1" fmla="*/ 12162 h 24323"/>
                  <a:gd name="connsiteX2" fmla="*/ 8741 w 17482"/>
                  <a:gd name="connsiteY2" fmla="*/ 0 h 24323"/>
                  <a:gd name="connsiteX3" fmla="*/ 0 w 17482"/>
                  <a:gd name="connsiteY3" fmla="*/ 12162 h 24323"/>
                  <a:gd name="connsiteX4" fmla="*/ 8741 w 17482"/>
                  <a:gd name="connsiteY4" fmla="*/ 24323 h 24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4323">
                    <a:moveTo>
                      <a:pt x="8741" y="24323"/>
                    </a:moveTo>
                    <a:cubicBezTo>
                      <a:pt x="13555" y="24323"/>
                      <a:pt x="17482" y="18876"/>
                      <a:pt x="17482" y="12162"/>
                    </a:cubicBezTo>
                    <a:cubicBezTo>
                      <a:pt x="17482" y="5447"/>
                      <a:pt x="13555" y="0"/>
                      <a:pt x="8741" y="0"/>
                    </a:cubicBezTo>
                    <a:cubicBezTo>
                      <a:pt x="3927" y="0"/>
                      <a:pt x="0" y="5447"/>
                      <a:pt x="0" y="12162"/>
                    </a:cubicBezTo>
                    <a:cubicBezTo>
                      <a:pt x="0" y="18876"/>
                      <a:pt x="3927" y="24323"/>
                      <a:pt x="8741" y="2432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5" name="Полилиния: фигура 654">
                <a:extLst>
                  <a:ext uri="{FF2B5EF4-FFF2-40B4-BE49-F238E27FC236}">
                    <a16:creationId xmlns:a16="http://schemas.microsoft.com/office/drawing/2014/main" id="{5A931420-DB02-4C36-938F-F928C3E7A7CB}"/>
                  </a:ext>
                </a:extLst>
              </p:cNvPr>
              <p:cNvSpPr/>
              <p:nvPr/>
            </p:nvSpPr>
            <p:spPr>
              <a:xfrm>
                <a:off x="6235142" y="1136137"/>
                <a:ext cx="11907" cy="10894"/>
              </a:xfrm>
              <a:custGeom>
                <a:avLst/>
                <a:gdLst>
                  <a:gd name="connsiteX0" fmla="*/ 5954 w 11907"/>
                  <a:gd name="connsiteY0" fmla="*/ 10895 h 10894"/>
                  <a:gd name="connsiteX1" fmla="*/ 11908 w 11907"/>
                  <a:gd name="connsiteY1" fmla="*/ 5447 h 10894"/>
                  <a:gd name="connsiteX2" fmla="*/ 5954 w 11907"/>
                  <a:gd name="connsiteY2" fmla="*/ 0 h 10894"/>
                  <a:gd name="connsiteX3" fmla="*/ 0 w 11907"/>
                  <a:gd name="connsiteY3" fmla="*/ 5447 h 10894"/>
                  <a:gd name="connsiteX4" fmla="*/ 5954 w 11907"/>
                  <a:gd name="connsiteY4" fmla="*/ 10895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 h="10894">
                    <a:moveTo>
                      <a:pt x="5954" y="10895"/>
                    </a:moveTo>
                    <a:cubicBezTo>
                      <a:pt x="9248" y="10895"/>
                      <a:pt x="11908" y="8488"/>
                      <a:pt x="11908" y="5447"/>
                    </a:cubicBezTo>
                    <a:cubicBezTo>
                      <a:pt x="11908" y="2407"/>
                      <a:pt x="9248" y="0"/>
                      <a:pt x="5954" y="0"/>
                    </a:cubicBezTo>
                    <a:cubicBezTo>
                      <a:pt x="2660" y="0"/>
                      <a:pt x="0" y="2407"/>
                      <a:pt x="0" y="5447"/>
                    </a:cubicBezTo>
                    <a:cubicBezTo>
                      <a:pt x="0" y="8488"/>
                      <a:pt x="2660" y="10895"/>
                      <a:pt x="5954" y="1089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6" name="Полилиния: фигура 655">
                <a:extLst>
                  <a:ext uri="{FF2B5EF4-FFF2-40B4-BE49-F238E27FC236}">
                    <a16:creationId xmlns:a16="http://schemas.microsoft.com/office/drawing/2014/main" id="{9330993E-0801-4C9F-87CF-5020B5B44DCB}"/>
                  </a:ext>
                </a:extLst>
              </p:cNvPr>
              <p:cNvSpPr/>
              <p:nvPr/>
            </p:nvSpPr>
            <p:spPr>
              <a:xfrm>
                <a:off x="6217660" y="1121695"/>
                <a:ext cx="8614" cy="6840"/>
              </a:xfrm>
              <a:custGeom>
                <a:avLst/>
                <a:gdLst>
                  <a:gd name="connsiteX0" fmla="*/ 4307 w 8614"/>
                  <a:gd name="connsiteY0" fmla="*/ 6841 h 6840"/>
                  <a:gd name="connsiteX1" fmla="*/ 8614 w 8614"/>
                  <a:gd name="connsiteY1" fmla="*/ 3420 h 6840"/>
                  <a:gd name="connsiteX2" fmla="*/ 4307 w 8614"/>
                  <a:gd name="connsiteY2" fmla="*/ 0 h 6840"/>
                  <a:gd name="connsiteX3" fmla="*/ 0 w 8614"/>
                  <a:gd name="connsiteY3" fmla="*/ 3420 h 6840"/>
                  <a:gd name="connsiteX4" fmla="*/ 4307 w 8614"/>
                  <a:gd name="connsiteY4" fmla="*/ 6841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6840">
                    <a:moveTo>
                      <a:pt x="4307" y="6841"/>
                    </a:moveTo>
                    <a:cubicBezTo>
                      <a:pt x="6714" y="6841"/>
                      <a:pt x="8614" y="5321"/>
                      <a:pt x="8614" y="3420"/>
                    </a:cubicBezTo>
                    <a:cubicBezTo>
                      <a:pt x="8614" y="1520"/>
                      <a:pt x="6714" y="0"/>
                      <a:pt x="4307" y="0"/>
                    </a:cubicBezTo>
                    <a:cubicBezTo>
                      <a:pt x="1900" y="0"/>
                      <a:pt x="0" y="1520"/>
                      <a:pt x="0" y="3420"/>
                    </a:cubicBezTo>
                    <a:cubicBezTo>
                      <a:pt x="0" y="5321"/>
                      <a:pt x="1900" y="6841"/>
                      <a:pt x="4307" y="68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7" name="Полилиния: фигура 656">
                <a:extLst>
                  <a:ext uri="{FF2B5EF4-FFF2-40B4-BE49-F238E27FC236}">
                    <a16:creationId xmlns:a16="http://schemas.microsoft.com/office/drawing/2014/main" id="{3C61634A-40E0-48C3-9B34-7C6D28A9A379}"/>
                  </a:ext>
                </a:extLst>
              </p:cNvPr>
              <p:cNvSpPr/>
              <p:nvPr/>
            </p:nvSpPr>
            <p:spPr>
              <a:xfrm>
                <a:off x="6224881" y="1100539"/>
                <a:ext cx="6840" cy="8867"/>
              </a:xfrm>
              <a:custGeom>
                <a:avLst/>
                <a:gdLst>
                  <a:gd name="connsiteX0" fmla="*/ 3421 w 6840"/>
                  <a:gd name="connsiteY0" fmla="*/ 8868 h 8867"/>
                  <a:gd name="connsiteX1" fmla="*/ 6841 w 6840"/>
                  <a:gd name="connsiteY1" fmla="*/ 4434 h 8867"/>
                  <a:gd name="connsiteX2" fmla="*/ 3421 w 6840"/>
                  <a:gd name="connsiteY2" fmla="*/ 0 h 8867"/>
                  <a:gd name="connsiteX3" fmla="*/ 0 w 6840"/>
                  <a:gd name="connsiteY3" fmla="*/ 4434 h 8867"/>
                  <a:gd name="connsiteX4" fmla="*/ 3421 w 6840"/>
                  <a:gd name="connsiteY4" fmla="*/ 8868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8867">
                    <a:moveTo>
                      <a:pt x="3421" y="8868"/>
                    </a:moveTo>
                    <a:cubicBezTo>
                      <a:pt x="5321" y="8868"/>
                      <a:pt x="6841" y="6841"/>
                      <a:pt x="6841" y="4434"/>
                    </a:cubicBezTo>
                    <a:cubicBezTo>
                      <a:pt x="6841" y="1900"/>
                      <a:pt x="5321" y="0"/>
                      <a:pt x="3421" y="0"/>
                    </a:cubicBezTo>
                    <a:cubicBezTo>
                      <a:pt x="1521" y="0"/>
                      <a:pt x="0" y="2027"/>
                      <a:pt x="0" y="4434"/>
                    </a:cubicBezTo>
                    <a:cubicBezTo>
                      <a:pt x="0" y="6841"/>
                      <a:pt x="1521" y="8868"/>
                      <a:pt x="3421" y="88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8" name="Полилиния: фигура 657">
                <a:extLst>
                  <a:ext uri="{FF2B5EF4-FFF2-40B4-BE49-F238E27FC236}">
                    <a16:creationId xmlns:a16="http://schemas.microsoft.com/office/drawing/2014/main" id="{1AC98C5D-7ABC-4CCA-9A76-97113B6EAFD6}"/>
                  </a:ext>
                </a:extLst>
              </p:cNvPr>
              <p:cNvSpPr/>
              <p:nvPr/>
            </p:nvSpPr>
            <p:spPr>
              <a:xfrm>
                <a:off x="6200811" y="1106367"/>
                <a:ext cx="7347" cy="6334"/>
              </a:xfrm>
              <a:custGeom>
                <a:avLst/>
                <a:gdLst>
                  <a:gd name="connsiteX0" fmla="*/ 3674 w 7347"/>
                  <a:gd name="connsiteY0" fmla="*/ 6334 h 6334"/>
                  <a:gd name="connsiteX1" fmla="*/ 7348 w 7347"/>
                  <a:gd name="connsiteY1" fmla="*/ 3167 h 6334"/>
                  <a:gd name="connsiteX2" fmla="*/ 3674 w 7347"/>
                  <a:gd name="connsiteY2" fmla="*/ 0 h 6334"/>
                  <a:gd name="connsiteX3" fmla="*/ 0 w 7347"/>
                  <a:gd name="connsiteY3" fmla="*/ 3167 h 6334"/>
                  <a:gd name="connsiteX4" fmla="*/ 3674 w 7347"/>
                  <a:gd name="connsiteY4" fmla="*/ 6334 h 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 h="6334">
                    <a:moveTo>
                      <a:pt x="3674" y="6334"/>
                    </a:moveTo>
                    <a:cubicBezTo>
                      <a:pt x="5701" y="6334"/>
                      <a:pt x="7348" y="4941"/>
                      <a:pt x="7348" y="3167"/>
                    </a:cubicBezTo>
                    <a:cubicBezTo>
                      <a:pt x="7348" y="1394"/>
                      <a:pt x="5701" y="0"/>
                      <a:pt x="3674" y="0"/>
                    </a:cubicBezTo>
                    <a:cubicBezTo>
                      <a:pt x="1647" y="0"/>
                      <a:pt x="0" y="1394"/>
                      <a:pt x="0" y="3167"/>
                    </a:cubicBezTo>
                    <a:cubicBezTo>
                      <a:pt x="0" y="4941"/>
                      <a:pt x="1647" y="6334"/>
                      <a:pt x="3674" y="63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59" name="Полилиния: фигура 658">
                <a:extLst>
                  <a:ext uri="{FF2B5EF4-FFF2-40B4-BE49-F238E27FC236}">
                    <a16:creationId xmlns:a16="http://schemas.microsoft.com/office/drawing/2014/main" id="{257A5B00-BCFC-4605-AFA3-FA7F27EBC9BE}"/>
                  </a:ext>
                </a:extLst>
              </p:cNvPr>
              <p:cNvSpPr/>
              <p:nvPr/>
            </p:nvSpPr>
            <p:spPr>
              <a:xfrm>
                <a:off x="6204612" y="1139051"/>
                <a:ext cx="9121" cy="12921"/>
              </a:xfrm>
              <a:custGeom>
                <a:avLst/>
                <a:gdLst>
                  <a:gd name="connsiteX0" fmla="*/ 9121 w 9121"/>
                  <a:gd name="connsiteY0" fmla="*/ 6461 h 12921"/>
                  <a:gd name="connsiteX1" fmla="*/ 4560 w 9121"/>
                  <a:gd name="connsiteY1" fmla="*/ 0 h 12921"/>
                  <a:gd name="connsiteX2" fmla="*/ 0 w 9121"/>
                  <a:gd name="connsiteY2" fmla="*/ 6461 h 12921"/>
                  <a:gd name="connsiteX3" fmla="*/ 4560 w 9121"/>
                  <a:gd name="connsiteY3" fmla="*/ 12922 h 12921"/>
                  <a:gd name="connsiteX4" fmla="*/ 9121 w 91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2921">
                    <a:moveTo>
                      <a:pt x="9121" y="6461"/>
                    </a:moveTo>
                    <a:cubicBezTo>
                      <a:pt x="9121" y="2914"/>
                      <a:pt x="7094" y="0"/>
                      <a:pt x="4560" y="0"/>
                    </a:cubicBezTo>
                    <a:cubicBezTo>
                      <a:pt x="2027" y="0"/>
                      <a:pt x="0" y="2914"/>
                      <a:pt x="0" y="6461"/>
                    </a:cubicBezTo>
                    <a:cubicBezTo>
                      <a:pt x="0" y="10008"/>
                      <a:pt x="2027" y="12922"/>
                      <a:pt x="4560" y="12922"/>
                    </a:cubicBezTo>
                    <a:cubicBezTo>
                      <a:pt x="6967" y="12922"/>
                      <a:pt x="9121" y="10008"/>
                      <a:pt x="91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0" name="Полилиния: фигура 659">
                <a:extLst>
                  <a:ext uri="{FF2B5EF4-FFF2-40B4-BE49-F238E27FC236}">
                    <a16:creationId xmlns:a16="http://schemas.microsoft.com/office/drawing/2014/main" id="{D587E546-2BE8-4E2A-A7F3-E5F9EAE69C81}"/>
                  </a:ext>
                </a:extLst>
              </p:cNvPr>
              <p:cNvSpPr/>
              <p:nvPr/>
            </p:nvSpPr>
            <p:spPr>
              <a:xfrm>
                <a:off x="6184596" y="1085337"/>
                <a:ext cx="9247" cy="10894"/>
              </a:xfrm>
              <a:custGeom>
                <a:avLst/>
                <a:gdLst>
                  <a:gd name="connsiteX0" fmla="*/ 0 w 9247"/>
                  <a:gd name="connsiteY0" fmla="*/ 5447 h 10894"/>
                  <a:gd name="connsiteX1" fmla="*/ 4561 w 9247"/>
                  <a:gd name="connsiteY1" fmla="*/ 10895 h 10894"/>
                  <a:gd name="connsiteX2" fmla="*/ 9248 w 9247"/>
                  <a:gd name="connsiteY2" fmla="*/ 5447 h 10894"/>
                  <a:gd name="connsiteX3" fmla="*/ 4561 w 9247"/>
                  <a:gd name="connsiteY3" fmla="*/ 0 h 10894"/>
                  <a:gd name="connsiteX4" fmla="*/ 0 w 9247"/>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7" h="10894">
                    <a:moveTo>
                      <a:pt x="0" y="5447"/>
                    </a:moveTo>
                    <a:cubicBezTo>
                      <a:pt x="0" y="8488"/>
                      <a:pt x="2027" y="10895"/>
                      <a:pt x="4561" y="10895"/>
                    </a:cubicBezTo>
                    <a:cubicBezTo>
                      <a:pt x="7094" y="10895"/>
                      <a:pt x="9248" y="8488"/>
                      <a:pt x="9248" y="5447"/>
                    </a:cubicBezTo>
                    <a:cubicBezTo>
                      <a:pt x="9248" y="2407"/>
                      <a:pt x="7221" y="0"/>
                      <a:pt x="4561" y="0"/>
                    </a:cubicBezTo>
                    <a:cubicBezTo>
                      <a:pt x="2154" y="0"/>
                      <a:pt x="0" y="2407"/>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1" name="Полилиния: фигура 660">
                <a:extLst>
                  <a:ext uri="{FF2B5EF4-FFF2-40B4-BE49-F238E27FC236}">
                    <a16:creationId xmlns:a16="http://schemas.microsoft.com/office/drawing/2014/main" id="{4D5C610A-3D91-4AE5-9C0E-7C22589D730C}"/>
                  </a:ext>
                </a:extLst>
              </p:cNvPr>
              <p:cNvSpPr/>
              <p:nvPr/>
            </p:nvSpPr>
            <p:spPr>
              <a:xfrm>
                <a:off x="6204485" y="1077103"/>
                <a:ext cx="9121" cy="8234"/>
              </a:xfrm>
              <a:custGeom>
                <a:avLst/>
                <a:gdLst>
                  <a:gd name="connsiteX0" fmla="*/ 4560 w 9121"/>
                  <a:gd name="connsiteY0" fmla="*/ 8234 h 8234"/>
                  <a:gd name="connsiteX1" fmla="*/ 9121 w 9121"/>
                  <a:gd name="connsiteY1" fmla="*/ 4181 h 8234"/>
                  <a:gd name="connsiteX2" fmla="*/ 4560 w 9121"/>
                  <a:gd name="connsiteY2" fmla="*/ 0 h 8234"/>
                  <a:gd name="connsiteX3" fmla="*/ 0 w 9121"/>
                  <a:gd name="connsiteY3" fmla="*/ 4181 h 8234"/>
                  <a:gd name="connsiteX4" fmla="*/ 4560 w 9121"/>
                  <a:gd name="connsiteY4" fmla="*/ 8234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8234">
                    <a:moveTo>
                      <a:pt x="4560" y="8234"/>
                    </a:moveTo>
                    <a:cubicBezTo>
                      <a:pt x="7094" y="8234"/>
                      <a:pt x="9121" y="6334"/>
                      <a:pt x="9121" y="4181"/>
                    </a:cubicBezTo>
                    <a:cubicBezTo>
                      <a:pt x="9121" y="1900"/>
                      <a:pt x="7094" y="0"/>
                      <a:pt x="4560" y="0"/>
                    </a:cubicBezTo>
                    <a:cubicBezTo>
                      <a:pt x="2027" y="0"/>
                      <a:pt x="0" y="1900"/>
                      <a:pt x="0" y="4181"/>
                    </a:cubicBezTo>
                    <a:cubicBezTo>
                      <a:pt x="0" y="6334"/>
                      <a:pt x="2027" y="8234"/>
                      <a:pt x="4560" y="823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2" name="Полилиния: фигура 661">
                <a:extLst>
                  <a:ext uri="{FF2B5EF4-FFF2-40B4-BE49-F238E27FC236}">
                    <a16:creationId xmlns:a16="http://schemas.microsoft.com/office/drawing/2014/main" id="{8D24B70A-B457-46BC-8F07-DAE98734537B}"/>
                  </a:ext>
                </a:extLst>
              </p:cNvPr>
              <p:cNvSpPr/>
              <p:nvPr/>
            </p:nvSpPr>
            <p:spPr>
              <a:xfrm>
                <a:off x="6186496" y="1049360"/>
                <a:ext cx="11654" cy="15455"/>
              </a:xfrm>
              <a:custGeom>
                <a:avLst/>
                <a:gdLst>
                  <a:gd name="connsiteX0" fmla="*/ 11655 w 11654"/>
                  <a:gd name="connsiteY0" fmla="*/ 7728 h 15455"/>
                  <a:gd name="connsiteX1" fmla="*/ 5828 w 11654"/>
                  <a:gd name="connsiteY1" fmla="*/ 0 h 15455"/>
                  <a:gd name="connsiteX2" fmla="*/ 0 w 11654"/>
                  <a:gd name="connsiteY2" fmla="*/ 7728 h 15455"/>
                  <a:gd name="connsiteX3" fmla="*/ 5828 w 11654"/>
                  <a:gd name="connsiteY3" fmla="*/ 15455 h 15455"/>
                  <a:gd name="connsiteX4" fmla="*/ 11655 w 11654"/>
                  <a:gd name="connsiteY4" fmla="*/ 7728 h 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15455">
                    <a:moveTo>
                      <a:pt x="11655" y="7728"/>
                    </a:moveTo>
                    <a:cubicBezTo>
                      <a:pt x="11655" y="3420"/>
                      <a:pt x="9121" y="0"/>
                      <a:pt x="5828" y="0"/>
                    </a:cubicBezTo>
                    <a:cubicBezTo>
                      <a:pt x="2661" y="0"/>
                      <a:pt x="0" y="3420"/>
                      <a:pt x="0" y="7728"/>
                    </a:cubicBezTo>
                    <a:cubicBezTo>
                      <a:pt x="0" y="12035"/>
                      <a:pt x="2534" y="15455"/>
                      <a:pt x="5828" y="15455"/>
                    </a:cubicBezTo>
                    <a:cubicBezTo>
                      <a:pt x="9121" y="15455"/>
                      <a:pt x="11655" y="12035"/>
                      <a:pt x="11655" y="77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3" name="Полилиния: фигура 662">
                <a:extLst>
                  <a:ext uri="{FF2B5EF4-FFF2-40B4-BE49-F238E27FC236}">
                    <a16:creationId xmlns:a16="http://schemas.microsoft.com/office/drawing/2014/main" id="{BFCA496A-CB2E-4932-AC1B-9B17BDB6897E}"/>
                  </a:ext>
                </a:extLst>
              </p:cNvPr>
              <p:cNvSpPr/>
              <p:nvPr/>
            </p:nvSpPr>
            <p:spPr>
              <a:xfrm>
                <a:off x="6298103" y="1251545"/>
                <a:ext cx="11654" cy="21789"/>
              </a:xfrm>
              <a:custGeom>
                <a:avLst/>
                <a:gdLst>
                  <a:gd name="connsiteX0" fmla="*/ 5827 w 11654"/>
                  <a:gd name="connsiteY0" fmla="*/ 0 h 21789"/>
                  <a:gd name="connsiteX1" fmla="*/ 0 w 11654"/>
                  <a:gd name="connsiteY1" fmla="*/ 10895 h 21789"/>
                  <a:gd name="connsiteX2" fmla="*/ 5827 w 11654"/>
                  <a:gd name="connsiteY2" fmla="*/ 21789 h 21789"/>
                  <a:gd name="connsiteX3" fmla="*/ 11655 w 11654"/>
                  <a:gd name="connsiteY3" fmla="*/ 10895 h 21789"/>
                  <a:gd name="connsiteX4" fmla="*/ 5827 w 11654"/>
                  <a:gd name="connsiteY4" fmla="*/ 0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21789">
                    <a:moveTo>
                      <a:pt x="5827" y="0"/>
                    </a:moveTo>
                    <a:cubicBezTo>
                      <a:pt x="2660" y="0"/>
                      <a:pt x="0" y="4941"/>
                      <a:pt x="0" y="10895"/>
                    </a:cubicBezTo>
                    <a:cubicBezTo>
                      <a:pt x="0" y="16849"/>
                      <a:pt x="2533" y="21789"/>
                      <a:pt x="5827" y="21789"/>
                    </a:cubicBezTo>
                    <a:cubicBezTo>
                      <a:pt x="8994" y="21789"/>
                      <a:pt x="11655" y="16849"/>
                      <a:pt x="11655" y="10895"/>
                    </a:cubicBezTo>
                    <a:cubicBezTo>
                      <a:pt x="11528" y="4941"/>
                      <a:pt x="8994" y="0"/>
                      <a:pt x="5827" y="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4" name="Полилиния: фигура 663">
                <a:extLst>
                  <a:ext uri="{FF2B5EF4-FFF2-40B4-BE49-F238E27FC236}">
                    <a16:creationId xmlns:a16="http://schemas.microsoft.com/office/drawing/2014/main" id="{6281A599-4154-4AB0-B56B-3738DCF4CE96}"/>
                  </a:ext>
                </a:extLst>
              </p:cNvPr>
              <p:cNvSpPr/>
              <p:nvPr/>
            </p:nvSpPr>
            <p:spPr>
              <a:xfrm>
                <a:off x="6302411" y="1229755"/>
                <a:ext cx="12921" cy="12921"/>
              </a:xfrm>
              <a:custGeom>
                <a:avLst/>
                <a:gdLst>
                  <a:gd name="connsiteX0" fmla="*/ 12921 w 12921"/>
                  <a:gd name="connsiteY0" fmla="*/ 6461 h 12921"/>
                  <a:gd name="connsiteX1" fmla="*/ 6461 w 12921"/>
                  <a:gd name="connsiteY1" fmla="*/ 0 h 12921"/>
                  <a:gd name="connsiteX2" fmla="*/ 0 w 12921"/>
                  <a:gd name="connsiteY2" fmla="*/ 6461 h 12921"/>
                  <a:gd name="connsiteX3" fmla="*/ 6461 w 12921"/>
                  <a:gd name="connsiteY3" fmla="*/ 12922 h 12921"/>
                  <a:gd name="connsiteX4" fmla="*/ 12921 w 129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2921">
                    <a:moveTo>
                      <a:pt x="12921" y="6461"/>
                    </a:moveTo>
                    <a:cubicBezTo>
                      <a:pt x="12921" y="2914"/>
                      <a:pt x="10008" y="0"/>
                      <a:pt x="6461" y="0"/>
                    </a:cubicBezTo>
                    <a:cubicBezTo>
                      <a:pt x="2913" y="0"/>
                      <a:pt x="0" y="2914"/>
                      <a:pt x="0" y="6461"/>
                    </a:cubicBezTo>
                    <a:cubicBezTo>
                      <a:pt x="0" y="10008"/>
                      <a:pt x="2913" y="12922"/>
                      <a:pt x="6461" y="12922"/>
                    </a:cubicBezTo>
                    <a:cubicBezTo>
                      <a:pt x="10008" y="12922"/>
                      <a:pt x="12921" y="10008"/>
                      <a:pt x="12921" y="646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5" name="Полилиния: фигура 664">
                <a:extLst>
                  <a:ext uri="{FF2B5EF4-FFF2-40B4-BE49-F238E27FC236}">
                    <a16:creationId xmlns:a16="http://schemas.microsoft.com/office/drawing/2014/main" id="{A7FDB070-F6DE-4972-951A-AF3971584448}"/>
                  </a:ext>
                </a:extLst>
              </p:cNvPr>
              <p:cNvSpPr/>
              <p:nvPr/>
            </p:nvSpPr>
            <p:spPr>
              <a:xfrm>
                <a:off x="6262505" y="1262439"/>
                <a:ext cx="18495" cy="10894"/>
              </a:xfrm>
              <a:custGeom>
                <a:avLst/>
                <a:gdLst>
                  <a:gd name="connsiteX0" fmla="*/ 0 w 18495"/>
                  <a:gd name="connsiteY0" fmla="*/ 5447 h 10894"/>
                  <a:gd name="connsiteX1" fmla="*/ 9248 w 18495"/>
                  <a:gd name="connsiteY1" fmla="*/ 10895 h 10894"/>
                  <a:gd name="connsiteX2" fmla="*/ 18496 w 18495"/>
                  <a:gd name="connsiteY2" fmla="*/ 5447 h 10894"/>
                  <a:gd name="connsiteX3" fmla="*/ 9248 w 18495"/>
                  <a:gd name="connsiteY3" fmla="*/ 0 h 10894"/>
                  <a:gd name="connsiteX4" fmla="*/ 0 w 18495"/>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0894">
                    <a:moveTo>
                      <a:pt x="0" y="5447"/>
                    </a:moveTo>
                    <a:cubicBezTo>
                      <a:pt x="0" y="8488"/>
                      <a:pt x="4181" y="10895"/>
                      <a:pt x="9248" y="10895"/>
                    </a:cubicBezTo>
                    <a:cubicBezTo>
                      <a:pt x="14315" y="10895"/>
                      <a:pt x="18496" y="8361"/>
                      <a:pt x="18496" y="5447"/>
                    </a:cubicBezTo>
                    <a:cubicBezTo>
                      <a:pt x="18496" y="2407"/>
                      <a:pt x="14315" y="0"/>
                      <a:pt x="9248" y="0"/>
                    </a:cubicBezTo>
                    <a:cubicBezTo>
                      <a:pt x="4181" y="0"/>
                      <a:pt x="0" y="2534"/>
                      <a:pt x="0" y="544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6" name="Полилиния: фигура 665">
                <a:extLst>
                  <a:ext uri="{FF2B5EF4-FFF2-40B4-BE49-F238E27FC236}">
                    <a16:creationId xmlns:a16="http://schemas.microsoft.com/office/drawing/2014/main" id="{AB6419E6-6469-4EBD-A0F2-1D1F6BA5B097}"/>
                  </a:ext>
                </a:extLst>
              </p:cNvPr>
              <p:cNvSpPr/>
              <p:nvPr/>
            </p:nvSpPr>
            <p:spPr>
              <a:xfrm>
                <a:off x="6207088" y="1157528"/>
                <a:ext cx="57808" cy="45171"/>
              </a:xfrm>
              <a:custGeom>
                <a:avLst/>
                <a:gdLst>
                  <a:gd name="connsiteX0" fmla="*/ 15006 w 57808"/>
                  <a:gd name="connsiteY0" fmla="*/ 42203 h 45171"/>
                  <a:gd name="connsiteX1" fmla="*/ 26280 w 57808"/>
                  <a:gd name="connsiteY1" fmla="*/ 44990 h 45171"/>
                  <a:gd name="connsiteX2" fmla="*/ 42749 w 57808"/>
                  <a:gd name="connsiteY2" fmla="*/ 34096 h 45171"/>
                  <a:gd name="connsiteX3" fmla="*/ 57064 w 57808"/>
                  <a:gd name="connsiteY3" fmla="*/ 22821 h 45171"/>
                  <a:gd name="connsiteX4" fmla="*/ 55037 w 57808"/>
                  <a:gd name="connsiteY4" fmla="*/ 14460 h 45171"/>
                  <a:gd name="connsiteX5" fmla="*/ 47563 w 57808"/>
                  <a:gd name="connsiteY5" fmla="*/ 5846 h 45171"/>
                  <a:gd name="connsiteX6" fmla="*/ 38061 w 57808"/>
                  <a:gd name="connsiteY6" fmla="*/ 1032 h 45171"/>
                  <a:gd name="connsiteX7" fmla="*/ 28940 w 57808"/>
                  <a:gd name="connsiteY7" fmla="*/ 13446 h 45171"/>
                  <a:gd name="connsiteX8" fmla="*/ 18299 w 57808"/>
                  <a:gd name="connsiteY8" fmla="*/ 20287 h 45171"/>
                  <a:gd name="connsiteX9" fmla="*/ 1957 w 57808"/>
                  <a:gd name="connsiteY9" fmla="*/ 34222 h 45171"/>
                  <a:gd name="connsiteX10" fmla="*/ 15006 w 57808"/>
                  <a:gd name="connsiteY10" fmla="*/ 42203 h 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808" h="45171">
                    <a:moveTo>
                      <a:pt x="15006" y="42203"/>
                    </a:moveTo>
                    <a:cubicBezTo>
                      <a:pt x="18426" y="43977"/>
                      <a:pt x="22353" y="45750"/>
                      <a:pt x="26280" y="44990"/>
                    </a:cubicBezTo>
                    <a:cubicBezTo>
                      <a:pt x="33247" y="43724"/>
                      <a:pt x="37681" y="38403"/>
                      <a:pt x="42749" y="34096"/>
                    </a:cubicBezTo>
                    <a:cubicBezTo>
                      <a:pt x="47563" y="30042"/>
                      <a:pt x="53897" y="28902"/>
                      <a:pt x="57064" y="22821"/>
                    </a:cubicBezTo>
                    <a:cubicBezTo>
                      <a:pt x="58711" y="19781"/>
                      <a:pt x="57444" y="16740"/>
                      <a:pt x="55037" y="14460"/>
                    </a:cubicBezTo>
                    <a:cubicBezTo>
                      <a:pt x="52123" y="11673"/>
                      <a:pt x="49716" y="9393"/>
                      <a:pt x="47563" y="5846"/>
                    </a:cubicBezTo>
                    <a:cubicBezTo>
                      <a:pt x="45409" y="2298"/>
                      <a:pt x="42622" y="-2009"/>
                      <a:pt x="38061" y="1032"/>
                    </a:cubicBezTo>
                    <a:cubicBezTo>
                      <a:pt x="33881" y="3945"/>
                      <a:pt x="31854" y="9519"/>
                      <a:pt x="28940" y="13446"/>
                    </a:cubicBezTo>
                    <a:cubicBezTo>
                      <a:pt x="26153" y="17247"/>
                      <a:pt x="22860" y="19020"/>
                      <a:pt x="18299" y="20287"/>
                    </a:cubicBezTo>
                    <a:cubicBezTo>
                      <a:pt x="13232" y="21681"/>
                      <a:pt x="-6151" y="25735"/>
                      <a:pt x="1957" y="34222"/>
                    </a:cubicBezTo>
                    <a:cubicBezTo>
                      <a:pt x="5378" y="37770"/>
                      <a:pt x="10572" y="40176"/>
                      <a:pt x="15006" y="4220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7" name="Полилиния: фигура 666">
                <a:extLst>
                  <a:ext uri="{FF2B5EF4-FFF2-40B4-BE49-F238E27FC236}">
                    <a16:creationId xmlns:a16="http://schemas.microsoft.com/office/drawing/2014/main" id="{054C62E7-BCBC-4EC0-BE98-AC7B4CBA7D6A}"/>
                  </a:ext>
                </a:extLst>
              </p:cNvPr>
              <p:cNvSpPr/>
              <p:nvPr/>
            </p:nvSpPr>
            <p:spPr>
              <a:xfrm>
                <a:off x="6258828" y="1161089"/>
                <a:ext cx="66211" cy="64010"/>
              </a:xfrm>
              <a:custGeom>
                <a:avLst/>
                <a:gdLst>
                  <a:gd name="connsiteX0" fmla="*/ 64739 w 66211"/>
                  <a:gd name="connsiteY0" fmla="*/ 61445 h 64010"/>
                  <a:gd name="connsiteX1" fmla="*/ 63345 w 66211"/>
                  <a:gd name="connsiteY1" fmla="*/ 47637 h 64010"/>
                  <a:gd name="connsiteX2" fmla="*/ 56757 w 66211"/>
                  <a:gd name="connsiteY2" fmla="*/ 27621 h 64010"/>
                  <a:gd name="connsiteX3" fmla="*/ 45103 w 66211"/>
                  <a:gd name="connsiteY3" fmla="*/ 8112 h 64010"/>
                  <a:gd name="connsiteX4" fmla="*/ 23947 w 66211"/>
                  <a:gd name="connsiteY4" fmla="*/ 3298 h 64010"/>
                  <a:gd name="connsiteX5" fmla="*/ 16979 w 66211"/>
                  <a:gd name="connsiteY5" fmla="*/ 22047 h 64010"/>
                  <a:gd name="connsiteX6" fmla="*/ 7858 w 66211"/>
                  <a:gd name="connsiteY6" fmla="*/ 35095 h 64010"/>
                  <a:gd name="connsiteX7" fmla="*/ 384 w 66211"/>
                  <a:gd name="connsiteY7" fmla="*/ 50677 h 64010"/>
                  <a:gd name="connsiteX8" fmla="*/ 15206 w 66211"/>
                  <a:gd name="connsiteY8" fmla="*/ 61572 h 64010"/>
                  <a:gd name="connsiteX9" fmla="*/ 33195 w 66211"/>
                  <a:gd name="connsiteY9" fmla="*/ 58278 h 64010"/>
                  <a:gd name="connsiteX10" fmla="*/ 38389 w 66211"/>
                  <a:gd name="connsiteY10" fmla="*/ 51817 h 64010"/>
                  <a:gd name="connsiteX11" fmla="*/ 46876 w 66211"/>
                  <a:gd name="connsiteY11" fmla="*/ 52704 h 64010"/>
                  <a:gd name="connsiteX12" fmla="*/ 64739 w 66211"/>
                  <a:gd name="connsiteY12" fmla="*/ 61445 h 6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11" h="64010">
                    <a:moveTo>
                      <a:pt x="64739" y="61445"/>
                    </a:moveTo>
                    <a:cubicBezTo>
                      <a:pt x="68159" y="57645"/>
                      <a:pt x="64739" y="51690"/>
                      <a:pt x="63345" y="47637"/>
                    </a:cubicBezTo>
                    <a:cubicBezTo>
                      <a:pt x="61065" y="40922"/>
                      <a:pt x="58658" y="34335"/>
                      <a:pt x="56757" y="27621"/>
                    </a:cubicBezTo>
                    <a:cubicBezTo>
                      <a:pt x="54477" y="19640"/>
                      <a:pt x="51310" y="13812"/>
                      <a:pt x="45103" y="8112"/>
                    </a:cubicBezTo>
                    <a:cubicBezTo>
                      <a:pt x="39402" y="2918"/>
                      <a:pt x="30534" y="-4303"/>
                      <a:pt x="23947" y="3298"/>
                    </a:cubicBezTo>
                    <a:cubicBezTo>
                      <a:pt x="19260" y="8618"/>
                      <a:pt x="18373" y="15459"/>
                      <a:pt x="16979" y="22047"/>
                    </a:cubicBezTo>
                    <a:cubicBezTo>
                      <a:pt x="15712" y="27747"/>
                      <a:pt x="11659" y="30915"/>
                      <a:pt x="7858" y="35095"/>
                    </a:cubicBezTo>
                    <a:cubicBezTo>
                      <a:pt x="4058" y="39276"/>
                      <a:pt x="-1516" y="44470"/>
                      <a:pt x="384" y="50677"/>
                    </a:cubicBezTo>
                    <a:cubicBezTo>
                      <a:pt x="2411" y="57265"/>
                      <a:pt x="8618" y="61065"/>
                      <a:pt x="15206" y="61572"/>
                    </a:cubicBezTo>
                    <a:cubicBezTo>
                      <a:pt x="21413" y="62205"/>
                      <a:pt x="28381" y="63345"/>
                      <a:pt x="33195" y="58278"/>
                    </a:cubicBezTo>
                    <a:cubicBezTo>
                      <a:pt x="35222" y="56124"/>
                      <a:pt x="35728" y="53337"/>
                      <a:pt x="38389" y="51817"/>
                    </a:cubicBezTo>
                    <a:cubicBezTo>
                      <a:pt x="41302" y="50170"/>
                      <a:pt x="44343" y="50297"/>
                      <a:pt x="46876" y="52704"/>
                    </a:cubicBezTo>
                    <a:cubicBezTo>
                      <a:pt x="51183" y="57011"/>
                      <a:pt x="57771" y="69299"/>
                      <a:pt x="64739" y="6144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8" name="Полилиния: фигура 667">
                <a:extLst>
                  <a:ext uri="{FF2B5EF4-FFF2-40B4-BE49-F238E27FC236}">
                    <a16:creationId xmlns:a16="http://schemas.microsoft.com/office/drawing/2014/main" id="{7888DECA-6EFF-4A88-B05D-DBAA97C7D52B}"/>
                  </a:ext>
                </a:extLst>
              </p:cNvPr>
              <p:cNvSpPr/>
              <p:nvPr/>
            </p:nvSpPr>
            <p:spPr>
              <a:xfrm>
                <a:off x="6265679" y="1096867"/>
                <a:ext cx="27885" cy="29580"/>
              </a:xfrm>
              <a:custGeom>
                <a:avLst/>
                <a:gdLst>
                  <a:gd name="connsiteX0" fmla="*/ 247 w 27885"/>
                  <a:gd name="connsiteY0" fmla="*/ 5319 h 29580"/>
                  <a:gd name="connsiteX1" fmla="*/ 11522 w 27885"/>
                  <a:gd name="connsiteY1" fmla="*/ 27362 h 29580"/>
                  <a:gd name="connsiteX2" fmla="*/ 25710 w 27885"/>
                  <a:gd name="connsiteY2" fmla="*/ 27488 h 29580"/>
                  <a:gd name="connsiteX3" fmla="*/ 26597 w 27885"/>
                  <a:gd name="connsiteY3" fmla="*/ 14693 h 29580"/>
                  <a:gd name="connsiteX4" fmla="*/ 16083 w 27885"/>
                  <a:gd name="connsiteY4" fmla="*/ 4812 h 29580"/>
                  <a:gd name="connsiteX5" fmla="*/ 247 w 27885"/>
                  <a:gd name="connsiteY5" fmla="*/ 5319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85" h="29580">
                    <a:moveTo>
                      <a:pt x="247" y="5319"/>
                    </a:moveTo>
                    <a:cubicBezTo>
                      <a:pt x="-1273" y="13173"/>
                      <a:pt x="4428" y="24068"/>
                      <a:pt x="11522" y="27362"/>
                    </a:cubicBezTo>
                    <a:cubicBezTo>
                      <a:pt x="15576" y="29262"/>
                      <a:pt x="22037" y="31162"/>
                      <a:pt x="25710" y="27488"/>
                    </a:cubicBezTo>
                    <a:cubicBezTo>
                      <a:pt x="28371" y="24701"/>
                      <a:pt x="28497" y="17987"/>
                      <a:pt x="26597" y="14693"/>
                    </a:cubicBezTo>
                    <a:cubicBezTo>
                      <a:pt x="24190" y="10639"/>
                      <a:pt x="19630" y="7852"/>
                      <a:pt x="16083" y="4812"/>
                    </a:cubicBezTo>
                    <a:cubicBezTo>
                      <a:pt x="11522" y="885"/>
                      <a:pt x="2021" y="-3929"/>
                      <a:pt x="247" y="5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69" name="Полилиния: фигура 668">
                <a:extLst>
                  <a:ext uri="{FF2B5EF4-FFF2-40B4-BE49-F238E27FC236}">
                    <a16:creationId xmlns:a16="http://schemas.microsoft.com/office/drawing/2014/main" id="{DAB75B41-951F-4328-B44B-1B6280FEE8AE}"/>
                  </a:ext>
                </a:extLst>
              </p:cNvPr>
              <p:cNvSpPr/>
              <p:nvPr/>
            </p:nvSpPr>
            <p:spPr>
              <a:xfrm>
                <a:off x="6247519" y="1049720"/>
                <a:ext cx="34063" cy="29760"/>
              </a:xfrm>
              <a:custGeom>
                <a:avLst/>
                <a:gdLst>
                  <a:gd name="connsiteX0" fmla="*/ 9413 w 34063"/>
                  <a:gd name="connsiteY0" fmla="*/ 18389 h 29760"/>
                  <a:gd name="connsiteX1" fmla="*/ 31962 w 34063"/>
                  <a:gd name="connsiteY1" fmla="*/ 28523 h 29760"/>
                  <a:gd name="connsiteX2" fmla="*/ 31962 w 34063"/>
                  <a:gd name="connsiteY2" fmla="*/ 18515 h 29760"/>
                  <a:gd name="connsiteX3" fmla="*/ 14607 w 34063"/>
                  <a:gd name="connsiteY3" fmla="*/ 1160 h 29760"/>
                  <a:gd name="connsiteX4" fmla="*/ 38 w 34063"/>
                  <a:gd name="connsiteY4" fmla="*/ 6481 h 29760"/>
                  <a:gd name="connsiteX5" fmla="*/ 9413 w 34063"/>
                  <a:gd name="connsiteY5" fmla="*/ 18389 h 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63" h="29760">
                    <a:moveTo>
                      <a:pt x="9413" y="18389"/>
                    </a:moveTo>
                    <a:cubicBezTo>
                      <a:pt x="15113" y="21049"/>
                      <a:pt x="24995" y="33717"/>
                      <a:pt x="31962" y="28523"/>
                    </a:cubicBezTo>
                    <a:cubicBezTo>
                      <a:pt x="35636" y="25863"/>
                      <a:pt x="33736" y="21809"/>
                      <a:pt x="31962" y="18515"/>
                    </a:cubicBezTo>
                    <a:cubicBezTo>
                      <a:pt x="27782" y="10535"/>
                      <a:pt x="23221" y="4580"/>
                      <a:pt x="14607" y="1160"/>
                    </a:cubicBezTo>
                    <a:cubicBezTo>
                      <a:pt x="10046" y="-740"/>
                      <a:pt x="-722" y="-1120"/>
                      <a:pt x="38" y="6481"/>
                    </a:cubicBezTo>
                    <a:cubicBezTo>
                      <a:pt x="672" y="11548"/>
                      <a:pt x="5105" y="16362"/>
                      <a:pt x="9413" y="1838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0" name="Полилиния: фигура 669">
                <a:extLst>
                  <a:ext uri="{FF2B5EF4-FFF2-40B4-BE49-F238E27FC236}">
                    <a16:creationId xmlns:a16="http://schemas.microsoft.com/office/drawing/2014/main" id="{4B2A9D84-4998-4BE5-9945-D7445C8B8131}"/>
                  </a:ext>
                </a:extLst>
              </p:cNvPr>
              <p:cNvSpPr/>
              <p:nvPr/>
            </p:nvSpPr>
            <p:spPr>
              <a:xfrm>
                <a:off x="6282730" y="1021000"/>
                <a:ext cx="38391" cy="104622"/>
              </a:xfrm>
              <a:custGeom>
                <a:avLst/>
                <a:gdLst>
                  <a:gd name="connsiteX0" fmla="*/ 8533 w 38391"/>
                  <a:gd name="connsiteY0" fmla="*/ 50909 h 104622"/>
                  <a:gd name="connsiteX1" fmla="*/ 8533 w 38391"/>
                  <a:gd name="connsiteY1" fmla="*/ 65351 h 104622"/>
                  <a:gd name="connsiteX2" fmla="*/ 15754 w 38391"/>
                  <a:gd name="connsiteY2" fmla="*/ 84860 h 104622"/>
                  <a:gd name="connsiteX3" fmla="*/ 26268 w 38391"/>
                  <a:gd name="connsiteY3" fmla="*/ 101329 h 104622"/>
                  <a:gd name="connsiteX4" fmla="*/ 36403 w 38391"/>
                  <a:gd name="connsiteY4" fmla="*/ 102722 h 104622"/>
                  <a:gd name="connsiteX5" fmla="*/ 36656 w 38391"/>
                  <a:gd name="connsiteY5" fmla="*/ 85620 h 104622"/>
                  <a:gd name="connsiteX6" fmla="*/ 36783 w 38391"/>
                  <a:gd name="connsiteY6" fmla="*/ 65478 h 104622"/>
                  <a:gd name="connsiteX7" fmla="*/ 35389 w 38391"/>
                  <a:gd name="connsiteY7" fmla="*/ 45335 h 104622"/>
                  <a:gd name="connsiteX8" fmla="*/ 28548 w 38391"/>
                  <a:gd name="connsiteY8" fmla="*/ 39381 h 104622"/>
                  <a:gd name="connsiteX9" fmla="*/ 23608 w 38391"/>
                  <a:gd name="connsiteY9" fmla="*/ 27980 h 104622"/>
                  <a:gd name="connsiteX10" fmla="*/ 12207 w 38391"/>
                  <a:gd name="connsiteY10" fmla="*/ 996 h 104622"/>
                  <a:gd name="connsiteX11" fmla="*/ 45 w 38391"/>
                  <a:gd name="connsiteY11" fmla="*/ 7964 h 104622"/>
                  <a:gd name="connsiteX12" fmla="*/ 3846 w 38391"/>
                  <a:gd name="connsiteY12" fmla="*/ 34060 h 104622"/>
                  <a:gd name="connsiteX13" fmla="*/ 8533 w 38391"/>
                  <a:gd name="connsiteY13" fmla="*/ 50909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1" h="104622">
                    <a:moveTo>
                      <a:pt x="8533" y="50909"/>
                    </a:moveTo>
                    <a:cubicBezTo>
                      <a:pt x="8406" y="55850"/>
                      <a:pt x="7519" y="60537"/>
                      <a:pt x="8533" y="65351"/>
                    </a:cubicBezTo>
                    <a:cubicBezTo>
                      <a:pt x="9800" y="72065"/>
                      <a:pt x="13093" y="78653"/>
                      <a:pt x="15754" y="84860"/>
                    </a:cubicBezTo>
                    <a:cubicBezTo>
                      <a:pt x="18287" y="90814"/>
                      <a:pt x="21327" y="97022"/>
                      <a:pt x="26268" y="101329"/>
                    </a:cubicBezTo>
                    <a:cubicBezTo>
                      <a:pt x="29182" y="103863"/>
                      <a:pt x="33489" y="106523"/>
                      <a:pt x="36403" y="102722"/>
                    </a:cubicBezTo>
                    <a:cubicBezTo>
                      <a:pt x="39950" y="98162"/>
                      <a:pt x="37923" y="90561"/>
                      <a:pt x="36656" y="85620"/>
                    </a:cubicBezTo>
                    <a:cubicBezTo>
                      <a:pt x="35009" y="78906"/>
                      <a:pt x="35643" y="72192"/>
                      <a:pt x="36783" y="65478"/>
                    </a:cubicBezTo>
                    <a:cubicBezTo>
                      <a:pt x="37796" y="59017"/>
                      <a:pt x="40330" y="50783"/>
                      <a:pt x="35389" y="45335"/>
                    </a:cubicBezTo>
                    <a:cubicBezTo>
                      <a:pt x="33362" y="43055"/>
                      <a:pt x="30575" y="41661"/>
                      <a:pt x="28548" y="39381"/>
                    </a:cubicBezTo>
                    <a:cubicBezTo>
                      <a:pt x="25635" y="36214"/>
                      <a:pt x="24494" y="32034"/>
                      <a:pt x="23608" y="27980"/>
                    </a:cubicBezTo>
                    <a:cubicBezTo>
                      <a:pt x="21708" y="19365"/>
                      <a:pt x="21581" y="5304"/>
                      <a:pt x="12207" y="996"/>
                    </a:cubicBezTo>
                    <a:cubicBezTo>
                      <a:pt x="6253" y="-1791"/>
                      <a:pt x="172" y="1503"/>
                      <a:pt x="45" y="7964"/>
                    </a:cubicBezTo>
                    <a:cubicBezTo>
                      <a:pt x="-208" y="16198"/>
                      <a:pt x="552" y="26460"/>
                      <a:pt x="3846" y="34060"/>
                    </a:cubicBezTo>
                    <a:cubicBezTo>
                      <a:pt x="6126" y="39635"/>
                      <a:pt x="8659" y="44448"/>
                      <a:pt x="8533" y="509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1" name="Полилиния: фигура 670">
                <a:extLst>
                  <a:ext uri="{FF2B5EF4-FFF2-40B4-BE49-F238E27FC236}">
                    <a16:creationId xmlns:a16="http://schemas.microsoft.com/office/drawing/2014/main" id="{697F5AE5-9513-47FD-A002-16F1973A2C0D}"/>
                  </a:ext>
                </a:extLst>
              </p:cNvPr>
              <p:cNvSpPr/>
              <p:nvPr/>
            </p:nvSpPr>
            <p:spPr>
              <a:xfrm>
                <a:off x="6326323" y="1061391"/>
                <a:ext cx="22959" cy="51959"/>
              </a:xfrm>
              <a:custGeom>
                <a:avLst/>
                <a:gdLst>
                  <a:gd name="connsiteX0" fmla="*/ 5604 w 22959"/>
                  <a:gd name="connsiteY0" fmla="*/ 51056 h 51959"/>
                  <a:gd name="connsiteX1" fmla="*/ 22959 w 22959"/>
                  <a:gd name="connsiteY1" fmla="*/ 40415 h 51959"/>
                  <a:gd name="connsiteX2" fmla="*/ 21946 w 22959"/>
                  <a:gd name="connsiteY2" fmla="*/ 24580 h 51959"/>
                  <a:gd name="connsiteX3" fmla="*/ 13712 w 22959"/>
                  <a:gd name="connsiteY3" fmla="*/ 6717 h 51959"/>
                  <a:gd name="connsiteX4" fmla="*/ 2184 w 22959"/>
                  <a:gd name="connsiteY4" fmla="*/ 510 h 51959"/>
                  <a:gd name="connsiteX5" fmla="*/ 537 w 22959"/>
                  <a:gd name="connsiteY5" fmla="*/ 22046 h 51959"/>
                  <a:gd name="connsiteX6" fmla="*/ 1550 w 22959"/>
                  <a:gd name="connsiteY6" fmla="*/ 38261 h 51959"/>
                  <a:gd name="connsiteX7" fmla="*/ 5604 w 22959"/>
                  <a:gd name="connsiteY7" fmla="*/ 51056 h 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9" h="51959">
                    <a:moveTo>
                      <a:pt x="5604" y="51056"/>
                    </a:moveTo>
                    <a:cubicBezTo>
                      <a:pt x="11685" y="54603"/>
                      <a:pt x="22959" y="47002"/>
                      <a:pt x="22959" y="40415"/>
                    </a:cubicBezTo>
                    <a:cubicBezTo>
                      <a:pt x="22959" y="35221"/>
                      <a:pt x="22833" y="29774"/>
                      <a:pt x="21946" y="24580"/>
                    </a:cubicBezTo>
                    <a:cubicBezTo>
                      <a:pt x="20679" y="17866"/>
                      <a:pt x="17385" y="12418"/>
                      <a:pt x="13712" y="6717"/>
                    </a:cubicBezTo>
                    <a:cubicBezTo>
                      <a:pt x="10545" y="1777"/>
                      <a:pt x="8391" y="-1264"/>
                      <a:pt x="2184" y="510"/>
                    </a:cubicBezTo>
                    <a:cubicBezTo>
                      <a:pt x="-350" y="7224"/>
                      <a:pt x="-350" y="14952"/>
                      <a:pt x="537" y="22046"/>
                    </a:cubicBezTo>
                    <a:cubicBezTo>
                      <a:pt x="1170" y="27493"/>
                      <a:pt x="1044" y="32814"/>
                      <a:pt x="1550" y="38261"/>
                    </a:cubicBezTo>
                    <a:cubicBezTo>
                      <a:pt x="2057" y="42442"/>
                      <a:pt x="1424" y="48523"/>
                      <a:pt x="5604" y="510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2" name="Полилиния: фигура 671">
                <a:extLst>
                  <a:ext uri="{FF2B5EF4-FFF2-40B4-BE49-F238E27FC236}">
                    <a16:creationId xmlns:a16="http://schemas.microsoft.com/office/drawing/2014/main" id="{4B6B0B44-1B29-48B9-A613-A982D3DCCEB9}"/>
                  </a:ext>
                </a:extLst>
              </p:cNvPr>
              <p:cNvSpPr/>
              <p:nvPr/>
            </p:nvSpPr>
            <p:spPr>
              <a:xfrm>
                <a:off x="6323543" y="1010332"/>
                <a:ext cx="55045" cy="41364"/>
              </a:xfrm>
              <a:custGeom>
                <a:avLst/>
                <a:gdLst>
                  <a:gd name="connsiteX0" fmla="*/ 8512 w 55045"/>
                  <a:gd name="connsiteY0" fmla="*/ 23319 h 41364"/>
                  <a:gd name="connsiteX1" fmla="*/ 27894 w 55045"/>
                  <a:gd name="connsiteY1" fmla="*/ 30920 h 41364"/>
                  <a:gd name="connsiteX2" fmla="*/ 40309 w 55045"/>
                  <a:gd name="connsiteY2" fmla="*/ 40421 h 41364"/>
                  <a:gd name="connsiteX3" fmla="*/ 54498 w 55045"/>
                  <a:gd name="connsiteY3" fmla="*/ 34467 h 41364"/>
                  <a:gd name="connsiteX4" fmla="*/ 53231 w 55045"/>
                  <a:gd name="connsiteY4" fmla="*/ 17112 h 41364"/>
                  <a:gd name="connsiteX5" fmla="*/ 43729 w 55045"/>
                  <a:gd name="connsiteY5" fmla="*/ 8244 h 41364"/>
                  <a:gd name="connsiteX6" fmla="*/ 30934 w 55045"/>
                  <a:gd name="connsiteY6" fmla="*/ 9004 h 41364"/>
                  <a:gd name="connsiteX7" fmla="*/ 658 w 55045"/>
                  <a:gd name="connsiteY7" fmla="*/ 6597 h 41364"/>
                  <a:gd name="connsiteX8" fmla="*/ 8512 w 55045"/>
                  <a:gd name="connsiteY8" fmla="*/ 23319 h 4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45" h="41364">
                    <a:moveTo>
                      <a:pt x="8512" y="23319"/>
                    </a:moveTo>
                    <a:cubicBezTo>
                      <a:pt x="14592" y="26740"/>
                      <a:pt x="21686" y="27753"/>
                      <a:pt x="27894" y="30920"/>
                    </a:cubicBezTo>
                    <a:cubicBezTo>
                      <a:pt x="32581" y="33327"/>
                      <a:pt x="35622" y="38268"/>
                      <a:pt x="40309" y="40421"/>
                    </a:cubicBezTo>
                    <a:cubicBezTo>
                      <a:pt x="45883" y="42828"/>
                      <a:pt x="52977" y="40548"/>
                      <a:pt x="54498" y="34467"/>
                    </a:cubicBezTo>
                    <a:cubicBezTo>
                      <a:pt x="55764" y="29780"/>
                      <a:pt x="54624" y="21799"/>
                      <a:pt x="53231" y="17112"/>
                    </a:cubicBezTo>
                    <a:cubicBezTo>
                      <a:pt x="51964" y="12678"/>
                      <a:pt x="48290" y="9131"/>
                      <a:pt x="43729" y="8244"/>
                    </a:cubicBezTo>
                    <a:cubicBezTo>
                      <a:pt x="39296" y="7357"/>
                      <a:pt x="35242" y="9764"/>
                      <a:pt x="30934" y="9004"/>
                    </a:cubicBezTo>
                    <a:cubicBezTo>
                      <a:pt x="22573" y="7484"/>
                      <a:pt x="5978" y="-8858"/>
                      <a:pt x="658" y="6597"/>
                    </a:cubicBezTo>
                    <a:cubicBezTo>
                      <a:pt x="-1749" y="13311"/>
                      <a:pt x="2811" y="20152"/>
                      <a:pt x="8512" y="2331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3" name="Полилиния: фигура 672">
                <a:extLst>
                  <a:ext uri="{FF2B5EF4-FFF2-40B4-BE49-F238E27FC236}">
                    <a16:creationId xmlns:a16="http://schemas.microsoft.com/office/drawing/2014/main" id="{08BED661-C84B-4EEA-BE09-A17F809B6BFE}"/>
                  </a:ext>
                </a:extLst>
              </p:cNvPr>
              <p:cNvSpPr/>
              <p:nvPr/>
            </p:nvSpPr>
            <p:spPr>
              <a:xfrm>
                <a:off x="6386681" y="1006992"/>
                <a:ext cx="29560" cy="30559"/>
              </a:xfrm>
              <a:custGeom>
                <a:avLst/>
                <a:gdLst>
                  <a:gd name="connsiteX0" fmla="*/ 11121 w 29560"/>
                  <a:gd name="connsiteY0" fmla="*/ 28559 h 30559"/>
                  <a:gd name="connsiteX1" fmla="*/ 21636 w 29560"/>
                  <a:gd name="connsiteY1" fmla="*/ 29446 h 30559"/>
                  <a:gd name="connsiteX2" fmla="*/ 26703 w 29560"/>
                  <a:gd name="connsiteY2" fmla="*/ 12344 h 30559"/>
                  <a:gd name="connsiteX3" fmla="*/ 1873 w 29560"/>
                  <a:gd name="connsiteY3" fmla="*/ 4743 h 30559"/>
                  <a:gd name="connsiteX4" fmla="*/ 1240 w 29560"/>
                  <a:gd name="connsiteY4" fmla="*/ 18171 h 30559"/>
                  <a:gd name="connsiteX5" fmla="*/ 11121 w 29560"/>
                  <a:gd name="connsiteY5" fmla="*/ 2855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60" h="30559">
                    <a:moveTo>
                      <a:pt x="11121" y="28559"/>
                    </a:moveTo>
                    <a:cubicBezTo>
                      <a:pt x="14288" y="30840"/>
                      <a:pt x="18089" y="31220"/>
                      <a:pt x="21636" y="29446"/>
                    </a:cubicBezTo>
                    <a:cubicBezTo>
                      <a:pt x="27717" y="26532"/>
                      <a:pt x="33037" y="17791"/>
                      <a:pt x="26703" y="12344"/>
                    </a:cubicBezTo>
                    <a:cubicBezTo>
                      <a:pt x="20496" y="7023"/>
                      <a:pt x="9094" y="-7419"/>
                      <a:pt x="1873" y="4743"/>
                    </a:cubicBezTo>
                    <a:cubicBezTo>
                      <a:pt x="-154" y="8163"/>
                      <a:pt x="-787" y="14624"/>
                      <a:pt x="1240" y="18171"/>
                    </a:cubicBezTo>
                    <a:cubicBezTo>
                      <a:pt x="3140" y="21592"/>
                      <a:pt x="7954" y="26279"/>
                      <a:pt x="11121" y="2855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4" name="Полилиния: фигура 673">
                <a:extLst>
                  <a:ext uri="{FF2B5EF4-FFF2-40B4-BE49-F238E27FC236}">
                    <a16:creationId xmlns:a16="http://schemas.microsoft.com/office/drawing/2014/main" id="{F0CEA411-DD56-497C-B2EB-693A9FC70AE3}"/>
                  </a:ext>
                </a:extLst>
              </p:cNvPr>
              <p:cNvSpPr/>
              <p:nvPr/>
            </p:nvSpPr>
            <p:spPr>
              <a:xfrm>
                <a:off x="6438145" y="984749"/>
                <a:ext cx="47552" cy="25567"/>
              </a:xfrm>
              <a:custGeom>
                <a:avLst/>
                <a:gdLst>
                  <a:gd name="connsiteX0" fmla="*/ 6403 w 47552"/>
                  <a:gd name="connsiteY0" fmla="*/ 15965 h 25567"/>
                  <a:gd name="connsiteX1" fmla="*/ 29839 w 47552"/>
                  <a:gd name="connsiteY1" fmla="*/ 25466 h 25567"/>
                  <a:gd name="connsiteX2" fmla="*/ 47321 w 47552"/>
                  <a:gd name="connsiteY2" fmla="*/ 11151 h 25567"/>
                  <a:gd name="connsiteX3" fmla="*/ 41494 w 47552"/>
                  <a:gd name="connsiteY3" fmla="*/ 4943 h 25567"/>
                  <a:gd name="connsiteX4" fmla="*/ 19831 w 47552"/>
                  <a:gd name="connsiteY4" fmla="*/ 1396 h 25567"/>
                  <a:gd name="connsiteX5" fmla="*/ 955 w 47552"/>
                  <a:gd name="connsiteY5" fmla="*/ 5957 h 25567"/>
                  <a:gd name="connsiteX6" fmla="*/ 6403 w 47552"/>
                  <a:gd name="connsiteY6" fmla="*/ 15965 h 2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2" h="25567">
                    <a:moveTo>
                      <a:pt x="6403" y="15965"/>
                    </a:moveTo>
                    <a:cubicBezTo>
                      <a:pt x="13117" y="19638"/>
                      <a:pt x="21858" y="26479"/>
                      <a:pt x="29839" y="25466"/>
                    </a:cubicBezTo>
                    <a:cubicBezTo>
                      <a:pt x="36047" y="24706"/>
                      <a:pt x="49475" y="19765"/>
                      <a:pt x="47321" y="11151"/>
                    </a:cubicBezTo>
                    <a:cubicBezTo>
                      <a:pt x="46688" y="8237"/>
                      <a:pt x="44154" y="6083"/>
                      <a:pt x="41494" y="4943"/>
                    </a:cubicBezTo>
                    <a:cubicBezTo>
                      <a:pt x="35033" y="2156"/>
                      <a:pt x="26672" y="2663"/>
                      <a:pt x="19831" y="1396"/>
                    </a:cubicBezTo>
                    <a:cubicBezTo>
                      <a:pt x="11723" y="-124"/>
                      <a:pt x="5516" y="-2151"/>
                      <a:pt x="955" y="5957"/>
                    </a:cubicBezTo>
                    <a:cubicBezTo>
                      <a:pt x="-1958" y="11151"/>
                      <a:pt x="2349" y="13811"/>
                      <a:pt x="6403" y="159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5" name="Полилиния: фигура 674">
                <a:extLst>
                  <a:ext uri="{FF2B5EF4-FFF2-40B4-BE49-F238E27FC236}">
                    <a16:creationId xmlns:a16="http://schemas.microsoft.com/office/drawing/2014/main" id="{780E462C-0958-4AD5-922C-FBC12C5F7338}"/>
                  </a:ext>
                </a:extLst>
              </p:cNvPr>
              <p:cNvSpPr/>
              <p:nvPr/>
            </p:nvSpPr>
            <p:spPr>
              <a:xfrm>
                <a:off x="6047025" y="1067886"/>
                <a:ext cx="39794" cy="33072"/>
              </a:xfrm>
              <a:custGeom>
                <a:avLst/>
                <a:gdLst>
                  <a:gd name="connsiteX0" fmla="*/ 16715 w 39794"/>
                  <a:gd name="connsiteY0" fmla="*/ 2883 h 33072"/>
                  <a:gd name="connsiteX1" fmla="*/ 1260 w 39794"/>
                  <a:gd name="connsiteY1" fmla="*/ 3896 h 33072"/>
                  <a:gd name="connsiteX2" fmla="*/ 2147 w 39794"/>
                  <a:gd name="connsiteY2" fmla="*/ 20238 h 33072"/>
                  <a:gd name="connsiteX3" fmla="*/ 15955 w 39794"/>
                  <a:gd name="connsiteY3" fmla="*/ 31386 h 33072"/>
                  <a:gd name="connsiteX4" fmla="*/ 36858 w 39794"/>
                  <a:gd name="connsiteY4" fmla="*/ 29233 h 33072"/>
                  <a:gd name="connsiteX5" fmla="*/ 34831 w 39794"/>
                  <a:gd name="connsiteY5" fmla="*/ 7317 h 33072"/>
                  <a:gd name="connsiteX6" fmla="*/ 16715 w 39794"/>
                  <a:gd name="connsiteY6" fmla="*/ 2883 h 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4" h="33072">
                    <a:moveTo>
                      <a:pt x="16715" y="2883"/>
                    </a:moveTo>
                    <a:cubicBezTo>
                      <a:pt x="12155" y="729"/>
                      <a:pt x="4047" y="-2818"/>
                      <a:pt x="1260" y="3896"/>
                    </a:cubicBezTo>
                    <a:cubicBezTo>
                      <a:pt x="-767" y="8584"/>
                      <a:pt x="-260" y="14918"/>
                      <a:pt x="2147" y="20238"/>
                    </a:cubicBezTo>
                    <a:cubicBezTo>
                      <a:pt x="4807" y="26192"/>
                      <a:pt x="9621" y="31006"/>
                      <a:pt x="15955" y="31386"/>
                    </a:cubicBezTo>
                    <a:cubicBezTo>
                      <a:pt x="22036" y="31766"/>
                      <a:pt x="32931" y="36074"/>
                      <a:pt x="36858" y="29233"/>
                    </a:cubicBezTo>
                    <a:cubicBezTo>
                      <a:pt x="40531" y="22772"/>
                      <a:pt x="41672" y="12004"/>
                      <a:pt x="34831" y="7317"/>
                    </a:cubicBezTo>
                    <a:cubicBezTo>
                      <a:pt x="29764" y="3643"/>
                      <a:pt x="22416" y="5543"/>
                      <a:pt x="16715" y="28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6" name="Полилиния: фигура 675">
                <a:extLst>
                  <a:ext uri="{FF2B5EF4-FFF2-40B4-BE49-F238E27FC236}">
                    <a16:creationId xmlns:a16="http://schemas.microsoft.com/office/drawing/2014/main" id="{54FB4638-5A18-4E37-B1D7-2B47AD8F2ECE}"/>
                  </a:ext>
                </a:extLst>
              </p:cNvPr>
              <p:cNvSpPr/>
              <p:nvPr/>
            </p:nvSpPr>
            <p:spPr>
              <a:xfrm>
                <a:off x="6123044" y="1085048"/>
                <a:ext cx="58522" cy="45265"/>
              </a:xfrm>
              <a:custGeom>
                <a:avLst/>
                <a:gdLst>
                  <a:gd name="connsiteX0" fmla="*/ 33302 w 58522"/>
                  <a:gd name="connsiteY0" fmla="*/ 5610 h 45265"/>
                  <a:gd name="connsiteX1" fmla="*/ 17467 w 58522"/>
                  <a:gd name="connsiteY1" fmla="*/ 1176 h 45265"/>
                  <a:gd name="connsiteX2" fmla="*/ 5305 w 58522"/>
                  <a:gd name="connsiteY2" fmla="*/ 2823 h 45265"/>
                  <a:gd name="connsiteX3" fmla="*/ 2518 w 58522"/>
                  <a:gd name="connsiteY3" fmla="*/ 23599 h 45265"/>
                  <a:gd name="connsiteX4" fmla="*/ 11133 w 58522"/>
                  <a:gd name="connsiteY4" fmla="*/ 31454 h 45265"/>
                  <a:gd name="connsiteX5" fmla="*/ 18987 w 58522"/>
                  <a:gd name="connsiteY5" fmla="*/ 35634 h 45265"/>
                  <a:gd name="connsiteX6" fmla="*/ 37609 w 58522"/>
                  <a:gd name="connsiteY6" fmla="*/ 45262 h 45265"/>
                  <a:gd name="connsiteX7" fmla="*/ 57752 w 58522"/>
                  <a:gd name="connsiteY7" fmla="*/ 34747 h 45265"/>
                  <a:gd name="connsiteX8" fmla="*/ 53444 w 58522"/>
                  <a:gd name="connsiteY8" fmla="*/ 21446 h 45265"/>
                  <a:gd name="connsiteX9" fmla="*/ 42550 w 58522"/>
                  <a:gd name="connsiteY9" fmla="*/ 11944 h 45265"/>
                  <a:gd name="connsiteX10" fmla="*/ 33302 w 58522"/>
                  <a:gd name="connsiteY10" fmla="*/ 5610 h 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22" h="45265">
                    <a:moveTo>
                      <a:pt x="33302" y="5610"/>
                    </a:moveTo>
                    <a:cubicBezTo>
                      <a:pt x="27854" y="4470"/>
                      <a:pt x="22787" y="2697"/>
                      <a:pt x="17467" y="1176"/>
                    </a:cubicBezTo>
                    <a:cubicBezTo>
                      <a:pt x="13159" y="-90"/>
                      <a:pt x="8345" y="-1231"/>
                      <a:pt x="5305" y="2823"/>
                    </a:cubicBezTo>
                    <a:cubicBezTo>
                      <a:pt x="1124" y="8271"/>
                      <a:pt x="-2676" y="17899"/>
                      <a:pt x="2518" y="23599"/>
                    </a:cubicBezTo>
                    <a:cubicBezTo>
                      <a:pt x="5052" y="26513"/>
                      <a:pt x="7965" y="29300"/>
                      <a:pt x="11133" y="31454"/>
                    </a:cubicBezTo>
                    <a:cubicBezTo>
                      <a:pt x="13666" y="33227"/>
                      <a:pt x="16453" y="33860"/>
                      <a:pt x="18987" y="35634"/>
                    </a:cubicBezTo>
                    <a:cubicBezTo>
                      <a:pt x="24561" y="39815"/>
                      <a:pt x="30135" y="45135"/>
                      <a:pt x="37609" y="45262"/>
                    </a:cubicBezTo>
                    <a:cubicBezTo>
                      <a:pt x="44576" y="45389"/>
                      <a:pt x="55091" y="41715"/>
                      <a:pt x="57752" y="34747"/>
                    </a:cubicBezTo>
                    <a:cubicBezTo>
                      <a:pt x="59779" y="29427"/>
                      <a:pt x="57625" y="24739"/>
                      <a:pt x="53444" y="21446"/>
                    </a:cubicBezTo>
                    <a:cubicBezTo>
                      <a:pt x="49517" y="18405"/>
                      <a:pt x="45843" y="15745"/>
                      <a:pt x="42550" y="11944"/>
                    </a:cubicBezTo>
                    <a:cubicBezTo>
                      <a:pt x="39763" y="8651"/>
                      <a:pt x="37609" y="6624"/>
                      <a:pt x="33302" y="561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7" name="Полилиния: фигура 676">
                <a:extLst>
                  <a:ext uri="{FF2B5EF4-FFF2-40B4-BE49-F238E27FC236}">
                    <a16:creationId xmlns:a16="http://schemas.microsoft.com/office/drawing/2014/main" id="{A1C310FE-6389-41A5-8559-E132B1B6AAE5}"/>
                  </a:ext>
                </a:extLst>
              </p:cNvPr>
              <p:cNvSpPr/>
              <p:nvPr/>
            </p:nvSpPr>
            <p:spPr>
              <a:xfrm>
                <a:off x="5994981" y="943470"/>
                <a:ext cx="174215" cy="83480"/>
              </a:xfrm>
              <a:custGeom>
                <a:avLst/>
                <a:gdLst>
                  <a:gd name="connsiteX0" fmla="*/ 98404 w 174215"/>
                  <a:gd name="connsiteY0" fmla="*/ 41914 h 83480"/>
                  <a:gd name="connsiteX1" fmla="*/ 79148 w 174215"/>
                  <a:gd name="connsiteY1" fmla="*/ 26332 h 83480"/>
                  <a:gd name="connsiteX2" fmla="*/ 61032 w 174215"/>
                  <a:gd name="connsiteY2" fmla="*/ 14804 h 83480"/>
                  <a:gd name="connsiteX3" fmla="*/ 42410 w 174215"/>
                  <a:gd name="connsiteY3" fmla="*/ 20632 h 83480"/>
                  <a:gd name="connsiteX4" fmla="*/ 15300 w 174215"/>
                  <a:gd name="connsiteY4" fmla="*/ 19998 h 83480"/>
                  <a:gd name="connsiteX5" fmla="*/ 9472 w 174215"/>
                  <a:gd name="connsiteY5" fmla="*/ 35327 h 83480"/>
                  <a:gd name="connsiteX6" fmla="*/ 9726 w 174215"/>
                  <a:gd name="connsiteY6" fmla="*/ 49895 h 83480"/>
                  <a:gd name="connsiteX7" fmla="*/ 98 w 174215"/>
                  <a:gd name="connsiteY7" fmla="*/ 67124 h 83480"/>
                  <a:gd name="connsiteX8" fmla="*/ 15933 w 174215"/>
                  <a:gd name="connsiteY8" fmla="*/ 73965 h 83480"/>
                  <a:gd name="connsiteX9" fmla="*/ 42537 w 174215"/>
                  <a:gd name="connsiteY9" fmla="*/ 65224 h 83480"/>
                  <a:gd name="connsiteX10" fmla="*/ 63819 w 174215"/>
                  <a:gd name="connsiteY10" fmla="*/ 51289 h 83480"/>
                  <a:gd name="connsiteX11" fmla="*/ 74334 w 174215"/>
                  <a:gd name="connsiteY11" fmla="*/ 58130 h 83480"/>
                  <a:gd name="connsiteX12" fmla="*/ 86242 w 174215"/>
                  <a:gd name="connsiteY12" fmla="*/ 66364 h 83480"/>
                  <a:gd name="connsiteX13" fmla="*/ 94603 w 174215"/>
                  <a:gd name="connsiteY13" fmla="*/ 72952 h 83480"/>
                  <a:gd name="connsiteX14" fmla="*/ 103978 w 174215"/>
                  <a:gd name="connsiteY14" fmla="*/ 74472 h 83480"/>
                  <a:gd name="connsiteX15" fmla="*/ 133241 w 174215"/>
                  <a:gd name="connsiteY15" fmla="*/ 81693 h 83480"/>
                  <a:gd name="connsiteX16" fmla="*/ 157564 w 174215"/>
                  <a:gd name="connsiteY16" fmla="*/ 80933 h 83480"/>
                  <a:gd name="connsiteX17" fmla="*/ 173273 w 174215"/>
                  <a:gd name="connsiteY17" fmla="*/ 59777 h 83480"/>
                  <a:gd name="connsiteX18" fmla="*/ 168839 w 174215"/>
                  <a:gd name="connsiteY18" fmla="*/ 47615 h 83480"/>
                  <a:gd name="connsiteX19" fmla="*/ 153890 w 174215"/>
                  <a:gd name="connsiteY19" fmla="*/ 7710 h 83480"/>
                  <a:gd name="connsiteX20" fmla="*/ 131595 w 174215"/>
                  <a:gd name="connsiteY20" fmla="*/ 616 h 83480"/>
                  <a:gd name="connsiteX21" fmla="*/ 114112 w 174215"/>
                  <a:gd name="connsiteY21" fmla="*/ 19745 h 83480"/>
                  <a:gd name="connsiteX22" fmla="*/ 98404 w 174215"/>
                  <a:gd name="connsiteY22" fmla="*/ 4191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215" h="83480">
                    <a:moveTo>
                      <a:pt x="98404" y="41914"/>
                    </a:moveTo>
                    <a:cubicBezTo>
                      <a:pt x="89789" y="43941"/>
                      <a:pt x="83329" y="31906"/>
                      <a:pt x="79148" y="26332"/>
                    </a:cubicBezTo>
                    <a:cubicBezTo>
                      <a:pt x="74841" y="20505"/>
                      <a:pt x="69393" y="12524"/>
                      <a:pt x="61032" y="14804"/>
                    </a:cubicBezTo>
                    <a:cubicBezTo>
                      <a:pt x="54318" y="16578"/>
                      <a:pt x="49758" y="20885"/>
                      <a:pt x="42410" y="20632"/>
                    </a:cubicBezTo>
                    <a:cubicBezTo>
                      <a:pt x="33416" y="20378"/>
                      <a:pt x="24168" y="17085"/>
                      <a:pt x="15300" y="19998"/>
                    </a:cubicBezTo>
                    <a:cubicBezTo>
                      <a:pt x="7825" y="22405"/>
                      <a:pt x="6685" y="28739"/>
                      <a:pt x="9472" y="35327"/>
                    </a:cubicBezTo>
                    <a:cubicBezTo>
                      <a:pt x="11879" y="41028"/>
                      <a:pt x="13906" y="44321"/>
                      <a:pt x="9726" y="49895"/>
                    </a:cubicBezTo>
                    <a:cubicBezTo>
                      <a:pt x="6179" y="54583"/>
                      <a:pt x="-915" y="60537"/>
                      <a:pt x="98" y="67124"/>
                    </a:cubicBezTo>
                    <a:cubicBezTo>
                      <a:pt x="1111" y="74092"/>
                      <a:pt x="10613" y="74218"/>
                      <a:pt x="15933" y="73965"/>
                    </a:cubicBezTo>
                    <a:cubicBezTo>
                      <a:pt x="25308" y="73458"/>
                      <a:pt x="34556" y="70291"/>
                      <a:pt x="42537" y="65224"/>
                    </a:cubicBezTo>
                    <a:cubicBezTo>
                      <a:pt x="48744" y="61297"/>
                      <a:pt x="56092" y="51796"/>
                      <a:pt x="63819" y="51289"/>
                    </a:cubicBezTo>
                    <a:cubicBezTo>
                      <a:pt x="68887" y="50909"/>
                      <a:pt x="71674" y="54583"/>
                      <a:pt x="74334" y="58130"/>
                    </a:cubicBezTo>
                    <a:cubicBezTo>
                      <a:pt x="77121" y="62057"/>
                      <a:pt x="82442" y="63450"/>
                      <a:pt x="86242" y="66364"/>
                    </a:cubicBezTo>
                    <a:cubicBezTo>
                      <a:pt x="89029" y="68518"/>
                      <a:pt x="91056" y="72065"/>
                      <a:pt x="94603" y="72952"/>
                    </a:cubicBezTo>
                    <a:cubicBezTo>
                      <a:pt x="97770" y="73712"/>
                      <a:pt x="100811" y="73205"/>
                      <a:pt x="103978" y="74472"/>
                    </a:cubicBezTo>
                    <a:cubicBezTo>
                      <a:pt x="113479" y="78019"/>
                      <a:pt x="123233" y="80046"/>
                      <a:pt x="133241" y="81693"/>
                    </a:cubicBezTo>
                    <a:cubicBezTo>
                      <a:pt x="141096" y="83086"/>
                      <a:pt x="150090" y="85240"/>
                      <a:pt x="157564" y="80933"/>
                    </a:cubicBezTo>
                    <a:cubicBezTo>
                      <a:pt x="164912" y="76625"/>
                      <a:pt x="170613" y="67631"/>
                      <a:pt x="173273" y="59777"/>
                    </a:cubicBezTo>
                    <a:cubicBezTo>
                      <a:pt x="175300" y="53696"/>
                      <a:pt x="174160" y="50655"/>
                      <a:pt x="168839" y="47615"/>
                    </a:cubicBezTo>
                    <a:cubicBezTo>
                      <a:pt x="154397" y="39761"/>
                      <a:pt x="163265" y="19365"/>
                      <a:pt x="153890" y="7710"/>
                    </a:cubicBezTo>
                    <a:cubicBezTo>
                      <a:pt x="148823" y="1249"/>
                      <a:pt x="139449" y="-1284"/>
                      <a:pt x="131595" y="616"/>
                    </a:cubicBezTo>
                    <a:cubicBezTo>
                      <a:pt x="122220" y="3023"/>
                      <a:pt x="117786" y="11637"/>
                      <a:pt x="114112" y="19745"/>
                    </a:cubicBezTo>
                    <a:cubicBezTo>
                      <a:pt x="110945" y="26712"/>
                      <a:pt x="107018" y="39761"/>
                      <a:pt x="98404" y="4191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8" name="Полилиния: фигура 677">
                <a:extLst>
                  <a:ext uri="{FF2B5EF4-FFF2-40B4-BE49-F238E27FC236}">
                    <a16:creationId xmlns:a16="http://schemas.microsoft.com/office/drawing/2014/main" id="{BE40C891-38E6-4EA4-980B-7DE65058F5CB}"/>
                  </a:ext>
                </a:extLst>
              </p:cNvPr>
              <p:cNvSpPr/>
              <p:nvPr/>
            </p:nvSpPr>
            <p:spPr>
              <a:xfrm>
                <a:off x="5984298" y="869651"/>
                <a:ext cx="123677" cy="80207"/>
              </a:xfrm>
              <a:custGeom>
                <a:avLst/>
                <a:gdLst>
                  <a:gd name="connsiteX0" fmla="*/ 18128 w 123677"/>
                  <a:gd name="connsiteY0" fmla="*/ 39977 h 80207"/>
                  <a:gd name="connsiteX1" fmla="*/ 36371 w 123677"/>
                  <a:gd name="connsiteY1" fmla="*/ 61387 h 80207"/>
                  <a:gd name="connsiteX2" fmla="*/ 57020 w 123677"/>
                  <a:gd name="connsiteY2" fmla="*/ 52392 h 80207"/>
                  <a:gd name="connsiteX3" fmla="*/ 70575 w 123677"/>
                  <a:gd name="connsiteY3" fmla="*/ 56699 h 80207"/>
                  <a:gd name="connsiteX4" fmla="*/ 80203 w 123677"/>
                  <a:gd name="connsiteY4" fmla="*/ 63033 h 80207"/>
                  <a:gd name="connsiteX5" fmla="*/ 85777 w 123677"/>
                  <a:gd name="connsiteY5" fmla="*/ 53912 h 80207"/>
                  <a:gd name="connsiteX6" fmla="*/ 94138 w 123677"/>
                  <a:gd name="connsiteY6" fmla="*/ 57333 h 80207"/>
                  <a:gd name="connsiteX7" fmla="*/ 100219 w 123677"/>
                  <a:gd name="connsiteY7" fmla="*/ 74308 h 80207"/>
                  <a:gd name="connsiteX8" fmla="*/ 122008 w 123677"/>
                  <a:gd name="connsiteY8" fmla="*/ 69748 h 80207"/>
                  <a:gd name="connsiteX9" fmla="*/ 98572 w 123677"/>
                  <a:gd name="connsiteY9" fmla="*/ 31996 h 80207"/>
                  <a:gd name="connsiteX10" fmla="*/ 83877 w 123677"/>
                  <a:gd name="connsiteY10" fmla="*/ 25916 h 80207"/>
                  <a:gd name="connsiteX11" fmla="*/ 67535 w 123677"/>
                  <a:gd name="connsiteY11" fmla="*/ 24269 h 80207"/>
                  <a:gd name="connsiteX12" fmla="*/ 33204 w 123677"/>
                  <a:gd name="connsiteY12" fmla="*/ 2606 h 80207"/>
                  <a:gd name="connsiteX13" fmla="*/ 9641 w 123677"/>
                  <a:gd name="connsiteY13" fmla="*/ 1972 h 80207"/>
                  <a:gd name="connsiteX14" fmla="*/ 140 w 123677"/>
                  <a:gd name="connsiteY14" fmla="*/ 12741 h 80207"/>
                  <a:gd name="connsiteX15" fmla="*/ 10148 w 123677"/>
                  <a:gd name="connsiteY15" fmla="*/ 26169 h 80207"/>
                  <a:gd name="connsiteX16" fmla="*/ 18128 w 123677"/>
                  <a:gd name="connsiteY16" fmla="*/ 39977 h 8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677" h="80207">
                    <a:moveTo>
                      <a:pt x="18128" y="39977"/>
                    </a:moveTo>
                    <a:cubicBezTo>
                      <a:pt x="21042" y="49225"/>
                      <a:pt x="22689" y="65187"/>
                      <a:pt x="36371" y="61387"/>
                    </a:cubicBezTo>
                    <a:cubicBezTo>
                      <a:pt x="43718" y="59360"/>
                      <a:pt x="49546" y="53786"/>
                      <a:pt x="57020" y="52392"/>
                    </a:cubicBezTo>
                    <a:cubicBezTo>
                      <a:pt x="61581" y="51505"/>
                      <a:pt x="67281" y="53406"/>
                      <a:pt x="70575" y="56699"/>
                    </a:cubicBezTo>
                    <a:cubicBezTo>
                      <a:pt x="73489" y="59613"/>
                      <a:pt x="74755" y="65314"/>
                      <a:pt x="80203" y="63033"/>
                    </a:cubicBezTo>
                    <a:cubicBezTo>
                      <a:pt x="84763" y="61133"/>
                      <a:pt x="82230" y="56319"/>
                      <a:pt x="85777" y="53912"/>
                    </a:cubicBezTo>
                    <a:cubicBezTo>
                      <a:pt x="89577" y="51505"/>
                      <a:pt x="92745" y="53659"/>
                      <a:pt x="94138" y="57333"/>
                    </a:cubicBezTo>
                    <a:cubicBezTo>
                      <a:pt x="96292" y="63033"/>
                      <a:pt x="96925" y="69114"/>
                      <a:pt x="100219" y="74308"/>
                    </a:cubicBezTo>
                    <a:cubicBezTo>
                      <a:pt x="106933" y="85076"/>
                      <a:pt x="117828" y="79629"/>
                      <a:pt x="122008" y="69748"/>
                    </a:cubicBezTo>
                    <a:cubicBezTo>
                      <a:pt x="129102" y="52899"/>
                      <a:pt x="112127" y="38584"/>
                      <a:pt x="98572" y="31996"/>
                    </a:cubicBezTo>
                    <a:cubicBezTo>
                      <a:pt x="93758" y="29716"/>
                      <a:pt x="88944" y="27309"/>
                      <a:pt x="83877" y="25916"/>
                    </a:cubicBezTo>
                    <a:cubicBezTo>
                      <a:pt x="78429" y="24522"/>
                      <a:pt x="73109" y="24649"/>
                      <a:pt x="67535" y="24269"/>
                    </a:cubicBezTo>
                    <a:cubicBezTo>
                      <a:pt x="52333" y="23128"/>
                      <a:pt x="45999" y="8560"/>
                      <a:pt x="33204" y="2606"/>
                    </a:cubicBezTo>
                    <a:cubicBezTo>
                      <a:pt x="25856" y="-688"/>
                      <a:pt x="17115" y="-815"/>
                      <a:pt x="9641" y="1972"/>
                    </a:cubicBezTo>
                    <a:cubicBezTo>
                      <a:pt x="5080" y="3619"/>
                      <a:pt x="-1000" y="7040"/>
                      <a:pt x="140" y="12741"/>
                    </a:cubicBezTo>
                    <a:cubicBezTo>
                      <a:pt x="1280" y="17934"/>
                      <a:pt x="6727" y="22242"/>
                      <a:pt x="10148" y="26169"/>
                    </a:cubicBezTo>
                    <a:cubicBezTo>
                      <a:pt x="13568" y="30603"/>
                      <a:pt x="16482" y="34783"/>
                      <a:pt x="18128" y="3997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79" name="Полилиния: фигура 678">
                <a:extLst>
                  <a:ext uri="{FF2B5EF4-FFF2-40B4-BE49-F238E27FC236}">
                    <a16:creationId xmlns:a16="http://schemas.microsoft.com/office/drawing/2014/main" id="{BBE42057-27AC-4755-92FC-6A75E4BED378}"/>
                  </a:ext>
                </a:extLst>
              </p:cNvPr>
              <p:cNvSpPr/>
              <p:nvPr/>
            </p:nvSpPr>
            <p:spPr>
              <a:xfrm>
                <a:off x="6082532" y="957169"/>
                <a:ext cx="17398" cy="13710"/>
              </a:xfrm>
              <a:custGeom>
                <a:avLst/>
                <a:gdLst>
                  <a:gd name="connsiteX0" fmla="*/ 17313 w 17398"/>
                  <a:gd name="connsiteY0" fmla="*/ 5033 h 13710"/>
                  <a:gd name="connsiteX1" fmla="*/ 2618 w 17398"/>
                  <a:gd name="connsiteY1" fmla="*/ 979 h 13710"/>
                  <a:gd name="connsiteX2" fmla="*/ 5659 w 17398"/>
                  <a:gd name="connsiteY2" fmla="*/ 13140 h 13710"/>
                  <a:gd name="connsiteX3" fmla="*/ 17313 w 17398"/>
                  <a:gd name="connsiteY3" fmla="*/ 5033 h 13710"/>
                </a:gdLst>
                <a:ahLst/>
                <a:cxnLst>
                  <a:cxn ang="0">
                    <a:pos x="connsiteX0" y="connsiteY0"/>
                  </a:cxn>
                  <a:cxn ang="0">
                    <a:pos x="connsiteX1" y="connsiteY1"/>
                  </a:cxn>
                  <a:cxn ang="0">
                    <a:pos x="connsiteX2" y="connsiteY2"/>
                  </a:cxn>
                  <a:cxn ang="0">
                    <a:pos x="connsiteX3" y="connsiteY3"/>
                  </a:cxn>
                </a:cxnLst>
                <a:rect l="l" t="t" r="r" b="b"/>
                <a:pathLst>
                  <a:path w="17398" h="13710">
                    <a:moveTo>
                      <a:pt x="17313" y="5033"/>
                    </a:moveTo>
                    <a:cubicBezTo>
                      <a:pt x="16427" y="-35"/>
                      <a:pt x="6419" y="-1048"/>
                      <a:pt x="2618" y="979"/>
                    </a:cubicBezTo>
                    <a:cubicBezTo>
                      <a:pt x="-2956" y="3766"/>
                      <a:pt x="1478" y="11113"/>
                      <a:pt x="5659" y="13140"/>
                    </a:cubicBezTo>
                    <a:cubicBezTo>
                      <a:pt x="10093" y="15421"/>
                      <a:pt x="18327" y="10480"/>
                      <a:pt x="17313" y="503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0" name="Полилиния: фигура 679">
                <a:extLst>
                  <a:ext uri="{FF2B5EF4-FFF2-40B4-BE49-F238E27FC236}">
                    <a16:creationId xmlns:a16="http://schemas.microsoft.com/office/drawing/2014/main" id="{5492E2A3-949F-4ACB-B9A2-E3D02465091F}"/>
                  </a:ext>
                </a:extLst>
              </p:cNvPr>
              <p:cNvSpPr/>
              <p:nvPr/>
            </p:nvSpPr>
            <p:spPr>
              <a:xfrm>
                <a:off x="6177345" y="919001"/>
                <a:ext cx="21615" cy="21788"/>
              </a:xfrm>
              <a:custGeom>
                <a:avLst/>
                <a:gdLst>
                  <a:gd name="connsiteX0" fmla="*/ 9785 w 21615"/>
                  <a:gd name="connsiteY0" fmla="*/ 21665 h 21788"/>
                  <a:gd name="connsiteX1" fmla="*/ 20173 w 21615"/>
                  <a:gd name="connsiteY1" fmla="*/ 8870 h 21788"/>
                  <a:gd name="connsiteX2" fmla="*/ 3831 w 21615"/>
                  <a:gd name="connsiteY2" fmla="*/ 3169 h 21788"/>
                  <a:gd name="connsiteX3" fmla="*/ 917 w 21615"/>
                  <a:gd name="connsiteY3" fmla="*/ 15204 h 21788"/>
                  <a:gd name="connsiteX4" fmla="*/ 9785 w 21615"/>
                  <a:gd name="connsiteY4" fmla="*/ 21665 h 21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5" h="21788">
                    <a:moveTo>
                      <a:pt x="9785" y="21665"/>
                    </a:moveTo>
                    <a:cubicBezTo>
                      <a:pt x="19413" y="22679"/>
                      <a:pt x="24226" y="17358"/>
                      <a:pt x="20173" y="8870"/>
                    </a:cubicBezTo>
                    <a:cubicBezTo>
                      <a:pt x="17766" y="3930"/>
                      <a:pt x="8518" y="-4685"/>
                      <a:pt x="3831" y="3169"/>
                    </a:cubicBezTo>
                    <a:cubicBezTo>
                      <a:pt x="1677" y="6843"/>
                      <a:pt x="-1616" y="10897"/>
                      <a:pt x="917" y="15204"/>
                    </a:cubicBezTo>
                    <a:cubicBezTo>
                      <a:pt x="2437" y="18245"/>
                      <a:pt x="6238" y="21285"/>
                      <a:pt x="9785" y="21665"/>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1" name="Полилиния: фигура 680">
              <a:extLst>
                <a:ext uri="{FF2B5EF4-FFF2-40B4-BE49-F238E27FC236}">
                  <a16:creationId xmlns:a16="http://schemas.microsoft.com/office/drawing/2014/main" id="{147A00DE-B07E-44B1-9F73-C0A67E810C53}"/>
                </a:ext>
              </a:extLst>
            </p:cNvPr>
            <p:cNvSpPr/>
            <p:nvPr/>
          </p:nvSpPr>
          <p:spPr>
            <a:xfrm>
              <a:off x="468763" y="3831614"/>
              <a:ext cx="366065" cy="444994"/>
            </a:xfrm>
            <a:custGeom>
              <a:avLst/>
              <a:gdLst>
                <a:gd name="connsiteX0" fmla="*/ 176133 w 366065"/>
                <a:gd name="connsiteY0" fmla="*/ 60880 h 444994"/>
                <a:gd name="connsiteX1" fmla="*/ 145096 w 366065"/>
                <a:gd name="connsiteY1" fmla="*/ 34277 h 444994"/>
                <a:gd name="connsiteX2" fmla="*/ 113932 w 366065"/>
                <a:gd name="connsiteY2" fmla="*/ 21355 h 444994"/>
                <a:gd name="connsiteX3" fmla="*/ 65666 w 366065"/>
                <a:gd name="connsiteY3" fmla="*/ 8687 h 444994"/>
                <a:gd name="connsiteX4" fmla="*/ 76181 w 366065"/>
                <a:gd name="connsiteY4" fmla="*/ 39471 h 444994"/>
                <a:gd name="connsiteX5" fmla="*/ 101264 w 366065"/>
                <a:gd name="connsiteY5" fmla="*/ 66074 h 444994"/>
                <a:gd name="connsiteX6" fmla="*/ 81882 w 366065"/>
                <a:gd name="connsiteY6" fmla="*/ 92678 h 444994"/>
                <a:gd name="connsiteX7" fmla="*/ 87202 w 366065"/>
                <a:gd name="connsiteY7" fmla="*/ 116494 h 444994"/>
                <a:gd name="connsiteX8" fmla="*/ 69467 w 366065"/>
                <a:gd name="connsiteY8" fmla="*/ 168560 h 444994"/>
                <a:gd name="connsiteX9" fmla="*/ 15247 w 366065"/>
                <a:gd name="connsiteY9" fmla="*/ 181736 h 444994"/>
                <a:gd name="connsiteX10" fmla="*/ 805 w 366065"/>
                <a:gd name="connsiteY10" fmla="*/ 205805 h 444994"/>
                <a:gd name="connsiteX11" fmla="*/ 8279 w 366065"/>
                <a:gd name="connsiteY11" fmla="*/ 228101 h 444994"/>
                <a:gd name="connsiteX12" fmla="*/ 23354 w 366065"/>
                <a:gd name="connsiteY12" fmla="*/ 253945 h 444994"/>
                <a:gd name="connsiteX13" fmla="*/ 46790 w 366065"/>
                <a:gd name="connsiteY13" fmla="*/ 283082 h 444994"/>
                <a:gd name="connsiteX14" fmla="*/ 66680 w 366065"/>
                <a:gd name="connsiteY14" fmla="*/ 292330 h 444994"/>
                <a:gd name="connsiteX15" fmla="*/ 99617 w 366065"/>
                <a:gd name="connsiteY15" fmla="*/ 303097 h 444994"/>
                <a:gd name="connsiteX16" fmla="*/ 138509 w 366065"/>
                <a:gd name="connsiteY16" fmla="*/ 321466 h 444994"/>
                <a:gd name="connsiteX17" fmla="*/ 171446 w 366065"/>
                <a:gd name="connsiteY17" fmla="*/ 344143 h 444994"/>
                <a:gd name="connsiteX18" fmla="*/ 186648 w 366065"/>
                <a:gd name="connsiteY18" fmla="*/ 353264 h 444994"/>
                <a:gd name="connsiteX19" fmla="*/ 211351 w 366065"/>
                <a:gd name="connsiteY19" fmla="*/ 351490 h 444994"/>
                <a:gd name="connsiteX20" fmla="*/ 236814 w 366065"/>
                <a:gd name="connsiteY20" fmla="*/ 353517 h 444994"/>
                <a:gd name="connsiteX21" fmla="*/ 243148 w 366065"/>
                <a:gd name="connsiteY21" fmla="*/ 408624 h 444994"/>
                <a:gd name="connsiteX22" fmla="*/ 261264 w 366065"/>
                <a:gd name="connsiteY22" fmla="*/ 419772 h 444994"/>
                <a:gd name="connsiteX23" fmla="*/ 285460 w 366065"/>
                <a:gd name="connsiteY23" fmla="*/ 433200 h 444994"/>
                <a:gd name="connsiteX24" fmla="*/ 332080 w 366065"/>
                <a:gd name="connsiteY24" fmla="*/ 439535 h 444994"/>
                <a:gd name="connsiteX25" fmla="*/ 363370 w 366065"/>
                <a:gd name="connsiteY25" fmla="*/ 409637 h 444994"/>
                <a:gd name="connsiteX26" fmla="*/ 338160 w 366065"/>
                <a:gd name="connsiteY26" fmla="*/ 380374 h 444994"/>
                <a:gd name="connsiteX27" fmla="*/ 319918 w 366065"/>
                <a:gd name="connsiteY27" fmla="*/ 365298 h 444994"/>
                <a:gd name="connsiteX28" fmla="*/ 313204 w 366065"/>
                <a:gd name="connsiteY28" fmla="*/ 344903 h 444994"/>
                <a:gd name="connsiteX29" fmla="*/ 291668 w 366065"/>
                <a:gd name="connsiteY29" fmla="*/ 313865 h 444994"/>
                <a:gd name="connsiteX30" fmla="*/ 300029 w 366065"/>
                <a:gd name="connsiteY30" fmla="*/ 290556 h 444994"/>
                <a:gd name="connsiteX31" fmla="*/ 309023 w 366065"/>
                <a:gd name="connsiteY31" fmla="*/ 258378 h 444994"/>
                <a:gd name="connsiteX32" fmla="*/ 327646 w 366065"/>
                <a:gd name="connsiteY32" fmla="*/ 222274 h 444994"/>
                <a:gd name="connsiteX33" fmla="*/ 336893 w 366065"/>
                <a:gd name="connsiteY33" fmla="*/ 175781 h 444994"/>
                <a:gd name="connsiteX34" fmla="*/ 313457 w 366065"/>
                <a:gd name="connsiteY34" fmla="*/ 196938 h 444994"/>
                <a:gd name="connsiteX35" fmla="*/ 295722 w 366065"/>
                <a:gd name="connsiteY35" fmla="*/ 230382 h 444994"/>
                <a:gd name="connsiteX36" fmla="*/ 287361 w 366065"/>
                <a:gd name="connsiteY36" fmla="*/ 267246 h 444994"/>
                <a:gd name="connsiteX37" fmla="*/ 269372 w 366065"/>
                <a:gd name="connsiteY37" fmla="*/ 300690 h 444994"/>
                <a:gd name="connsiteX38" fmla="*/ 248216 w 366065"/>
                <a:gd name="connsiteY38" fmla="*/ 325393 h 444994"/>
                <a:gd name="connsiteX39" fmla="*/ 238334 w 366065"/>
                <a:gd name="connsiteY39" fmla="*/ 305504 h 444994"/>
                <a:gd name="connsiteX40" fmla="*/ 236688 w 366065"/>
                <a:gd name="connsiteY40" fmla="*/ 278774 h 444994"/>
                <a:gd name="connsiteX41" fmla="*/ 261391 w 366065"/>
                <a:gd name="connsiteY41" fmla="*/ 263066 h 444994"/>
                <a:gd name="connsiteX42" fmla="*/ 276846 w 366065"/>
                <a:gd name="connsiteY42" fmla="*/ 235322 h 444994"/>
                <a:gd name="connsiteX43" fmla="*/ 290274 w 366065"/>
                <a:gd name="connsiteY43" fmla="*/ 198078 h 444994"/>
                <a:gd name="connsiteX44" fmla="*/ 291794 w 366065"/>
                <a:gd name="connsiteY44" fmla="*/ 162860 h 444994"/>
                <a:gd name="connsiteX45" fmla="*/ 291414 w 366065"/>
                <a:gd name="connsiteY45" fmla="*/ 123082 h 444994"/>
                <a:gd name="connsiteX46" fmla="*/ 292681 w 366065"/>
                <a:gd name="connsiteY46" fmla="*/ 83810 h 444994"/>
                <a:gd name="connsiteX47" fmla="*/ 288881 w 366065"/>
                <a:gd name="connsiteY47" fmla="*/ 60500 h 444994"/>
                <a:gd name="connsiteX48" fmla="*/ 256450 w 366065"/>
                <a:gd name="connsiteY48" fmla="*/ 51506 h 444994"/>
                <a:gd name="connsiteX49" fmla="*/ 236941 w 366065"/>
                <a:gd name="connsiteY49" fmla="*/ 69748 h 444994"/>
                <a:gd name="connsiteX50" fmla="*/ 205904 w 366065"/>
                <a:gd name="connsiteY50" fmla="*/ 83050 h 444994"/>
                <a:gd name="connsiteX51" fmla="*/ 176133 w 366065"/>
                <a:gd name="connsiteY51" fmla="*/ 60880 h 44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6065" h="444994">
                  <a:moveTo>
                    <a:pt x="176133" y="60880"/>
                  </a:moveTo>
                  <a:cubicBezTo>
                    <a:pt x="167012" y="50619"/>
                    <a:pt x="157638" y="40485"/>
                    <a:pt x="145096" y="34277"/>
                  </a:cubicBezTo>
                  <a:cubicBezTo>
                    <a:pt x="134962" y="29337"/>
                    <a:pt x="123813" y="26930"/>
                    <a:pt x="113932" y="21355"/>
                  </a:cubicBezTo>
                  <a:cubicBezTo>
                    <a:pt x="101391" y="14388"/>
                    <a:pt x="77954" y="-14115"/>
                    <a:pt x="65666" y="8687"/>
                  </a:cubicBezTo>
                  <a:cubicBezTo>
                    <a:pt x="59459" y="20342"/>
                    <a:pt x="67566" y="31744"/>
                    <a:pt x="76181" y="39471"/>
                  </a:cubicBezTo>
                  <a:cubicBezTo>
                    <a:pt x="83655" y="46185"/>
                    <a:pt x="101391" y="54293"/>
                    <a:pt x="101264" y="66074"/>
                  </a:cubicBezTo>
                  <a:cubicBezTo>
                    <a:pt x="101137" y="77096"/>
                    <a:pt x="87329" y="84317"/>
                    <a:pt x="81882" y="92678"/>
                  </a:cubicBezTo>
                  <a:cubicBezTo>
                    <a:pt x="75674" y="102179"/>
                    <a:pt x="81755" y="108513"/>
                    <a:pt x="87202" y="116494"/>
                  </a:cubicBezTo>
                  <a:cubicBezTo>
                    <a:pt x="99490" y="134483"/>
                    <a:pt x="90749" y="161213"/>
                    <a:pt x="69467" y="168560"/>
                  </a:cubicBezTo>
                  <a:cubicBezTo>
                    <a:pt x="50844" y="175021"/>
                    <a:pt x="30575" y="165013"/>
                    <a:pt x="15247" y="181736"/>
                  </a:cubicBezTo>
                  <a:cubicBezTo>
                    <a:pt x="9292" y="188196"/>
                    <a:pt x="3338" y="197318"/>
                    <a:pt x="805" y="205805"/>
                  </a:cubicBezTo>
                  <a:cubicBezTo>
                    <a:pt x="-1856" y="215053"/>
                    <a:pt x="2452" y="221134"/>
                    <a:pt x="8279" y="228101"/>
                  </a:cubicBezTo>
                  <a:cubicBezTo>
                    <a:pt x="15120" y="236209"/>
                    <a:pt x="19934" y="243937"/>
                    <a:pt x="23354" y="253945"/>
                  </a:cubicBezTo>
                  <a:cubicBezTo>
                    <a:pt x="27788" y="267119"/>
                    <a:pt x="33996" y="276494"/>
                    <a:pt x="46790" y="283082"/>
                  </a:cubicBezTo>
                  <a:cubicBezTo>
                    <a:pt x="53251" y="286502"/>
                    <a:pt x="60346" y="288656"/>
                    <a:pt x="66680" y="292330"/>
                  </a:cubicBezTo>
                  <a:cubicBezTo>
                    <a:pt x="77194" y="298410"/>
                    <a:pt x="87456" y="301704"/>
                    <a:pt x="99617" y="303097"/>
                  </a:cubicBezTo>
                  <a:cubicBezTo>
                    <a:pt x="115579" y="304998"/>
                    <a:pt x="126220" y="311332"/>
                    <a:pt x="138509" y="321466"/>
                  </a:cubicBezTo>
                  <a:cubicBezTo>
                    <a:pt x="148770" y="329954"/>
                    <a:pt x="160678" y="336288"/>
                    <a:pt x="171446" y="344143"/>
                  </a:cubicBezTo>
                  <a:cubicBezTo>
                    <a:pt x="176640" y="347943"/>
                    <a:pt x="180060" y="352757"/>
                    <a:pt x="186648" y="353264"/>
                  </a:cubicBezTo>
                  <a:cubicBezTo>
                    <a:pt x="194756" y="353897"/>
                    <a:pt x="203370" y="352504"/>
                    <a:pt x="211351" y="351490"/>
                  </a:cubicBezTo>
                  <a:cubicBezTo>
                    <a:pt x="219079" y="350603"/>
                    <a:pt x="230100" y="348196"/>
                    <a:pt x="236814" y="353517"/>
                  </a:cubicBezTo>
                  <a:cubicBezTo>
                    <a:pt x="251763" y="365552"/>
                    <a:pt x="235167" y="393295"/>
                    <a:pt x="243148" y="408624"/>
                  </a:cubicBezTo>
                  <a:cubicBezTo>
                    <a:pt x="246695" y="415465"/>
                    <a:pt x="254550" y="417238"/>
                    <a:pt x="261264" y="419772"/>
                  </a:cubicBezTo>
                  <a:cubicBezTo>
                    <a:pt x="270132" y="423066"/>
                    <a:pt x="277733" y="427753"/>
                    <a:pt x="285460" y="433200"/>
                  </a:cubicBezTo>
                  <a:cubicBezTo>
                    <a:pt x="300662" y="443968"/>
                    <a:pt x="314851" y="450049"/>
                    <a:pt x="332080" y="439535"/>
                  </a:cubicBezTo>
                  <a:cubicBezTo>
                    <a:pt x="343481" y="432567"/>
                    <a:pt x="356909" y="421545"/>
                    <a:pt x="363370" y="409637"/>
                  </a:cubicBezTo>
                  <a:cubicBezTo>
                    <a:pt x="373758" y="390635"/>
                    <a:pt x="351715" y="385694"/>
                    <a:pt x="338160" y="380374"/>
                  </a:cubicBezTo>
                  <a:cubicBezTo>
                    <a:pt x="330306" y="377333"/>
                    <a:pt x="323592" y="373279"/>
                    <a:pt x="319918" y="365298"/>
                  </a:cubicBezTo>
                  <a:cubicBezTo>
                    <a:pt x="317004" y="358838"/>
                    <a:pt x="316878" y="351237"/>
                    <a:pt x="313204" y="344903"/>
                  </a:cubicBezTo>
                  <a:cubicBezTo>
                    <a:pt x="305730" y="331981"/>
                    <a:pt x="287234" y="332741"/>
                    <a:pt x="291668" y="313865"/>
                  </a:cubicBezTo>
                  <a:cubicBezTo>
                    <a:pt x="293568" y="305378"/>
                    <a:pt x="298889" y="299297"/>
                    <a:pt x="300029" y="290556"/>
                  </a:cubicBezTo>
                  <a:cubicBezTo>
                    <a:pt x="301549" y="279281"/>
                    <a:pt x="303069" y="268513"/>
                    <a:pt x="309023" y="258378"/>
                  </a:cubicBezTo>
                  <a:cubicBezTo>
                    <a:pt x="315991" y="246470"/>
                    <a:pt x="322072" y="234816"/>
                    <a:pt x="327646" y="222274"/>
                  </a:cubicBezTo>
                  <a:cubicBezTo>
                    <a:pt x="330306" y="216193"/>
                    <a:pt x="360203" y="171601"/>
                    <a:pt x="336893" y="175781"/>
                  </a:cubicBezTo>
                  <a:cubicBezTo>
                    <a:pt x="326759" y="177555"/>
                    <a:pt x="318905" y="189210"/>
                    <a:pt x="313457" y="196938"/>
                  </a:cubicBezTo>
                  <a:cubicBezTo>
                    <a:pt x="306110" y="207199"/>
                    <a:pt x="299649" y="218220"/>
                    <a:pt x="295722" y="230382"/>
                  </a:cubicBezTo>
                  <a:cubicBezTo>
                    <a:pt x="291794" y="242417"/>
                    <a:pt x="291414" y="255338"/>
                    <a:pt x="287361" y="267246"/>
                  </a:cubicBezTo>
                  <a:cubicBezTo>
                    <a:pt x="283307" y="279281"/>
                    <a:pt x="276339" y="290176"/>
                    <a:pt x="269372" y="300690"/>
                  </a:cubicBezTo>
                  <a:cubicBezTo>
                    <a:pt x="264684" y="307911"/>
                    <a:pt x="257083" y="322606"/>
                    <a:pt x="248216" y="325393"/>
                  </a:cubicBezTo>
                  <a:cubicBezTo>
                    <a:pt x="238461" y="328561"/>
                    <a:pt x="238968" y="311585"/>
                    <a:pt x="238334" y="305504"/>
                  </a:cubicBezTo>
                  <a:cubicBezTo>
                    <a:pt x="237448" y="297903"/>
                    <a:pt x="233140" y="286122"/>
                    <a:pt x="236688" y="278774"/>
                  </a:cubicBezTo>
                  <a:cubicBezTo>
                    <a:pt x="240995" y="270160"/>
                    <a:pt x="253536" y="267246"/>
                    <a:pt x="261391" y="263066"/>
                  </a:cubicBezTo>
                  <a:cubicBezTo>
                    <a:pt x="272285" y="257238"/>
                    <a:pt x="273932" y="246597"/>
                    <a:pt x="276846" y="235322"/>
                  </a:cubicBezTo>
                  <a:cubicBezTo>
                    <a:pt x="280266" y="222274"/>
                    <a:pt x="285840" y="210619"/>
                    <a:pt x="290274" y="198078"/>
                  </a:cubicBezTo>
                  <a:cubicBezTo>
                    <a:pt x="294328" y="186803"/>
                    <a:pt x="292555" y="174515"/>
                    <a:pt x="291794" y="162860"/>
                  </a:cubicBezTo>
                  <a:cubicBezTo>
                    <a:pt x="290908" y="149558"/>
                    <a:pt x="290654" y="136383"/>
                    <a:pt x="291414" y="123082"/>
                  </a:cubicBezTo>
                  <a:cubicBezTo>
                    <a:pt x="292174" y="110033"/>
                    <a:pt x="292428" y="96858"/>
                    <a:pt x="292681" y="83810"/>
                  </a:cubicBezTo>
                  <a:cubicBezTo>
                    <a:pt x="292808" y="76462"/>
                    <a:pt x="294708" y="66201"/>
                    <a:pt x="288881" y="60500"/>
                  </a:cubicBezTo>
                  <a:cubicBezTo>
                    <a:pt x="281533" y="53153"/>
                    <a:pt x="266205" y="53153"/>
                    <a:pt x="256450" y="51506"/>
                  </a:cubicBezTo>
                  <a:cubicBezTo>
                    <a:pt x="242135" y="48972"/>
                    <a:pt x="243275" y="60120"/>
                    <a:pt x="236941" y="69748"/>
                  </a:cubicBezTo>
                  <a:cubicBezTo>
                    <a:pt x="230100" y="80516"/>
                    <a:pt x="218065" y="85964"/>
                    <a:pt x="205904" y="83050"/>
                  </a:cubicBezTo>
                  <a:cubicBezTo>
                    <a:pt x="193109" y="80516"/>
                    <a:pt x="184748" y="70508"/>
                    <a:pt x="176133" y="608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2" name="Полилиния: фигура 681">
              <a:extLst>
                <a:ext uri="{FF2B5EF4-FFF2-40B4-BE49-F238E27FC236}">
                  <a16:creationId xmlns:a16="http://schemas.microsoft.com/office/drawing/2014/main" id="{07D18B26-C64E-4E2E-A48E-5C642B7A3795}"/>
                </a:ext>
              </a:extLst>
            </p:cNvPr>
            <p:cNvSpPr/>
            <p:nvPr/>
          </p:nvSpPr>
          <p:spPr>
            <a:xfrm>
              <a:off x="883100" y="4486997"/>
              <a:ext cx="196906" cy="313159"/>
            </a:xfrm>
            <a:custGeom>
              <a:avLst/>
              <a:gdLst>
                <a:gd name="connsiteX0" fmla="*/ 196571 w 196906"/>
                <a:gd name="connsiteY0" fmla="*/ 217025 h 313159"/>
                <a:gd name="connsiteX1" fmla="*/ 182383 w 196906"/>
                <a:gd name="connsiteY1" fmla="*/ 261111 h 313159"/>
                <a:gd name="connsiteX2" fmla="*/ 142985 w 196906"/>
                <a:gd name="connsiteY2" fmla="*/ 299369 h 313159"/>
                <a:gd name="connsiteX3" fmla="*/ 122969 w 196906"/>
                <a:gd name="connsiteY3" fmla="*/ 295062 h 313159"/>
                <a:gd name="connsiteX4" fmla="*/ 123349 w 196906"/>
                <a:gd name="connsiteY4" fmla="*/ 275933 h 313159"/>
                <a:gd name="connsiteX5" fmla="*/ 131963 w 196906"/>
                <a:gd name="connsiteY5" fmla="*/ 237295 h 313159"/>
                <a:gd name="connsiteX6" fmla="*/ 98519 w 196906"/>
                <a:gd name="connsiteY6" fmla="*/ 267318 h 313159"/>
                <a:gd name="connsiteX7" fmla="*/ 59374 w 196906"/>
                <a:gd name="connsiteY7" fmla="*/ 287968 h 313159"/>
                <a:gd name="connsiteX8" fmla="*/ 23903 w 196906"/>
                <a:gd name="connsiteY8" fmla="*/ 312544 h 313159"/>
                <a:gd name="connsiteX9" fmla="*/ 3254 w 196906"/>
                <a:gd name="connsiteY9" fmla="*/ 295062 h 313159"/>
                <a:gd name="connsiteX10" fmla="*/ 3760 w 196906"/>
                <a:gd name="connsiteY10" fmla="*/ 272132 h 313159"/>
                <a:gd name="connsiteX11" fmla="*/ 720 w 196906"/>
                <a:gd name="connsiteY11" fmla="*/ 257184 h 313159"/>
                <a:gd name="connsiteX12" fmla="*/ 8068 w 196906"/>
                <a:gd name="connsiteY12" fmla="*/ 228807 h 313159"/>
                <a:gd name="connsiteX13" fmla="*/ 51520 w 196906"/>
                <a:gd name="connsiteY13" fmla="*/ 225006 h 313159"/>
                <a:gd name="connsiteX14" fmla="*/ 87118 w 196906"/>
                <a:gd name="connsiteY14" fmla="*/ 203090 h 313159"/>
                <a:gd name="connsiteX15" fmla="*/ 119422 w 196906"/>
                <a:gd name="connsiteY15" fmla="*/ 166226 h 313159"/>
                <a:gd name="connsiteX16" fmla="*/ 86484 w 196906"/>
                <a:gd name="connsiteY16" fmla="*/ 124040 h 313159"/>
                <a:gd name="connsiteX17" fmla="*/ 60388 w 196906"/>
                <a:gd name="connsiteY17" fmla="*/ 77548 h 313159"/>
                <a:gd name="connsiteX18" fmla="*/ 44172 w 196906"/>
                <a:gd name="connsiteY18" fmla="*/ 42964 h 313159"/>
                <a:gd name="connsiteX19" fmla="*/ 45692 w 196906"/>
                <a:gd name="connsiteY19" fmla="*/ 15853 h 313159"/>
                <a:gd name="connsiteX20" fmla="*/ 54560 w 196906"/>
                <a:gd name="connsiteY20" fmla="*/ 18 h 313159"/>
                <a:gd name="connsiteX21" fmla="*/ 67989 w 196906"/>
                <a:gd name="connsiteY21" fmla="*/ 13573 h 313159"/>
                <a:gd name="connsiteX22" fmla="*/ 84837 w 196906"/>
                <a:gd name="connsiteY22" fmla="*/ 39670 h 313159"/>
                <a:gd name="connsiteX23" fmla="*/ 111441 w 196906"/>
                <a:gd name="connsiteY23" fmla="*/ 86162 h 313159"/>
                <a:gd name="connsiteX24" fmla="*/ 154259 w 196906"/>
                <a:gd name="connsiteY24" fmla="*/ 112639 h 313159"/>
                <a:gd name="connsiteX25" fmla="*/ 185677 w 196906"/>
                <a:gd name="connsiteY25" fmla="*/ 158751 h 313159"/>
                <a:gd name="connsiteX26" fmla="*/ 196571 w 196906"/>
                <a:gd name="connsiteY26" fmla="*/ 217025 h 3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906" h="313159">
                  <a:moveTo>
                    <a:pt x="196571" y="217025"/>
                  </a:moveTo>
                  <a:cubicBezTo>
                    <a:pt x="194924" y="231974"/>
                    <a:pt x="187957" y="247429"/>
                    <a:pt x="182383" y="261111"/>
                  </a:cubicBezTo>
                  <a:cubicBezTo>
                    <a:pt x="175162" y="278720"/>
                    <a:pt x="162747" y="295442"/>
                    <a:pt x="142985" y="299369"/>
                  </a:cubicBezTo>
                  <a:cubicBezTo>
                    <a:pt x="136524" y="300636"/>
                    <a:pt x="127529" y="300763"/>
                    <a:pt x="122969" y="295062"/>
                  </a:cubicBezTo>
                  <a:cubicBezTo>
                    <a:pt x="118535" y="289488"/>
                    <a:pt x="121068" y="281760"/>
                    <a:pt x="123349" y="275933"/>
                  </a:cubicBezTo>
                  <a:cubicBezTo>
                    <a:pt x="125629" y="269852"/>
                    <a:pt x="142604" y="242235"/>
                    <a:pt x="131963" y="237295"/>
                  </a:cubicBezTo>
                  <a:cubicBezTo>
                    <a:pt x="120942" y="232354"/>
                    <a:pt x="103966" y="261238"/>
                    <a:pt x="98519" y="267318"/>
                  </a:cubicBezTo>
                  <a:cubicBezTo>
                    <a:pt x="87371" y="279987"/>
                    <a:pt x="73436" y="280620"/>
                    <a:pt x="59374" y="287968"/>
                  </a:cubicBezTo>
                  <a:cubicBezTo>
                    <a:pt x="46959" y="294428"/>
                    <a:pt x="37458" y="308617"/>
                    <a:pt x="23903" y="312544"/>
                  </a:cubicBezTo>
                  <a:cubicBezTo>
                    <a:pt x="12375" y="315838"/>
                    <a:pt x="4774" y="305323"/>
                    <a:pt x="3254" y="295062"/>
                  </a:cubicBezTo>
                  <a:cubicBezTo>
                    <a:pt x="2114" y="287334"/>
                    <a:pt x="4521" y="279733"/>
                    <a:pt x="3760" y="272132"/>
                  </a:cubicBezTo>
                  <a:cubicBezTo>
                    <a:pt x="3254" y="267192"/>
                    <a:pt x="1353" y="262251"/>
                    <a:pt x="720" y="257184"/>
                  </a:cubicBezTo>
                  <a:cubicBezTo>
                    <a:pt x="-547" y="247556"/>
                    <a:pt x="-1180" y="234761"/>
                    <a:pt x="8068" y="228807"/>
                  </a:cubicBezTo>
                  <a:cubicBezTo>
                    <a:pt x="19976" y="221079"/>
                    <a:pt x="38091" y="228427"/>
                    <a:pt x="51520" y="225006"/>
                  </a:cubicBezTo>
                  <a:cubicBezTo>
                    <a:pt x="65328" y="221586"/>
                    <a:pt x="75336" y="210185"/>
                    <a:pt x="87118" y="203090"/>
                  </a:cubicBezTo>
                  <a:cubicBezTo>
                    <a:pt x="101559" y="194349"/>
                    <a:pt x="117648" y="184975"/>
                    <a:pt x="119422" y="166226"/>
                  </a:cubicBezTo>
                  <a:cubicBezTo>
                    <a:pt x="121575" y="144310"/>
                    <a:pt x="101559" y="134682"/>
                    <a:pt x="86484" y="124040"/>
                  </a:cubicBezTo>
                  <a:cubicBezTo>
                    <a:pt x="69889" y="112259"/>
                    <a:pt x="66468" y="95664"/>
                    <a:pt x="60388" y="77548"/>
                  </a:cubicBezTo>
                  <a:cubicBezTo>
                    <a:pt x="56334" y="65260"/>
                    <a:pt x="46199" y="55885"/>
                    <a:pt x="44172" y="42964"/>
                  </a:cubicBezTo>
                  <a:cubicBezTo>
                    <a:pt x="42779" y="33969"/>
                    <a:pt x="43792" y="24595"/>
                    <a:pt x="45692" y="15853"/>
                  </a:cubicBezTo>
                  <a:cubicBezTo>
                    <a:pt x="46706" y="11546"/>
                    <a:pt x="48606" y="652"/>
                    <a:pt x="54560" y="18"/>
                  </a:cubicBezTo>
                  <a:cubicBezTo>
                    <a:pt x="60388" y="-488"/>
                    <a:pt x="65582" y="9773"/>
                    <a:pt x="67989" y="13573"/>
                  </a:cubicBezTo>
                  <a:cubicBezTo>
                    <a:pt x="73689" y="22188"/>
                    <a:pt x="79137" y="31055"/>
                    <a:pt x="84837" y="39670"/>
                  </a:cubicBezTo>
                  <a:cubicBezTo>
                    <a:pt x="94718" y="54619"/>
                    <a:pt x="101813" y="71087"/>
                    <a:pt x="111441" y="86162"/>
                  </a:cubicBezTo>
                  <a:cubicBezTo>
                    <a:pt x="121955" y="102631"/>
                    <a:pt x="137157" y="105925"/>
                    <a:pt x="154259" y="112639"/>
                  </a:cubicBezTo>
                  <a:cubicBezTo>
                    <a:pt x="173895" y="120366"/>
                    <a:pt x="180103" y="140002"/>
                    <a:pt x="185677" y="158751"/>
                  </a:cubicBezTo>
                  <a:cubicBezTo>
                    <a:pt x="190997" y="176994"/>
                    <a:pt x="198598" y="197770"/>
                    <a:pt x="196571" y="2170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3" name="Полилиния: фигура 682">
              <a:extLst>
                <a:ext uri="{FF2B5EF4-FFF2-40B4-BE49-F238E27FC236}">
                  <a16:creationId xmlns:a16="http://schemas.microsoft.com/office/drawing/2014/main" id="{378442F7-529C-47D2-BCFF-28C7CDC55541}"/>
                </a:ext>
              </a:extLst>
            </p:cNvPr>
            <p:cNvSpPr/>
            <p:nvPr/>
          </p:nvSpPr>
          <p:spPr>
            <a:xfrm>
              <a:off x="5344564" y="5894837"/>
              <a:ext cx="927284" cy="680666"/>
            </a:xfrm>
            <a:custGeom>
              <a:avLst/>
              <a:gdLst>
                <a:gd name="connsiteX0" fmla="*/ 927189 w 927284"/>
                <a:gd name="connsiteY0" fmla="*/ 310500 h 680666"/>
                <a:gd name="connsiteX1" fmla="*/ 887538 w 927284"/>
                <a:gd name="connsiteY1" fmla="*/ 341664 h 680666"/>
                <a:gd name="connsiteX2" fmla="*/ 905780 w 927284"/>
                <a:gd name="connsiteY2" fmla="*/ 366494 h 680666"/>
                <a:gd name="connsiteX3" fmla="*/ 889818 w 927284"/>
                <a:gd name="connsiteY3" fmla="*/ 393857 h 680666"/>
                <a:gd name="connsiteX4" fmla="*/ 909581 w 927284"/>
                <a:gd name="connsiteY4" fmla="*/ 432116 h 680666"/>
                <a:gd name="connsiteX5" fmla="*/ 909581 w 927284"/>
                <a:gd name="connsiteY5" fmla="*/ 432116 h 680666"/>
                <a:gd name="connsiteX6" fmla="*/ 909327 w 927284"/>
                <a:gd name="connsiteY6" fmla="*/ 432876 h 680666"/>
                <a:gd name="connsiteX7" fmla="*/ 909201 w 927284"/>
                <a:gd name="connsiteY7" fmla="*/ 433002 h 680666"/>
                <a:gd name="connsiteX8" fmla="*/ 908694 w 927284"/>
                <a:gd name="connsiteY8" fmla="*/ 433889 h 680666"/>
                <a:gd name="connsiteX9" fmla="*/ 907934 w 927284"/>
                <a:gd name="connsiteY9" fmla="*/ 434649 h 680666"/>
                <a:gd name="connsiteX10" fmla="*/ 907300 w 927284"/>
                <a:gd name="connsiteY10" fmla="*/ 435156 h 680666"/>
                <a:gd name="connsiteX11" fmla="*/ 904893 w 927284"/>
                <a:gd name="connsiteY11" fmla="*/ 436550 h 680666"/>
                <a:gd name="connsiteX12" fmla="*/ 904007 w 927284"/>
                <a:gd name="connsiteY12" fmla="*/ 436930 h 680666"/>
                <a:gd name="connsiteX13" fmla="*/ 900586 w 927284"/>
                <a:gd name="connsiteY13" fmla="*/ 437816 h 680666"/>
                <a:gd name="connsiteX14" fmla="*/ 874743 w 927284"/>
                <a:gd name="connsiteY14" fmla="*/ 444404 h 680666"/>
                <a:gd name="connsiteX15" fmla="*/ 863848 w 927284"/>
                <a:gd name="connsiteY15" fmla="*/ 470627 h 680666"/>
                <a:gd name="connsiteX16" fmla="*/ 807474 w 927284"/>
                <a:gd name="connsiteY16" fmla="*/ 503691 h 680666"/>
                <a:gd name="connsiteX17" fmla="*/ 777324 w 927284"/>
                <a:gd name="connsiteY17" fmla="*/ 500144 h 680666"/>
                <a:gd name="connsiteX18" fmla="*/ 744513 w 927284"/>
                <a:gd name="connsiteY18" fmla="*/ 526494 h 680666"/>
                <a:gd name="connsiteX19" fmla="*/ 722090 w 927284"/>
                <a:gd name="connsiteY19" fmla="*/ 555377 h 680666"/>
                <a:gd name="connsiteX20" fmla="*/ 696754 w 927284"/>
                <a:gd name="connsiteY20" fmla="*/ 571593 h 680666"/>
                <a:gd name="connsiteX21" fmla="*/ 685732 w 927284"/>
                <a:gd name="connsiteY21" fmla="*/ 569946 h 680666"/>
                <a:gd name="connsiteX22" fmla="*/ 676358 w 927284"/>
                <a:gd name="connsiteY22" fmla="*/ 570833 h 680666"/>
                <a:gd name="connsiteX23" fmla="*/ 651275 w 927284"/>
                <a:gd name="connsiteY23" fmla="*/ 570706 h 680666"/>
                <a:gd name="connsiteX24" fmla="*/ 619224 w 927284"/>
                <a:gd name="connsiteY24" fmla="*/ 577040 h 680666"/>
                <a:gd name="connsiteX25" fmla="*/ 589074 w 927284"/>
                <a:gd name="connsiteY25" fmla="*/ 581221 h 680666"/>
                <a:gd name="connsiteX26" fmla="*/ 560570 w 927284"/>
                <a:gd name="connsiteY26" fmla="*/ 585148 h 680666"/>
                <a:gd name="connsiteX27" fmla="*/ 545495 w 927284"/>
                <a:gd name="connsiteY27" fmla="*/ 592496 h 680666"/>
                <a:gd name="connsiteX28" fmla="*/ 536247 w 927284"/>
                <a:gd name="connsiteY28" fmla="*/ 610358 h 680666"/>
                <a:gd name="connsiteX29" fmla="*/ 529153 w 927284"/>
                <a:gd name="connsiteY29" fmla="*/ 623153 h 680666"/>
                <a:gd name="connsiteX30" fmla="*/ 543595 w 927284"/>
                <a:gd name="connsiteY30" fmla="*/ 638101 h 680666"/>
                <a:gd name="connsiteX31" fmla="*/ 561837 w 927284"/>
                <a:gd name="connsiteY31" fmla="*/ 649629 h 680666"/>
                <a:gd name="connsiteX32" fmla="*/ 556516 w 927284"/>
                <a:gd name="connsiteY32" fmla="*/ 670532 h 680666"/>
                <a:gd name="connsiteX33" fmla="*/ 518005 w 927284"/>
                <a:gd name="connsiteY33" fmla="*/ 680667 h 680666"/>
                <a:gd name="connsiteX34" fmla="*/ 505590 w 927284"/>
                <a:gd name="connsiteY34" fmla="*/ 662551 h 680666"/>
                <a:gd name="connsiteX35" fmla="*/ 468725 w 927284"/>
                <a:gd name="connsiteY35" fmla="*/ 633034 h 680666"/>
                <a:gd name="connsiteX36" fmla="*/ 430214 w 927284"/>
                <a:gd name="connsiteY36" fmla="*/ 617072 h 680666"/>
                <a:gd name="connsiteX37" fmla="*/ 405638 w 927284"/>
                <a:gd name="connsiteY37" fmla="*/ 614792 h 680666"/>
                <a:gd name="connsiteX38" fmla="*/ 396516 w 927284"/>
                <a:gd name="connsiteY38" fmla="*/ 620872 h 680666"/>
                <a:gd name="connsiteX39" fmla="*/ 384481 w 927284"/>
                <a:gd name="connsiteY39" fmla="*/ 610991 h 680666"/>
                <a:gd name="connsiteX40" fmla="*/ 355471 w 927284"/>
                <a:gd name="connsiteY40" fmla="*/ 641268 h 680666"/>
                <a:gd name="connsiteX41" fmla="*/ 308219 w 927284"/>
                <a:gd name="connsiteY41" fmla="*/ 635061 h 680666"/>
                <a:gd name="connsiteX42" fmla="*/ 262613 w 927284"/>
                <a:gd name="connsiteY42" fmla="*/ 630374 h 680666"/>
                <a:gd name="connsiteX43" fmla="*/ 236390 w 927284"/>
                <a:gd name="connsiteY43" fmla="*/ 603517 h 680666"/>
                <a:gd name="connsiteX44" fmla="*/ 232716 w 927284"/>
                <a:gd name="connsiteY44" fmla="*/ 578054 h 680666"/>
                <a:gd name="connsiteX45" fmla="*/ 212953 w 927284"/>
                <a:gd name="connsiteY45" fmla="*/ 548410 h 680666"/>
                <a:gd name="connsiteX46" fmla="*/ 208139 w 927284"/>
                <a:gd name="connsiteY46" fmla="*/ 514079 h 680666"/>
                <a:gd name="connsiteX47" fmla="*/ 167347 w 927284"/>
                <a:gd name="connsiteY47" fmla="*/ 492290 h 680666"/>
                <a:gd name="connsiteX48" fmla="*/ 145558 w 927284"/>
                <a:gd name="connsiteY48" fmla="*/ 516359 h 680666"/>
                <a:gd name="connsiteX49" fmla="*/ 138844 w 927284"/>
                <a:gd name="connsiteY49" fmla="*/ 560445 h 680666"/>
                <a:gd name="connsiteX50" fmla="*/ 100459 w 927284"/>
                <a:gd name="connsiteY50" fmla="*/ 570453 h 680666"/>
                <a:gd name="connsiteX51" fmla="*/ 76136 w 927284"/>
                <a:gd name="connsiteY51" fmla="*/ 578941 h 680666"/>
                <a:gd name="connsiteX52" fmla="*/ 73349 w 927284"/>
                <a:gd name="connsiteY52" fmla="*/ 555884 h 680666"/>
                <a:gd name="connsiteX53" fmla="*/ 72842 w 927284"/>
                <a:gd name="connsiteY53" fmla="*/ 523580 h 680666"/>
                <a:gd name="connsiteX54" fmla="*/ 66762 w 927284"/>
                <a:gd name="connsiteY54" fmla="*/ 453271 h 680666"/>
                <a:gd name="connsiteX55" fmla="*/ 65748 w 927284"/>
                <a:gd name="connsiteY55" fmla="*/ 384356 h 680666"/>
                <a:gd name="connsiteX56" fmla="*/ 58654 w 927284"/>
                <a:gd name="connsiteY56" fmla="*/ 328996 h 680666"/>
                <a:gd name="connsiteX57" fmla="*/ 43452 w 927284"/>
                <a:gd name="connsiteY57" fmla="*/ 248299 h 680666"/>
                <a:gd name="connsiteX58" fmla="*/ 37118 w 927284"/>
                <a:gd name="connsiteY58" fmla="*/ 208141 h 680666"/>
                <a:gd name="connsiteX59" fmla="*/ 32051 w 927284"/>
                <a:gd name="connsiteY59" fmla="*/ 172923 h 680666"/>
                <a:gd name="connsiteX60" fmla="*/ 21156 w 927284"/>
                <a:gd name="connsiteY60" fmla="*/ 156581 h 680666"/>
                <a:gd name="connsiteX61" fmla="*/ 17482 w 927284"/>
                <a:gd name="connsiteY61" fmla="*/ 134285 h 680666"/>
                <a:gd name="connsiteX62" fmla="*/ 10008 w 927284"/>
                <a:gd name="connsiteY62" fmla="*/ 97294 h 680666"/>
                <a:gd name="connsiteX63" fmla="*/ 0 w 927284"/>
                <a:gd name="connsiteY63" fmla="*/ 65370 h 680666"/>
                <a:gd name="connsiteX64" fmla="*/ 1140 w 927284"/>
                <a:gd name="connsiteY64" fmla="*/ 64103 h 680666"/>
                <a:gd name="connsiteX65" fmla="*/ 11908 w 927284"/>
                <a:gd name="connsiteY65" fmla="*/ 24451 h 680666"/>
                <a:gd name="connsiteX66" fmla="*/ 27997 w 927284"/>
                <a:gd name="connsiteY66" fmla="*/ 34966 h 680666"/>
                <a:gd name="connsiteX67" fmla="*/ 45479 w 927284"/>
                <a:gd name="connsiteY67" fmla="*/ 48521 h 680666"/>
                <a:gd name="connsiteX68" fmla="*/ 98179 w 927284"/>
                <a:gd name="connsiteY68" fmla="*/ 44974 h 680666"/>
                <a:gd name="connsiteX69" fmla="*/ 116168 w 927284"/>
                <a:gd name="connsiteY69" fmla="*/ 31419 h 680666"/>
                <a:gd name="connsiteX70" fmla="*/ 142518 w 927284"/>
                <a:gd name="connsiteY70" fmla="*/ 32052 h 680666"/>
                <a:gd name="connsiteX71" fmla="*/ 173302 w 927284"/>
                <a:gd name="connsiteY71" fmla="*/ 39653 h 680666"/>
                <a:gd name="connsiteX72" fmla="*/ 199905 w 927284"/>
                <a:gd name="connsiteY72" fmla="*/ 38893 h 680666"/>
                <a:gd name="connsiteX73" fmla="*/ 224735 w 927284"/>
                <a:gd name="connsiteY73" fmla="*/ 29899 h 680666"/>
                <a:gd name="connsiteX74" fmla="*/ 244624 w 927284"/>
                <a:gd name="connsiteY74" fmla="*/ 18751 h 680666"/>
                <a:gd name="connsiteX75" fmla="*/ 299224 w 927284"/>
                <a:gd name="connsiteY75" fmla="*/ 18244 h 680666"/>
                <a:gd name="connsiteX76" fmla="*/ 323420 w 927284"/>
                <a:gd name="connsiteY76" fmla="*/ 22424 h 680666"/>
                <a:gd name="connsiteX77" fmla="*/ 345843 w 927284"/>
                <a:gd name="connsiteY77" fmla="*/ 10263 h 680666"/>
                <a:gd name="connsiteX78" fmla="*/ 356231 w 927284"/>
                <a:gd name="connsiteY78" fmla="*/ 1648 h 680666"/>
                <a:gd name="connsiteX79" fmla="*/ 374473 w 927284"/>
                <a:gd name="connsiteY79" fmla="*/ 1395 h 680666"/>
                <a:gd name="connsiteX80" fmla="*/ 381441 w 927284"/>
                <a:gd name="connsiteY80" fmla="*/ 43200 h 680666"/>
                <a:gd name="connsiteX81" fmla="*/ 418939 w 927284"/>
                <a:gd name="connsiteY81" fmla="*/ 69804 h 680666"/>
                <a:gd name="connsiteX82" fmla="*/ 440095 w 927284"/>
                <a:gd name="connsiteY82" fmla="*/ 87666 h 680666"/>
                <a:gd name="connsiteX83" fmla="*/ 442502 w 927284"/>
                <a:gd name="connsiteY83" fmla="*/ 114522 h 680666"/>
                <a:gd name="connsiteX84" fmla="*/ 430594 w 927284"/>
                <a:gd name="connsiteY84" fmla="*/ 130738 h 680666"/>
                <a:gd name="connsiteX85" fmla="*/ 431987 w 927284"/>
                <a:gd name="connsiteY85" fmla="*/ 153921 h 680666"/>
                <a:gd name="connsiteX86" fmla="*/ 456437 w 927284"/>
                <a:gd name="connsiteY86" fmla="*/ 182044 h 680666"/>
                <a:gd name="connsiteX87" fmla="*/ 473159 w 927284"/>
                <a:gd name="connsiteY87" fmla="*/ 171150 h 680666"/>
                <a:gd name="connsiteX88" fmla="*/ 488488 w 927284"/>
                <a:gd name="connsiteY88" fmla="*/ 158481 h 680666"/>
                <a:gd name="connsiteX89" fmla="*/ 494315 w 927284"/>
                <a:gd name="connsiteY89" fmla="*/ 137199 h 680666"/>
                <a:gd name="connsiteX90" fmla="*/ 509137 w 927284"/>
                <a:gd name="connsiteY90" fmla="*/ 132638 h 680666"/>
                <a:gd name="connsiteX91" fmla="*/ 528899 w 927284"/>
                <a:gd name="connsiteY91" fmla="*/ 132385 h 680666"/>
                <a:gd name="connsiteX92" fmla="*/ 536501 w 927284"/>
                <a:gd name="connsiteY92" fmla="*/ 104768 h 680666"/>
                <a:gd name="connsiteX93" fmla="*/ 544228 w 927284"/>
                <a:gd name="connsiteY93" fmla="*/ 96660 h 680666"/>
                <a:gd name="connsiteX94" fmla="*/ 562850 w 927284"/>
                <a:gd name="connsiteY94" fmla="*/ 106161 h 680666"/>
                <a:gd name="connsiteX95" fmla="*/ 589834 w 927284"/>
                <a:gd name="connsiteY95" fmla="*/ 95140 h 680666"/>
                <a:gd name="connsiteX96" fmla="*/ 605289 w 927284"/>
                <a:gd name="connsiteY96" fmla="*/ 80065 h 680666"/>
                <a:gd name="connsiteX97" fmla="*/ 637466 w 927284"/>
                <a:gd name="connsiteY97" fmla="*/ 107682 h 680666"/>
                <a:gd name="connsiteX98" fmla="*/ 670910 w 927284"/>
                <a:gd name="connsiteY98" fmla="*/ 101981 h 680666"/>
                <a:gd name="connsiteX99" fmla="*/ 691813 w 927284"/>
                <a:gd name="connsiteY99" fmla="*/ 105908 h 680666"/>
                <a:gd name="connsiteX100" fmla="*/ 712589 w 927284"/>
                <a:gd name="connsiteY100" fmla="*/ 99194 h 680666"/>
                <a:gd name="connsiteX101" fmla="*/ 733238 w 927284"/>
                <a:gd name="connsiteY101" fmla="*/ 85892 h 680666"/>
                <a:gd name="connsiteX102" fmla="*/ 751228 w 927284"/>
                <a:gd name="connsiteY102" fmla="*/ 76264 h 680666"/>
                <a:gd name="connsiteX103" fmla="*/ 761109 w 927284"/>
                <a:gd name="connsiteY103" fmla="*/ 87412 h 680666"/>
                <a:gd name="connsiteX104" fmla="*/ 772510 w 927284"/>
                <a:gd name="connsiteY104" fmla="*/ 104261 h 680666"/>
                <a:gd name="connsiteX105" fmla="*/ 795060 w 927284"/>
                <a:gd name="connsiteY105" fmla="*/ 114269 h 680666"/>
                <a:gd name="connsiteX106" fmla="*/ 815709 w 927284"/>
                <a:gd name="connsiteY106" fmla="*/ 130231 h 680666"/>
                <a:gd name="connsiteX107" fmla="*/ 827237 w 927284"/>
                <a:gd name="connsiteY107" fmla="*/ 146826 h 680666"/>
                <a:gd name="connsiteX108" fmla="*/ 825083 w 927284"/>
                <a:gd name="connsiteY108" fmla="*/ 163549 h 680666"/>
                <a:gd name="connsiteX109" fmla="*/ 824070 w 927284"/>
                <a:gd name="connsiteY109" fmla="*/ 185465 h 680666"/>
                <a:gd name="connsiteX110" fmla="*/ 833951 w 927284"/>
                <a:gd name="connsiteY110" fmla="*/ 196739 h 680666"/>
                <a:gd name="connsiteX111" fmla="*/ 863721 w 927284"/>
                <a:gd name="connsiteY111" fmla="*/ 218782 h 680666"/>
                <a:gd name="connsiteX112" fmla="*/ 873349 w 927284"/>
                <a:gd name="connsiteY112" fmla="*/ 237658 h 680666"/>
                <a:gd name="connsiteX113" fmla="*/ 884244 w 927284"/>
                <a:gd name="connsiteY113" fmla="*/ 279717 h 680666"/>
                <a:gd name="connsiteX114" fmla="*/ 910974 w 927284"/>
                <a:gd name="connsiteY114" fmla="*/ 292005 h 680666"/>
                <a:gd name="connsiteX115" fmla="*/ 927189 w 927284"/>
                <a:gd name="connsiteY115" fmla="*/ 310500 h 68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27284" h="680666">
                  <a:moveTo>
                    <a:pt x="927189" y="310500"/>
                  </a:moveTo>
                  <a:cubicBezTo>
                    <a:pt x="925162" y="324309"/>
                    <a:pt x="874996" y="326336"/>
                    <a:pt x="887538" y="341664"/>
                  </a:cubicBezTo>
                  <a:cubicBezTo>
                    <a:pt x="893872" y="349392"/>
                    <a:pt x="906540" y="354712"/>
                    <a:pt x="905780" y="366494"/>
                  </a:cubicBezTo>
                  <a:cubicBezTo>
                    <a:pt x="905020" y="377895"/>
                    <a:pt x="892605" y="383470"/>
                    <a:pt x="889818" y="393857"/>
                  </a:cubicBezTo>
                  <a:cubicBezTo>
                    <a:pt x="887031" y="404118"/>
                    <a:pt x="912368" y="422234"/>
                    <a:pt x="909581" y="432116"/>
                  </a:cubicBezTo>
                  <a:cubicBezTo>
                    <a:pt x="909581" y="432116"/>
                    <a:pt x="909581" y="432116"/>
                    <a:pt x="909581" y="432116"/>
                  </a:cubicBezTo>
                  <a:cubicBezTo>
                    <a:pt x="909454" y="432369"/>
                    <a:pt x="909454" y="432749"/>
                    <a:pt x="909327" y="432876"/>
                  </a:cubicBezTo>
                  <a:cubicBezTo>
                    <a:pt x="909327" y="432876"/>
                    <a:pt x="909327" y="433002"/>
                    <a:pt x="909201" y="433002"/>
                  </a:cubicBezTo>
                  <a:cubicBezTo>
                    <a:pt x="909074" y="433256"/>
                    <a:pt x="908820" y="433636"/>
                    <a:pt x="908694" y="433889"/>
                  </a:cubicBezTo>
                  <a:cubicBezTo>
                    <a:pt x="908440" y="434143"/>
                    <a:pt x="908187" y="434523"/>
                    <a:pt x="907934" y="434649"/>
                  </a:cubicBezTo>
                  <a:cubicBezTo>
                    <a:pt x="907680" y="434776"/>
                    <a:pt x="907554" y="434903"/>
                    <a:pt x="907300" y="435156"/>
                  </a:cubicBezTo>
                  <a:cubicBezTo>
                    <a:pt x="906667" y="435663"/>
                    <a:pt x="905907" y="436170"/>
                    <a:pt x="904893" y="436550"/>
                  </a:cubicBezTo>
                  <a:cubicBezTo>
                    <a:pt x="904640" y="436676"/>
                    <a:pt x="904260" y="436803"/>
                    <a:pt x="904007" y="436930"/>
                  </a:cubicBezTo>
                  <a:cubicBezTo>
                    <a:pt x="902993" y="437310"/>
                    <a:pt x="901853" y="437563"/>
                    <a:pt x="900586" y="437816"/>
                  </a:cubicBezTo>
                  <a:cubicBezTo>
                    <a:pt x="892098" y="439463"/>
                    <a:pt x="881077" y="437183"/>
                    <a:pt x="874743" y="444404"/>
                  </a:cubicBezTo>
                  <a:cubicBezTo>
                    <a:pt x="868535" y="451371"/>
                    <a:pt x="868029" y="462519"/>
                    <a:pt x="863848" y="470627"/>
                  </a:cubicBezTo>
                  <a:cubicBezTo>
                    <a:pt x="854600" y="488616"/>
                    <a:pt x="827743" y="505338"/>
                    <a:pt x="807474" y="503691"/>
                  </a:cubicBezTo>
                  <a:cubicBezTo>
                    <a:pt x="797213" y="502804"/>
                    <a:pt x="787712" y="496977"/>
                    <a:pt x="777324" y="500144"/>
                  </a:cubicBezTo>
                  <a:cubicBezTo>
                    <a:pt x="764149" y="504198"/>
                    <a:pt x="753381" y="516739"/>
                    <a:pt x="744513" y="526494"/>
                  </a:cubicBezTo>
                  <a:cubicBezTo>
                    <a:pt x="736152" y="535615"/>
                    <a:pt x="729311" y="545370"/>
                    <a:pt x="722090" y="555377"/>
                  </a:cubicBezTo>
                  <a:cubicBezTo>
                    <a:pt x="715756" y="564245"/>
                    <a:pt x="708282" y="571466"/>
                    <a:pt x="696754" y="571593"/>
                  </a:cubicBezTo>
                  <a:cubicBezTo>
                    <a:pt x="692827" y="571593"/>
                    <a:pt x="689533" y="570453"/>
                    <a:pt x="685732" y="569946"/>
                  </a:cubicBezTo>
                  <a:cubicBezTo>
                    <a:pt x="682312" y="569439"/>
                    <a:pt x="679652" y="570453"/>
                    <a:pt x="676358" y="570833"/>
                  </a:cubicBezTo>
                  <a:cubicBezTo>
                    <a:pt x="667997" y="571973"/>
                    <a:pt x="659636" y="570453"/>
                    <a:pt x="651275" y="570706"/>
                  </a:cubicBezTo>
                  <a:cubicBezTo>
                    <a:pt x="640380" y="571086"/>
                    <a:pt x="629105" y="572353"/>
                    <a:pt x="619224" y="577040"/>
                  </a:cubicBezTo>
                  <a:cubicBezTo>
                    <a:pt x="609596" y="581601"/>
                    <a:pt x="599462" y="580588"/>
                    <a:pt x="589074" y="581221"/>
                  </a:cubicBezTo>
                  <a:cubicBezTo>
                    <a:pt x="579572" y="581728"/>
                    <a:pt x="569818" y="583248"/>
                    <a:pt x="560570" y="585148"/>
                  </a:cubicBezTo>
                  <a:cubicBezTo>
                    <a:pt x="554870" y="586288"/>
                    <a:pt x="547902" y="586668"/>
                    <a:pt x="545495" y="592496"/>
                  </a:cubicBezTo>
                  <a:cubicBezTo>
                    <a:pt x="542455" y="599590"/>
                    <a:pt x="543341" y="605670"/>
                    <a:pt x="536247" y="610358"/>
                  </a:cubicBezTo>
                  <a:cubicBezTo>
                    <a:pt x="531053" y="613778"/>
                    <a:pt x="527759" y="615932"/>
                    <a:pt x="529153" y="623153"/>
                  </a:cubicBezTo>
                  <a:cubicBezTo>
                    <a:pt x="530673" y="630880"/>
                    <a:pt x="537767" y="633921"/>
                    <a:pt x="543595" y="638101"/>
                  </a:cubicBezTo>
                  <a:cubicBezTo>
                    <a:pt x="549549" y="642282"/>
                    <a:pt x="556390" y="644689"/>
                    <a:pt x="561837" y="649629"/>
                  </a:cubicBezTo>
                  <a:cubicBezTo>
                    <a:pt x="571338" y="658117"/>
                    <a:pt x="567918" y="666225"/>
                    <a:pt x="556516" y="670532"/>
                  </a:cubicBezTo>
                  <a:cubicBezTo>
                    <a:pt x="543595" y="675473"/>
                    <a:pt x="530420" y="676106"/>
                    <a:pt x="518005" y="680667"/>
                  </a:cubicBezTo>
                  <a:cubicBezTo>
                    <a:pt x="514964" y="674206"/>
                    <a:pt x="511544" y="668632"/>
                    <a:pt x="505590" y="662551"/>
                  </a:cubicBezTo>
                  <a:cubicBezTo>
                    <a:pt x="494569" y="651149"/>
                    <a:pt x="481774" y="641902"/>
                    <a:pt x="468725" y="633034"/>
                  </a:cubicBezTo>
                  <a:cubicBezTo>
                    <a:pt x="456944" y="624926"/>
                    <a:pt x="442375" y="624673"/>
                    <a:pt x="430214" y="617072"/>
                  </a:cubicBezTo>
                  <a:cubicBezTo>
                    <a:pt x="422486" y="612131"/>
                    <a:pt x="412605" y="604404"/>
                    <a:pt x="405638" y="614792"/>
                  </a:cubicBezTo>
                  <a:cubicBezTo>
                    <a:pt x="402851" y="618845"/>
                    <a:pt x="402344" y="622646"/>
                    <a:pt x="396516" y="620872"/>
                  </a:cubicBezTo>
                  <a:cubicBezTo>
                    <a:pt x="391702" y="619352"/>
                    <a:pt x="388155" y="614158"/>
                    <a:pt x="384481" y="610991"/>
                  </a:cubicBezTo>
                  <a:cubicBezTo>
                    <a:pt x="372193" y="619099"/>
                    <a:pt x="369153" y="635188"/>
                    <a:pt x="355471" y="641268"/>
                  </a:cubicBezTo>
                  <a:cubicBezTo>
                    <a:pt x="340269" y="647982"/>
                    <a:pt x="323040" y="638481"/>
                    <a:pt x="308219" y="635061"/>
                  </a:cubicBezTo>
                  <a:cubicBezTo>
                    <a:pt x="293524" y="631767"/>
                    <a:pt x="276801" y="635314"/>
                    <a:pt x="262613" y="630374"/>
                  </a:cubicBezTo>
                  <a:cubicBezTo>
                    <a:pt x="251085" y="626320"/>
                    <a:pt x="241457" y="614158"/>
                    <a:pt x="236390" y="603517"/>
                  </a:cubicBezTo>
                  <a:cubicBezTo>
                    <a:pt x="232336" y="595156"/>
                    <a:pt x="234489" y="586922"/>
                    <a:pt x="232716" y="578054"/>
                  </a:cubicBezTo>
                  <a:cubicBezTo>
                    <a:pt x="230055" y="565005"/>
                    <a:pt x="220301" y="558544"/>
                    <a:pt x="212953" y="548410"/>
                  </a:cubicBezTo>
                  <a:cubicBezTo>
                    <a:pt x="205352" y="538022"/>
                    <a:pt x="210800" y="525861"/>
                    <a:pt x="208139" y="514079"/>
                  </a:cubicBezTo>
                  <a:cubicBezTo>
                    <a:pt x="203959" y="495583"/>
                    <a:pt x="183943" y="491023"/>
                    <a:pt x="167347" y="492290"/>
                  </a:cubicBezTo>
                  <a:cubicBezTo>
                    <a:pt x="150879" y="493557"/>
                    <a:pt x="143025" y="499764"/>
                    <a:pt x="145558" y="516359"/>
                  </a:cubicBezTo>
                  <a:cubicBezTo>
                    <a:pt x="147839" y="530421"/>
                    <a:pt x="152273" y="550184"/>
                    <a:pt x="138844" y="560445"/>
                  </a:cubicBezTo>
                  <a:cubicBezTo>
                    <a:pt x="128203" y="568553"/>
                    <a:pt x="112494" y="564879"/>
                    <a:pt x="100459" y="570453"/>
                  </a:cubicBezTo>
                  <a:cubicBezTo>
                    <a:pt x="93745" y="573620"/>
                    <a:pt x="82217" y="587428"/>
                    <a:pt x="76136" y="578941"/>
                  </a:cubicBezTo>
                  <a:cubicBezTo>
                    <a:pt x="72336" y="573620"/>
                    <a:pt x="73476" y="561965"/>
                    <a:pt x="73349" y="555884"/>
                  </a:cubicBezTo>
                  <a:cubicBezTo>
                    <a:pt x="73096" y="545116"/>
                    <a:pt x="73222" y="534348"/>
                    <a:pt x="72842" y="523580"/>
                  </a:cubicBezTo>
                  <a:cubicBezTo>
                    <a:pt x="71956" y="500017"/>
                    <a:pt x="68282" y="476708"/>
                    <a:pt x="66762" y="453271"/>
                  </a:cubicBezTo>
                  <a:cubicBezTo>
                    <a:pt x="65241" y="430215"/>
                    <a:pt x="66382" y="407286"/>
                    <a:pt x="65748" y="384356"/>
                  </a:cubicBezTo>
                  <a:cubicBezTo>
                    <a:pt x="65241" y="365734"/>
                    <a:pt x="61821" y="347238"/>
                    <a:pt x="58654" y="328996"/>
                  </a:cubicBezTo>
                  <a:cubicBezTo>
                    <a:pt x="53967" y="302012"/>
                    <a:pt x="48266" y="275156"/>
                    <a:pt x="43452" y="248299"/>
                  </a:cubicBezTo>
                  <a:cubicBezTo>
                    <a:pt x="41045" y="234998"/>
                    <a:pt x="38892" y="221569"/>
                    <a:pt x="37118" y="208141"/>
                  </a:cubicBezTo>
                  <a:cubicBezTo>
                    <a:pt x="35725" y="196613"/>
                    <a:pt x="37118" y="183565"/>
                    <a:pt x="32051" y="172923"/>
                  </a:cubicBezTo>
                  <a:cubicBezTo>
                    <a:pt x="29264" y="166969"/>
                    <a:pt x="23943" y="162535"/>
                    <a:pt x="21156" y="156581"/>
                  </a:cubicBezTo>
                  <a:cubicBezTo>
                    <a:pt x="17862" y="149487"/>
                    <a:pt x="18242" y="141886"/>
                    <a:pt x="17482" y="134285"/>
                  </a:cubicBezTo>
                  <a:cubicBezTo>
                    <a:pt x="16342" y="121617"/>
                    <a:pt x="13302" y="109328"/>
                    <a:pt x="10008" y="97294"/>
                  </a:cubicBezTo>
                  <a:cubicBezTo>
                    <a:pt x="7094" y="86526"/>
                    <a:pt x="3674" y="75884"/>
                    <a:pt x="0" y="65370"/>
                  </a:cubicBezTo>
                  <a:cubicBezTo>
                    <a:pt x="380" y="64990"/>
                    <a:pt x="760" y="64483"/>
                    <a:pt x="1140" y="64103"/>
                  </a:cubicBezTo>
                  <a:cubicBezTo>
                    <a:pt x="8234" y="54855"/>
                    <a:pt x="-3040" y="28759"/>
                    <a:pt x="11908" y="24451"/>
                  </a:cubicBezTo>
                  <a:cubicBezTo>
                    <a:pt x="18242" y="22678"/>
                    <a:pt x="24070" y="31166"/>
                    <a:pt x="27997" y="34966"/>
                  </a:cubicBezTo>
                  <a:cubicBezTo>
                    <a:pt x="33318" y="39906"/>
                    <a:pt x="39145" y="44974"/>
                    <a:pt x="45479" y="48521"/>
                  </a:cubicBezTo>
                  <a:cubicBezTo>
                    <a:pt x="58781" y="55868"/>
                    <a:pt x="85384" y="52575"/>
                    <a:pt x="98179" y="44974"/>
                  </a:cubicBezTo>
                  <a:cubicBezTo>
                    <a:pt x="104640" y="41173"/>
                    <a:pt x="108820" y="33826"/>
                    <a:pt x="116168" y="31419"/>
                  </a:cubicBezTo>
                  <a:cubicBezTo>
                    <a:pt x="124149" y="28759"/>
                    <a:pt x="134410" y="30659"/>
                    <a:pt x="142518" y="32052"/>
                  </a:cubicBezTo>
                  <a:cubicBezTo>
                    <a:pt x="153033" y="33826"/>
                    <a:pt x="162787" y="37880"/>
                    <a:pt x="173302" y="39653"/>
                  </a:cubicBezTo>
                  <a:cubicBezTo>
                    <a:pt x="182043" y="41173"/>
                    <a:pt x="191164" y="40160"/>
                    <a:pt x="199905" y="38893"/>
                  </a:cubicBezTo>
                  <a:cubicBezTo>
                    <a:pt x="209026" y="37500"/>
                    <a:pt x="217134" y="35219"/>
                    <a:pt x="224735" y="29899"/>
                  </a:cubicBezTo>
                  <a:cubicBezTo>
                    <a:pt x="231196" y="25338"/>
                    <a:pt x="236770" y="21031"/>
                    <a:pt x="244624" y="18751"/>
                  </a:cubicBezTo>
                  <a:cubicBezTo>
                    <a:pt x="261219" y="13810"/>
                    <a:pt x="282755" y="12416"/>
                    <a:pt x="299224" y="18244"/>
                  </a:cubicBezTo>
                  <a:cubicBezTo>
                    <a:pt x="306825" y="20904"/>
                    <a:pt x="315439" y="24451"/>
                    <a:pt x="323420" y="22424"/>
                  </a:cubicBezTo>
                  <a:cubicBezTo>
                    <a:pt x="331908" y="20271"/>
                    <a:pt x="339509" y="16217"/>
                    <a:pt x="345843" y="10263"/>
                  </a:cubicBezTo>
                  <a:cubicBezTo>
                    <a:pt x="349264" y="7096"/>
                    <a:pt x="351924" y="3548"/>
                    <a:pt x="356231" y="1648"/>
                  </a:cubicBezTo>
                  <a:cubicBezTo>
                    <a:pt x="361552" y="-759"/>
                    <a:pt x="368773" y="-252"/>
                    <a:pt x="374473" y="1395"/>
                  </a:cubicBezTo>
                  <a:cubicBezTo>
                    <a:pt x="371180" y="17357"/>
                    <a:pt x="365986" y="32559"/>
                    <a:pt x="381441" y="43200"/>
                  </a:cubicBezTo>
                  <a:cubicBezTo>
                    <a:pt x="394363" y="52068"/>
                    <a:pt x="407158" y="59289"/>
                    <a:pt x="418939" y="69804"/>
                  </a:cubicBezTo>
                  <a:cubicBezTo>
                    <a:pt x="425780" y="76011"/>
                    <a:pt x="433381" y="81205"/>
                    <a:pt x="440095" y="87666"/>
                  </a:cubicBezTo>
                  <a:cubicBezTo>
                    <a:pt x="449216" y="96660"/>
                    <a:pt x="451877" y="104388"/>
                    <a:pt x="442502" y="114522"/>
                  </a:cubicBezTo>
                  <a:cubicBezTo>
                    <a:pt x="437815" y="119590"/>
                    <a:pt x="432494" y="123897"/>
                    <a:pt x="430594" y="130738"/>
                  </a:cubicBezTo>
                  <a:cubicBezTo>
                    <a:pt x="428567" y="138212"/>
                    <a:pt x="430467" y="146573"/>
                    <a:pt x="431987" y="153921"/>
                  </a:cubicBezTo>
                  <a:cubicBezTo>
                    <a:pt x="434394" y="165449"/>
                    <a:pt x="439968" y="189392"/>
                    <a:pt x="456437" y="182044"/>
                  </a:cubicBezTo>
                  <a:cubicBezTo>
                    <a:pt x="462518" y="179384"/>
                    <a:pt x="467585" y="174570"/>
                    <a:pt x="473159" y="171150"/>
                  </a:cubicBezTo>
                  <a:cubicBezTo>
                    <a:pt x="478860" y="167602"/>
                    <a:pt x="484941" y="164435"/>
                    <a:pt x="488488" y="158481"/>
                  </a:cubicBezTo>
                  <a:cubicBezTo>
                    <a:pt x="492288" y="151767"/>
                    <a:pt x="491655" y="144039"/>
                    <a:pt x="494315" y="137199"/>
                  </a:cubicBezTo>
                  <a:cubicBezTo>
                    <a:pt x="497102" y="129978"/>
                    <a:pt x="502803" y="130738"/>
                    <a:pt x="509137" y="132638"/>
                  </a:cubicBezTo>
                  <a:cubicBezTo>
                    <a:pt x="515471" y="134538"/>
                    <a:pt x="523579" y="138466"/>
                    <a:pt x="528899" y="132385"/>
                  </a:cubicBezTo>
                  <a:cubicBezTo>
                    <a:pt x="534854" y="125544"/>
                    <a:pt x="534727" y="113256"/>
                    <a:pt x="536501" y="104768"/>
                  </a:cubicBezTo>
                  <a:cubicBezTo>
                    <a:pt x="537514" y="99700"/>
                    <a:pt x="538274" y="92986"/>
                    <a:pt x="544228" y="96660"/>
                  </a:cubicBezTo>
                  <a:cubicBezTo>
                    <a:pt x="550816" y="100714"/>
                    <a:pt x="554490" y="105275"/>
                    <a:pt x="562850" y="106161"/>
                  </a:cubicBezTo>
                  <a:cubicBezTo>
                    <a:pt x="572985" y="107175"/>
                    <a:pt x="582866" y="102614"/>
                    <a:pt x="589834" y="95140"/>
                  </a:cubicBezTo>
                  <a:cubicBezTo>
                    <a:pt x="594521" y="90326"/>
                    <a:pt x="598702" y="82345"/>
                    <a:pt x="605289" y="80065"/>
                  </a:cubicBezTo>
                  <a:cubicBezTo>
                    <a:pt x="619604" y="75124"/>
                    <a:pt x="628092" y="101347"/>
                    <a:pt x="637466" y="107682"/>
                  </a:cubicBezTo>
                  <a:cubicBezTo>
                    <a:pt x="648108" y="114649"/>
                    <a:pt x="659256" y="100714"/>
                    <a:pt x="670910" y="101981"/>
                  </a:cubicBezTo>
                  <a:cubicBezTo>
                    <a:pt x="678005" y="102741"/>
                    <a:pt x="684719" y="105781"/>
                    <a:pt x="691813" y="105908"/>
                  </a:cubicBezTo>
                  <a:cubicBezTo>
                    <a:pt x="699414" y="106035"/>
                    <a:pt x="706128" y="102868"/>
                    <a:pt x="712589" y="99194"/>
                  </a:cubicBezTo>
                  <a:cubicBezTo>
                    <a:pt x="719683" y="95140"/>
                    <a:pt x="726397" y="90453"/>
                    <a:pt x="733238" y="85892"/>
                  </a:cubicBezTo>
                  <a:cubicBezTo>
                    <a:pt x="738052" y="82599"/>
                    <a:pt x="745020" y="76264"/>
                    <a:pt x="751228" y="76264"/>
                  </a:cubicBezTo>
                  <a:cubicBezTo>
                    <a:pt x="757308" y="76264"/>
                    <a:pt x="759335" y="82599"/>
                    <a:pt x="761109" y="87412"/>
                  </a:cubicBezTo>
                  <a:cubicBezTo>
                    <a:pt x="763642" y="94000"/>
                    <a:pt x="766302" y="100207"/>
                    <a:pt x="772510" y="104261"/>
                  </a:cubicBezTo>
                  <a:cubicBezTo>
                    <a:pt x="779351" y="108695"/>
                    <a:pt x="787712" y="110595"/>
                    <a:pt x="795060" y="114269"/>
                  </a:cubicBezTo>
                  <a:cubicBezTo>
                    <a:pt x="802914" y="118323"/>
                    <a:pt x="809628" y="123897"/>
                    <a:pt x="815709" y="130231"/>
                  </a:cubicBezTo>
                  <a:cubicBezTo>
                    <a:pt x="820142" y="134918"/>
                    <a:pt x="825336" y="140366"/>
                    <a:pt x="827237" y="146826"/>
                  </a:cubicBezTo>
                  <a:cubicBezTo>
                    <a:pt x="828884" y="152654"/>
                    <a:pt x="826730" y="157974"/>
                    <a:pt x="825083" y="163549"/>
                  </a:cubicBezTo>
                  <a:cubicBezTo>
                    <a:pt x="822929" y="170516"/>
                    <a:pt x="822549" y="178244"/>
                    <a:pt x="824070" y="185465"/>
                  </a:cubicBezTo>
                  <a:cubicBezTo>
                    <a:pt x="825590" y="192812"/>
                    <a:pt x="827870" y="193572"/>
                    <a:pt x="833951" y="196739"/>
                  </a:cubicBezTo>
                  <a:cubicBezTo>
                    <a:pt x="844846" y="202440"/>
                    <a:pt x="855867" y="209154"/>
                    <a:pt x="863721" y="218782"/>
                  </a:cubicBezTo>
                  <a:cubicBezTo>
                    <a:pt x="868282" y="224230"/>
                    <a:pt x="871576" y="230690"/>
                    <a:pt x="873349" y="237658"/>
                  </a:cubicBezTo>
                  <a:cubicBezTo>
                    <a:pt x="876770" y="252099"/>
                    <a:pt x="870055" y="269582"/>
                    <a:pt x="884244" y="279717"/>
                  </a:cubicBezTo>
                  <a:cubicBezTo>
                    <a:pt x="892225" y="285417"/>
                    <a:pt x="902360" y="287444"/>
                    <a:pt x="910974" y="292005"/>
                  </a:cubicBezTo>
                  <a:cubicBezTo>
                    <a:pt x="916801" y="295172"/>
                    <a:pt x="928456" y="302012"/>
                    <a:pt x="927189" y="31050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4" name="Полилиния: фигура 683">
              <a:extLst>
                <a:ext uri="{FF2B5EF4-FFF2-40B4-BE49-F238E27FC236}">
                  <a16:creationId xmlns:a16="http://schemas.microsoft.com/office/drawing/2014/main" id="{8E264E3E-FE41-4AD8-B7E5-0A0A24AE8742}"/>
                </a:ext>
              </a:extLst>
            </p:cNvPr>
            <p:cNvSpPr/>
            <p:nvPr/>
          </p:nvSpPr>
          <p:spPr>
            <a:xfrm>
              <a:off x="1850787" y="3563120"/>
              <a:ext cx="356344" cy="354457"/>
            </a:xfrm>
            <a:custGeom>
              <a:avLst/>
              <a:gdLst>
                <a:gd name="connsiteX0" fmla="*/ 352051 w 356344"/>
                <a:gd name="connsiteY0" fmla="*/ 146192 h 354457"/>
                <a:gd name="connsiteX1" fmla="*/ 332288 w 356344"/>
                <a:gd name="connsiteY1" fmla="*/ 183436 h 354457"/>
                <a:gd name="connsiteX2" fmla="*/ 243230 w 356344"/>
                <a:gd name="connsiteY2" fmla="*/ 224481 h 354457"/>
                <a:gd name="connsiteX3" fmla="*/ 230309 w 356344"/>
                <a:gd name="connsiteY3" fmla="*/ 306572 h 354457"/>
                <a:gd name="connsiteX4" fmla="*/ 191544 w 356344"/>
                <a:gd name="connsiteY4" fmla="*/ 354458 h 354457"/>
                <a:gd name="connsiteX5" fmla="*/ 137197 w 356344"/>
                <a:gd name="connsiteY5" fmla="*/ 301378 h 354457"/>
                <a:gd name="connsiteX6" fmla="*/ 126683 w 356344"/>
                <a:gd name="connsiteY6" fmla="*/ 251212 h 354457"/>
                <a:gd name="connsiteX7" fmla="*/ 83104 w 356344"/>
                <a:gd name="connsiteY7" fmla="*/ 177989 h 354457"/>
                <a:gd name="connsiteX8" fmla="*/ 37118 w 356344"/>
                <a:gd name="connsiteY8" fmla="*/ 148092 h 354457"/>
                <a:gd name="connsiteX9" fmla="*/ 13808 w 356344"/>
                <a:gd name="connsiteY9" fmla="*/ 121742 h 354457"/>
                <a:gd name="connsiteX10" fmla="*/ 0 w 356344"/>
                <a:gd name="connsiteY10" fmla="*/ 112241 h 354457"/>
                <a:gd name="connsiteX11" fmla="*/ 68662 w 356344"/>
                <a:gd name="connsiteY11" fmla="*/ 70942 h 354457"/>
                <a:gd name="connsiteX12" fmla="*/ 103626 w 356344"/>
                <a:gd name="connsiteY12" fmla="*/ 22803 h 354457"/>
                <a:gd name="connsiteX13" fmla="*/ 153286 w 356344"/>
                <a:gd name="connsiteY13" fmla="*/ 0 h 354457"/>
                <a:gd name="connsiteX14" fmla="*/ 224481 w 356344"/>
                <a:gd name="connsiteY14" fmla="*/ 68282 h 354457"/>
                <a:gd name="connsiteX15" fmla="*/ 284656 w 356344"/>
                <a:gd name="connsiteY15" fmla="*/ 27743 h 354457"/>
                <a:gd name="connsiteX16" fmla="*/ 311639 w 356344"/>
                <a:gd name="connsiteY16" fmla="*/ 30911 h 354457"/>
                <a:gd name="connsiteX17" fmla="*/ 311132 w 356344"/>
                <a:gd name="connsiteY17" fmla="*/ 37625 h 354457"/>
                <a:gd name="connsiteX18" fmla="*/ 315566 w 356344"/>
                <a:gd name="connsiteY18" fmla="*/ 95519 h 354457"/>
                <a:gd name="connsiteX19" fmla="*/ 352051 w 356344"/>
                <a:gd name="connsiteY19" fmla="*/ 146192 h 35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344" h="354457">
                  <a:moveTo>
                    <a:pt x="352051" y="146192"/>
                  </a:moveTo>
                  <a:cubicBezTo>
                    <a:pt x="336722" y="136944"/>
                    <a:pt x="332795" y="167221"/>
                    <a:pt x="332288" y="183436"/>
                  </a:cubicBezTo>
                  <a:cubicBezTo>
                    <a:pt x="331782" y="200792"/>
                    <a:pt x="270340" y="205733"/>
                    <a:pt x="243230" y="224481"/>
                  </a:cubicBezTo>
                  <a:cubicBezTo>
                    <a:pt x="215994" y="243231"/>
                    <a:pt x="226888" y="280348"/>
                    <a:pt x="230309" y="306572"/>
                  </a:cubicBezTo>
                  <a:cubicBezTo>
                    <a:pt x="233856" y="332795"/>
                    <a:pt x="191544" y="354458"/>
                    <a:pt x="191544" y="354458"/>
                  </a:cubicBezTo>
                  <a:cubicBezTo>
                    <a:pt x="177862" y="334695"/>
                    <a:pt x="146572" y="306572"/>
                    <a:pt x="137197" y="301378"/>
                  </a:cubicBezTo>
                  <a:cubicBezTo>
                    <a:pt x="124022" y="294157"/>
                    <a:pt x="123389" y="268440"/>
                    <a:pt x="126683" y="251212"/>
                  </a:cubicBezTo>
                  <a:cubicBezTo>
                    <a:pt x="129976" y="234109"/>
                    <a:pt x="97672" y="206999"/>
                    <a:pt x="83104" y="177989"/>
                  </a:cubicBezTo>
                  <a:cubicBezTo>
                    <a:pt x="68915" y="149612"/>
                    <a:pt x="38385" y="148219"/>
                    <a:pt x="37118" y="148092"/>
                  </a:cubicBezTo>
                  <a:cubicBezTo>
                    <a:pt x="34331" y="137451"/>
                    <a:pt x="20396" y="126936"/>
                    <a:pt x="13808" y="121742"/>
                  </a:cubicBezTo>
                  <a:cubicBezTo>
                    <a:pt x="9501" y="118322"/>
                    <a:pt x="4814" y="115155"/>
                    <a:pt x="0" y="112241"/>
                  </a:cubicBezTo>
                  <a:cubicBezTo>
                    <a:pt x="0" y="112241"/>
                    <a:pt x="58654" y="89438"/>
                    <a:pt x="68662" y="70942"/>
                  </a:cubicBezTo>
                  <a:cubicBezTo>
                    <a:pt x="78543" y="52447"/>
                    <a:pt x="82470" y="33951"/>
                    <a:pt x="103626" y="22803"/>
                  </a:cubicBezTo>
                  <a:cubicBezTo>
                    <a:pt x="118828" y="14822"/>
                    <a:pt x="144925" y="12415"/>
                    <a:pt x="153286" y="0"/>
                  </a:cubicBezTo>
                  <a:cubicBezTo>
                    <a:pt x="153286" y="0"/>
                    <a:pt x="206619" y="87158"/>
                    <a:pt x="224481" y="68282"/>
                  </a:cubicBezTo>
                  <a:cubicBezTo>
                    <a:pt x="242344" y="49533"/>
                    <a:pt x="261726" y="31671"/>
                    <a:pt x="284656" y="27743"/>
                  </a:cubicBezTo>
                  <a:cubicBezTo>
                    <a:pt x="302898" y="24576"/>
                    <a:pt x="310626" y="24323"/>
                    <a:pt x="311639" y="30911"/>
                  </a:cubicBezTo>
                  <a:cubicBezTo>
                    <a:pt x="311892" y="32684"/>
                    <a:pt x="311639" y="34838"/>
                    <a:pt x="311132" y="37625"/>
                  </a:cubicBezTo>
                  <a:cubicBezTo>
                    <a:pt x="308092" y="50926"/>
                    <a:pt x="296184" y="91592"/>
                    <a:pt x="315566" y="95519"/>
                  </a:cubicBezTo>
                  <a:cubicBezTo>
                    <a:pt x="334695" y="99952"/>
                    <a:pt x="368266" y="93112"/>
                    <a:pt x="352051" y="146192"/>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685" name="Рисунок 388">
              <a:extLst>
                <a:ext uri="{FF2B5EF4-FFF2-40B4-BE49-F238E27FC236}">
                  <a16:creationId xmlns:a16="http://schemas.microsoft.com/office/drawing/2014/main" id="{1DA397FD-DC6E-439E-BB40-D0F80476817D}"/>
                </a:ext>
              </a:extLst>
            </p:cNvPr>
            <p:cNvGrpSpPr/>
            <p:nvPr/>
          </p:nvGrpSpPr>
          <p:grpSpPr>
            <a:xfrm>
              <a:off x="11651978" y="1790736"/>
              <a:ext cx="1013820" cy="2023215"/>
              <a:chOff x="11651978" y="1790736"/>
              <a:chExt cx="1013820" cy="2023215"/>
            </a:xfrm>
            <a:solidFill>
              <a:srgbClr val="E3E8EC"/>
            </a:solidFill>
          </p:grpSpPr>
          <p:sp>
            <p:nvSpPr>
              <p:cNvPr id="686" name="Полилиния: фигура 685">
                <a:extLst>
                  <a:ext uri="{FF2B5EF4-FFF2-40B4-BE49-F238E27FC236}">
                    <a16:creationId xmlns:a16="http://schemas.microsoft.com/office/drawing/2014/main" id="{C02F2997-182D-4328-AF9F-76E9CAFE9E1F}"/>
                  </a:ext>
                </a:extLst>
              </p:cNvPr>
              <p:cNvSpPr/>
              <p:nvPr/>
            </p:nvSpPr>
            <p:spPr>
              <a:xfrm>
                <a:off x="11651978" y="1790736"/>
                <a:ext cx="1013820" cy="2023215"/>
              </a:xfrm>
              <a:custGeom>
                <a:avLst/>
                <a:gdLst>
                  <a:gd name="connsiteX0" fmla="*/ 1013821 w 1013820"/>
                  <a:gd name="connsiteY0" fmla="*/ 1320128 h 2023215"/>
                  <a:gd name="connsiteX1" fmla="*/ 1011161 w 1013820"/>
                  <a:gd name="connsiteY1" fmla="*/ 1321775 h 2023215"/>
                  <a:gd name="connsiteX2" fmla="*/ 979110 w 1013820"/>
                  <a:gd name="connsiteY2" fmla="*/ 1352052 h 2023215"/>
                  <a:gd name="connsiteX3" fmla="*/ 959980 w 1013820"/>
                  <a:gd name="connsiteY3" fmla="*/ 1382835 h 2023215"/>
                  <a:gd name="connsiteX4" fmla="*/ 937685 w 1013820"/>
                  <a:gd name="connsiteY4" fmla="*/ 1413746 h 2023215"/>
                  <a:gd name="connsiteX5" fmla="*/ 883338 w 1013820"/>
                  <a:gd name="connsiteY5" fmla="*/ 1429708 h 2023215"/>
                  <a:gd name="connsiteX6" fmla="*/ 882198 w 1013820"/>
                  <a:gd name="connsiteY6" fmla="*/ 1469613 h 2023215"/>
                  <a:gd name="connsiteX7" fmla="*/ 899680 w 1013820"/>
                  <a:gd name="connsiteY7" fmla="*/ 1497483 h 2023215"/>
                  <a:gd name="connsiteX8" fmla="*/ 903481 w 1013820"/>
                  <a:gd name="connsiteY8" fmla="*/ 1519653 h 2023215"/>
                  <a:gd name="connsiteX9" fmla="*/ 913488 w 1013820"/>
                  <a:gd name="connsiteY9" fmla="*/ 1552844 h 2023215"/>
                  <a:gd name="connsiteX10" fmla="*/ 921976 w 1013820"/>
                  <a:gd name="connsiteY10" fmla="*/ 1589708 h 2023215"/>
                  <a:gd name="connsiteX11" fmla="*/ 922736 w 1013820"/>
                  <a:gd name="connsiteY11" fmla="*/ 1644435 h 2023215"/>
                  <a:gd name="connsiteX12" fmla="*/ 911841 w 1013820"/>
                  <a:gd name="connsiteY12" fmla="*/ 1677499 h 2023215"/>
                  <a:gd name="connsiteX13" fmla="*/ 896260 w 1013820"/>
                  <a:gd name="connsiteY13" fmla="*/ 1700935 h 2023215"/>
                  <a:gd name="connsiteX14" fmla="*/ 862182 w 1013820"/>
                  <a:gd name="connsiteY14" fmla="*/ 1705243 h 2023215"/>
                  <a:gd name="connsiteX15" fmla="*/ 822150 w 1013820"/>
                  <a:gd name="connsiteY15" fmla="*/ 1736280 h 2023215"/>
                  <a:gd name="connsiteX16" fmla="*/ 841912 w 1013820"/>
                  <a:gd name="connsiteY16" fmla="*/ 1801395 h 2023215"/>
                  <a:gd name="connsiteX17" fmla="*/ 881311 w 1013820"/>
                  <a:gd name="connsiteY17" fmla="*/ 1801268 h 2023215"/>
                  <a:gd name="connsiteX18" fmla="*/ 921469 w 1013820"/>
                  <a:gd name="connsiteY18" fmla="*/ 1791513 h 2023215"/>
                  <a:gd name="connsiteX19" fmla="*/ 939585 w 1013820"/>
                  <a:gd name="connsiteY19" fmla="*/ 1824704 h 2023215"/>
                  <a:gd name="connsiteX20" fmla="*/ 929704 w 1013820"/>
                  <a:gd name="connsiteY20" fmla="*/ 1868536 h 2023215"/>
                  <a:gd name="connsiteX21" fmla="*/ 934391 w 1013820"/>
                  <a:gd name="connsiteY21" fmla="*/ 1900460 h 2023215"/>
                  <a:gd name="connsiteX22" fmla="*/ 901580 w 1013820"/>
                  <a:gd name="connsiteY22" fmla="*/ 1908568 h 2023215"/>
                  <a:gd name="connsiteX23" fmla="*/ 884225 w 1013820"/>
                  <a:gd name="connsiteY23" fmla="*/ 1930357 h 2023215"/>
                  <a:gd name="connsiteX24" fmla="*/ 867502 w 1013820"/>
                  <a:gd name="connsiteY24" fmla="*/ 1966082 h 2023215"/>
                  <a:gd name="connsiteX25" fmla="*/ 852300 w 1013820"/>
                  <a:gd name="connsiteY25" fmla="*/ 2004847 h 2023215"/>
                  <a:gd name="connsiteX26" fmla="*/ 821643 w 1013820"/>
                  <a:gd name="connsiteY26" fmla="*/ 2018402 h 2023215"/>
                  <a:gd name="connsiteX27" fmla="*/ 792886 w 1013820"/>
                  <a:gd name="connsiteY27" fmla="*/ 2021695 h 2023215"/>
                  <a:gd name="connsiteX28" fmla="*/ 789340 w 1013820"/>
                  <a:gd name="connsiteY28" fmla="*/ 2023216 h 2023215"/>
                  <a:gd name="connsiteX29" fmla="*/ 781992 w 1013820"/>
                  <a:gd name="connsiteY29" fmla="*/ 2015868 h 2023215"/>
                  <a:gd name="connsiteX30" fmla="*/ 763370 w 1013820"/>
                  <a:gd name="connsiteY30" fmla="*/ 1977990 h 2023215"/>
                  <a:gd name="connsiteX31" fmla="*/ 713584 w 1013820"/>
                  <a:gd name="connsiteY31" fmla="*/ 1909582 h 2023215"/>
                  <a:gd name="connsiteX32" fmla="*/ 704716 w 1013820"/>
                  <a:gd name="connsiteY32" fmla="*/ 1872590 h 2023215"/>
                  <a:gd name="connsiteX33" fmla="*/ 692427 w 1013820"/>
                  <a:gd name="connsiteY33" fmla="*/ 1835092 h 2023215"/>
                  <a:gd name="connsiteX34" fmla="*/ 690780 w 1013820"/>
                  <a:gd name="connsiteY34" fmla="*/ 1798481 h 2023215"/>
                  <a:gd name="connsiteX35" fmla="*/ 674945 w 1013820"/>
                  <a:gd name="connsiteY35" fmla="*/ 1766937 h 2023215"/>
                  <a:gd name="connsiteX36" fmla="*/ 660756 w 1013820"/>
                  <a:gd name="connsiteY36" fmla="*/ 1733239 h 2023215"/>
                  <a:gd name="connsiteX37" fmla="*/ 622118 w 1013820"/>
                  <a:gd name="connsiteY37" fmla="*/ 1721711 h 2023215"/>
                  <a:gd name="connsiteX38" fmla="*/ 612111 w 1013820"/>
                  <a:gd name="connsiteY38" fmla="*/ 1687507 h 2023215"/>
                  <a:gd name="connsiteX39" fmla="*/ 642641 w 1013820"/>
                  <a:gd name="connsiteY39" fmla="*/ 1666478 h 2023215"/>
                  <a:gd name="connsiteX40" fmla="*/ 647201 w 1013820"/>
                  <a:gd name="connsiteY40" fmla="*/ 1627333 h 2023215"/>
                  <a:gd name="connsiteX41" fmla="*/ 665951 w 1013820"/>
                  <a:gd name="connsiteY41" fmla="*/ 1590595 h 2023215"/>
                  <a:gd name="connsiteX42" fmla="*/ 664810 w 1013820"/>
                  <a:gd name="connsiteY42" fmla="*/ 1552590 h 2023215"/>
                  <a:gd name="connsiteX43" fmla="*/ 655563 w 1013820"/>
                  <a:gd name="connsiteY43" fmla="*/ 1501790 h 2023215"/>
                  <a:gd name="connsiteX44" fmla="*/ 653283 w 1013820"/>
                  <a:gd name="connsiteY44" fmla="*/ 1456818 h 2023215"/>
                  <a:gd name="connsiteX45" fmla="*/ 647582 w 1013820"/>
                  <a:gd name="connsiteY45" fmla="*/ 1417167 h 2023215"/>
                  <a:gd name="connsiteX46" fmla="*/ 604130 w 1013820"/>
                  <a:gd name="connsiteY46" fmla="*/ 1371181 h 2023215"/>
                  <a:gd name="connsiteX47" fmla="*/ 591081 w 1013820"/>
                  <a:gd name="connsiteY47" fmla="*/ 1302392 h 2023215"/>
                  <a:gd name="connsiteX48" fmla="*/ 587027 w 1013820"/>
                  <a:gd name="connsiteY48" fmla="*/ 1224736 h 2023215"/>
                  <a:gd name="connsiteX49" fmla="*/ 587281 w 1013820"/>
                  <a:gd name="connsiteY49" fmla="*/ 1187364 h 2023215"/>
                  <a:gd name="connsiteX50" fmla="*/ 561184 w 1013820"/>
                  <a:gd name="connsiteY50" fmla="*/ 1110468 h 2023215"/>
                  <a:gd name="connsiteX51" fmla="*/ 542942 w 1013820"/>
                  <a:gd name="connsiteY51" fmla="*/ 1087792 h 2023215"/>
                  <a:gd name="connsiteX52" fmla="*/ 535975 w 1013820"/>
                  <a:gd name="connsiteY52" fmla="*/ 1023817 h 2023215"/>
                  <a:gd name="connsiteX53" fmla="*/ 555864 w 1013820"/>
                  <a:gd name="connsiteY53" fmla="*/ 944514 h 2023215"/>
                  <a:gd name="connsiteX54" fmla="*/ 566885 w 1013820"/>
                  <a:gd name="connsiteY54" fmla="*/ 904482 h 2023215"/>
                  <a:gd name="connsiteX55" fmla="*/ 534834 w 1013820"/>
                  <a:gd name="connsiteY55" fmla="*/ 889661 h 2023215"/>
                  <a:gd name="connsiteX56" fmla="*/ 535468 w 1013820"/>
                  <a:gd name="connsiteY56" fmla="*/ 875979 h 2023215"/>
                  <a:gd name="connsiteX57" fmla="*/ 516972 w 1013820"/>
                  <a:gd name="connsiteY57" fmla="*/ 837341 h 2023215"/>
                  <a:gd name="connsiteX58" fmla="*/ 480107 w 1013820"/>
                  <a:gd name="connsiteY58" fmla="*/ 807824 h 2023215"/>
                  <a:gd name="connsiteX59" fmla="*/ 439316 w 1013820"/>
                  <a:gd name="connsiteY59" fmla="*/ 787428 h 2023215"/>
                  <a:gd name="connsiteX60" fmla="*/ 403338 w 1013820"/>
                  <a:gd name="connsiteY60" fmla="*/ 746636 h 2023215"/>
                  <a:gd name="connsiteX61" fmla="*/ 391050 w 1013820"/>
                  <a:gd name="connsiteY61" fmla="*/ 688996 h 2023215"/>
                  <a:gd name="connsiteX62" fmla="*/ 412332 w 1013820"/>
                  <a:gd name="connsiteY62" fmla="*/ 641870 h 2023215"/>
                  <a:gd name="connsiteX63" fmla="*/ 384589 w 1013820"/>
                  <a:gd name="connsiteY63" fmla="*/ 638829 h 2023215"/>
                  <a:gd name="connsiteX64" fmla="*/ 348611 w 1013820"/>
                  <a:gd name="connsiteY64" fmla="*/ 658972 h 2023215"/>
                  <a:gd name="connsiteX65" fmla="*/ 327582 w 1013820"/>
                  <a:gd name="connsiteY65" fmla="*/ 708378 h 2023215"/>
                  <a:gd name="connsiteX66" fmla="*/ 312253 w 1013820"/>
                  <a:gd name="connsiteY66" fmla="*/ 727634 h 2023215"/>
                  <a:gd name="connsiteX67" fmla="*/ 336576 w 1013820"/>
                  <a:gd name="connsiteY67" fmla="*/ 762218 h 2023215"/>
                  <a:gd name="connsiteX68" fmla="*/ 360646 w 1013820"/>
                  <a:gd name="connsiteY68" fmla="*/ 790975 h 2023215"/>
                  <a:gd name="connsiteX69" fmla="*/ 381042 w 1013820"/>
                  <a:gd name="connsiteY69" fmla="*/ 824546 h 2023215"/>
                  <a:gd name="connsiteX70" fmla="*/ 414486 w 1013820"/>
                  <a:gd name="connsiteY70" fmla="*/ 838988 h 2023215"/>
                  <a:gd name="connsiteX71" fmla="*/ 446029 w 1013820"/>
                  <a:gd name="connsiteY71" fmla="*/ 851022 h 2023215"/>
                  <a:gd name="connsiteX72" fmla="*/ 427914 w 1013820"/>
                  <a:gd name="connsiteY72" fmla="*/ 871292 h 2023215"/>
                  <a:gd name="connsiteX73" fmla="*/ 399918 w 1013820"/>
                  <a:gd name="connsiteY73" fmla="*/ 860397 h 2023215"/>
                  <a:gd name="connsiteX74" fmla="*/ 395737 w 1013820"/>
                  <a:gd name="connsiteY74" fmla="*/ 891941 h 2023215"/>
                  <a:gd name="connsiteX75" fmla="*/ 376228 w 1013820"/>
                  <a:gd name="connsiteY75" fmla="*/ 883833 h 2023215"/>
                  <a:gd name="connsiteX76" fmla="*/ 358999 w 1013820"/>
                  <a:gd name="connsiteY76" fmla="*/ 853429 h 2023215"/>
                  <a:gd name="connsiteX77" fmla="*/ 311746 w 1013820"/>
                  <a:gd name="connsiteY77" fmla="*/ 819225 h 2023215"/>
                  <a:gd name="connsiteX78" fmla="*/ 281849 w 1013820"/>
                  <a:gd name="connsiteY78" fmla="*/ 757784 h 2023215"/>
                  <a:gd name="connsiteX79" fmla="*/ 193425 w 1013820"/>
                  <a:gd name="connsiteY79" fmla="*/ 760191 h 2023215"/>
                  <a:gd name="connsiteX80" fmla="*/ 205333 w 1013820"/>
                  <a:gd name="connsiteY80" fmla="*/ 692796 h 2023215"/>
                  <a:gd name="connsiteX81" fmla="*/ 171762 w 1013820"/>
                  <a:gd name="connsiteY81" fmla="*/ 675694 h 2023215"/>
                  <a:gd name="connsiteX82" fmla="*/ 149846 w 1013820"/>
                  <a:gd name="connsiteY82" fmla="*/ 649217 h 2023215"/>
                  <a:gd name="connsiteX83" fmla="*/ 91826 w 1013820"/>
                  <a:gd name="connsiteY83" fmla="*/ 623121 h 2023215"/>
                  <a:gd name="connsiteX84" fmla="*/ 58128 w 1013820"/>
                  <a:gd name="connsiteY84" fmla="*/ 607032 h 2023215"/>
                  <a:gd name="connsiteX85" fmla="*/ 61548 w 1013820"/>
                  <a:gd name="connsiteY85" fmla="*/ 577515 h 2023215"/>
                  <a:gd name="connsiteX86" fmla="*/ 13916 w 1013820"/>
                  <a:gd name="connsiteY86" fmla="*/ 532416 h 2023215"/>
                  <a:gd name="connsiteX87" fmla="*/ 8468 w 1013820"/>
                  <a:gd name="connsiteY87" fmla="*/ 532036 h 2023215"/>
                  <a:gd name="connsiteX88" fmla="*/ 2007 w 1013820"/>
                  <a:gd name="connsiteY88" fmla="*/ 480349 h 2023215"/>
                  <a:gd name="connsiteX89" fmla="*/ 14802 w 1013820"/>
                  <a:gd name="connsiteY89" fmla="*/ 447159 h 2023215"/>
                  <a:gd name="connsiteX90" fmla="*/ 43052 w 1013820"/>
                  <a:gd name="connsiteY90" fmla="*/ 423469 h 2023215"/>
                  <a:gd name="connsiteX91" fmla="*/ 74217 w 1013820"/>
                  <a:gd name="connsiteY91" fmla="*/ 422455 h 2023215"/>
                  <a:gd name="connsiteX92" fmla="*/ 93473 w 1013820"/>
                  <a:gd name="connsiteY92" fmla="*/ 377863 h 2023215"/>
                  <a:gd name="connsiteX93" fmla="*/ 127170 w 1013820"/>
                  <a:gd name="connsiteY93" fmla="*/ 377230 h 2023215"/>
                  <a:gd name="connsiteX94" fmla="*/ 144525 w 1013820"/>
                  <a:gd name="connsiteY94" fmla="*/ 343152 h 2023215"/>
                  <a:gd name="connsiteX95" fmla="*/ 163275 w 1013820"/>
                  <a:gd name="connsiteY95" fmla="*/ 318449 h 2023215"/>
                  <a:gd name="connsiteX96" fmla="*/ 183037 w 1013820"/>
                  <a:gd name="connsiteY96" fmla="*/ 278291 h 2023215"/>
                  <a:gd name="connsiteX97" fmla="*/ 225602 w 1013820"/>
                  <a:gd name="connsiteY97" fmla="*/ 259922 h 2023215"/>
                  <a:gd name="connsiteX98" fmla="*/ 269181 w 1013820"/>
                  <a:gd name="connsiteY98" fmla="*/ 217863 h 2023215"/>
                  <a:gd name="connsiteX99" fmla="*/ 331002 w 1013820"/>
                  <a:gd name="connsiteY99" fmla="*/ 227238 h 2023215"/>
                  <a:gd name="connsiteX100" fmla="*/ 416640 w 1013820"/>
                  <a:gd name="connsiteY100" fmla="*/ 220270 h 2023215"/>
                  <a:gd name="connsiteX101" fmla="*/ 425507 w 1013820"/>
                  <a:gd name="connsiteY101" fmla="*/ 333651 h 2023215"/>
                  <a:gd name="connsiteX102" fmla="*/ 464525 w 1013820"/>
                  <a:gd name="connsiteY102" fmla="*/ 342519 h 2023215"/>
                  <a:gd name="connsiteX103" fmla="*/ 514565 w 1013820"/>
                  <a:gd name="connsiteY103" fmla="*/ 307808 h 2023215"/>
                  <a:gd name="connsiteX104" fmla="*/ 550163 w 1013820"/>
                  <a:gd name="connsiteY104" fmla="*/ 293493 h 2023215"/>
                  <a:gd name="connsiteX105" fmla="*/ 602102 w 1013820"/>
                  <a:gd name="connsiteY105" fmla="*/ 288552 h 2023215"/>
                  <a:gd name="connsiteX106" fmla="*/ 661517 w 1013820"/>
                  <a:gd name="connsiteY106" fmla="*/ 300460 h 2023215"/>
                  <a:gd name="connsiteX107" fmla="*/ 681786 w 1013820"/>
                  <a:gd name="connsiteY107" fmla="*/ 245100 h 2023215"/>
                  <a:gd name="connsiteX108" fmla="*/ 691667 w 1013820"/>
                  <a:gd name="connsiteY108" fmla="*/ 191133 h 2023215"/>
                  <a:gd name="connsiteX109" fmla="*/ 702055 w 1013820"/>
                  <a:gd name="connsiteY109" fmla="*/ 158449 h 2023215"/>
                  <a:gd name="connsiteX110" fmla="*/ 715864 w 1013820"/>
                  <a:gd name="connsiteY110" fmla="*/ 130199 h 2023215"/>
                  <a:gd name="connsiteX111" fmla="*/ 726252 w 1013820"/>
                  <a:gd name="connsiteY111" fmla="*/ 88647 h 2023215"/>
                  <a:gd name="connsiteX112" fmla="*/ 724225 w 1013820"/>
                  <a:gd name="connsiteY112" fmla="*/ 42661 h 2023215"/>
                  <a:gd name="connsiteX113" fmla="*/ 752474 w 1013820"/>
                  <a:gd name="connsiteY113" fmla="*/ 14918 h 2023215"/>
                  <a:gd name="connsiteX114" fmla="*/ 772237 w 1013820"/>
                  <a:gd name="connsiteY114" fmla="*/ 3516 h 2023215"/>
                  <a:gd name="connsiteX115" fmla="*/ 793520 w 1013820"/>
                  <a:gd name="connsiteY115" fmla="*/ 32653 h 2023215"/>
                  <a:gd name="connsiteX116" fmla="*/ 874723 w 1013820"/>
                  <a:gd name="connsiteY116" fmla="*/ 48489 h 2023215"/>
                  <a:gd name="connsiteX117" fmla="*/ 881058 w 1013820"/>
                  <a:gd name="connsiteY117" fmla="*/ 62424 h 2023215"/>
                  <a:gd name="connsiteX118" fmla="*/ 875483 w 1013820"/>
                  <a:gd name="connsiteY118" fmla="*/ 92194 h 2023215"/>
                  <a:gd name="connsiteX119" fmla="*/ 870796 w 1013820"/>
                  <a:gd name="connsiteY119" fmla="*/ 126399 h 2023215"/>
                  <a:gd name="connsiteX120" fmla="*/ 892332 w 1013820"/>
                  <a:gd name="connsiteY120" fmla="*/ 153255 h 2023215"/>
                  <a:gd name="connsiteX121" fmla="*/ 898159 w 1013820"/>
                  <a:gd name="connsiteY121" fmla="*/ 170864 h 2023215"/>
                  <a:gd name="connsiteX122" fmla="*/ 887138 w 1013820"/>
                  <a:gd name="connsiteY122" fmla="*/ 198734 h 2023215"/>
                  <a:gd name="connsiteX123" fmla="*/ 913995 w 1013820"/>
                  <a:gd name="connsiteY123" fmla="*/ 203041 h 2023215"/>
                  <a:gd name="connsiteX124" fmla="*/ 902721 w 1013820"/>
                  <a:gd name="connsiteY124" fmla="*/ 257895 h 2023215"/>
                  <a:gd name="connsiteX125" fmla="*/ 943639 w 1013820"/>
                  <a:gd name="connsiteY125" fmla="*/ 279684 h 2023215"/>
                  <a:gd name="connsiteX126" fmla="*/ 930844 w 1013820"/>
                  <a:gd name="connsiteY126" fmla="*/ 302741 h 2023215"/>
                  <a:gd name="connsiteX127" fmla="*/ 933757 w 1013820"/>
                  <a:gd name="connsiteY127" fmla="*/ 329344 h 2023215"/>
                  <a:gd name="connsiteX128" fmla="*/ 937685 w 1013820"/>
                  <a:gd name="connsiteY128" fmla="*/ 371022 h 2023215"/>
                  <a:gd name="connsiteX129" fmla="*/ 946933 w 1013820"/>
                  <a:gd name="connsiteY129" fmla="*/ 403326 h 2023215"/>
                  <a:gd name="connsiteX130" fmla="*/ 959601 w 1013820"/>
                  <a:gd name="connsiteY130" fmla="*/ 440064 h 2023215"/>
                  <a:gd name="connsiteX131" fmla="*/ 997732 w 1013820"/>
                  <a:gd name="connsiteY131" fmla="*/ 489344 h 2023215"/>
                  <a:gd name="connsiteX132" fmla="*/ 998619 w 1013820"/>
                  <a:gd name="connsiteY132" fmla="*/ 514047 h 2023215"/>
                  <a:gd name="connsiteX133" fmla="*/ 971129 w 1013820"/>
                  <a:gd name="connsiteY133" fmla="*/ 514680 h 2023215"/>
                  <a:gd name="connsiteX134" fmla="*/ 881691 w 1013820"/>
                  <a:gd name="connsiteY134" fmla="*/ 520381 h 2023215"/>
                  <a:gd name="connsiteX135" fmla="*/ 853441 w 1013820"/>
                  <a:gd name="connsiteY135" fmla="*/ 545084 h 2023215"/>
                  <a:gd name="connsiteX136" fmla="*/ 843433 w 1013820"/>
                  <a:gd name="connsiteY136" fmla="*/ 581695 h 2023215"/>
                  <a:gd name="connsiteX137" fmla="*/ 823671 w 1013820"/>
                  <a:gd name="connsiteY137" fmla="*/ 611466 h 2023215"/>
                  <a:gd name="connsiteX138" fmla="*/ 822910 w 1013820"/>
                  <a:gd name="connsiteY138" fmla="*/ 654538 h 2023215"/>
                  <a:gd name="connsiteX139" fmla="*/ 816703 w 1013820"/>
                  <a:gd name="connsiteY139" fmla="*/ 695330 h 2023215"/>
                  <a:gd name="connsiteX140" fmla="*/ 804415 w 1013820"/>
                  <a:gd name="connsiteY140" fmla="*/ 731814 h 2023215"/>
                  <a:gd name="connsiteX141" fmla="*/ 813409 w 1013820"/>
                  <a:gd name="connsiteY141" fmla="*/ 777673 h 2023215"/>
                  <a:gd name="connsiteX142" fmla="*/ 837099 w 1013820"/>
                  <a:gd name="connsiteY142" fmla="*/ 810611 h 2023215"/>
                  <a:gd name="connsiteX143" fmla="*/ 817716 w 1013820"/>
                  <a:gd name="connsiteY143" fmla="*/ 824672 h 2023215"/>
                  <a:gd name="connsiteX144" fmla="*/ 801121 w 1013820"/>
                  <a:gd name="connsiteY144" fmla="*/ 791988 h 2023215"/>
                  <a:gd name="connsiteX145" fmla="*/ 784399 w 1013820"/>
                  <a:gd name="connsiteY145" fmla="*/ 783501 h 2023215"/>
                  <a:gd name="connsiteX146" fmla="*/ 766790 w 1013820"/>
                  <a:gd name="connsiteY146" fmla="*/ 772353 h 2023215"/>
                  <a:gd name="connsiteX147" fmla="*/ 752348 w 1013820"/>
                  <a:gd name="connsiteY147" fmla="*/ 792495 h 2023215"/>
                  <a:gd name="connsiteX148" fmla="*/ 760709 w 1013820"/>
                  <a:gd name="connsiteY148" fmla="*/ 828980 h 2023215"/>
                  <a:gd name="connsiteX149" fmla="*/ 756655 w 1013820"/>
                  <a:gd name="connsiteY149" fmla="*/ 870405 h 2023215"/>
                  <a:gd name="connsiteX150" fmla="*/ 776544 w 1013820"/>
                  <a:gd name="connsiteY150" fmla="*/ 889154 h 2023215"/>
                  <a:gd name="connsiteX151" fmla="*/ 780092 w 1013820"/>
                  <a:gd name="connsiteY151" fmla="*/ 924625 h 2023215"/>
                  <a:gd name="connsiteX152" fmla="*/ 722198 w 1013820"/>
                  <a:gd name="connsiteY152" fmla="*/ 925638 h 2023215"/>
                  <a:gd name="connsiteX153" fmla="*/ 723591 w 1013820"/>
                  <a:gd name="connsiteY153" fmla="*/ 956549 h 2023215"/>
                  <a:gd name="connsiteX154" fmla="*/ 701549 w 1013820"/>
                  <a:gd name="connsiteY154" fmla="*/ 965924 h 2023215"/>
                  <a:gd name="connsiteX155" fmla="*/ 693314 w 1013820"/>
                  <a:gd name="connsiteY155" fmla="*/ 1014316 h 2023215"/>
                  <a:gd name="connsiteX156" fmla="*/ 714977 w 1013820"/>
                  <a:gd name="connsiteY156" fmla="*/ 1062076 h 2023215"/>
                  <a:gd name="connsiteX157" fmla="*/ 749055 w 1013820"/>
                  <a:gd name="connsiteY157" fmla="*/ 1074997 h 2023215"/>
                  <a:gd name="connsiteX158" fmla="*/ 759949 w 1013820"/>
                  <a:gd name="connsiteY158" fmla="*/ 1088679 h 2023215"/>
                  <a:gd name="connsiteX159" fmla="*/ 768817 w 1013820"/>
                  <a:gd name="connsiteY159" fmla="*/ 1100967 h 2023215"/>
                  <a:gd name="connsiteX160" fmla="*/ 787312 w 1013820"/>
                  <a:gd name="connsiteY160" fmla="*/ 1110722 h 2023215"/>
                  <a:gd name="connsiteX161" fmla="*/ 783512 w 1013820"/>
                  <a:gd name="connsiteY161" fmla="*/ 1144799 h 2023215"/>
                  <a:gd name="connsiteX162" fmla="*/ 796940 w 1013820"/>
                  <a:gd name="connsiteY162" fmla="*/ 1153794 h 2023215"/>
                  <a:gd name="connsiteX163" fmla="*/ 807328 w 1013820"/>
                  <a:gd name="connsiteY163" fmla="*/ 1167475 h 2023215"/>
                  <a:gd name="connsiteX164" fmla="*/ 822403 w 1013820"/>
                  <a:gd name="connsiteY164" fmla="*/ 1206493 h 2023215"/>
                  <a:gd name="connsiteX165" fmla="*/ 836845 w 1013820"/>
                  <a:gd name="connsiteY165" fmla="*/ 1252479 h 2023215"/>
                  <a:gd name="connsiteX166" fmla="*/ 856101 w 1013820"/>
                  <a:gd name="connsiteY166" fmla="*/ 1282503 h 2023215"/>
                  <a:gd name="connsiteX167" fmla="*/ 881058 w 1013820"/>
                  <a:gd name="connsiteY167" fmla="*/ 1313034 h 2023215"/>
                  <a:gd name="connsiteX168" fmla="*/ 910954 w 1013820"/>
                  <a:gd name="connsiteY168" fmla="*/ 1312907 h 2023215"/>
                  <a:gd name="connsiteX169" fmla="*/ 930844 w 1013820"/>
                  <a:gd name="connsiteY169" fmla="*/ 1306953 h 2023215"/>
                  <a:gd name="connsiteX170" fmla="*/ 921089 w 1013820"/>
                  <a:gd name="connsiteY170" fmla="*/ 1275916 h 2023215"/>
                  <a:gd name="connsiteX171" fmla="*/ 949592 w 1013820"/>
                  <a:gd name="connsiteY171" fmla="*/ 1258053 h 2023215"/>
                  <a:gd name="connsiteX172" fmla="*/ 980757 w 1013820"/>
                  <a:gd name="connsiteY172" fmla="*/ 1245005 h 2023215"/>
                  <a:gd name="connsiteX173" fmla="*/ 1012048 w 1013820"/>
                  <a:gd name="connsiteY173" fmla="*/ 1305559 h 2023215"/>
                  <a:gd name="connsiteX174" fmla="*/ 1013821 w 1013820"/>
                  <a:gd name="connsiteY174" fmla="*/ 1320128 h 202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3820" h="2023215">
                    <a:moveTo>
                      <a:pt x="1013821" y="1320128"/>
                    </a:moveTo>
                    <a:cubicBezTo>
                      <a:pt x="1012934" y="1320761"/>
                      <a:pt x="1012174" y="1321268"/>
                      <a:pt x="1011161" y="1321775"/>
                    </a:cubicBezTo>
                    <a:cubicBezTo>
                      <a:pt x="997098" y="1330516"/>
                      <a:pt x="987851" y="1337863"/>
                      <a:pt x="979110" y="1352052"/>
                    </a:cubicBezTo>
                    <a:cubicBezTo>
                      <a:pt x="972776" y="1362313"/>
                      <a:pt x="965555" y="1372068"/>
                      <a:pt x="959980" y="1382835"/>
                    </a:cubicBezTo>
                    <a:cubicBezTo>
                      <a:pt x="954027" y="1394364"/>
                      <a:pt x="949086" y="1406525"/>
                      <a:pt x="937685" y="1413746"/>
                    </a:cubicBezTo>
                    <a:cubicBezTo>
                      <a:pt x="921089" y="1424007"/>
                      <a:pt x="898159" y="1416406"/>
                      <a:pt x="883338" y="1429708"/>
                    </a:cubicBezTo>
                    <a:cubicBezTo>
                      <a:pt x="871303" y="1440476"/>
                      <a:pt x="878017" y="1456691"/>
                      <a:pt x="882198" y="1469613"/>
                    </a:cubicBezTo>
                    <a:cubicBezTo>
                      <a:pt x="885618" y="1480254"/>
                      <a:pt x="894866" y="1487602"/>
                      <a:pt x="899680" y="1497483"/>
                    </a:cubicBezTo>
                    <a:cubicBezTo>
                      <a:pt x="903481" y="1504957"/>
                      <a:pt x="902340" y="1511798"/>
                      <a:pt x="903481" y="1519653"/>
                    </a:cubicBezTo>
                    <a:cubicBezTo>
                      <a:pt x="905001" y="1530927"/>
                      <a:pt x="910575" y="1541822"/>
                      <a:pt x="913488" y="1552844"/>
                    </a:cubicBezTo>
                    <a:cubicBezTo>
                      <a:pt x="916655" y="1565005"/>
                      <a:pt x="919189" y="1577420"/>
                      <a:pt x="921976" y="1589708"/>
                    </a:cubicBezTo>
                    <a:cubicBezTo>
                      <a:pt x="925903" y="1607570"/>
                      <a:pt x="929324" y="1626826"/>
                      <a:pt x="922736" y="1644435"/>
                    </a:cubicBezTo>
                    <a:cubicBezTo>
                      <a:pt x="918429" y="1655963"/>
                      <a:pt x="913615" y="1665084"/>
                      <a:pt x="911841" y="1677499"/>
                    </a:cubicBezTo>
                    <a:cubicBezTo>
                      <a:pt x="910448" y="1687887"/>
                      <a:pt x="908295" y="1698908"/>
                      <a:pt x="896260" y="1700935"/>
                    </a:cubicBezTo>
                    <a:cubicBezTo>
                      <a:pt x="884351" y="1702962"/>
                      <a:pt x="873837" y="1700682"/>
                      <a:pt x="862182" y="1705243"/>
                    </a:cubicBezTo>
                    <a:cubicBezTo>
                      <a:pt x="846726" y="1711323"/>
                      <a:pt x="830765" y="1721711"/>
                      <a:pt x="822150" y="1736280"/>
                    </a:cubicBezTo>
                    <a:cubicBezTo>
                      <a:pt x="808088" y="1760096"/>
                      <a:pt x="813789" y="1792907"/>
                      <a:pt x="841912" y="1801395"/>
                    </a:cubicBezTo>
                    <a:cubicBezTo>
                      <a:pt x="854834" y="1805322"/>
                      <a:pt x="868262" y="1804688"/>
                      <a:pt x="881311" y="1801268"/>
                    </a:cubicBezTo>
                    <a:cubicBezTo>
                      <a:pt x="893853" y="1797974"/>
                      <a:pt x="908168" y="1789740"/>
                      <a:pt x="921469" y="1791513"/>
                    </a:cubicBezTo>
                    <a:cubicBezTo>
                      <a:pt x="936671" y="1793540"/>
                      <a:pt x="939838" y="1812036"/>
                      <a:pt x="939585" y="1824704"/>
                    </a:cubicBezTo>
                    <a:cubicBezTo>
                      <a:pt x="939205" y="1840159"/>
                      <a:pt x="930464" y="1853588"/>
                      <a:pt x="929704" y="1868536"/>
                    </a:cubicBezTo>
                    <a:cubicBezTo>
                      <a:pt x="929197" y="1877531"/>
                      <a:pt x="939205" y="1892733"/>
                      <a:pt x="934391" y="1900460"/>
                    </a:cubicBezTo>
                    <a:cubicBezTo>
                      <a:pt x="929197" y="1908948"/>
                      <a:pt x="909942" y="1904894"/>
                      <a:pt x="901580" y="1908568"/>
                    </a:cubicBezTo>
                    <a:cubicBezTo>
                      <a:pt x="892332" y="1912622"/>
                      <a:pt x="889672" y="1922756"/>
                      <a:pt x="884225" y="1930357"/>
                    </a:cubicBezTo>
                    <a:cubicBezTo>
                      <a:pt x="876117" y="1942012"/>
                      <a:pt x="870416" y="1952020"/>
                      <a:pt x="867502" y="1966082"/>
                    </a:cubicBezTo>
                    <a:cubicBezTo>
                      <a:pt x="864716" y="1980017"/>
                      <a:pt x="863322" y="1994712"/>
                      <a:pt x="852300" y="2004847"/>
                    </a:cubicBezTo>
                    <a:cubicBezTo>
                      <a:pt x="844066" y="2012448"/>
                      <a:pt x="832792" y="2017135"/>
                      <a:pt x="821643" y="2018402"/>
                    </a:cubicBezTo>
                    <a:cubicBezTo>
                      <a:pt x="811889" y="2019542"/>
                      <a:pt x="802135" y="2017895"/>
                      <a:pt x="792886" y="2021695"/>
                    </a:cubicBezTo>
                    <a:cubicBezTo>
                      <a:pt x="791747" y="2022075"/>
                      <a:pt x="790606" y="2022709"/>
                      <a:pt x="789340" y="2023216"/>
                    </a:cubicBezTo>
                    <a:cubicBezTo>
                      <a:pt x="786679" y="2021062"/>
                      <a:pt x="784145" y="2018655"/>
                      <a:pt x="781992" y="2015868"/>
                    </a:cubicBezTo>
                    <a:cubicBezTo>
                      <a:pt x="773504" y="2004593"/>
                      <a:pt x="771477" y="1989771"/>
                      <a:pt x="763370" y="1977990"/>
                    </a:cubicBezTo>
                    <a:cubicBezTo>
                      <a:pt x="747154" y="1954680"/>
                      <a:pt x="732586" y="1930357"/>
                      <a:pt x="713584" y="1909582"/>
                    </a:cubicBezTo>
                    <a:cubicBezTo>
                      <a:pt x="703069" y="1898053"/>
                      <a:pt x="704969" y="1887285"/>
                      <a:pt x="704716" y="1872590"/>
                    </a:cubicBezTo>
                    <a:cubicBezTo>
                      <a:pt x="704335" y="1857388"/>
                      <a:pt x="697368" y="1848647"/>
                      <a:pt x="692427" y="1835092"/>
                    </a:cubicBezTo>
                    <a:cubicBezTo>
                      <a:pt x="687867" y="1822804"/>
                      <a:pt x="693060" y="1810896"/>
                      <a:pt x="690780" y="1798481"/>
                    </a:cubicBezTo>
                    <a:cubicBezTo>
                      <a:pt x="688500" y="1786573"/>
                      <a:pt x="678619" y="1778338"/>
                      <a:pt x="674945" y="1766937"/>
                    </a:cubicBezTo>
                    <a:cubicBezTo>
                      <a:pt x="671018" y="1754902"/>
                      <a:pt x="673172" y="1740714"/>
                      <a:pt x="660756" y="1733239"/>
                    </a:cubicBezTo>
                    <a:cubicBezTo>
                      <a:pt x="648975" y="1726145"/>
                      <a:pt x="633140" y="1730959"/>
                      <a:pt x="622118" y="1721711"/>
                    </a:cubicBezTo>
                    <a:cubicBezTo>
                      <a:pt x="613884" y="1714870"/>
                      <a:pt x="606664" y="1697768"/>
                      <a:pt x="612111" y="1687507"/>
                    </a:cubicBezTo>
                    <a:cubicBezTo>
                      <a:pt x="618065" y="1676359"/>
                      <a:pt x="635040" y="1676612"/>
                      <a:pt x="642641" y="1666478"/>
                    </a:cubicBezTo>
                    <a:cubicBezTo>
                      <a:pt x="651509" y="1654696"/>
                      <a:pt x="644668" y="1640508"/>
                      <a:pt x="647201" y="1627333"/>
                    </a:cubicBezTo>
                    <a:cubicBezTo>
                      <a:pt x="649989" y="1613524"/>
                      <a:pt x="662024" y="1604023"/>
                      <a:pt x="665951" y="1590595"/>
                    </a:cubicBezTo>
                    <a:cubicBezTo>
                      <a:pt x="669624" y="1578180"/>
                      <a:pt x="666331" y="1565132"/>
                      <a:pt x="664810" y="1552590"/>
                    </a:cubicBezTo>
                    <a:cubicBezTo>
                      <a:pt x="662657" y="1535361"/>
                      <a:pt x="659110" y="1518639"/>
                      <a:pt x="655563" y="1501790"/>
                    </a:cubicBezTo>
                    <a:cubicBezTo>
                      <a:pt x="652523" y="1487602"/>
                      <a:pt x="653283" y="1471387"/>
                      <a:pt x="653283" y="1456818"/>
                    </a:cubicBezTo>
                    <a:cubicBezTo>
                      <a:pt x="653283" y="1443643"/>
                      <a:pt x="653916" y="1429201"/>
                      <a:pt x="647582" y="1417167"/>
                    </a:cubicBezTo>
                    <a:cubicBezTo>
                      <a:pt x="637067" y="1397277"/>
                      <a:pt x="619458" y="1386509"/>
                      <a:pt x="604130" y="1371181"/>
                    </a:cubicBezTo>
                    <a:cubicBezTo>
                      <a:pt x="583354" y="1350405"/>
                      <a:pt x="589941" y="1328235"/>
                      <a:pt x="591081" y="1302392"/>
                    </a:cubicBezTo>
                    <a:cubicBezTo>
                      <a:pt x="592222" y="1276042"/>
                      <a:pt x="588294" y="1250452"/>
                      <a:pt x="587027" y="1224736"/>
                    </a:cubicBezTo>
                    <a:cubicBezTo>
                      <a:pt x="586394" y="1212321"/>
                      <a:pt x="587914" y="1199653"/>
                      <a:pt x="587281" y="1187364"/>
                    </a:cubicBezTo>
                    <a:cubicBezTo>
                      <a:pt x="585761" y="1163168"/>
                      <a:pt x="572839" y="1131497"/>
                      <a:pt x="561184" y="1110468"/>
                    </a:cubicBezTo>
                    <a:cubicBezTo>
                      <a:pt x="556243" y="1101474"/>
                      <a:pt x="546869" y="1097040"/>
                      <a:pt x="542942" y="1087792"/>
                    </a:cubicBezTo>
                    <a:cubicBezTo>
                      <a:pt x="534074" y="1066383"/>
                      <a:pt x="532807" y="1046367"/>
                      <a:pt x="535975" y="1023817"/>
                    </a:cubicBezTo>
                    <a:cubicBezTo>
                      <a:pt x="540028" y="994427"/>
                      <a:pt x="539775" y="969724"/>
                      <a:pt x="555864" y="944514"/>
                    </a:cubicBezTo>
                    <a:cubicBezTo>
                      <a:pt x="563085" y="933239"/>
                      <a:pt x="572459" y="918291"/>
                      <a:pt x="566885" y="904482"/>
                    </a:cubicBezTo>
                    <a:cubicBezTo>
                      <a:pt x="562071" y="892954"/>
                      <a:pt x="546615" y="887634"/>
                      <a:pt x="534834" y="889661"/>
                    </a:cubicBezTo>
                    <a:cubicBezTo>
                      <a:pt x="534961" y="885100"/>
                      <a:pt x="535214" y="880539"/>
                      <a:pt x="535468" y="875979"/>
                    </a:cubicBezTo>
                    <a:cubicBezTo>
                      <a:pt x="536354" y="856596"/>
                      <a:pt x="535594" y="845955"/>
                      <a:pt x="516972" y="837341"/>
                    </a:cubicBezTo>
                    <a:cubicBezTo>
                      <a:pt x="500630" y="829866"/>
                      <a:pt x="492396" y="820365"/>
                      <a:pt x="480107" y="807824"/>
                    </a:cubicBezTo>
                    <a:cubicBezTo>
                      <a:pt x="467692" y="795155"/>
                      <a:pt x="455657" y="792368"/>
                      <a:pt x="439316" y="787428"/>
                    </a:cubicBezTo>
                    <a:cubicBezTo>
                      <a:pt x="420186" y="781727"/>
                      <a:pt x="411826" y="763358"/>
                      <a:pt x="403338" y="746636"/>
                    </a:cubicBezTo>
                    <a:cubicBezTo>
                      <a:pt x="394090" y="728647"/>
                      <a:pt x="390416" y="709138"/>
                      <a:pt x="391050" y="688996"/>
                    </a:cubicBezTo>
                    <a:cubicBezTo>
                      <a:pt x="391683" y="669486"/>
                      <a:pt x="409925" y="660365"/>
                      <a:pt x="412332" y="641870"/>
                    </a:cubicBezTo>
                    <a:cubicBezTo>
                      <a:pt x="415373" y="618433"/>
                      <a:pt x="395230" y="636929"/>
                      <a:pt x="384589" y="638829"/>
                    </a:cubicBezTo>
                    <a:cubicBezTo>
                      <a:pt x="364826" y="642123"/>
                      <a:pt x="355579" y="635029"/>
                      <a:pt x="348611" y="658972"/>
                    </a:cubicBezTo>
                    <a:cubicBezTo>
                      <a:pt x="343417" y="676834"/>
                      <a:pt x="341010" y="694316"/>
                      <a:pt x="327582" y="708378"/>
                    </a:cubicBezTo>
                    <a:cubicBezTo>
                      <a:pt x="322134" y="714205"/>
                      <a:pt x="312887" y="718893"/>
                      <a:pt x="312253" y="727634"/>
                    </a:cubicBezTo>
                    <a:cubicBezTo>
                      <a:pt x="311493" y="740682"/>
                      <a:pt x="326188" y="756264"/>
                      <a:pt x="336576" y="762218"/>
                    </a:cubicBezTo>
                    <a:cubicBezTo>
                      <a:pt x="351778" y="770959"/>
                      <a:pt x="354311" y="774126"/>
                      <a:pt x="360646" y="790975"/>
                    </a:cubicBezTo>
                    <a:cubicBezTo>
                      <a:pt x="365333" y="803136"/>
                      <a:pt x="371667" y="815551"/>
                      <a:pt x="381042" y="824546"/>
                    </a:cubicBezTo>
                    <a:cubicBezTo>
                      <a:pt x="393457" y="836327"/>
                      <a:pt x="398144" y="838354"/>
                      <a:pt x="414486" y="838988"/>
                    </a:cubicBezTo>
                    <a:cubicBezTo>
                      <a:pt x="422847" y="839368"/>
                      <a:pt x="441723" y="842661"/>
                      <a:pt x="446029" y="851022"/>
                    </a:cubicBezTo>
                    <a:cubicBezTo>
                      <a:pt x="452617" y="863564"/>
                      <a:pt x="439442" y="874839"/>
                      <a:pt x="427914" y="871292"/>
                    </a:cubicBezTo>
                    <a:cubicBezTo>
                      <a:pt x="418540" y="868378"/>
                      <a:pt x="407645" y="846082"/>
                      <a:pt x="399918" y="860397"/>
                    </a:cubicBezTo>
                    <a:cubicBezTo>
                      <a:pt x="396243" y="867238"/>
                      <a:pt x="395483" y="881046"/>
                      <a:pt x="395737" y="891941"/>
                    </a:cubicBezTo>
                    <a:cubicBezTo>
                      <a:pt x="388896" y="889914"/>
                      <a:pt x="382182" y="887887"/>
                      <a:pt x="376228" y="883833"/>
                    </a:cubicBezTo>
                    <a:cubicBezTo>
                      <a:pt x="364953" y="876105"/>
                      <a:pt x="363433" y="865338"/>
                      <a:pt x="358999" y="853429"/>
                    </a:cubicBezTo>
                    <a:cubicBezTo>
                      <a:pt x="350638" y="831007"/>
                      <a:pt x="324415" y="837721"/>
                      <a:pt x="311746" y="819225"/>
                    </a:cubicBezTo>
                    <a:cubicBezTo>
                      <a:pt x="299838" y="801870"/>
                      <a:pt x="306679" y="764245"/>
                      <a:pt x="281849" y="757784"/>
                    </a:cubicBezTo>
                    <a:cubicBezTo>
                      <a:pt x="260060" y="752210"/>
                      <a:pt x="209894" y="783247"/>
                      <a:pt x="193425" y="760191"/>
                    </a:cubicBezTo>
                    <a:cubicBezTo>
                      <a:pt x="179236" y="740175"/>
                      <a:pt x="226489" y="715599"/>
                      <a:pt x="205333" y="692796"/>
                    </a:cubicBezTo>
                    <a:cubicBezTo>
                      <a:pt x="196718" y="683548"/>
                      <a:pt x="182024" y="682408"/>
                      <a:pt x="171762" y="675694"/>
                    </a:cubicBezTo>
                    <a:cubicBezTo>
                      <a:pt x="161501" y="668980"/>
                      <a:pt x="157067" y="658592"/>
                      <a:pt x="149846" y="649217"/>
                    </a:cubicBezTo>
                    <a:cubicBezTo>
                      <a:pt x="135404" y="630215"/>
                      <a:pt x="113235" y="629201"/>
                      <a:pt x="91826" y="623121"/>
                    </a:cubicBezTo>
                    <a:cubicBezTo>
                      <a:pt x="81057" y="620080"/>
                      <a:pt x="65096" y="616913"/>
                      <a:pt x="58128" y="607032"/>
                    </a:cubicBezTo>
                    <a:cubicBezTo>
                      <a:pt x="50147" y="595504"/>
                      <a:pt x="58381" y="588156"/>
                      <a:pt x="61548" y="577515"/>
                    </a:cubicBezTo>
                    <a:cubicBezTo>
                      <a:pt x="69276" y="552812"/>
                      <a:pt x="33805" y="534950"/>
                      <a:pt x="13916" y="532416"/>
                    </a:cubicBezTo>
                    <a:cubicBezTo>
                      <a:pt x="12142" y="532163"/>
                      <a:pt x="10242" y="532036"/>
                      <a:pt x="8468" y="532036"/>
                    </a:cubicBezTo>
                    <a:cubicBezTo>
                      <a:pt x="7962" y="530642"/>
                      <a:pt x="-4833" y="495298"/>
                      <a:pt x="2007" y="480349"/>
                    </a:cubicBezTo>
                    <a:cubicBezTo>
                      <a:pt x="8849" y="465021"/>
                      <a:pt x="10875" y="457547"/>
                      <a:pt x="14802" y="447159"/>
                    </a:cubicBezTo>
                    <a:cubicBezTo>
                      <a:pt x="18730" y="436771"/>
                      <a:pt x="30131" y="418022"/>
                      <a:pt x="43052" y="423469"/>
                    </a:cubicBezTo>
                    <a:cubicBezTo>
                      <a:pt x="55974" y="428916"/>
                      <a:pt x="77257" y="436897"/>
                      <a:pt x="74217" y="422455"/>
                    </a:cubicBezTo>
                    <a:cubicBezTo>
                      <a:pt x="71303" y="408140"/>
                      <a:pt x="75737" y="372036"/>
                      <a:pt x="93473" y="377863"/>
                    </a:cubicBezTo>
                    <a:cubicBezTo>
                      <a:pt x="111334" y="383817"/>
                      <a:pt x="123116" y="389391"/>
                      <a:pt x="127170" y="377230"/>
                    </a:cubicBezTo>
                    <a:cubicBezTo>
                      <a:pt x="131097" y="364942"/>
                      <a:pt x="133631" y="348726"/>
                      <a:pt x="144525" y="343152"/>
                    </a:cubicBezTo>
                    <a:cubicBezTo>
                      <a:pt x="155421" y="337705"/>
                      <a:pt x="160868" y="326304"/>
                      <a:pt x="163275" y="318449"/>
                    </a:cubicBezTo>
                    <a:cubicBezTo>
                      <a:pt x="165808" y="310595"/>
                      <a:pt x="171256" y="280825"/>
                      <a:pt x="183037" y="278291"/>
                    </a:cubicBezTo>
                    <a:cubicBezTo>
                      <a:pt x="194945" y="275757"/>
                      <a:pt x="215214" y="274364"/>
                      <a:pt x="225602" y="259922"/>
                    </a:cubicBezTo>
                    <a:cubicBezTo>
                      <a:pt x="235990" y="245607"/>
                      <a:pt x="250306" y="213429"/>
                      <a:pt x="269181" y="217863"/>
                    </a:cubicBezTo>
                    <a:cubicBezTo>
                      <a:pt x="287930" y="222297"/>
                      <a:pt x="313140" y="238132"/>
                      <a:pt x="331002" y="227238"/>
                    </a:cubicBezTo>
                    <a:cubicBezTo>
                      <a:pt x="348864" y="216343"/>
                      <a:pt x="417146" y="177705"/>
                      <a:pt x="416640" y="220270"/>
                    </a:cubicBezTo>
                    <a:cubicBezTo>
                      <a:pt x="416133" y="262836"/>
                      <a:pt x="418160" y="323136"/>
                      <a:pt x="425507" y="333651"/>
                    </a:cubicBezTo>
                    <a:cubicBezTo>
                      <a:pt x="432855" y="344039"/>
                      <a:pt x="445777" y="361901"/>
                      <a:pt x="464525" y="342519"/>
                    </a:cubicBezTo>
                    <a:cubicBezTo>
                      <a:pt x="483274" y="323136"/>
                      <a:pt x="496196" y="311862"/>
                      <a:pt x="514565" y="307808"/>
                    </a:cubicBezTo>
                    <a:cubicBezTo>
                      <a:pt x="532807" y="303881"/>
                      <a:pt x="539775" y="300840"/>
                      <a:pt x="550163" y="293493"/>
                    </a:cubicBezTo>
                    <a:cubicBezTo>
                      <a:pt x="560551" y="286145"/>
                      <a:pt x="580820" y="283612"/>
                      <a:pt x="602102" y="288552"/>
                    </a:cubicBezTo>
                    <a:cubicBezTo>
                      <a:pt x="623385" y="293493"/>
                      <a:pt x="652523" y="313762"/>
                      <a:pt x="661517" y="300460"/>
                    </a:cubicBezTo>
                    <a:cubicBezTo>
                      <a:pt x="670384" y="287032"/>
                      <a:pt x="680899" y="260809"/>
                      <a:pt x="681786" y="245100"/>
                    </a:cubicBezTo>
                    <a:cubicBezTo>
                      <a:pt x="682799" y="229265"/>
                      <a:pt x="682799" y="204942"/>
                      <a:pt x="691667" y="191133"/>
                    </a:cubicBezTo>
                    <a:cubicBezTo>
                      <a:pt x="700662" y="177325"/>
                      <a:pt x="698634" y="170864"/>
                      <a:pt x="702055" y="158449"/>
                    </a:cubicBezTo>
                    <a:cubicBezTo>
                      <a:pt x="705476" y="146034"/>
                      <a:pt x="711429" y="138687"/>
                      <a:pt x="715864" y="130199"/>
                    </a:cubicBezTo>
                    <a:cubicBezTo>
                      <a:pt x="720297" y="121711"/>
                      <a:pt x="730179" y="104989"/>
                      <a:pt x="726252" y="88647"/>
                    </a:cubicBezTo>
                    <a:cubicBezTo>
                      <a:pt x="722325" y="72305"/>
                      <a:pt x="716877" y="54950"/>
                      <a:pt x="724225" y="42661"/>
                    </a:cubicBezTo>
                    <a:cubicBezTo>
                      <a:pt x="731572" y="30246"/>
                      <a:pt x="746014" y="28346"/>
                      <a:pt x="752474" y="14918"/>
                    </a:cubicBezTo>
                    <a:cubicBezTo>
                      <a:pt x="758935" y="1616"/>
                      <a:pt x="767297" y="-4338"/>
                      <a:pt x="772237" y="3516"/>
                    </a:cubicBezTo>
                    <a:cubicBezTo>
                      <a:pt x="777178" y="11498"/>
                      <a:pt x="783132" y="39114"/>
                      <a:pt x="793520" y="32653"/>
                    </a:cubicBezTo>
                    <a:cubicBezTo>
                      <a:pt x="803908" y="26193"/>
                      <a:pt x="857368" y="30120"/>
                      <a:pt x="874723" y="48489"/>
                    </a:cubicBezTo>
                    <a:cubicBezTo>
                      <a:pt x="876117" y="54189"/>
                      <a:pt x="879791" y="57103"/>
                      <a:pt x="881058" y="62424"/>
                    </a:cubicBezTo>
                    <a:cubicBezTo>
                      <a:pt x="882958" y="70405"/>
                      <a:pt x="876877" y="83960"/>
                      <a:pt x="875483" y="92194"/>
                    </a:cubicBezTo>
                    <a:cubicBezTo>
                      <a:pt x="873457" y="103596"/>
                      <a:pt x="869909" y="114744"/>
                      <a:pt x="870796" y="126399"/>
                    </a:cubicBezTo>
                    <a:cubicBezTo>
                      <a:pt x="872063" y="141727"/>
                      <a:pt x="882198" y="142741"/>
                      <a:pt x="892332" y="153255"/>
                    </a:cubicBezTo>
                    <a:cubicBezTo>
                      <a:pt x="898540" y="159589"/>
                      <a:pt x="900314" y="160729"/>
                      <a:pt x="898159" y="170864"/>
                    </a:cubicBezTo>
                    <a:cubicBezTo>
                      <a:pt x="896893" y="177325"/>
                      <a:pt x="882071" y="193287"/>
                      <a:pt x="887138" y="198734"/>
                    </a:cubicBezTo>
                    <a:cubicBezTo>
                      <a:pt x="893219" y="205448"/>
                      <a:pt x="908168" y="194807"/>
                      <a:pt x="913995" y="203041"/>
                    </a:cubicBezTo>
                    <a:cubicBezTo>
                      <a:pt x="925523" y="219130"/>
                      <a:pt x="897399" y="242060"/>
                      <a:pt x="902721" y="257895"/>
                    </a:cubicBezTo>
                    <a:cubicBezTo>
                      <a:pt x="907914" y="273477"/>
                      <a:pt x="942245" y="262329"/>
                      <a:pt x="943639" y="279684"/>
                    </a:cubicBezTo>
                    <a:cubicBezTo>
                      <a:pt x="944272" y="288679"/>
                      <a:pt x="934011" y="295140"/>
                      <a:pt x="930844" y="302741"/>
                    </a:cubicBezTo>
                    <a:cubicBezTo>
                      <a:pt x="926283" y="313509"/>
                      <a:pt x="930590" y="319589"/>
                      <a:pt x="933757" y="329344"/>
                    </a:cubicBezTo>
                    <a:cubicBezTo>
                      <a:pt x="938191" y="343279"/>
                      <a:pt x="935911" y="356834"/>
                      <a:pt x="937685" y="371022"/>
                    </a:cubicBezTo>
                    <a:cubicBezTo>
                      <a:pt x="938952" y="381917"/>
                      <a:pt x="944272" y="392558"/>
                      <a:pt x="946933" y="403326"/>
                    </a:cubicBezTo>
                    <a:cubicBezTo>
                      <a:pt x="950100" y="416121"/>
                      <a:pt x="952380" y="428790"/>
                      <a:pt x="959601" y="440064"/>
                    </a:cubicBezTo>
                    <a:cubicBezTo>
                      <a:pt x="970622" y="457673"/>
                      <a:pt x="987471" y="471228"/>
                      <a:pt x="997732" y="489344"/>
                    </a:cubicBezTo>
                    <a:cubicBezTo>
                      <a:pt x="1001660" y="496185"/>
                      <a:pt x="1005206" y="507840"/>
                      <a:pt x="998619" y="514047"/>
                    </a:cubicBezTo>
                    <a:cubicBezTo>
                      <a:pt x="991651" y="520508"/>
                      <a:pt x="979236" y="515314"/>
                      <a:pt x="971129" y="514680"/>
                    </a:cubicBezTo>
                    <a:cubicBezTo>
                      <a:pt x="942879" y="512273"/>
                      <a:pt x="909055" y="512527"/>
                      <a:pt x="881691" y="520381"/>
                    </a:cubicBezTo>
                    <a:cubicBezTo>
                      <a:pt x="868389" y="524308"/>
                      <a:pt x="858255" y="531783"/>
                      <a:pt x="853441" y="545084"/>
                    </a:cubicBezTo>
                    <a:cubicBezTo>
                      <a:pt x="849133" y="557246"/>
                      <a:pt x="851794" y="571181"/>
                      <a:pt x="843433" y="581695"/>
                    </a:cubicBezTo>
                    <a:cubicBezTo>
                      <a:pt x="834565" y="592843"/>
                      <a:pt x="825444" y="595630"/>
                      <a:pt x="823671" y="611466"/>
                    </a:cubicBezTo>
                    <a:cubicBezTo>
                      <a:pt x="822024" y="625401"/>
                      <a:pt x="822024" y="640603"/>
                      <a:pt x="822910" y="654538"/>
                    </a:cubicBezTo>
                    <a:cubicBezTo>
                      <a:pt x="823797" y="669993"/>
                      <a:pt x="825444" y="681775"/>
                      <a:pt x="816703" y="695330"/>
                    </a:cubicBezTo>
                    <a:cubicBezTo>
                      <a:pt x="808596" y="707745"/>
                      <a:pt x="804034" y="716612"/>
                      <a:pt x="804415" y="731814"/>
                    </a:cubicBezTo>
                    <a:cubicBezTo>
                      <a:pt x="804794" y="746636"/>
                      <a:pt x="806189" y="764245"/>
                      <a:pt x="813409" y="777673"/>
                    </a:cubicBezTo>
                    <a:cubicBezTo>
                      <a:pt x="819870" y="789455"/>
                      <a:pt x="832538" y="797689"/>
                      <a:pt x="837099" y="810611"/>
                    </a:cubicBezTo>
                    <a:cubicBezTo>
                      <a:pt x="841912" y="823912"/>
                      <a:pt x="829878" y="830120"/>
                      <a:pt x="817716" y="824672"/>
                    </a:cubicBezTo>
                    <a:cubicBezTo>
                      <a:pt x="803655" y="818465"/>
                      <a:pt x="809608" y="801996"/>
                      <a:pt x="801121" y="791988"/>
                    </a:cubicBezTo>
                    <a:cubicBezTo>
                      <a:pt x="796813" y="787048"/>
                      <a:pt x="789973" y="786034"/>
                      <a:pt x="784399" y="783501"/>
                    </a:cubicBezTo>
                    <a:cubicBezTo>
                      <a:pt x="778065" y="780714"/>
                      <a:pt x="772871" y="775140"/>
                      <a:pt x="766790" y="772353"/>
                    </a:cubicBezTo>
                    <a:cubicBezTo>
                      <a:pt x="754248" y="766779"/>
                      <a:pt x="752348" y="780840"/>
                      <a:pt x="752348" y="792495"/>
                    </a:cubicBezTo>
                    <a:cubicBezTo>
                      <a:pt x="752474" y="805417"/>
                      <a:pt x="760836" y="816058"/>
                      <a:pt x="760709" y="828980"/>
                    </a:cubicBezTo>
                    <a:cubicBezTo>
                      <a:pt x="760582" y="842155"/>
                      <a:pt x="753869" y="857483"/>
                      <a:pt x="756655" y="870405"/>
                    </a:cubicBezTo>
                    <a:cubicBezTo>
                      <a:pt x="759062" y="881680"/>
                      <a:pt x="768817" y="881933"/>
                      <a:pt x="776544" y="889154"/>
                    </a:cubicBezTo>
                    <a:cubicBezTo>
                      <a:pt x="784399" y="896375"/>
                      <a:pt x="785792" y="915757"/>
                      <a:pt x="780092" y="924625"/>
                    </a:cubicBezTo>
                    <a:cubicBezTo>
                      <a:pt x="764383" y="949708"/>
                      <a:pt x="737146" y="904609"/>
                      <a:pt x="722198" y="925638"/>
                    </a:cubicBezTo>
                    <a:cubicBezTo>
                      <a:pt x="715230" y="935520"/>
                      <a:pt x="723845" y="946288"/>
                      <a:pt x="723591" y="956549"/>
                    </a:cubicBezTo>
                    <a:cubicBezTo>
                      <a:pt x="723085" y="972004"/>
                      <a:pt x="712443" y="967570"/>
                      <a:pt x="701549" y="965924"/>
                    </a:cubicBezTo>
                    <a:cubicBezTo>
                      <a:pt x="673425" y="961870"/>
                      <a:pt x="687233" y="999494"/>
                      <a:pt x="693314" y="1014316"/>
                    </a:cubicBezTo>
                    <a:cubicBezTo>
                      <a:pt x="699902" y="1030531"/>
                      <a:pt x="706109" y="1047000"/>
                      <a:pt x="714977" y="1062076"/>
                    </a:cubicBezTo>
                    <a:cubicBezTo>
                      <a:pt x="725998" y="1080444"/>
                      <a:pt x="729925" y="1073224"/>
                      <a:pt x="749055" y="1074997"/>
                    </a:cubicBezTo>
                    <a:cubicBezTo>
                      <a:pt x="758935" y="1076010"/>
                      <a:pt x="757922" y="1079304"/>
                      <a:pt x="759949" y="1088679"/>
                    </a:cubicBezTo>
                    <a:cubicBezTo>
                      <a:pt x="761723" y="1097167"/>
                      <a:pt x="761216" y="1097673"/>
                      <a:pt x="768817" y="1100967"/>
                    </a:cubicBezTo>
                    <a:cubicBezTo>
                      <a:pt x="775658" y="1103881"/>
                      <a:pt x="783385" y="1102614"/>
                      <a:pt x="787312" y="1110722"/>
                    </a:cubicBezTo>
                    <a:cubicBezTo>
                      <a:pt x="794533" y="1125417"/>
                      <a:pt x="772491" y="1129090"/>
                      <a:pt x="783512" y="1144799"/>
                    </a:cubicBezTo>
                    <a:cubicBezTo>
                      <a:pt x="786806" y="1149486"/>
                      <a:pt x="792380" y="1150627"/>
                      <a:pt x="796940" y="1153794"/>
                    </a:cubicBezTo>
                    <a:cubicBezTo>
                      <a:pt x="802895" y="1157974"/>
                      <a:pt x="804034" y="1160761"/>
                      <a:pt x="807328" y="1167475"/>
                    </a:cubicBezTo>
                    <a:cubicBezTo>
                      <a:pt x="813789" y="1180904"/>
                      <a:pt x="817843" y="1192559"/>
                      <a:pt x="822403" y="1206493"/>
                    </a:cubicBezTo>
                    <a:cubicBezTo>
                      <a:pt x="827598" y="1221695"/>
                      <a:pt x="831905" y="1237151"/>
                      <a:pt x="836845" y="1252479"/>
                    </a:cubicBezTo>
                    <a:cubicBezTo>
                      <a:pt x="840646" y="1264514"/>
                      <a:pt x="849767" y="1271735"/>
                      <a:pt x="856101" y="1282503"/>
                    </a:cubicBezTo>
                    <a:cubicBezTo>
                      <a:pt x="862688" y="1293651"/>
                      <a:pt x="869530" y="1305813"/>
                      <a:pt x="881058" y="1313034"/>
                    </a:cubicBezTo>
                    <a:cubicBezTo>
                      <a:pt x="891192" y="1319368"/>
                      <a:pt x="900440" y="1314807"/>
                      <a:pt x="910954" y="1312907"/>
                    </a:cubicBezTo>
                    <a:cubicBezTo>
                      <a:pt x="917289" y="1311767"/>
                      <a:pt x="926410" y="1312780"/>
                      <a:pt x="930844" y="1306953"/>
                    </a:cubicBezTo>
                    <a:cubicBezTo>
                      <a:pt x="938952" y="1296438"/>
                      <a:pt x="919822" y="1286937"/>
                      <a:pt x="921089" y="1275916"/>
                    </a:cubicBezTo>
                    <a:cubicBezTo>
                      <a:pt x="922610" y="1262867"/>
                      <a:pt x="940091" y="1261347"/>
                      <a:pt x="949592" y="1258053"/>
                    </a:cubicBezTo>
                    <a:cubicBezTo>
                      <a:pt x="960361" y="1254253"/>
                      <a:pt x="968469" y="1243485"/>
                      <a:pt x="980757" y="1245005"/>
                    </a:cubicBezTo>
                    <a:cubicBezTo>
                      <a:pt x="1007740" y="1248299"/>
                      <a:pt x="1010401" y="1284657"/>
                      <a:pt x="1012048" y="1305559"/>
                    </a:cubicBezTo>
                    <a:cubicBezTo>
                      <a:pt x="1012934" y="1310753"/>
                      <a:pt x="1013314" y="1315567"/>
                      <a:pt x="1013821" y="132012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7" name="Полилиния: фигура 686">
                <a:extLst>
                  <a:ext uri="{FF2B5EF4-FFF2-40B4-BE49-F238E27FC236}">
                    <a16:creationId xmlns:a16="http://schemas.microsoft.com/office/drawing/2014/main" id="{D1555AE3-F895-4F35-89A4-EBB6EADA3B8F}"/>
                  </a:ext>
                </a:extLst>
              </p:cNvPr>
              <p:cNvSpPr/>
              <p:nvPr/>
            </p:nvSpPr>
            <p:spPr>
              <a:xfrm>
                <a:off x="12491382" y="2804054"/>
                <a:ext cx="53890" cy="150695"/>
              </a:xfrm>
              <a:custGeom>
                <a:avLst/>
                <a:gdLst>
                  <a:gd name="connsiteX0" fmla="*/ 10743 w 53890"/>
                  <a:gd name="connsiteY0" fmla="*/ 93350 h 150695"/>
                  <a:gd name="connsiteX1" fmla="*/ 1115 w 53890"/>
                  <a:gd name="connsiteY1" fmla="*/ 71814 h 150695"/>
                  <a:gd name="connsiteX2" fmla="*/ 14924 w 53890"/>
                  <a:gd name="connsiteY2" fmla="*/ 38496 h 150695"/>
                  <a:gd name="connsiteX3" fmla="*/ 6436 w 53890"/>
                  <a:gd name="connsiteY3" fmla="*/ 12146 h 150695"/>
                  <a:gd name="connsiteX4" fmla="*/ 27465 w 53890"/>
                  <a:gd name="connsiteY4" fmla="*/ 1632 h 150695"/>
                  <a:gd name="connsiteX5" fmla="*/ 51915 w 53890"/>
                  <a:gd name="connsiteY5" fmla="*/ 24434 h 150695"/>
                  <a:gd name="connsiteX6" fmla="*/ 49635 w 53890"/>
                  <a:gd name="connsiteY6" fmla="*/ 44197 h 150695"/>
                  <a:gd name="connsiteX7" fmla="*/ 44441 w 53890"/>
                  <a:gd name="connsiteY7" fmla="*/ 69027 h 150695"/>
                  <a:gd name="connsiteX8" fmla="*/ 48114 w 53890"/>
                  <a:gd name="connsiteY8" fmla="*/ 115139 h 150695"/>
                  <a:gd name="connsiteX9" fmla="*/ 51661 w 53890"/>
                  <a:gd name="connsiteY9" fmla="*/ 128694 h 150695"/>
                  <a:gd name="connsiteX10" fmla="*/ 53435 w 53890"/>
                  <a:gd name="connsiteY10" fmla="*/ 144656 h 150695"/>
                  <a:gd name="connsiteX11" fmla="*/ 28858 w 53890"/>
                  <a:gd name="connsiteY11" fmla="*/ 143516 h 150695"/>
                  <a:gd name="connsiteX12" fmla="*/ 24552 w 53890"/>
                  <a:gd name="connsiteY12" fmla="*/ 116913 h 150695"/>
                  <a:gd name="connsiteX13" fmla="*/ 10743 w 53890"/>
                  <a:gd name="connsiteY13" fmla="*/ 93350 h 1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90" h="150695">
                    <a:moveTo>
                      <a:pt x="10743" y="93350"/>
                    </a:moveTo>
                    <a:cubicBezTo>
                      <a:pt x="3902" y="86382"/>
                      <a:pt x="-2685" y="82455"/>
                      <a:pt x="1115" y="71814"/>
                    </a:cubicBezTo>
                    <a:cubicBezTo>
                      <a:pt x="5042" y="60919"/>
                      <a:pt x="14670" y="50278"/>
                      <a:pt x="14924" y="38496"/>
                    </a:cubicBezTo>
                    <a:cubicBezTo>
                      <a:pt x="15177" y="28995"/>
                      <a:pt x="6689" y="21647"/>
                      <a:pt x="6436" y="12146"/>
                    </a:cubicBezTo>
                    <a:cubicBezTo>
                      <a:pt x="6056" y="-522"/>
                      <a:pt x="17837" y="-1789"/>
                      <a:pt x="27465" y="1632"/>
                    </a:cubicBezTo>
                    <a:cubicBezTo>
                      <a:pt x="37853" y="5305"/>
                      <a:pt x="50141" y="12653"/>
                      <a:pt x="51915" y="24434"/>
                    </a:cubicBezTo>
                    <a:cubicBezTo>
                      <a:pt x="52928" y="31022"/>
                      <a:pt x="51155" y="37863"/>
                      <a:pt x="49635" y="44197"/>
                    </a:cubicBezTo>
                    <a:cubicBezTo>
                      <a:pt x="47734" y="52431"/>
                      <a:pt x="45581" y="60539"/>
                      <a:pt x="44441" y="69027"/>
                    </a:cubicBezTo>
                    <a:cubicBezTo>
                      <a:pt x="42414" y="84609"/>
                      <a:pt x="44187" y="100064"/>
                      <a:pt x="48114" y="115139"/>
                    </a:cubicBezTo>
                    <a:cubicBezTo>
                      <a:pt x="49381" y="119700"/>
                      <a:pt x="50648" y="124134"/>
                      <a:pt x="51661" y="128694"/>
                    </a:cubicBezTo>
                    <a:cubicBezTo>
                      <a:pt x="52675" y="133508"/>
                      <a:pt x="54828" y="139842"/>
                      <a:pt x="53435" y="144656"/>
                    </a:cubicBezTo>
                    <a:cubicBezTo>
                      <a:pt x="50648" y="154791"/>
                      <a:pt x="32659" y="150610"/>
                      <a:pt x="28858" y="143516"/>
                    </a:cubicBezTo>
                    <a:cubicBezTo>
                      <a:pt x="24425" y="135408"/>
                      <a:pt x="24931" y="125907"/>
                      <a:pt x="24552" y="116913"/>
                    </a:cubicBezTo>
                    <a:cubicBezTo>
                      <a:pt x="24298" y="108805"/>
                      <a:pt x="16317" y="98924"/>
                      <a:pt x="10743" y="93350"/>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sp>
          <p:nvSpPr>
            <p:cNvPr id="688" name="Полилиния: фигура 687">
              <a:extLst>
                <a:ext uri="{FF2B5EF4-FFF2-40B4-BE49-F238E27FC236}">
                  <a16:creationId xmlns:a16="http://schemas.microsoft.com/office/drawing/2014/main" id="{9AC60F08-7AF6-406F-A8AD-58753D85D1BA}"/>
                </a:ext>
              </a:extLst>
            </p:cNvPr>
            <p:cNvSpPr/>
            <p:nvPr/>
          </p:nvSpPr>
          <p:spPr>
            <a:xfrm>
              <a:off x="2028039" y="3707802"/>
              <a:ext cx="342019" cy="410948"/>
            </a:xfrm>
            <a:custGeom>
              <a:avLst/>
              <a:gdLst>
                <a:gd name="connsiteX0" fmla="*/ 342020 w 342019"/>
                <a:gd name="connsiteY0" fmla="*/ 113624 h 410948"/>
                <a:gd name="connsiteX1" fmla="*/ 338599 w 342019"/>
                <a:gd name="connsiteY1" fmla="*/ 122492 h 410948"/>
                <a:gd name="connsiteX2" fmla="*/ 316810 w 342019"/>
                <a:gd name="connsiteY2" fmla="*/ 156189 h 410948"/>
                <a:gd name="connsiteX3" fmla="*/ 310349 w 342019"/>
                <a:gd name="connsiteY3" fmla="*/ 230426 h 410948"/>
                <a:gd name="connsiteX4" fmla="*/ 283619 w 342019"/>
                <a:gd name="connsiteY4" fmla="*/ 272484 h 410948"/>
                <a:gd name="connsiteX5" fmla="*/ 242194 w 342019"/>
                <a:gd name="connsiteY5" fmla="*/ 352927 h 410948"/>
                <a:gd name="connsiteX6" fmla="*/ 240800 w 342019"/>
                <a:gd name="connsiteY6" fmla="*/ 350774 h 410948"/>
                <a:gd name="connsiteX7" fmla="*/ 221544 w 342019"/>
                <a:gd name="connsiteY7" fmla="*/ 348873 h 410948"/>
                <a:gd name="connsiteX8" fmla="*/ 188860 w 342019"/>
                <a:gd name="connsiteY8" fmla="*/ 372183 h 410948"/>
                <a:gd name="connsiteX9" fmla="*/ 141861 w 342019"/>
                <a:gd name="connsiteY9" fmla="*/ 390806 h 410948"/>
                <a:gd name="connsiteX10" fmla="*/ 107150 w 342019"/>
                <a:gd name="connsiteY10" fmla="*/ 410948 h 410948"/>
                <a:gd name="connsiteX11" fmla="*/ 8844 w 342019"/>
                <a:gd name="connsiteY11" fmla="*/ 281099 h 410948"/>
                <a:gd name="connsiteX12" fmla="*/ 19359 w 342019"/>
                <a:gd name="connsiteY12" fmla="*/ 228272 h 410948"/>
                <a:gd name="connsiteX13" fmla="*/ 14292 w 342019"/>
                <a:gd name="connsiteY13" fmla="*/ 210029 h 410948"/>
                <a:gd name="connsiteX14" fmla="*/ 53057 w 342019"/>
                <a:gd name="connsiteY14" fmla="*/ 162144 h 410948"/>
                <a:gd name="connsiteX15" fmla="*/ 65978 w 342019"/>
                <a:gd name="connsiteY15" fmla="*/ 80054 h 410948"/>
                <a:gd name="connsiteX16" fmla="*/ 155036 w 342019"/>
                <a:gd name="connsiteY16" fmla="*/ 39008 h 410948"/>
                <a:gd name="connsiteX17" fmla="*/ 174799 w 342019"/>
                <a:gd name="connsiteY17" fmla="*/ 1763 h 410948"/>
                <a:gd name="connsiteX18" fmla="*/ 177839 w 342019"/>
                <a:gd name="connsiteY18" fmla="*/ 3917 h 410948"/>
                <a:gd name="connsiteX19" fmla="*/ 204569 w 342019"/>
                <a:gd name="connsiteY19" fmla="*/ 28114 h 410948"/>
                <a:gd name="connsiteX20" fmla="*/ 250048 w 342019"/>
                <a:gd name="connsiteY20" fmla="*/ 51930 h 410948"/>
                <a:gd name="connsiteX21" fmla="*/ 258029 w 342019"/>
                <a:gd name="connsiteY21" fmla="*/ 84614 h 410948"/>
                <a:gd name="connsiteX22" fmla="*/ 314909 w 342019"/>
                <a:gd name="connsiteY22" fmla="*/ 78153 h 410948"/>
                <a:gd name="connsiteX23" fmla="*/ 342020 w 342019"/>
                <a:gd name="connsiteY23" fmla="*/ 113624 h 41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019" h="410948">
                  <a:moveTo>
                    <a:pt x="342020" y="113624"/>
                  </a:moveTo>
                  <a:cubicBezTo>
                    <a:pt x="342020" y="116791"/>
                    <a:pt x="341006" y="119832"/>
                    <a:pt x="338599" y="122492"/>
                  </a:cubicBezTo>
                  <a:cubicBezTo>
                    <a:pt x="327198" y="135414"/>
                    <a:pt x="313896" y="139341"/>
                    <a:pt x="316810" y="156189"/>
                  </a:cubicBezTo>
                  <a:cubicBezTo>
                    <a:pt x="319850" y="173038"/>
                    <a:pt x="326691" y="220038"/>
                    <a:pt x="310349" y="230426"/>
                  </a:cubicBezTo>
                  <a:cubicBezTo>
                    <a:pt x="294007" y="240813"/>
                    <a:pt x="280705" y="254622"/>
                    <a:pt x="283619" y="272484"/>
                  </a:cubicBezTo>
                  <a:cubicBezTo>
                    <a:pt x="286533" y="290346"/>
                    <a:pt x="300594" y="351154"/>
                    <a:pt x="242194" y="352927"/>
                  </a:cubicBezTo>
                  <a:cubicBezTo>
                    <a:pt x="241814" y="352167"/>
                    <a:pt x="241307" y="351407"/>
                    <a:pt x="240800" y="350774"/>
                  </a:cubicBezTo>
                  <a:cubicBezTo>
                    <a:pt x="236113" y="345453"/>
                    <a:pt x="227499" y="346973"/>
                    <a:pt x="221544" y="348873"/>
                  </a:cubicBezTo>
                  <a:cubicBezTo>
                    <a:pt x="207863" y="353434"/>
                    <a:pt x="199628" y="363569"/>
                    <a:pt x="188860" y="372183"/>
                  </a:cubicBezTo>
                  <a:cubicBezTo>
                    <a:pt x="175052" y="383078"/>
                    <a:pt x="158583" y="387005"/>
                    <a:pt x="141861" y="390806"/>
                  </a:cubicBezTo>
                  <a:cubicBezTo>
                    <a:pt x="128940" y="393719"/>
                    <a:pt x="114244" y="399420"/>
                    <a:pt x="107150" y="410948"/>
                  </a:cubicBezTo>
                  <a:cubicBezTo>
                    <a:pt x="111964" y="375224"/>
                    <a:pt x="29367" y="296300"/>
                    <a:pt x="8844" y="281099"/>
                  </a:cubicBezTo>
                  <a:cubicBezTo>
                    <a:pt x="-11551" y="265897"/>
                    <a:pt x="8211" y="238913"/>
                    <a:pt x="19359" y="228272"/>
                  </a:cubicBezTo>
                  <a:cubicBezTo>
                    <a:pt x="22653" y="225105"/>
                    <a:pt x="19993" y="218391"/>
                    <a:pt x="14292" y="210029"/>
                  </a:cubicBezTo>
                  <a:cubicBezTo>
                    <a:pt x="14292" y="210029"/>
                    <a:pt x="56477" y="188367"/>
                    <a:pt x="53057" y="162144"/>
                  </a:cubicBezTo>
                  <a:cubicBezTo>
                    <a:pt x="49636" y="135920"/>
                    <a:pt x="38742" y="98802"/>
                    <a:pt x="65978" y="80054"/>
                  </a:cubicBezTo>
                  <a:cubicBezTo>
                    <a:pt x="93215" y="61178"/>
                    <a:pt x="154529" y="56364"/>
                    <a:pt x="155036" y="39008"/>
                  </a:cubicBezTo>
                  <a:cubicBezTo>
                    <a:pt x="155543" y="22666"/>
                    <a:pt x="159470" y="-7611"/>
                    <a:pt x="174799" y="1763"/>
                  </a:cubicBezTo>
                  <a:cubicBezTo>
                    <a:pt x="175812" y="2270"/>
                    <a:pt x="176826" y="3030"/>
                    <a:pt x="177839" y="3917"/>
                  </a:cubicBezTo>
                  <a:cubicBezTo>
                    <a:pt x="195701" y="19246"/>
                    <a:pt x="194688" y="34068"/>
                    <a:pt x="204569" y="28114"/>
                  </a:cubicBezTo>
                  <a:cubicBezTo>
                    <a:pt x="214450" y="22160"/>
                    <a:pt x="259423" y="26087"/>
                    <a:pt x="250048" y="51930"/>
                  </a:cubicBezTo>
                  <a:cubicBezTo>
                    <a:pt x="240674" y="77647"/>
                    <a:pt x="230792" y="92468"/>
                    <a:pt x="258029" y="84614"/>
                  </a:cubicBezTo>
                  <a:cubicBezTo>
                    <a:pt x="285266" y="76760"/>
                    <a:pt x="299074" y="66752"/>
                    <a:pt x="314909" y="78153"/>
                  </a:cubicBezTo>
                  <a:cubicBezTo>
                    <a:pt x="327324" y="86894"/>
                    <a:pt x="342020" y="101589"/>
                    <a:pt x="342020" y="1136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89" name="Полилиния: фигура 688">
              <a:extLst>
                <a:ext uri="{FF2B5EF4-FFF2-40B4-BE49-F238E27FC236}">
                  <a16:creationId xmlns:a16="http://schemas.microsoft.com/office/drawing/2014/main" id="{630437FF-65BA-4FC7-AB7F-A4248567F132}"/>
                </a:ext>
              </a:extLst>
            </p:cNvPr>
            <p:cNvSpPr/>
            <p:nvPr/>
          </p:nvSpPr>
          <p:spPr>
            <a:xfrm>
              <a:off x="1706369" y="3293920"/>
              <a:ext cx="300190" cy="381821"/>
            </a:xfrm>
            <a:custGeom>
              <a:avLst/>
              <a:gdLst>
                <a:gd name="connsiteX0" fmla="*/ 297577 w 300190"/>
                <a:gd name="connsiteY0" fmla="*/ 269580 h 381821"/>
                <a:gd name="connsiteX1" fmla="*/ 247918 w 300190"/>
                <a:gd name="connsiteY1" fmla="*/ 292383 h 381821"/>
                <a:gd name="connsiteX2" fmla="*/ 212953 w 300190"/>
                <a:gd name="connsiteY2" fmla="*/ 340523 h 381821"/>
                <a:gd name="connsiteX3" fmla="*/ 144291 w 300190"/>
                <a:gd name="connsiteY3" fmla="*/ 381821 h 381821"/>
                <a:gd name="connsiteX4" fmla="*/ 103626 w 300190"/>
                <a:gd name="connsiteY4" fmla="*/ 354584 h 381821"/>
                <a:gd name="connsiteX5" fmla="*/ 98306 w 300190"/>
                <a:gd name="connsiteY5" fmla="*/ 302391 h 381821"/>
                <a:gd name="connsiteX6" fmla="*/ 97292 w 300190"/>
                <a:gd name="connsiteY6" fmla="*/ 197751 h 381821"/>
                <a:gd name="connsiteX7" fmla="*/ 61441 w 300190"/>
                <a:gd name="connsiteY7" fmla="*/ 178749 h 381821"/>
                <a:gd name="connsiteX8" fmla="*/ 52700 w 300190"/>
                <a:gd name="connsiteY8" fmla="*/ 149865 h 381821"/>
                <a:gd name="connsiteX9" fmla="*/ 40665 w 300190"/>
                <a:gd name="connsiteY9" fmla="*/ 121235 h 381821"/>
                <a:gd name="connsiteX10" fmla="*/ 8234 w 300190"/>
                <a:gd name="connsiteY10" fmla="*/ 100839 h 381821"/>
                <a:gd name="connsiteX11" fmla="*/ 0 w 300190"/>
                <a:gd name="connsiteY11" fmla="*/ 93745 h 381821"/>
                <a:gd name="connsiteX12" fmla="*/ 42565 w 300190"/>
                <a:gd name="connsiteY12" fmla="*/ 63468 h 381821"/>
                <a:gd name="connsiteX13" fmla="*/ 55107 w 300190"/>
                <a:gd name="connsiteY13" fmla="*/ 33064 h 381821"/>
                <a:gd name="connsiteX14" fmla="*/ 112494 w 300190"/>
                <a:gd name="connsiteY14" fmla="*/ 46239 h 381821"/>
                <a:gd name="connsiteX15" fmla="*/ 157846 w 300190"/>
                <a:gd name="connsiteY15" fmla="*/ 0 h 381821"/>
                <a:gd name="connsiteX16" fmla="*/ 216754 w 300190"/>
                <a:gd name="connsiteY16" fmla="*/ 25083 h 381821"/>
                <a:gd name="connsiteX17" fmla="*/ 243737 w 300190"/>
                <a:gd name="connsiteY17" fmla="*/ 62075 h 381821"/>
                <a:gd name="connsiteX18" fmla="*/ 248678 w 300190"/>
                <a:gd name="connsiteY18" fmla="*/ 69042 h 381821"/>
                <a:gd name="connsiteX19" fmla="*/ 245764 w 300190"/>
                <a:gd name="connsiteY19" fmla="*/ 155059 h 381821"/>
                <a:gd name="connsiteX20" fmla="*/ 297197 w 300190"/>
                <a:gd name="connsiteY20" fmla="*/ 249438 h 381821"/>
                <a:gd name="connsiteX21" fmla="*/ 297577 w 300190"/>
                <a:gd name="connsiteY21" fmla="*/ 269580 h 3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90" h="381821">
                  <a:moveTo>
                    <a:pt x="297577" y="269580"/>
                  </a:moveTo>
                  <a:cubicBezTo>
                    <a:pt x="289216" y="281995"/>
                    <a:pt x="263120" y="284276"/>
                    <a:pt x="247918" y="292383"/>
                  </a:cubicBezTo>
                  <a:cubicBezTo>
                    <a:pt x="226762" y="303531"/>
                    <a:pt x="222834" y="322027"/>
                    <a:pt x="212953" y="340523"/>
                  </a:cubicBezTo>
                  <a:cubicBezTo>
                    <a:pt x="203072" y="358892"/>
                    <a:pt x="144291" y="381821"/>
                    <a:pt x="144291" y="381821"/>
                  </a:cubicBezTo>
                  <a:cubicBezTo>
                    <a:pt x="130230" y="373333"/>
                    <a:pt x="114774" y="365986"/>
                    <a:pt x="103626" y="354584"/>
                  </a:cubicBezTo>
                  <a:cubicBezTo>
                    <a:pt x="89184" y="339889"/>
                    <a:pt x="94125" y="320380"/>
                    <a:pt x="98306" y="302391"/>
                  </a:cubicBezTo>
                  <a:cubicBezTo>
                    <a:pt x="105527" y="271987"/>
                    <a:pt x="126429" y="223215"/>
                    <a:pt x="97292" y="197751"/>
                  </a:cubicBezTo>
                  <a:cubicBezTo>
                    <a:pt x="87158" y="188884"/>
                    <a:pt x="72969" y="185717"/>
                    <a:pt x="61441" y="178749"/>
                  </a:cubicBezTo>
                  <a:cubicBezTo>
                    <a:pt x="48139" y="170768"/>
                    <a:pt x="48773" y="164181"/>
                    <a:pt x="52700" y="149865"/>
                  </a:cubicBezTo>
                  <a:cubicBezTo>
                    <a:pt x="56627" y="135424"/>
                    <a:pt x="57007" y="124656"/>
                    <a:pt x="40665" y="121235"/>
                  </a:cubicBezTo>
                  <a:cubicBezTo>
                    <a:pt x="22930" y="117561"/>
                    <a:pt x="19889" y="114394"/>
                    <a:pt x="8234" y="100839"/>
                  </a:cubicBezTo>
                  <a:cubicBezTo>
                    <a:pt x="5321" y="97419"/>
                    <a:pt x="2660" y="95139"/>
                    <a:pt x="0" y="93745"/>
                  </a:cubicBezTo>
                  <a:cubicBezTo>
                    <a:pt x="10261" y="56754"/>
                    <a:pt x="30657" y="65495"/>
                    <a:pt x="42565" y="63468"/>
                  </a:cubicBezTo>
                  <a:cubicBezTo>
                    <a:pt x="54474" y="61441"/>
                    <a:pt x="53840" y="54854"/>
                    <a:pt x="55107" y="33064"/>
                  </a:cubicBezTo>
                  <a:cubicBezTo>
                    <a:pt x="56500" y="11275"/>
                    <a:pt x="93365" y="44339"/>
                    <a:pt x="112494" y="46239"/>
                  </a:cubicBezTo>
                  <a:cubicBezTo>
                    <a:pt x="129470" y="48013"/>
                    <a:pt x="141124" y="18242"/>
                    <a:pt x="157846" y="0"/>
                  </a:cubicBezTo>
                  <a:cubicBezTo>
                    <a:pt x="157846" y="0"/>
                    <a:pt x="204212" y="22423"/>
                    <a:pt x="216754" y="25083"/>
                  </a:cubicBezTo>
                  <a:cubicBezTo>
                    <a:pt x="229295" y="27743"/>
                    <a:pt x="227902" y="50800"/>
                    <a:pt x="243737" y="62075"/>
                  </a:cubicBezTo>
                  <a:cubicBezTo>
                    <a:pt x="245891" y="63595"/>
                    <a:pt x="247538" y="66002"/>
                    <a:pt x="248678" y="69042"/>
                  </a:cubicBezTo>
                  <a:cubicBezTo>
                    <a:pt x="256025" y="88171"/>
                    <a:pt x="245764" y="132890"/>
                    <a:pt x="245764" y="155059"/>
                  </a:cubicBezTo>
                  <a:cubicBezTo>
                    <a:pt x="245764" y="180776"/>
                    <a:pt x="283389" y="217767"/>
                    <a:pt x="297197" y="249438"/>
                  </a:cubicBezTo>
                  <a:cubicBezTo>
                    <a:pt x="301378" y="258432"/>
                    <a:pt x="300871" y="264767"/>
                    <a:pt x="297577" y="26958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0" name="Полилиния: фигура 689">
              <a:extLst>
                <a:ext uri="{FF2B5EF4-FFF2-40B4-BE49-F238E27FC236}">
                  <a16:creationId xmlns:a16="http://schemas.microsoft.com/office/drawing/2014/main" id="{DEEBA671-39B8-457B-9A9D-1A088C162ED1}"/>
                </a:ext>
              </a:extLst>
            </p:cNvPr>
            <p:cNvSpPr/>
            <p:nvPr/>
          </p:nvSpPr>
          <p:spPr>
            <a:xfrm>
              <a:off x="2250305" y="3821299"/>
              <a:ext cx="432137" cy="505969"/>
            </a:xfrm>
            <a:custGeom>
              <a:avLst/>
              <a:gdLst>
                <a:gd name="connsiteX0" fmla="*/ 405423 w 432137"/>
                <a:gd name="connsiteY0" fmla="*/ 410325 h 505969"/>
                <a:gd name="connsiteX1" fmla="*/ 389587 w 432137"/>
                <a:gd name="connsiteY1" fmla="*/ 450356 h 505969"/>
                <a:gd name="connsiteX2" fmla="*/ 356903 w 432137"/>
                <a:gd name="connsiteY2" fmla="*/ 459731 h 505969"/>
                <a:gd name="connsiteX3" fmla="*/ 315605 w 432137"/>
                <a:gd name="connsiteY3" fmla="*/ 505970 h 505969"/>
                <a:gd name="connsiteX4" fmla="*/ 310538 w 432137"/>
                <a:gd name="connsiteY4" fmla="*/ 494315 h 505969"/>
                <a:gd name="connsiteX5" fmla="*/ 303824 w 432137"/>
                <a:gd name="connsiteY5" fmla="*/ 481900 h 505969"/>
                <a:gd name="connsiteX6" fmla="*/ 292042 w 432137"/>
                <a:gd name="connsiteY6" fmla="*/ 469612 h 505969"/>
                <a:gd name="connsiteX7" fmla="*/ 273800 w 432137"/>
                <a:gd name="connsiteY7" fmla="*/ 447316 h 505969"/>
                <a:gd name="connsiteX8" fmla="*/ 244536 w 432137"/>
                <a:gd name="connsiteY8" fmla="*/ 459731 h 505969"/>
                <a:gd name="connsiteX9" fmla="*/ 210332 w 432137"/>
                <a:gd name="connsiteY9" fmla="*/ 452003 h 505969"/>
                <a:gd name="connsiteX10" fmla="*/ 205645 w 432137"/>
                <a:gd name="connsiteY10" fmla="*/ 431607 h 505969"/>
                <a:gd name="connsiteX11" fmla="*/ 192596 w 432137"/>
                <a:gd name="connsiteY11" fmla="*/ 417292 h 505969"/>
                <a:gd name="connsiteX12" fmla="*/ 173340 w 432137"/>
                <a:gd name="connsiteY12" fmla="*/ 409818 h 505969"/>
                <a:gd name="connsiteX13" fmla="*/ 151298 w 432137"/>
                <a:gd name="connsiteY13" fmla="*/ 410325 h 505969"/>
                <a:gd name="connsiteX14" fmla="*/ 131029 w 432137"/>
                <a:gd name="connsiteY14" fmla="*/ 385242 h 505969"/>
                <a:gd name="connsiteX15" fmla="*/ 125581 w 432137"/>
                <a:gd name="connsiteY15" fmla="*/ 364592 h 505969"/>
                <a:gd name="connsiteX16" fmla="*/ 111646 w 432137"/>
                <a:gd name="connsiteY16" fmla="*/ 347110 h 505969"/>
                <a:gd name="connsiteX17" fmla="*/ 95557 w 432137"/>
                <a:gd name="connsiteY17" fmla="*/ 347744 h 505969"/>
                <a:gd name="connsiteX18" fmla="*/ 80862 w 432137"/>
                <a:gd name="connsiteY18" fmla="*/ 347870 h 505969"/>
                <a:gd name="connsiteX19" fmla="*/ 48432 w 432137"/>
                <a:gd name="connsiteY19" fmla="*/ 322660 h 505969"/>
                <a:gd name="connsiteX20" fmla="*/ 22208 w 432137"/>
                <a:gd name="connsiteY20" fmla="*/ 301504 h 505969"/>
                <a:gd name="connsiteX21" fmla="*/ 4853 w 432137"/>
                <a:gd name="connsiteY21" fmla="*/ 301884 h 505969"/>
                <a:gd name="connsiteX22" fmla="*/ 926 w 432137"/>
                <a:gd name="connsiteY22" fmla="*/ 288456 h 505969"/>
                <a:gd name="connsiteX23" fmla="*/ 17394 w 432137"/>
                <a:gd name="connsiteY23" fmla="*/ 258179 h 505969"/>
                <a:gd name="connsiteX24" fmla="*/ 20435 w 432137"/>
                <a:gd name="connsiteY24" fmla="*/ 239303 h 505969"/>
                <a:gd name="connsiteX25" fmla="*/ 61860 w 432137"/>
                <a:gd name="connsiteY25" fmla="*/ 158860 h 505969"/>
                <a:gd name="connsiteX26" fmla="*/ 88590 w 432137"/>
                <a:gd name="connsiteY26" fmla="*/ 116801 h 505969"/>
                <a:gd name="connsiteX27" fmla="*/ 95051 w 432137"/>
                <a:gd name="connsiteY27" fmla="*/ 42566 h 505969"/>
                <a:gd name="connsiteX28" fmla="*/ 116840 w 432137"/>
                <a:gd name="connsiteY28" fmla="*/ 8868 h 505969"/>
                <a:gd name="connsiteX29" fmla="*/ 120260 w 432137"/>
                <a:gd name="connsiteY29" fmla="*/ 0 h 505969"/>
                <a:gd name="connsiteX30" fmla="*/ 154972 w 432137"/>
                <a:gd name="connsiteY30" fmla="*/ 45099 h 505969"/>
                <a:gd name="connsiteX31" fmla="*/ 177774 w 432137"/>
                <a:gd name="connsiteY31" fmla="*/ 65875 h 505969"/>
                <a:gd name="connsiteX32" fmla="*/ 239089 w 432137"/>
                <a:gd name="connsiteY32" fmla="*/ 100459 h 505969"/>
                <a:gd name="connsiteX33" fmla="*/ 257964 w 432137"/>
                <a:gd name="connsiteY33" fmla="*/ 161773 h 505969"/>
                <a:gd name="connsiteX34" fmla="*/ 292169 w 432137"/>
                <a:gd name="connsiteY34" fmla="*/ 207253 h 505969"/>
                <a:gd name="connsiteX35" fmla="*/ 311931 w 432137"/>
                <a:gd name="connsiteY35" fmla="*/ 193951 h 505969"/>
                <a:gd name="connsiteX36" fmla="*/ 339168 w 432137"/>
                <a:gd name="connsiteY36" fmla="*/ 201425 h 505969"/>
                <a:gd name="connsiteX37" fmla="*/ 342081 w 432137"/>
                <a:gd name="connsiteY37" fmla="*/ 237023 h 505969"/>
                <a:gd name="connsiteX38" fmla="*/ 352976 w 432137"/>
                <a:gd name="connsiteY38" fmla="*/ 262739 h 505969"/>
                <a:gd name="connsiteX39" fmla="*/ 399089 w 432137"/>
                <a:gd name="connsiteY39" fmla="*/ 266160 h 505969"/>
                <a:gd name="connsiteX40" fmla="*/ 402763 w 432137"/>
                <a:gd name="connsiteY40" fmla="*/ 266033 h 505969"/>
                <a:gd name="connsiteX41" fmla="*/ 403523 w 432137"/>
                <a:gd name="connsiteY41" fmla="*/ 266160 h 505969"/>
                <a:gd name="connsiteX42" fmla="*/ 404536 w 432137"/>
                <a:gd name="connsiteY42" fmla="*/ 266286 h 505969"/>
                <a:gd name="connsiteX43" fmla="*/ 405803 w 432137"/>
                <a:gd name="connsiteY43" fmla="*/ 266540 h 505969"/>
                <a:gd name="connsiteX44" fmla="*/ 407323 w 432137"/>
                <a:gd name="connsiteY44" fmla="*/ 267047 h 505969"/>
                <a:gd name="connsiteX45" fmla="*/ 408717 w 432137"/>
                <a:gd name="connsiteY45" fmla="*/ 267680 h 505969"/>
                <a:gd name="connsiteX46" fmla="*/ 411504 w 432137"/>
                <a:gd name="connsiteY46" fmla="*/ 269454 h 505969"/>
                <a:gd name="connsiteX47" fmla="*/ 413150 w 432137"/>
                <a:gd name="connsiteY47" fmla="*/ 270847 h 505969"/>
                <a:gd name="connsiteX48" fmla="*/ 414797 w 432137"/>
                <a:gd name="connsiteY48" fmla="*/ 272367 h 505969"/>
                <a:gd name="connsiteX49" fmla="*/ 415811 w 432137"/>
                <a:gd name="connsiteY49" fmla="*/ 273507 h 505969"/>
                <a:gd name="connsiteX50" fmla="*/ 417838 w 432137"/>
                <a:gd name="connsiteY50" fmla="*/ 275914 h 505969"/>
                <a:gd name="connsiteX51" fmla="*/ 418851 w 432137"/>
                <a:gd name="connsiteY51" fmla="*/ 277181 h 505969"/>
                <a:gd name="connsiteX52" fmla="*/ 421638 w 432137"/>
                <a:gd name="connsiteY52" fmla="*/ 281489 h 505969"/>
                <a:gd name="connsiteX53" fmla="*/ 421638 w 432137"/>
                <a:gd name="connsiteY53" fmla="*/ 281489 h 505969"/>
                <a:gd name="connsiteX54" fmla="*/ 431139 w 432137"/>
                <a:gd name="connsiteY54" fmla="*/ 304671 h 505969"/>
                <a:gd name="connsiteX55" fmla="*/ 402382 w 432137"/>
                <a:gd name="connsiteY55" fmla="*/ 327854 h 505969"/>
                <a:gd name="connsiteX56" fmla="*/ 405423 w 432137"/>
                <a:gd name="connsiteY56" fmla="*/ 410325 h 50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2137" h="505969">
                  <a:moveTo>
                    <a:pt x="405423" y="410325"/>
                  </a:moveTo>
                  <a:cubicBezTo>
                    <a:pt x="409350" y="435661"/>
                    <a:pt x="400482" y="438575"/>
                    <a:pt x="389587" y="450356"/>
                  </a:cubicBezTo>
                  <a:cubicBezTo>
                    <a:pt x="378693" y="462264"/>
                    <a:pt x="365898" y="461758"/>
                    <a:pt x="356903" y="459731"/>
                  </a:cubicBezTo>
                  <a:cubicBezTo>
                    <a:pt x="347909" y="457704"/>
                    <a:pt x="315605" y="505970"/>
                    <a:pt x="315605" y="505970"/>
                  </a:cubicBezTo>
                  <a:cubicBezTo>
                    <a:pt x="314085" y="502043"/>
                    <a:pt x="312311" y="498116"/>
                    <a:pt x="310538" y="494315"/>
                  </a:cubicBezTo>
                  <a:cubicBezTo>
                    <a:pt x="308511" y="490135"/>
                    <a:pt x="306484" y="485574"/>
                    <a:pt x="303824" y="481900"/>
                  </a:cubicBezTo>
                  <a:cubicBezTo>
                    <a:pt x="300403" y="477213"/>
                    <a:pt x="295716" y="473919"/>
                    <a:pt x="292042" y="469612"/>
                  </a:cubicBezTo>
                  <a:cubicBezTo>
                    <a:pt x="286215" y="462518"/>
                    <a:pt x="282034" y="452130"/>
                    <a:pt x="273800" y="447316"/>
                  </a:cubicBezTo>
                  <a:cubicBezTo>
                    <a:pt x="265819" y="442755"/>
                    <a:pt x="251124" y="455550"/>
                    <a:pt x="244536" y="459731"/>
                  </a:cubicBezTo>
                  <a:cubicBezTo>
                    <a:pt x="235161" y="465685"/>
                    <a:pt x="214512" y="464291"/>
                    <a:pt x="210332" y="452003"/>
                  </a:cubicBezTo>
                  <a:cubicBezTo>
                    <a:pt x="208051" y="445543"/>
                    <a:pt x="207925" y="438195"/>
                    <a:pt x="205645" y="431607"/>
                  </a:cubicBezTo>
                  <a:cubicBezTo>
                    <a:pt x="203491" y="425273"/>
                    <a:pt x="198170" y="420586"/>
                    <a:pt x="192596" y="417292"/>
                  </a:cubicBezTo>
                  <a:cubicBezTo>
                    <a:pt x="186769" y="413998"/>
                    <a:pt x="179928" y="410831"/>
                    <a:pt x="173340" y="409818"/>
                  </a:cubicBezTo>
                  <a:cubicBezTo>
                    <a:pt x="166119" y="408678"/>
                    <a:pt x="158519" y="410705"/>
                    <a:pt x="151298" y="410325"/>
                  </a:cubicBezTo>
                  <a:cubicBezTo>
                    <a:pt x="139009" y="409438"/>
                    <a:pt x="131535" y="396390"/>
                    <a:pt x="131029" y="385242"/>
                  </a:cubicBezTo>
                  <a:cubicBezTo>
                    <a:pt x="130648" y="378401"/>
                    <a:pt x="129255" y="370546"/>
                    <a:pt x="125581" y="364592"/>
                  </a:cubicBezTo>
                  <a:cubicBezTo>
                    <a:pt x="122034" y="359018"/>
                    <a:pt x="117347" y="350657"/>
                    <a:pt x="111646" y="347110"/>
                  </a:cubicBezTo>
                  <a:cubicBezTo>
                    <a:pt x="106452" y="343943"/>
                    <a:pt x="100751" y="345337"/>
                    <a:pt x="95557" y="347744"/>
                  </a:cubicBezTo>
                  <a:cubicBezTo>
                    <a:pt x="90237" y="350151"/>
                    <a:pt x="86436" y="350277"/>
                    <a:pt x="80862" y="347870"/>
                  </a:cubicBezTo>
                  <a:cubicBezTo>
                    <a:pt x="67434" y="342043"/>
                    <a:pt x="59453" y="331655"/>
                    <a:pt x="48432" y="322660"/>
                  </a:cubicBezTo>
                  <a:cubicBezTo>
                    <a:pt x="40577" y="316199"/>
                    <a:pt x="32343" y="304418"/>
                    <a:pt x="22208" y="301504"/>
                  </a:cubicBezTo>
                  <a:cubicBezTo>
                    <a:pt x="16381" y="299858"/>
                    <a:pt x="10427" y="304545"/>
                    <a:pt x="4853" y="301884"/>
                  </a:cubicBezTo>
                  <a:cubicBezTo>
                    <a:pt x="-595" y="299351"/>
                    <a:pt x="-721" y="293397"/>
                    <a:pt x="926" y="288456"/>
                  </a:cubicBezTo>
                  <a:cubicBezTo>
                    <a:pt x="4599" y="277181"/>
                    <a:pt x="12200" y="268567"/>
                    <a:pt x="17394" y="258179"/>
                  </a:cubicBezTo>
                  <a:cubicBezTo>
                    <a:pt x="20055" y="252858"/>
                    <a:pt x="23348" y="245131"/>
                    <a:pt x="20435" y="239303"/>
                  </a:cubicBezTo>
                  <a:cubicBezTo>
                    <a:pt x="78962" y="237530"/>
                    <a:pt x="64900" y="176722"/>
                    <a:pt x="61860" y="158860"/>
                  </a:cubicBezTo>
                  <a:cubicBezTo>
                    <a:pt x="58946" y="140998"/>
                    <a:pt x="72248" y="127189"/>
                    <a:pt x="88590" y="116801"/>
                  </a:cubicBezTo>
                  <a:cubicBezTo>
                    <a:pt x="104932" y="106413"/>
                    <a:pt x="97964" y="59414"/>
                    <a:pt x="95051" y="42566"/>
                  </a:cubicBezTo>
                  <a:cubicBezTo>
                    <a:pt x="92137" y="25717"/>
                    <a:pt x="105439" y="21789"/>
                    <a:pt x="116840" y="8868"/>
                  </a:cubicBezTo>
                  <a:cubicBezTo>
                    <a:pt x="119247" y="6207"/>
                    <a:pt x="120260" y="3167"/>
                    <a:pt x="120260" y="0"/>
                  </a:cubicBezTo>
                  <a:cubicBezTo>
                    <a:pt x="126848" y="18622"/>
                    <a:pt x="140783" y="32431"/>
                    <a:pt x="154972" y="45099"/>
                  </a:cubicBezTo>
                  <a:cubicBezTo>
                    <a:pt x="162952" y="52193"/>
                    <a:pt x="170933" y="58907"/>
                    <a:pt x="177774" y="65875"/>
                  </a:cubicBezTo>
                  <a:cubicBezTo>
                    <a:pt x="196650" y="85131"/>
                    <a:pt x="220213" y="90071"/>
                    <a:pt x="239089" y="100459"/>
                  </a:cubicBezTo>
                  <a:cubicBezTo>
                    <a:pt x="257964" y="110847"/>
                    <a:pt x="257331" y="144545"/>
                    <a:pt x="257964" y="161773"/>
                  </a:cubicBezTo>
                  <a:cubicBezTo>
                    <a:pt x="258471" y="179129"/>
                    <a:pt x="280261" y="200412"/>
                    <a:pt x="292169" y="207253"/>
                  </a:cubicBezTo>
                  <a:cubicBezTo>
                    <a:pt x="304077" y="214220"/>
                    <a:pt x="305977" y="198892"/>
                    <a:pt x="311931" y="193951"/>
                  </a:cubicBezTo>
                  <a:cubicBezTo>
                    <a:pt x="317885" y="188884"/>
                    <a:pt x="329287" y="196865"/>
                    <a:pt x="339168" y="201425"/>
                  </a:cubicBezTo>
                  <a:cubicBezTo>
                    <a:pt x="349049" y="205859"/>
                    <a:pt x="345629" y="218781"/>
                    <a:pt x="342081" y="237023"/>
                  </a:cubicBezTo>
                  <a:cubicBezTo>
                    <a:pt x="338661" y="255392"/>
                    <a:pt x="338661" y="251338"/>
                    <a:pt x="352976" y="262739"/>
                  </a:cubicBezTo>
                  <a:cubicBezTo>
                    <a:pt x="367418" y="274141"/>
                    <a:pt x="383127" y="268693"/>
                    <a:pt x="399089" y="266160"/>
                  </a:cubicBezTo>
                  <a:cubicBezTo>
                    <a:pt x="400356" y="266033"/>
                    <a:pt x="401622" y="265906"/>
                    <a:pt x="402763" y="266033"/>
                  </a:cubicBezTo>
                  <a:cubicBezTo>
                    <a:pt x="403016" y="266033"/>
                    <a:pt x="403269" y="266033"/>
                    <a:pt x="403523" y="266160"/>
                  </a:cubicBezTo>
                  <a:cubicBezTo>
                    <a:pt x="403903" y="266160"/>
                    <a:pt x="404156" y="266286"/>
                    <a:pt x="404536" y="266286"/>
                  </a:cubicBezTo>
                  <a:cubicBezTo>
                    <a:pt x="404916" y="266413"/>
                    <a:pt x="405423" y="266540"/>
                    <a:pt x="405803" y="266540"/>
                  </a:cubicBezTo>
                  <a:cubicBezTo>
                    <a:pt x="406310" y="266667"/>
                    <a:pt x="406816" y="266920"/>
                    <a:pt x="407323" y="267047"/>
                  </a:cubicBezTo>
                  <a:cubicBezTo>
                    <a:pt x="407830" y="267300"/>
                    <a:pt x="408337" y="267427"/>
                    <a:pt x="408717" y="267680"/>
                  </a:cubicBezTo>
                  <a:cubicBezTo>
                    <a:pt x="409730" y="268187"/>
                    <a:pt x="410617" y="268693"/>
                    <a:pt x="411504" y="269454"/>
                  </a:cubicBezTo>
                  <a:cubicBezTo>
                    <a:pt x="412010" y="269960"/>
                    <a:pt x="412644" y="270340"/>
                    <a:pt x="413150" y="270847"/>
                  </a:cubicBezTo>
                  <a:cubicBezTo>
                    <a:pt x="413657" y="271354"/>
                    <a:pt x="414291" y="271861"/>
                    <a:pt x="414797" y="272367"/>
                  </a:cubicBezTo>
                  <a:cubicBezTo>
                    <a:pt x="415177" y="272747"/>
                    <a:pt x="415557" y="273127"/>
                    <a:pt x="415811" y="273507"/>
                  </a:cubicBezTo>
                  <a:cubicBezTo>
                    <a:pt x="416571" y="274268"/>
                    <a:pt x="417204" y="275154"/>
                    <a:pt x="417838" y="275914"/>
                  </a:cubicBezTo>
                  <a:cubicBezTo>
                    <a:pt x="418218" y="276295"/>
                    <a:pt x="418471" y="276801"/>
                    <a:pt x="418851" y="277181"/>
                  </a:cubicBezTo>
                  <a:cubicBezTo>
                    <a:pt x="419738" y="278575"/>
                    <a:pt x="420751" y="279968"/>
                    <a:pt x="421638" y="281489"/>
                  </a:cubicBezTo>
                  <a:lnTo>
                    <a:pt x="421638" y="281489"/>
                  </a:lnTo>
                  <a:cubicBezTo>
                    <a:pt x="425692" y="288456"/>
                    <a:pt x="428859" y="296817"/>
                    <a:pt x="431139" y="304671"/>
                  </a:cubicBezTo>
                  <a:cubicBezTo>
                    <a:pt x="436587" y="323420"/>
                    <a:pt x="418724" y="321520"/>
                    <a:pt x="402382" y="327854"/>
                  </a:cubicBezTo>
                  <a:cubicBezTo>
                    <a:pt x="385534" y="334695"/>
                    <a:pt x="401369" y="385115"/>
                    <a:pt x="405423" y="41032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1" name="Полилиния: фигура 690">
              <a:extLst>
                <a:ext uri="{FF2B5EF4-FFF2-40B4-BE49-F238E27FC236}">
                  <a16:creationId xmlns:a16="http://schemas.microsoft.com/office/drawing/2014/main" id="{599EE5A1-53E9-4A5F-A760-FAD3ADD91FAD}"/>
                </a:ext>
              </a:extLst>
            </p:cNvPr>
            <p:cNvSpPr/>
            <p:nvPr/>
          </p:nvSpPr>
          <p:spPr>
            <a:xfrm>
              <a:off x="1952513" y="3302690"/>
              <a:ext cx="299794" cy="331768"/>
            </a:xfrm>
            <a:custGeom>
              <a:avLst/>
              <a:gdLst>
                <a:gd name="connsiteX0" fmla="*/ 292256 w 299794"/>
                <a:gd name="connsiteY0" fmla="*/ 155664 h 331768"/>
                <a:gd name="connsiteX1" fmla="*/ 270087 w 299794"/>
                <a:gd name="connsiteY1" fmla="*/ 182901 h 331768"/>
                <a:gd name="connsiteX2" fmla="*/ 259953 w 299794"/>
                <a:gd name="connsiteY2" fmla="*/ 201143 h 331768"/>
                <a:gd name="connsiteX3" fmla="*/ 209913 w 299794"/>
                <a:gd name="connsiteY3" fmla="*/ 291721 h 331768"/>
                <a:gd name="connsiteX4" fmla="*/ 182930 w 299794"/>
                <a:gd name="connsiteY4" fmla="*/ 288554 h 331768"/>
                <a:gd name="connsiteX5" fmla="*/ 122755 w 299794"/>
                <a:gd name="connsiteY5" fmla="*/ 329092 h 331768"/>
                <a:gd name="connsiteX6" fmla="*/ 51560 w 299794"/>
                <a:gd name="connsiteY6" fmla="*/ 260810 h 331768"/>
                <a:gd name="connsiteX7" fmla="*/ 51433 w 299794"/>
                <a:gd name="connsiteY7" fmla="*/ 240668 h 331768"/>
                <a:gd name="connsiteX8" fmla="*/ 0 w 299794"/>
                <a:gd name="connsiteY8" fmla="*/ 146289 h 331768"/>
                <a:gd name="connsiteX9" fmla="*/ 2914 w 299794"/>
                <a:gd name="connsiteY9" fmla="*/ 60272 h 331768"/>
                <a:gd name="connsiteX10" fmla="*/ 48773 w 299794"/>
                <a:gd name="connsiteY10" fmla="*/ 24294 h 331768"/>
                <a:gd name="connsiteX11" fmla="*/ 85131 w 299794"/>
                <a:gd name="connsiteY11" fmla="*/ 23661 h 331768"/>
                <a:gd name="connsiteX12" fmla="*/ 113508 w 299794"/>
                <a:gd name="connsiteY12" fmla="*/ 1745 h 331768"/>
                <a:gd name="connsiteX13" fmla="*/ 165574 w 299794"/>
                <a:gd name="connsiteY13" fmla="*/ 15553 h 331768"/>
                <a:gd name="connsiteX14" fmla="*/ 222961 w 299794"/>
                <a:gd name="connsiteY14" fmla="*/ 40003 h 331768"/>
                <a:gd name="connsiteX15" fmla="*/ 247791 w 299794"/>
                <a:gd name="connsiteY15" fmla="*/ 40256 h 331768"/>
                <a:gd name="connsiteX16" fmla="*/ 267807 w 299794"/>
                <a:gd name="connsiteY16" fmla="*/ 55838 h 331768"/>
                <a:gd name="connsiteX17" fmla="*/ 265146 w 299794"/>
                <a:gd name="connsiteY17" fmla="*/ 91436 h 331768"/>
                <a:gd name="connsiteX18" fmla="*/ 297450 w 299794"/>
                <a:gd name="connsiteY18" fmla="*/ 113225 h 331768"/>
                <a:gd name="connsiteX19" fmla="*/ 292256 w 299794"/>
                <a:gd name="connsiteY19" fmla="*/ 155664 h 33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9794" h="331768">
                  <a:moveTo>
                    <a:pt x="292256" y="155664"/>
                  </a:moveTo>
                  <a:cubicBezTo>
                    <a:pt x="284909" y="166305"/>
                    <a:pt x="276801" y="174160"/>
                    <a:pt x="270087" y="182901"/>
                  </a:cubicBezTo>
                  <a:cubicBezTo>
                    <a:pt x="266033" y="188348"/>
                    <a:pt x="262360" y="194175"/>
                    <a:pt x="259953" y="201143"/>
                  </a:cubicBezTo>
                  <a:cubicBezTo>
                    <a:pt x="253365" y="219639"/>
                    <a:pt x="234363" y="274239"/>
                    <a:pt x="209913" y="291721"/>
                  </a:cubicBezTo>
                  <a:cubicBezTo>
                    <a:pt x="208900" y="285007"/>
                    <a:pt x="201172" y="285387"/>
                    <a:pt x="182930" y="288554"/>
                  </a:cubicBezTo>
                  <a:cubicBezTo>
                    <a:pt x="160000" y="292481"/>
                    <a:pt x="140618" y="310343"/>
                    <a:pt x="122755" y="329092"/>
                  </a:cubicBezTo>
                  <a:cubicBezTo>
                    <a:pt x="104893" y="347968"/>
                    <a:pt x="51560" y="260810"/>
                    <a:pt x="51560" y="260810"/>
                  </a:cubicBezTo>
                  <a:cubicBezTo>
                    <a:pt x="54854" y="255997"/>
                    <a:pt x="55360" y="249536"/>
                    <a:pt x="51433" y="240668"/>
                  </a:cubicBezTo>
                  <a:cubicBezTo>
                    <a:pt x="37625" y="208997"/>
                    <a:pt x="0" y="172006"/>
                    <a:pt x="0" y="146289"/>
                  </a:cubicBezTo>
                  <a:cubicBezTo>
                    <a:pt x="0" y="124120"/>
                    <a:pt x="10261" y="79275"/>
                    <a:pt x="2914" y="60272"/>
                  </a:cubicBezTo>
                  <a:cubicBezTo>
                    <a:pt x="2914" y="60272"/>
                    <a:pt x="29644" y="18340"/>
                    <a:pt x="48773" y="24294"/>
                  </a:cubicBezTo>
                  <a:cubicBezTo>
                    <a:pt x="67902" y="30248"/>
                    <a:pt x="78417" y="39623"/>
                    <a:pt x="85131" y="23661"/>
                  </a:cubicBezTo>
                  <a:cubicBezTo>
                    <a:pt x="91718" y="7699"/>
                    <a:pt x="95012" y="-4716"/>
                    <a:pt x="113508" y="1745"/>
                  </a:cubicBezTo>
                  <a:cubicBezTo>
                    <a:pt x="132003" y="8332"/>
                    <a:pt x="144545" y="3772"/>
                    <a:pt x="165574" y="15553"/>
                  </a:cubicBezTo>
                  <a:cubicBezTo>
                    <a:pt x="186730" y="27461"/>
                    <a:pt x="196611" y="39369"/>
                    <a:pt x="222961" y="40003"/>
                  </a:cubicBezTo>
                  <a:cubicBezTo>
                    <a:pt x="231702" y="40256"/>
                    <a:pt x="240443" y="40003"/>
                    <a:pt x="247791" y="40256"/>
                  </a:cubicBezTo>
                  <a:cubicBezTo>
                    <a:pt x="262993" y="40763"/>
                    <a:pt x="273127" y="43423"/>
                    <a:pt x="267807" y="55838"/>
                  </a:cubicBezTo>
                  <a:cubicBezTo>
                    <a:pt x="259826" y="74334"/>
                    <a:pt x="248044" y="82822"/>
                    <a:pt x="265146" y="91436"/>
                  </a:cubicBezTo>
                  <a:cubicBezTo>
                    <a:pt x="282249" y="100050"/>
                    <a:pt x="296184" y="94096"/>
                    <a:pt x="297450" y="113225"/>
                  </a:cubicBezTo>
                  <a:cubicBezTo>
                    <a:pt x="298844" y="132481"/>
                    <a:pt x="304038" y="138435"/>
                    <a:pt x="292256" y="15566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2" name="Полилиния: фигура 691">
              <a:extLst>
                <a:ext uri="{FF2B5EF4-FFF2-40B4-BE49-F238E27FC236}">
                  <a16:creationId xmlns:a16="http://schemas.microsoft.com/office/drawing/2014/main" id="{84AC7110-0FD0-4FB0-B2BE-1A66AA93E601}"/>
                </a:ext>
              </a:extLst>
            </p:cNvPr>
            <p:cNvSpPr/>
            <p:nvPr/>
          </p:nvSpPr>
          <p:spPr>
            <a:xfrm>
              <a:off x="1864596" y="3081216"/>
              <a:ext cx="390862" cy="281872"/>
            </a:xfrm>
            <a:custGeom>
              <a:avLst/>
              <a:gdLst>
                <a:gd name="connsiteX0" fmla="*/ 387775 w 390862"/>
                <a:gd name="connsiteY0" fmla="*/ 171532 h 281872"/>
                <a:gd name="connsiteX1" fmla="*/ 335709 w 390862"/>
                <a:gd name="connsiteY1" fmla="*/ 261857 h 281872"/>
                <a:gd name="connsiteX2" fmla="*/ 310879 w 390862"/>
                <a:gd name="connsiteY2" fmla="*/ 261603 h 281872"/>
                <a:gd name="connsiteX3" fmla="*/ 253492 w 390862"/>
                <a:gd name="connsiteY3" fmla="*/ 237154 h 281872"/>
                <a:gd name="connsiteX4" fmla="*/ 201425 w 390862"/>
                <a:gd name="connsiteY4" fmla="*/ 223345 h 281872"/>
                <a:gd name="connsiteX5" fmla="*/ 173048 w 390862"/>
                <a:gd name="connsiteY5" fmla="*/ 245261 h 281872"/>
                <a:gd name="connsiteX6" fmla="*/ 136690 w 390862"/>
                <a:gd name="connsiteY6" fmla="*/ 245895 h 281872"/>
                <a:gd name="connsiteX7" fmla="*/ 90831 w 390862"/>
                <a:gd name="connsiteY7" fmla="*/ 281872 h 281872"/>
                <a:gd name="connsiteX8" fmla="*/ 85891 w 390862"/>
                <a:gd name="connsiteY8" fmla="*/ 274905 h 281872"/>
                <a:gd name="connsiteX9" fmla="*/ 58907 w 390862"/>
                <a:gd name="connsiteY9" fmla="*/ 237914 h 281872"/>
                <a:gd name="connsiteX10" fmla="*/ 0 w 390862"/>
                <a:gd name="connsiteY10" fmla="*/ 212831 h 281872"/>
                <a:gd name="connsiteX11" fmla="*/ 6841 w 390862"/>
                <a:gd name="connsiteY11" fmla="*/ 206243 h 281872"/>
                <a:gd name="connsiteX12" fmla="*/ 5574 w 390862"/>
                <a:gd name="connsiteY12" fmla="*/ 164058 h 281872"/>
                <a:gd name="connsiteX13" fmla="*/ 29390 w 390862"/>
                <a:gd name="connsiteY13" fmla="*/ 106671 h 281872"/>
                <a:gd name="connsiteX14" fmla="*/ 21663 w 390862"/>
                <a:gd name="connsiteY14" fmla="*/ 34082 h 281872"/>
                <a:gd name="connsiteX15" fmla="*/ 52067 w 390862"/>
                <a:gd name="connsiteY15" fmla="*/ 17106 h 281872"/>
                <a:gd name="connsiteX16" fmla="*/ 82977 w 390862"/>
                <a:gd name="connsiteY16" fmla="*/ 4 h 281872"/>
                <a:gd name="connsiteX17" fmla="*/ 109200 w 390862"/>
                <a:gd name="connsiteY17" fmla="*/ 20653 h 281872"/>
                <a:gd name="connsiteX18" fmla="*/ 181409 w 390862"/>
                <a:gd name="connsiteY18" fmla="*/ 68539 h 281872"/>
                <a:gd name="connsiteX19" fmla="*/ 219161 w 390862"/>
                <a:gd name="connsiteY19" fmla="*/ 58151 h 281872"/>
                <a:gd name="connsiteX20" fmla="*/ 246017 w 390862"/>
                <a:gd name="connsiteY20" fmla="*/ 60938 h 281872"/>
                <a:gd name="connsiteX21" fmla="*/ 310879 w 390862"/>
                <a:gd name="connsiteY21" fmla="*/ 46496 h 281872"/>
                <a:gd name="connsiteX22" fmla="*/ 327728 w 390862"/>
                <a:gd name="connsiteY22" fmla="*/ 94002 h 281872"/>
                <a:gd name="connsiteX23" fmla="*/ 387775 w 390862"/>
                <a:gd name="connsiteY23" fmla="*/ 171532 h 2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862" h="281872">
                  <a:moveTo>
                    <a:pt x="387775" y="171532"/>
                  </a:moveTo>
                  <a:cubicBezTo>
                    <a:pt x="369913" y="212197"/>
                    <a:pt x="334695" y="245388"/>
                    <a:pt x="335709" y="261857"/>
                  </a:cubicBezTo>
                  <a:cubicBezTo>
                    <a:pt x="328234" y="261603"/>
                    <a:pt x="319493" y="261857"/>
                    <a:pt x="310879" y="261603"/>
                  </a:cubicBezTo>
                  <a:cubicBezTo>
                    <a:pt x="284529" y="260970"/>
                    <a:pt x="274648" y="249062"/>
                    <a:pt x="253492" y="237154"/>
                  </a:cubicBezTo>
                  <a:cubicBezTo>
                    <a:pt x="232336" y="225245"/>
                    <a:pt x="219794" y="229933"/>
                    <a:pt x="201425" y="223345"/>
                  </a:cubicBezTo>
                  <a:cubicBezTo>
                    <a:pt x="182930" y="216758"/>
                    <a:pt x="179636" y="229299"/>
                    <a:pt x="173048" y="245261"/>
                  </a:cubicBezTo>
                  <a:cubicBezTo>
                    <a:pt x="166461" y="261223"/>
                    <a:pt x="155946" y="251849"/>
                    <a:pt x="136690" y="245895"/>
                  </a:cubicBezTo>
                  <a:cubicBezTo>
                    <a:pt x="117561" y="239941"/>
                    <a:pt x="90831" y="281872"/>
                    <a:pt x="90831" y="281872"/>
                  </a:cubicBezTo>
                  <a:cubicBezTo>
                    <a:pt x="89691" y="278832"/>
                    <a:pt x="88044" y="276425"/>
                    <a:pt x="85891" y="274905"/>
                  </a:cubicBezTo>
                  <a:cubicBezTo>
                    <a:pt x="70055" y="263757"/>
                    <a:pt x="71322" y="240574"/>
                    <a:pt x="58907" y="237914"/>
                  </a:cubicBezTo>
                  <a:cubicBezTo>
                    <a:pt x="46366" y="235253"/>
                    <a:pt x="0" y="212831"/>
                    <a:pt x="0" y="212831"/>
                  </a:cubicBezTo>
                  <a:cubicBezTo>
                    <a:pt x="2154" y="210424"/>
                    <a:pt x="4434" y="208143"/>
                    <a:pt x="6841" y="206243"/>
                  </a:cubicBezTo>
                  <a:cubicBezTo>
                    <a:pt x="27363" y="189774"/>
                    <a:pt x="17482" y="181793"/>
                    <a:pt x="5574" y="164058"/>
                  </a:cubicBezTo>
                  <a:cubicBezTo>
                    <a:pt x="-6334" y="146195"/>
                    <a:pt x="13428" y="125166"/>
                    <a:pt x="29390" y="106671"/>
                  </a:cubicBezTo>
                  <a:cubicBezTo>
                    <a:pt x="44972" y="88428"/>
                    <a:pt x="22169" y="35222"/>
                    <a:pt x="21663" y="34082"/>
                  </a:cubicBezTo>
                  <a:cubicBezTo>
                    <a:pt x="32051" y="30788"/>
                    <a:pt x="41805" y="24580"/>
                    <a:pt x="52067" y="17106"/>
                  </a:cubicBezTo>
                  <a:cubicBezTo>
                    <a:pt x="60681" y="10772"/>
                    <a:pt x="71576" y="257"/>
                    <a:pt x="82977" y="4"/>
                  </a:cubicBezTo>
                  <a:cubicBezTo>
                    <a:pt x="95265" y="-250"/>
                    <a:pt x="102993" y="11912"/>
                    <a:pt x="109200" y="20653"/>
                  </a:cubicBezTo>
                  <a:cubicBezTo>
                    <a:pt x="126936" y="45103"/>
                    <a:pt x="146952" y="74746"/>
                    <a:pt x="181409" y="68539"/>
                  </a:cubicBezTo>
                  <a:cubicBezTo>
                    <a:pt x="193698" y="66386"/>
                    <a:pt x="206366" y="62585"/>
                    <a:pt x="219161" y="58151"/>
                  </a:cubicBezTo>
                  <a:cubicBezTo>
                    <a:pt x="220428" y="57644"/>
                    <a:pt x="217261" y="70819"/>
                    <a:pt x="246017" y="60938"/>
                  </a:cubicBezTo>
                  <a:cubicBezTo>
                    <a:pt x="274648" y="51057"/>
                    <a:pt x="289596" y="34715"/>
                    <a:pt x="310879" y="46496"/>
                  </a:cubicBezTo>
                  <a:cubicBezTo>
                    <a:pt x="332162" y="58405"/>
                    <a:pt x="313413" y="78167"/>
                    <a:pt x="327728" y="94002"/>
                  </a:cubicBezTo>
                  <a:cubicBezTo>
                    <a:pt x="341663" y="109584"/>
                    <a:pt x="405511" y="130994"/>
                    <a:pt x="387775" y="17153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3" name="Полилиния: фигура 692">
              <a:extLst>
                <a:ext uri="{FF2B5EF4-FFF2-40B4-BE49-F238E27FC236}">
                  <a16:creationId xmlns:a16="http://schemas.microsoft.com/office/drawing/2014/main" id="{5224E0E3-9DCA-4CAA-838D-E806411236D5}"/>
                </a:ext>
              </a:extLst>
            </p:cNvPr>
            <p:cNvSpPr/>
            <p:nvPr/>
          </p:nvSpPr>
          <p:spPr>
            <a:xfrm>
              <a:off x="2155387" y="3462282"/>
              <a:ext cx="400095" cy="404115"/>
            </a:xfrm>
            <a:custGeom>
              <a:avLst/>
              <a:gdLst>
                <a:gd name="connsiteX0" fmla="*/ 399502 w 400095"/>
                <a:gd name="connsiteY0" fmla="*/ 247283 h 404115"/>
                <a:gd name="connsiteX1" fmla="*/ 398868 w 400095"/>
                <a:gd name="connsiteY1" fmla="*/ 249817 h 404115"/>
                <a:gd name="connsiteX2" fmla="*/ 397982 w 400095"/>
                <a:gd name="connsiteY2" fmla="*/ 252477 h 404115"/>
                <a:gd name="connsiteX3" fmla="*/ 395575 w 400095"/>
                <a:gd name="connsiteY3" fmla="*/ 257798 h 404115"/>
                <a:gd name="connsiteX4" fmla="*/ 395575 w 400095"/>
                <a:gd name="connsiteY4" fmla="*/ 257924 h 404115"/>
                <a:gd name="connsiteX5" fmla="*/ 389114 w 400095"/>
                <a:gd name="connsiteY5" fmla="*/ 268566 h 404115"/>
                <a:gd name="connsiteX6" fmla="*/ 386707 w 400095"/>
                <a:gd name="connsiteY6" fmla="*/ 271986 h 404115"/>
                <a:gd name="connsiteX7" fmla="*/ 384680 w 400095"/>
                <a:gd name="connsiteY7" fmla="*/ 274900 h 404115"/>
                <a:gd name="connsiteX8" fmla="*/ 384553 w 400095"/>
                <a:gd name="connsiteY8" fmla="*/ 275153 h 404115"/>
                <a:gd name="connsiteX9" fmla="*/ 376192 w 400095"/>
                <a:gd name="connsiteY9" fmla="*/ 286808 h 404115"/>
                <a:gd name="connsiteX10" fmla="*/ 340088 w 400095"/>
                <a:gd name="connsiteY10" fmla="*/ 338241 h 404115"/>
                <a:gd name="connsiteX11" fmla="*/ 298029 w 400095"/>
                <a:gd name="connsiteY11" fmla="*/ 339761 h 404115"/>
                <a:gd name="connsiteX12" fmla="*/ 294989 w 400095"/>
                <a:gd name="connsiteY12" fmla="*/ 371432 h 404115"/>
                <a:gd name="connsiteX13" fmla="*/ 270286 w 400095"/>
                <a:gd name="connsiteY13" fmla="*/ 363958 h 404115"/>
                <a:gd name="connsiteX14" fmla="*/ 249510 w 400095"/>
                <a:gd name="connsiteY14" fmla="*/ 404116 h 404115"/>
                <a:gd name="connsiteX15" fmla="*/ 214799 w 400095"/>
                <a:gd name="connsiteY15" fmla="*/ 359017 h 404115"/>
                <a:gd name="connsiteX16" fmla="*/ 187562 w 400095"/>
                <a:gd name="connsiteY16" fmla="*/ 323419 h 404115"/>
                <a:gd name="connsiteX17" fmla="*/ 130682 w 400095"/>
                <a:gd name="connsiteY17" fmla="*/ 329880 h 404115"/>
                <a:gd name="connsiteX18" fmla="*/ 122701 w 400095"/>
                <a:gd name="connsiteY18" fmla="*/ 297196 h 404115"/>
                <a:gd name="connsiteX19" fmla="*/ 77222 w 400095"/>
                <a:gd name="connsiteY19" fmla="*/ 273380 h 404115"/>
                <a:gd name="connsiteX20" fmla="*/ 50492 w 400095"/>
                <a:gd name="connsiteY20" fmla="*/ 249183 h 404115"/>
                <a:gd name="connsiteX21" fmla="*/ 47451 w 400095"/>
                <a:gd name="connsiteY21" fmla="*/ 247030 h 404115"/>
                <a:gd name="connsiteX22" fmla="*/ 10840 w 400095"/>
                <a:gd name="connsiteY22" fmla="*/ 196737 h 404115"/>
                <a:gd name="connsiteX23" fmla="*/ 6406 w 400095"/>
                <a:gd name="connsiteY23" fmla="*/ 138843 h 404115"/>
                <a:gd name="connsiteX24" fmla="*/ 6913 w 400095"/>
                <a:gd name="connsiteY24" fmla="*/ 132129 h 404115"/>
                <a:gd name="connsiteX25" fmla="*/ 56952 w 400095"/>
                <a:gd name="connsiteY25" fmla="*/ 41551 h 404115"/>
                <a:gd name="connsiteX26" fmla="*/ 67087 w 400095"/>
                <a:gd name="connsiteY26" fmla="*/ 23308 h 404115"/>
                <a:gd name="connsiteX27" fmla="*/ 125108 w 400095"/>
                <a:gd name="connsiteY27" fmla="*/ 5700 h 404115"/>
                <a:gd name="connsiteX28" fmla="*/ 185028 w 400095"/>
                <a:gd name="connsiteY28" fmla="*/ 23688 h 404115"/>
                <a:gd name="connsiteX29" fmla="*/ 235955 w 400095"/>
                <a:gd name="connsiteY29" fmla="*/ 42311 h 404115"/>
                <a:gd name="connsiteX30" fmla="*/ 271046 w 400095"/>
                <a:gd name="connsiteY30" fmla="*/ 25969 h 404115"/>
                <a:gd name="connsiteX31" fmla="*/ 315638 w 400095"/>
                <a:gd name="connsiteY31" fmla="*/ 52065 h 404115"/>
                <a:gd name="connsiteX32" fmla="*/ 322479 w 400095"/>
                <a:gd name="connsiteY32" fmla="*/ 56119 h 404115"/>
                <a:gd name="connsiteX33" fmla="*/ 342241 w 400095"/>
                <a:gd name="connsiteY33" fmla="*/ 100205 h 404115"/>
                <a:gd name="connsiteX34" fmla="*/ 370491 w 400095"/>
                <a:gd name="connsiteY34" fmla="*/ 147711 h 404115"/>
                <a:gd name="connsiteX35" fmla="*/ 387847 w 400095"/>
                <a:gd name="connsiteY35" fmla="*/ 188756 h 404115"/>
                <a:gd name="connsiteX36" fmla="*/ 387974 w 400095"/>
                <a:gd name="connsiteY36" fmla="*/ 203958 h 404115"/>
                <a:gd name="connsiteX37" fmla="*/ 397221 w 400095"/>
                <a:gd name="connsiteY37" fmla="*/ 232841 h 404115"/>
                <a:gd name="connsiteX38" fmla="*/ 398235 w 400095"/>
                <a:gd name="connsiteY38" fmla="*/ 234615 h 404115"/>
                <a:gd name="connsiteX39" fmla="*/ 398995 w 400095"/>
                <a:gd name="connsiteY39" fmla="*/ 236262 h 404115"/>
                <a:gd name="connsiteX40" fmla="*/ 399628 w 400095"/>
                <a:gd name="connsiteY40" fmla="*/ 238669 h 404115"/>
                <a:gd name="connsiteX41" fmla="*/ 399882 w 400095"/>
                <a:gd name="connsiteY41" fmla="*/ 239809 h 404115"/>
                <a:gd name="connsiteX42" fmla="*/ 399502 w 400095"/>
                <a:gd name="connsiteY42" fmla="*/ 247283 h 4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95" h="404115">
                  <a:moveTo>
                    <a:pt x="399502" y="247283"/>
                  </a:moveTo>
                  <a:cubicBezTo>
                    <a:pt x="399248" y="248170"/>
                    <a:pt x="399122" y="248930"/>
                    <a:pt x="398868" y="249817"/>
                  </a:cubicBezTo>
                  <a:cubicBezTo>
                    <a:pt x="398615" y="250704"/>
                    <a:pt x="398235" y="251590"/>
                    <a:pt x="397982" y="252477"/>
                  </a:cubicBezTo>
                  <a:cubicBezTo>
                    <a:pt x="397221" y="254251"/>
                    <a:pt x="396461" y="256024"/>
                    <a:pt x="395575" y="257798"/>
                  </a:cubicBezTo>
                  <a:cubicBezTo>
                    <a:pt x="395575" y="257798"/>
                    <a:pt x="395575" y="257924"/>
                    <a:pt x="395575" y="257924"/>
                  </a:cubicBezTo>
                  <a:cubicBezTo>
                    <a:pt x="393801" y="261345"/>
                    <a:pt x="391521" y="264892"/>
                    <a:pt x="389114" y="268566"/>
                  </a:cubicBezTo>
                  <a:cubicBezTo>
                    <a:pt x="388354" y="269706"/>
                    <a:pt x="387594" y="270846"/>
                    <a:pt x="386707" y="271986"/>
                  </a:cubicBezTo>
                  <a:cubicBezTo>
                    <a:pt x="386074" y="273000"/>
                    <a:pt x="385313" y="273886"/>
                    <a:pt x="384680" y="274900"/>
                  </a:cubicBezTo>
                  <a:cubicBezTo>
                    <a:pt x="384680" y="275026"/>
                    <a:pt x="384553" y="275026"/>
                    <a:pt x="384553" y="275153"/>
                  </a:cubicBezTo>
                  <a:cubicBezTo>
                    <a:pt x="381893" y="278954"/>
                    <a:pt x="378979" y="282881"/>
                    <a:pt x="376192" y="286808"/>
                  </a:cubicBezTo>
                  <a:cubicBezTo>
                    <a:pt x="361877" y="307204"/>
                    <a:pt x="351489" y="329373"/>
                    <a:pt x="340088" y="338241"/>
                  </a:cubicBezTo>
                  <a:cubicBezTo>
                    <a:pt x="328686" y="346982"/>
                    <a:pt x="309431" y="346729"/>
                    <a:pt x="298029" y="339761"/>
                  </a:cubicBezTo>
                  <a:cubicBezTo>
                    <a:pt x="286628" y="332794"/>
                    <a:pt x="284094" y="350149"/>
                    <a:pt x="294989" y="371432"/>
                  </a:cubicBezTo>
                  <a:cubicBezTo>
                    <a:pt x="305884" y="392715"/>
                    <a:pt x="284601" y="373459"/>
                    <a:pt x="270286" y="363958"/>
                  </a:cubicBezTo>
                  <a:cubicBezTo>
                    <a:pt x="256224" y="354710"/>
                    <a:pt x="249763" y="402343"/>
                    <a:pt x="249510" y="404116"/>
                  </a:cubicBezTo>
                  <a:cubicBezTo>
                    <a:pt x="235321" y="391575"/>
                    <a:pt x="221386" y="377766"/>
                    <a:pt x="214799" y="359017"/>
                  </a:cubicBezTo>
                  <a:cubicBezTo>
                    <a:pt x="214799" y="346982"/>
                    <a:pt x="200104" y="332287"/>
                    <a:pt x="187562" y="323419"/>
                  </a:cubicBezTo>
                  <a:cubicBezTo>
                    <a:pt x="171727" y="312018"/>
                    <a:pt x="157918" y="321899"/>
                    <a:pt x="130682" y="329880"/>
                  </a:cubicBezTo>
                  <a:cubicBezTo>
                    <a:pt x="103445" y="337861"/>
                    <a:pt x="113326" y="322912"/>
                    <a:pt x="122701" y="297196"/>
                  </a:cubicBezTo>
                  <a:cubicBezTo>
                    <a:pt x="132075" y="271479"/>
                    <a:pt x="87103" y="267552"/>
                    <a:pt x="77222" y="273380"/>
                  </a:cubicBezTo>
                  <a:cubicBezTo>
                    <a:pt x="67340" y="279334"/>
                    <a:pt x="68354" y="264512"/>
                    <a:pt x="50492" y="249183"/>
                  </a:cubicBezTo>
                  <a:cubicBezTo>
                    <a:pt x="49478" y="248297"/>
                    <a:pt x="48465" y="247537"/>
                    <a:pt x="47451" y="247030"/>
                  </a:cubicBezTo>
                  <a:cubicBezTo>
                    <a:pt x="63666" y="193823"/>
                    <a:pt x="30222" y="200664"/>
                    <a:pt x="10840" y="196737"/>
                  </a:cubicBezTo>
                  <a:cubicBezTo>
                    <a:pt x="-8543" y="192810"/>
                    <a:pt x="3366" y="152144"/>
                    <a:pt x="6406" y="138843"/>
                  </a:cubicBezTo>
                  <a:cubicBezTo>
                    <a:pt x="7039" y="136056"/>
                    <a:pt x="7293" y="133902"/>
                    <a:pt x="6913" y="132129"/>
                  </a:cubicBezTo>
                  <a:cubicBezTo>
                    <a:pt x="31489" y="114520"/>
                    <a:pt x="50365" y="59920"/>
                    <a:pt x="56952" y="41551"/>
                  </a:cubicBezTo>
                  <a:cubicBezTo>
                    <a:pt x="59486" y="34457"/>
                    <a:pt x="63033" y="28629"/>
                    <a:pt x="67087" y="23308"/>
                  </a:cubicBezTo>
                  <a:cubicBezTo>
                    <a:pt x="110159" y="72968"/>
                    <a:pt x="115100" y="21155"/>
                    <a:pt x="125108" y="5700"/>
                  </a:cubicBezTo>
                  <a:cubicBezTo>
                    <a:pt x="134989" y="-9629"/>
                    <a:pt x="162225" y="9247"/>
                    <a:pt x="185028" y="23688"/>
                  </a:cubicBezTo>
                  <a:cubicBezTo>
                    <a:pt x="207831" y="38130"/>
                    <a:pt x="217712" y="41804"/>
                    <a:pt x="235955" y="42311"/>
                  </a:cubicBezTo>
                  <a:cubicBezTo>
                    <a:pt x="254197" y="42818"/>
                    <a:pt x="257744" y="36357"/>
                    <a:pt x="271046" y="25969"/>
                  </a:cubicBezTo>
                  <a:cubicBezTo>
                    <a:pt x="283081" y="16594"/>
                    <a:pt x="294482" y="38004"/>
                    <a:pt x="315638" y="52065"/>
                  </a:cubicBezTo>
                  <a:cubicBezTo>
                    <a:pt x="317792" y="53459"/>
                    <a:pt x="320072" y="54852"/>
                    <a:pt x="322479" y="56119"/>
                  </a:cubicBezTo>
                  <a:cubicBezTo>
                    <a:pt x="348195" y="69421"/>
                    <a:pt x="344268" y="81329"/>
                    <a:pt x="342241" y="100205"/>
                  </a:cubicBezTo>
                  <a:cubicBezTo>
                    <a:pt x="340214" y="118954"/>
                    <a:pt x="355163" y="128835"/>
                    <a:pt x="370491" y="147711"/>
                  </a:cubicBezTo>
                  <a:cubicBezTo>
                    <a:pt x="385820" y="166586"/>
                    <a:pt x="387847" y="165953"/>
                    <a:pt x="387847" y="188756"/>
                  </a:cubicBezTo>
                  <a:cubicBezTo>
                    <a:pt x="387847" y="194837"/>
                    <a:pt x="387847" y="199777"/>
                    <a:pt x="387974" y="203958"/>
                  </a:cubicBezTo>
                  <a:cubicBezTo>
                    <a:pt x="388480" y="215739"/>
                    <a:pt x="390254" y="222200"/>
                    <a:pt x="397221" y="232841"/>
                  </a:cubicBezTo>
                  <a:cubicBezTo>
                    <a:pt x="397602" y="233475"/>
                    <a:pt x="397982" y="233981"/>
                    <a:pt x="398235" y="234615"/>
                  </a:cubicBezTo>
                  <a:cubicBezTo>
                    <a:pt x="398488" y="235122"/>
                    <a:pt x="398742" y="235628"/>
                    <a:pt x="398995" y="236262"/>
                  </a:cubicBezTo>
                  <a:cubicBezTo>
                    <a:pt x="399248" y="237022"/>
                    <a:pt x="399502" y="237782"/>
                    <a:pt x="399628" y="238669"/>
                  </a:cubicBezTo>
                  <a:cubicBezTo>
                    <a:pt x="399755" y="239049"/>
                    <a:pt x="399755" y="239429"/>
                    <a:pt x="399882" y="239809"/>
                  </a:cubicBezTo>
                  <a:cubicBezTo>
                    <a:pt x="400262" y="242216"/>
                    <a:pt x="400135" y="244750"/>
                    <a:pt x="399502" y="24728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4" name="Полилиния: фигура 693">
              <a:extLst>
                <a:ext uri="{FF2B5EF4-FFF2-40B4-BE49-F238E27FC236}">
                  <a16:creationId xmlns:a16="http://schemas.microsoft.com/office/drawing/2014/main" id="{1AF2EC73-84F8-46C7-ABEC-A57C9E4FC879}"/>
                </a:ext>
              </a:extLst>
            </p:cNvPr>
            <p:cNvSpPr/>
            <p:nvPr/>
          </p:nvSpPr>
          <p:spPr>
            <a:xfrm>
              <a:off x="2083630" y="3018328"/>
              <a:ext cx="461504" cy="496272"/>
            </a:xfrm>
            <a:custGeom>
              <a:avLst/>
              <a:gdLst>
                <a:gd name="connsiteX0" fmla="*/ 461251 w 461504"/>
                <a:gd name="connsiteY0" fmla="*/ 187041 h 496272"/>
                <a:gd name="connsiteX1" fmla="*/ 460871 w 461504"/>
                <a:gd name="connsiteY1" fmla="*/ 188687 h 496272"/>
                <a:gd name="connsiteX2" fmla="*/ 460364 w 461504"/>
                <a:gd name="connsiteY2" fmla="*/ 190081 h 496272"/>
                <a:gd name="connsiteX3" fmla="*/ 460237 w 461504"/>
                <a:gd name="connsiteY3" fmla="*/ 190334 h 496272"/>
                <a:gd name="connsiteX4" fmla="*/ 459224 w 461504"/>
                <a:gd name="connsiteY4" fmla="*/ 192361 h 496272"/>
                <a:gd name="connsiteX5" fmla="*/ 458211 w 461504"/>
                <a:gd name="connsiteY5" fmla="*/ 194135 h 496272"/>
                <a:gd name="connsiteX6" fmla="*/ 457197 w 461504"/>
                <a:gd name="connsiteY6" fmla="*/ 195655 h 496272"/>
                <a:gd name="connsiteX7" fmla="*/ 455677 w 461504"/>
                <a:gd name="connsiteY7" fmla="*/ 197682 h 496272"/>
                <a:gd name="connsiteX8" fmla="*/ 452257 w 461504"/>
                <a:gd name="connsiteY8" fmla="*/ 201609 h 496272"/>
                <a:gd name="connsiteX9" fmla="*/ 449723 w 461504"/>
                <a:gd name="connsiteY9" fmla="*/ 204269 h 496272"/>
                <a:gd name="connsiteX10" fmla="*/ 432621 w 461504"/>
                <a:gd name="connsiteY10" fmla="*/ 219725 h 496272"/>
                <a:gd name="connsiteX11" fmla="*/ 425907 w 461504"/>
                <a:gd name="connsiteY11" fmla="*/ 225552 h 496272"/>
                <a:gd name="connsiteX12" fmla="*/ 386382 w 461504"/>
                <a:gd name="connsiteY12" fmla="*/ 243414 h 496272"/>
                <a:gd name="connsiteX13" fmla="*/ 375994 w 461504"/>
                <a:gd name="connsiteY13" fmla="*/ 284459 h 496272"/>
                <a:gd name="connsiteX14" fmla="*/ 355851 w 461504"/>
                <a:gd name="connsiteY14" fmla="*/ 315623 h 496272"/>
                <a:gd name="connsiteX15" fmla="*/ 357751 w 461504"/>
                <a:gd name="connsiteY15" fmla="*/ 356668 h 496272"/>
                <a:gd name="connsiteX16" fmla="*/ 361298 w 461504"/>
                <a:gd name="connsiteY16" fmla="*/ 404174 h 496272"/>
                <a:gd name="connsiteX17" fmla="*/ 403864 w 461504"/>
                <a:gd name="connsiteY17" fmla="*/ 394800 h 496272"/>
                <a:gd name="connsiteX18" fmla="*/ 403357 w 461504"/>
                <a:gd name="connsiteY18" fmla="*/ 412662 h 496272"/>
                <a:gd name="connsiteX19" fmla="*/ 405384 w 461504"/>
                <a:gd name="connsiteY19" fmla="*/ 444079 h 496272"/>
                <a:gd name="connsiteX20" fmla="*/ 387648 w 461504"/>
                <a:gd name="connsiteY20" fmla="*/ 496273 h 496272"/>
                <a:gd name="connsiteX21" fmla="*/ 343056 w 461504"/>
                <a:gd name="connsiteY21" fmla="*/ 470176 h 496272"/>
                <a:gd name="connsiteX22" fmla="*/ 307965 w 461504"/>
                <a:gd name="connsiteY22" fmla="*/ 486518 h 496272"/>
                <a:gd name="connsiteX23" fmla="*/ 257039 w 461504"/>
                <a:gd name="connsiteY23" fmla="*/ 467896 h 496272"/>
                <a:gd name="connsiteX24" fmla="*/ 197118 w 461504"/>
                <a:gd name="connsiteY24" fmla="*/ 449907 h 496272"/>
                <a:gd name="connsiteX25" fmla="*/ 139097 w 461504"/>
                <a:gd name="connsiteY25" fmla="*/ 467516 h 496272"/>
                <a:gd name="connsiteX26" fmla="*/ 161267 w 461504"/>
                <a:gd name="connsiteY26" fmla="*/ 440279 h 496272"/>
                <a:gd name="connsiteX27" fmla="*/ 166588 w 461504"/>
                <a:gd name="connsiteY27" fmla="*/ 397967 h 496272"/>
                <a:gd name="connsiteX28" fmla="*/ 134283 w 461504"/>
                <a:gd name="connsiteY28" fmla="*/ 376177 h 496272"/>
                <a:gd name="connsiteX29" fmla="*/ 136944 w 461504"/>
                <a:gd name="connsiteY29" fmla="*/ 340580 h 496272"/>
                <a:gd name="connsiteX30" fmla="*/ 116928 w 461504"/>
                <a:gd name="connsiteY30" fmla="*/ 324998 h 496272"/>
                <a:gd name="connsiteX31" fmla="*/ 168995 w 461504"/>
                <a:gd name="connsiteY31" fmla="*/ 234673 h 496272"/>
                <a:gd name="connsiteX32" fmla="*/ 108567 w 461504"/>
                <a:gd name="connsiteY32" fmla="*/ 157017 h 496272"/>
                <a:gd name="connsiteX33" fmla="*/ 91718 w 461504"/>
                <a:gd name="connsiteY33" fmla="*/ 109511 h 496272"/>
                <a:gd name="connsiteX34" fmla="*/ 26857 w 461504"/>
                <a:gd name="connsiteY34" fmla="*/ 123953 h 496272"/>
                <a:gd name="connsiteX35" fmla="*/ 0 w 461504"/>
                <a:gd name="connsiteY35" fmla="*/ 121166 h 496272"/>
                <a:gd name="connsiteX36" fmla="*/ 41552 w 461504"/>
                <a:gd name="connsiteY36" fmla="*/ 105330 h 496272"/>
                <a:gd name="connsiteX37" fmla="*/ 111734 w 461504"/>
                <a:gd name="connsiteY37" fmla="*/ 69352 h 496272"/>
                <a:gd name="connsiteX38" fmla="*/ 160633 w 461504"/>
                <a:gd name="connsiteY38" fmla="*/ 21086 h 496272"/>
                <a:gd name="connsiteX39" fmla="*/ 157340 w 461504"/>
                <a:gd name="connsiteY39" fmla="*/ 10319 h 496272"/>
                <a:gd name="connsiteX40" fmla="*/ 203959 w 461504"/>
                <a:gd name="connsiteY40" fmla="*/ 24380 h 496272"/>
                <a:gd name="connsiteX41" fmla="*/ 258432 w 461504"/>
                <a:gd name="connsiteY41" fmla="*/ 564 h 496272"/>
                <a:gd name="connsiteX42" fmla="*/ 254505 w 461504"/>
                <a:gd name="connsiteY42" fmla="*/ 64919 h 496272"/>
                <a:gd name="connsiteX43" fmla="*/ 297577 w 461504"/>
                <a:gd name="connsiteY43" fmla="*/ 91142 h 496272"/>
                <a:gd name="connsiteX44" fmla="*/ 345590 w 461504"/>
                <a:gd name="connsiteY44" fmla="*/ 115338 h 496272"/>
                <a:gd name="connsiteX45" fmla="*/ 392082 w 461504"/>
                <a:gd name="connsiteY45" fmla="*/ 133201 h 496272"/>
                <a:gd name="connsiteX46" fmla="*/ 453397 w 461504"/>
                <a:gd name="connsiteY46" fmla="*/ 175766 h 496272"/>
                <a:gd name="connsiteX47" fmla="*/ 459351 w 461504"/>
                <a:gd name="connsiteY47" fmla="*/ 179946 h 496272"/>
                <a:gd name="connsiteX48" fmla="*/ 459984 w 461504"/>
                <a:gd name="connsiteY48" fmla="*/ 180706 h 496272"/>
                <a:gd name="connsiteX49" fmla="*/ 460491 w 461504"/>
                <a:gd name="connsiteY49" fmla="*/ 181467 h 496272"/>
                <a:gd name="connsiteX50" fmla="*/ 461124 w 461504"/>
                <a:gd name="connsiteY50" fmla="*/ 182860 h 496272"/>
                <a:gd name="connsiteX51" fmla="*/ 461504 w 461504"/>
                <a:gd name="connsiteY51" fmla="*/ 184254 h 496272"/>
                <a:gd name="connsiteX52" fmla="*/ 461251 w 461504"/>
                <a:gd name="connsiteY52" fmla="*/ 187041 h 49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1504" h="496272">
                  <a:moveTo>
                    <a:pt x="461251" y="187041"/>
                  </a:moveTo>
                  <a:cubicBezTo>
                    <a:pt x="461124" y="187547"/>
                    <a:pt x="460998" y="188181"/>
                    <a:pt x="460871" y="188687"/>
                  </a:cubicBezTo>
                  <a:cubicBezTo>
                    <a:pt x="460744" y="189194"/>
                    <a:pt x="460618" y="189701"/>
                    <a:pt x="460364" y="190081"/>
                  </a:cubicBezTo>
                  <a:cubicBezTo>
                    <a:pt x="460364" y="190208"/>
                    <a:pt x="460237" y="190334"/>
                    <a:pt x="460237" y="190334"/>
                  </a:cubicBezTo>
                  <a:cubicBezTo>
                    <a:pt x="459984" y="190968"/>
                    <a:pt x="459604" y="191728"/>
                    <a:pt x="459224" y="192361"/>
                  </a:cubicBezTo>
                  <a:cubicBezTo>
                    <a:pt x="458971" y="192868"/>
                    <a:pt x="458591" y="193501"/>
                    <a:pt x="458211" y="194135"/>
                  </a:cubicBezTo>
                  <a:cubicBezTo>
                    <a:pt x="457957" y="194641"/>
                    <a:pt x="457577" y="195021"/>
                    <a:pt x="457197" y="195655"/>
                  </a:cubicBezTo>
                  <a:cubicBezTo>
                    <a:pt x="456690" y="196288"/>
                    <a:pt x="456184" y="197048"/>
                    <a:pt x="455677" y="197682"/>
                  </a:cubicBezTo>
                  <a:cubicBezTo>
                    <a:pt x="454664" y="198949"/>
                    <a:pt x="453523" y="200216"/>
                    <a:pt x="452257" y="201609"/>
                  </a:cubicBezTo>
                  <a:cubicBezTo>
                    <a:pt x="451497" y="202496"/>
                    <a:pt x="450610" y="203383"/>
                    <a:pt x="449723" y="204269"/>
                  </a:cubicBezTo>
                  <a:cubicBezTo>
                    <a:pt x="444402" y="209590"/>
                    <a:pt x="438195" y="214784"/>
                    <a:pt x="432621" y="219725"/>
                  </a:cubicBezTo>
                  <a:cubicBezTo>
                    <a:pt x="430214" y="221751"/>
                    <a:pt x="427934" y="223652"/>
                    <a:pt x="425907" y="225552"/>
                  </a:cubicBezTo>
                  <a:cubicBezTo>
                    <a:pt x="409058" y="240881"/>
                    <a:pt x="405131" y="233533"/>
                    <a:pt x="386382" y="243414"/>
                  </a:cubicBezTo>
                  <a:cubicBezTo>
                    <a:pt x="367506" y="253296"/>
                    <a:pt x="372573" y="266724"/>
                    <a:pt x="375994" y="284459"/>
                  </a:cubicBezTo>
                  <a:cubicBezTo>
                    <a:pt x="379541" y="302322"/>
                    <a:pt x="372573" y="302322"/>
                    <a:pt x="355851" y="315623"/>
                  </a:cubicBezTo>
                  <a:cubicBezTo>
                    <a:pt x="339129" y="328925"/>
                    <a:pt x="344323" y="335893"/>
                    <a:pt x="357751" y="356668"/>
                  </a:cubicBezTo>
                  <a:cubicBezTo>
                    <a:pt x="371180" y="377444"/>
                    <a:pt x="345337" y="384919"/>
                    <a:pt x="361298" y="404174"/>
                  </a:cubicBezTo>
                  <a:cubicBezTo>
                    <a:pt x="377134" y="423557"/>
                    <a:pt x="384481" y="394800"/>
                    <a:pt x="403864" y="394800"/>
                  </a:cubicBezTo>
                  <a:cubicBezTo>
                    <a:pt x="423246" y="394800"/>
                    <a:pt x="408804" y="402147"/>
                    <a:pt x="403357" y="412662"/>
                  </a:cubicBezTo>
                  <a:cubicBezTo>
                    <a:pt x="397910" y="423050"/>
                    <a:pt x="398923" y="423050"/>
                    <a:pt x="405384" y="444079"/>
                  </a:cubicBezTo>
                  <a:cubicBezTo>
                    <a:pt x="410578" y="460928"/>
                    <a:pt x="394236" y="486645"/>
                    <a:pt x="387648" y="496273"/>
                  </a:cubicBezTo>
                  <a:cubicBezTo>
                    <a:pt x="366492" y="482211"/>
                    <a:pt x="355091" y="460802"/>
                    <a:pt x="343056" y="470176"/>
                  </a:cubicBezTo>
                  <a:cubicBezTo>
                    <a:pt x="329755" y="480564"/>
                    <a:pt x="326208" y="487025"/>
                    <a:pt x="307965" y="486518"/>
                  </a:cubicBezTo>
                  <a:cubicBezTo>
                    <a:pt x="289596" y="486011"/>
                    <a:pt x="279715" y="482337"/>
                    <a:pt x="257039" y="467896"/>
                  </a:cubicBezTo>
                  <a:cubicBezTo>
                    <a:pt x="234236" y="453327"/>
                    <a:pt x="206999" y="434578"/>
                    <a:pt x="197118" y="449907"/>
                  </a:cubicBezTo>
                  <a:cubicBezTo>
                    <a:pt x="187237" y="465235"/>
                    <a:pt x="182169" y="517175"/>
                    <a:pt x="139097" y="467516"/>
                  </a:cubicBezTo>
                  <a:cubicBezTo>
                    <a:pt x="145812" y="458775"/>
                    <a:pt x="153919" y="450920"/>
                    <a:pt x="161267" y="440279"/>
                  </a:cubicBezTo>
                  <a:cubicBezTo>
                    <a:pt x="173175" y="423050"/>
                    <a:pt x="167854" y="417223"/>
                    <a:pt x="166588" y="397967"/>
                  </a:cubicBezTo>
                  <a:cubicBezTo>
                    <a:pt x="165194" y="378838"/>
                    <a:pt x="151386" y="384792"/>
                    <a:pt x="134283" y="376177"/>
                  </a:cubicBezTo>
                  <a:cubicBezTo>
                    <a:pt x="117181" y="367563"/>
                    <a:pt x="129089" y="358949"/>
                    <a:pt x="136944" y="340580"/>
                  </a:cubicBezTo>
                  <a:cubicBezTo>
                    <a:pt x="142265" y="328165"/>
                    <a:pt x="132130" y="325504"/>
                    <a:pt x="116928" y="324998"/>
                  </a:cubicBezTo>
                  <a:cubicBezTo>
                    <a:pt x="115915" y="308529"/>
                    <a:pt x="151132" y="275212"/>
                    <a:pt x="168995" y="234673"/>
                  </a:cubicBezTo>
                  <a:cubicBezTo>
                    <a:pt x="186857" y="194135"/>
                    <a:pt x="123009" y="172852"/>
                    <a:pt x="108567" y="157017"/>
                  </a:cubicBezTo>
                  <a:cubicBezTo>
                    <a:pt x="94252" y="141181"/>
                    <a:pt x="113001" y="121419"/>
                    <a:pt x="91718" y="109511"/>
                  </a:cubicBezTo>
                  <a:cubicBezTo>
                    <a:pt x="70436" y="97603"/>
                    <a:pt x="55614" y="113945"/>
                    <a:pt x="26857" y="123953"/>
                  </a:cubicBezTo>
                  <a:cubicBezTo>
                    <a:pt x="-1900" y="133834"/>
                    <a:pt x="1267" y="120659"/>
                    <a:pt x="0" y="121166"/>
                  </a:cubicBezTo>
                  <a:cubicBezTo>
                    <a:pt x="14315" y="116225"/>
                    <a:pt x="28504" y="110398"/>
                    <a:pt x="41552" y="105330"/>
                  </a:cubicBezTo>
                  <a:cubicBezTo>
                    <a:pt x="66255" y="95829"/>
                    <a:pt x="87284" y="79234"/>
                    <a:pt x="111734" y="69352"/>
                  </a:cubicBezTo>
                  <a:cubicBezTo>
                    <a:pt x="133523" y="60485"/>
                    <a:pt x="167094" y="51364"/>
                    <a:pt x="160633" y="21086"/>
                  </a:cubicBezTo>
                  <a:cubicBezTo>
                    <a:pt x="159873" y="17413"/>
                    <a:pt x="158733" y="13866"/>
                    <a:pt x="157340" y="10319"/>
                  </a:cubicBezTo>
                  <a:cubicBezTo>
                    <a:pt x="174442" y="8798"/>
                    <a:pt x="189517" y="19946"/>
                    <a:pt x="203959" y="24380"/>
                  </a:cubicBezTo>
                  <a:cubicBezTo>
                    <a:pt x="219794" y="29321"/>
                    <a:pt x="242090" y="7532"/>
                    <a:pt x="258432" y="564"/>
                  </a:cubicBezTo>
                  <a:cubicBezTo>
                    <a:pt x="274774" y="-6277"/>
                    <a:pt x="259446" y="51110"/>
                    <a:pt x="254505" y="64919"/>
                  </a:cubicBezTo>
                  <a:cubicBezTo>
                    <a:pt x="249565" y="78727"/>
                    <a:pt x="281235" y="91649"/>
                    <a:pt x="297577" y="91142"/>
                  </a:cubicBezTo>
                  <a:cubicBezTo>
                    <a:pt x="313919" y="90635"/>
                    <a:pt x="322787" y="101530"/>
                    <a:pt x="345590" y="115338"/>
                  </a:cubicBezTo>
                  <a:cubicBezTo>
                    <a:pt x="368393" y="129147"/>
                    <a:pt x="373840" y="121799"/>
                    <a:pt x="392082" y="133201"/>
                  </a:cubicBezTo>
                  <a:cubicBezTo>
                    <a:pt x="410451" y="144602"/>
                    <a:pt x="429707" y="164871"/>
                    <a:pt x="453397" y="175766"/>
                  </a:cubicBezTo>
                  <a:cubicBezTo>
                    <a:pt x="456184" y="177033"/>
                    <a:pt x="458084" y="178426"/>
                    <a:pt x="459351" y="179946"/>
                  </a:cubicBezTo>
                  <a:cubicBezTo>
                    <a:pt x="459604" y="180200"/>
                    <a:pt x="459731" y="180453"/>
                    <a:pt x="459984" y="180706"/>
                  </a:cubicBezTo>
                  <a:cubicBezTo>
                    <a:pt x="460237" y="180960"/>
                    <a:pt x="460364" y="181213"/>
                    <a:pt x="460491" y="181467"/>
                  </a:cubicBezTo>
                  <a:cubicBezTo>
                    <a:pt x="460744" y="181973"/>
                    <a:pt x="460871" y="182353"/>
                    <a:pt x="461124" y="182860"/>
                  </a:cubicBezTo>
                  <a:cubicBezTo>
                    <a:pt x="461251" y="183240"/>
                    <a:pt x="461378" y="183747"/>
                    <a:pt x="461504" y="184254"/>
                  </a:cubicBezTo>
                  <a:cubicBezTo>
                    <a:pt x="461504" y="185014"/>
                    <a:pt x="461504" y="186027"/>
                    <a:pt x="461251" y="1870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5" name="Полилиния: фигура 694">
              <a:extLst>
                <a:ext uri="{FF2B5EF4-FFF2-40B4-BE49-F238E27FC236}">
                  <a16:creationId xmlns:a16="http://schemas.microsoft.com/office/drawing/2014/main" id="{E43C0F2C-0B41-41C3-A94C-B264BB076BA0}"/>
                </a:ext>
              </a:extLst>
            </p:cNvPr>
            <p:cNvSpPr/>
            <p:nvPr/>
          </p:nvSpPr>
          <p:spPr>
            <a:xfrm>
              <a:off x="2404770" y="3737689"/>
              <a:ext cx="411429" cy="383341"/>
            </a:xfrm>
            <a:custGeom>
              <a:avLst/>
              <a:gdLst>
                <a:gd name="connsiteX0" fmla="*/ 408171 w 411429"/>
                <a:gd name="connsiteY0" fmla="*/ 276168 h 383341"/>
                <a:gd name="connsiteX1" fmla="*/ 385748 w 411429"/>
                <a:gd name="connsiteY1" fmla="*/ 336722 h 383341"/>
                <a:gd name="connsiteX2" fmla="*/ 349644 w 411429"/>
                <a:gd name="connsiteY2" fmla="*/ 383341 h 383341"/>
                <a:gd name="connsiteX3" fmla="*/ 266667 w 411429"/>
                <a:gd name="connsiteY3" fmla="*/ 365352 h 383341"/>
                <a:gd name="connsiteX4" fmla="*/ 266667 w 411429"/>
                <a:gd name="connsiteY4" fmla="*/ 365352 h 383341"/>
                <a:gd name="connsiteX5" fmla="*/ 263880 w 411429"/>
                <a:gd name="connsiteY5" fmla="*/ 361045 h 383341"/>
                <a:gd name="connsiteX6" fmla="*/ 262866 w 411429"/>
                <a:gd name="connsiteY6" fmla="*/ 359778 h 383341"/>
                <a:gd name="connsiteX7" fmla="*/ 260839 w 411429"/>
                <a:gd name="connsiteY7" fmla="*/ 357372 h 383341"/>
                <a:gd name="connsiteX8" fmla="*/ 259826 w 411429"/>
                <a:gd name="connsiteY8" fmla="*/ 356231 h 383341"/>
                <a:gd name="connsiteX9" fmla="*/ 258179 w 411429"/>
                <a:gd name="connsiteY9" fmla="*/ 354711 h 383341"/>
                <a:gd name="connsiteX10" fmla="*/ 256532 w 411429"/>
                <a:gd name="connsiteY10" fmla="*/ 353318 h 383341"/>
                <a:gd name="connsiteX11" fmla="*/ 253745 w 411429"/>
                <a:gd name="connsiteY11" fmla="*/ 351544 h 383341"/>
                <a:gd name="connsiteX12" fmla="*/ 252352 w 411429"/>
                <a:gd name="connsiteY12" fmla="*/ 350911 h 383341"/>
                <a:gd name="connsiteX13" fmla="*/ 250831 w 411429"/>
                <a:gd name="connsiteY13" fmla="*/ 350404 h 383341"/>
                <a:gd name="connsiteX14" fmla="*/ 249564 w 411429"/>
                <a:gd name="connsiteY14" fmla="*/ 350151 h 383341"/>
                <a:gd name="connsiteX15" fmla="*/ 248551 w 411429"/>
                <a:gd name="connsiteY15" fmla="*/ 350024 h 383341"/>
                <a:gd name="connsiteX16" fmla="*/ 247791 w 411429"/>
                <a:gd name="connsiteY16" fmla="*/ 349897 h 383341"/>
                <a:gd name="connsiteX17" fmla="*/ 244117 w 411429"/>
                <a:gd name="connsiteY17" fmla="*/ 350024 h 383341"/>
                <a:gd name="connsiteX18" fmla="*/ 198005 w 411429"/>
                <a:gd name="connsiteY18" fmla="*/ 346604 h 383341"/>
                <a:gd name="connsiteX19" fmla="*/ 187110 w 411429"/>
                <a:gd name="connsiteY19" fmla="*/ 320887 h 383341"/>
                <a:gd name="connsiteX20" fmla="*/ 184196 w 411429"/>
                <a:gd name="connsiteY20" fmla="*/ 285289 h 383341"/>
                <a:gd name="connsiteX21" fmla="*/ 156960 w 411429"/>
                <a:gd name="connsiteY21" fmla="*/ 277815 h 383341"/>
                <a:gd name="connsiteX22" fmla="*/ 137197 w 411429"/>
                <a:gd name="connsiteY22" fmla="*/ 291117 h 383341"/>
                <a:gd name="connsiteX23" fmla="*/ 102993 w 411429"/>
                <a:gd name="connsiteY23" fmla="*/ 245638 h 383341"/>
                <a:gd name="connsiteX24" fmla="*/ 84117 w 411429"/>
                <a:gd name="connsiteY24" fmla="*/ 184323 h 383341"/>
                <a:gd name="connsiteX25" fmla="*/ 22803 w 411429"/>
                <a:gd name="connsiteY25" fmla="*/ 149739 h 383341"/>
                <a:gd name="connsiteX26" fmla="*/ 0 w 411429"/>
                <a:gd name="connsiteY26" fmla="*/ 128963 h 383341"/>
                <a:gd name="connsiteX27" fmla="*/ 20776 w 411429"/>
                <a:gd name="connsiteY27" fmla="*/ 88805 h 383341"/>
                <a:gd name="connsiteX28" fmla="*/ 45479 w 411429"/>
                <a:gd name="connsiteY28" fmla="*/ 96279 h 383341"/>
                <a:gd name="connsiteX29" fmla="*/ 48519 w 411429"/>
                <a:gd name="connsiteY29" fmla="*/ 64608 h 383341"/>
                <a:gd name="connsiteX30" fmla="*/ 90578 w 411429"/>
                <a:gd name="connsiteY30" fmla="*/ 63088 h 383341"/>
                <a:gd name="connsiteX31" fmla="*/ 126683 w 411429"/>
                <a:gd name="connsiteY31" fmla="*/ 11655 h 383341"/>
                <a:gd name="connsiteX32" fmla="*/ 135044 w 411429"/>
                <a:gd name="connsiteY32" fmla="*/ 0 h 383341"/>
                <a:gd name="connsiteX33" fmla="*/ 167221 w 411429"/>
                <a:gd name="connsiteY33" fmla="*/ 51433 h 383341"/>
                <a:gd name="connsiteX34" fmla="*/ 226002 w 411429"/>
                <a:gd name="connsiteY34" fmla="*/ 75756 h 383341"/>
                <a:gd name="connsiteX35" fmla="*/ 215487 w 411429"/>
                <a:gd name="connsiteY35" fmla="*/ 114774 h 383341"/>
                <a:gd name="connsiteX36" fmla="*/ 222708 w 411429"/>
                <a:gd name="connsiteY36" fmla="*/ 146445 h 383341"/>
                <a:gd name="connsiteX37" fmla="*/ 228155 w 411429"/>
                <a:gd name="connsiteY37" fmla="*/ 180143 h 383341"/>
                <a:gd name="connsiteX38" fmla="*/ 249691 w 411429"/>
                <a:gd name="connsiteY38" fmla="*/ 211813 h 383341"/>
                <a:gd name="connsiteX39" fmla="*/ 332162 w 411429"/>
                <a:gd name="connsiteY39" fmla="*/ 211813 h 383341"/>
                <a:gd name="connsiteX40" fmla="*/ 373080 w 411429"/>
                <a:gd name="connsiteY40" fmla="*/ 187997 h 383341"/>
                <a:gd name="connsiteX41" fmla="*/ 376374 w 411429"/>
                <a:gd name="connsiteY41" fmla="*/ 227522 h 383341"/>
                <a:gd name="connsiteX42" fmla="*/ 396770 w 411429"/>
                <a:gd name="connsiteY42" fmla="*/ 239177 h 383341"/>
                <a:gd name="connsiteX43" fmla="*/ 408171 w 411429"/>
                <a:gd name="connsiteY43" fmla="*/ 276168 h 38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29" h="383341">
                  <a:moveTo>
                    <a:pt x="408171" y="276168"/>
                  </a:moveTo>
                  <a:cubicBezTo>
                    <a:pt x="394996" y="301251"/>
                    <a:pt x="397023" y="326587"/>
                    <a:pt x="385748" y="336722"/>
                  </a:cubicBezTo>
                  <a:cubicBezTo>
                    <a:pt x="374473" y="346857"/>
                    <a:pt x="352557" y="363199"/>
                    <a:pt x="349644" y="383341"/>
                  </a:cubicBezTo>
                  <a:cubicBezTo>
                    <a:pt x="317593" y="381694"/>
                    <a:pt x="268947" y="366112"/>
                    <a:pt x="266667" y="365352"/>
                  </a:cubicBezTo>
                  <a:lnTo>
                    <a:pt x="266667" y="365352"/>
                  </a:lnTo>
                  <a:cubicBezTo>
                    <a:pt x="265780" y="363832"/>
                    <a:pt x="264767" y="362439"/>
                    <a:pt x="263880" y="361045"/>
                  </a:cubicBezTo>
                  <a:cubicBezTo>
                    <a:pt x="263500" y="360665"/>
                    <a:pt x="263246" y="360158"/>
                    <a:pt x="262866" y="359778"/>
                  </a:cubicBezTo>
                  <a:cubicBezTo>
                    <a:pt x="262233" y="359018"/>
                    <a:pt x="261599" y="358132"/>
                    <a:pt x="260839" y="357372"/>
                  </a:cubicBezTo>
                  <a:cubicBezTo>
                    <a:pt x="260459" y="356991"/>
                    <a:pt x="260079" y="356611"/>
                    <a:pt x="259826" y="356231"/>
                  </a:cubicBezTo>
                  <a:cubicBezTo>
                    <a:pt x="259319" y="355725"/>
                    <a:pt x="258812" y="355218"/>
                    <a:pt x="258179" y="354711"/>
                  </a:cubicBezTo>
                  <a:cubicBezTo>
                    <a:pt x="257672" y="354205"/>
                    <a:pt x="257039" y="353824"/>
                    <a:pt x="256532" y="353318"/>
                  </a:cubicBezTo>
                  <a:cubicBezTo>
                    <a:pt x="255645" y="352684"/>
                    <a:pt x="254759" y="352051"/>
                    <a:pt x="253745" y="351544"/>
                  </a:cubicBezTo>
                  <a:cubicBezTo>
                    <a:pt x="253238" y="351291"/>
                    <a:pt x="252858" y="351164"/>
                    <a:pt x="252352" y="350911"/>
                  </a:cubicBezTo>
                  <a:cubicBezTo>
                    <a:pt x="251845" y="350657"/>
                    <a:pt x="251338" y="350531"/>
                    <a:pt x="250831" y="350404"/>
                  </a:cubicBezTo>
                  <a:cubicBezTo>
                    <a:pt x="250325" y="350277"/>
                    <a:pt x="249945" y="350151"/>
                    <a:pt x="249564" y="350151"/>
                  </a:cubicBezTo>
                  <a:cubicBezTo>
                    <a:pt x="249311" y="350024"/>
                    <a:pt x="248931" y="350024"/>
                    <a:pt x="248551" y="350024"/>
                  </a:cubicBezTo>
                  <a:cubicBezTo>
                    <a:pt x="248298" y="350024"/>
                    <a:pt x="248044" y="349897"/>
                    <a:pt x="247791" y="349897"/>
                  </a:cubicBezTo>
                  <a:cubicBezTo>
                    <a:pt x="246651" y="349771"/>
                    <a:pt x="245384" y="349771"/>
                    <a:pt x="244117" y="350024"/>
                  </a:cubicBezTo>
                  <a:cubicBezTo>
                    <a:pt x="228282" y="352558"/>
                    <a:pt x="212447" y="357878"/>
                    <a:pt x="198005" y="346604"/>
                  </a:cubicBezTo>
                  <a:cubicBezTo>
                    <a:pt x="183690" y="335202"/>
                    <a:pt x="183690" y="339256"/>
                    <a:pt x="187110" y="320887"/>
                  </a:cubicBezTo>
                  <a:cubicBezTo>
                    <a:pt x="190531" y="302518"/>
                    <a:pt x="194078" y="289723"/>
                    <a:pt x="184196" y="285289"/>
                  </a:cubicBezTo>
                  <a:cubicBezTo>
                    <a:pt x="174315" y="280855"/>
                    <a:pt x="162914" y="272874"/>
                    <a:pt x="156960" y="277815"/>
                  </a:cubicBezTo>
                  <a:cubicBezTo>
                    <a:pt x="151006" y="282755"/>
                    <a:pt x="149105" y="298084"/>
                    <a:pt x="137197" y="291117"/>
                  </a:cubicBezTo>
                  <a:cubicBezTo>
                    <a:pt x="125289" y="284149"/>
                    <a:pt x="103500" y="262866"/>
                    <a:pt x="102993" y="245638"/>
                  </a:cubicBezTo>
                  <a:cubicBezTo>
                    <a:pt x="102486" y="228282"/>
                    <a:pt x="102993" y="194711"/>
                    <a:pt x="84117" y="184323"/>
                  </a:cubicBezTo>
                  <a:cubicBezTo>
                    <a:pt x="65368" y="173935"/>
                    <a:pt x="41679" y="168994"/>
                    <a:pt x="22803" y="149739"/>
                  </a:cubicBezTo>
                  <a:cubicBezTo>
                    <a:pt x="15962" y="142771"/>
                    <a:pt x="7981" y="136057"/>
                    <a:pt x="0" y="128963"/>
                  </a:cubicBezTo>
                  <a:cubicBezTo>
                    <a:pt x="253" y="127189"/>
                    <a:pt x="6714" y="79557"/>
                    <a:pt x="20776" y="88805"/>
                  </a:cubicBezTo>
                  <a:cubicBezTo>
                    <a:pt x="35091" y="98179"/>
                    <a:pt x="56374" y="117561"/>
                    <a:pt x="45479" y="96279"/>
                  </a:cubicBezTo>
                  <a:cubicBezTo>
                    <a:pt x="34584" y="74996"/>
                    <a:pt x="37118" y="57641"/>
                    <a:pt x="48519" y="64608"/>
                  </a:cubicBezTo>
                  <a:cubicBezTo>
                    <a:pt x="59921" y="71576"/>
                    <a:pt x="79177" y="71829"/>
                    <a:pt x="90578" y="63088"/>
                  </a:cubicBezTo>
                  <a:cubicBezTo>
                    <a:pt x="101979" y="54220"/>
                    <a:pt x="112367" y="31924"/>
                    <a:pt x="126683" y="11655"/>
                  </a:cubicBezTo>
                  <a:cubicBezTo>
                    <a:pt x="129470" y="7728"/>
                    <a:pt x="132383" y="3801"/>
                    <a:pt x="135044" y="0"/>
                  </a:cubicBezTo>
                  <a:cubicBezTo>
                    <a:pt x="135044" y="0"/>
                    <a:pt x="146192" y="51433"/>
                    <a:pt x="167221" y="51433"/>
                  </a:cubicBezTo>
                  <a:cubicBezTo>
                    <a:pt x="188377" y="51433"/>
                    <a:pt x="239177" y="58654"/>
                    <a:pt x="226002" y="75756"/>
                  </a:cubicBezTo>
                  <a:cubicBezTo>
                    <a:pt x="212827" y="92985"/>
                    <a:pt x="206873" y="105400"/>
                    <a:pt x="215487" y="114774"/>
                  </a:cubicBezTo>
                  <a:cubicBezTo>
                    <a:pt x="223975" y="124022"/>
                    <a:pt x="226002" y="140491"/>
                    <a:pt x="222708" y="146445"/>
                  </a:cubicBezTo>
                  <a:cubicBezTo>
                    <a:pt x="219414" y="152399"/>
                    <a:pt x="211813" y="167601"/>
                    <a:pt x="228155" y="180143"/>
                  </a:cubicBezTo>
                  <a:cubicBezTo>
                    <a:pt x="244497" y="192684"/>
                    <a:pt x="227268" y="211813"/>
                    <a:pt x="249691" y="211813"/>
                  </a:cubicBezTo>
                  <a:cubicBezTo>
                    <a:pt x="272114" y="211813"/>
                    <a:pt x="313033" y="224355"/>
                    <a:pt x="332162" y="211813"/>
                  </a:cubicBezTo>
                  <a:cubicBezTo>
                    <a:pt x="351291" y="199272"/>
                    <a:pt x="360539" y="172795"/>
                    <a:pt x="373080" y="187997"/>
                  </a:cubicBezTo>
                  <a:cubicBezTo>
                    <a:pt x="385622" y="203199"/>
                    <a:pt x="361172" y="221694"/>
                    <a:pt x="376374" y="227522"/>
                  </a:cubicBezTo>
                  <a:cubicBezTo>
                    <a:pt x="382201" y="229802"/>
                    <a:pt x="390056" y="233729"/>
                    <a:pt x="396770" y="239177"/>
                  </a:cubicBezTo>
                  <a:cubicBezTo>
                    <a:pt x="408044" y="247918"/>
                    <a:pt x="416279" y="260713"/>
                    <a:pt x="408171" y="2761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6" name="Полилиния: фигура 695">
              <a:extLst>
                <a:ext uri="{FF2B5EF4-FFF2-40B4-BE49-F238E27FC236}">
                  <a16:creationId xmlns:a16="http://schemas.microsoft.com/office/drawing/2014/main" id="{3B92028E-24E7-41C9-92C3-2171717A191F}"/>
                </a:ext>
              </a:extLst>
            </p:cNvPr>
            <p:cNvSpPr/>
            <p:nvPr/>
          </p:nvSpPr>
          <p:spPr>
            <a:xfrm>
              <a:off x="2565910" y="4082813"/>
              <a:ext cx="473792" cy="371028"/>
            </a:xfrm>
            <a:custGeom>
              <a:avLst/>
              <a:gdLst>
                <a:gd name="connsiteX0" fmla="*/ 473792 w 473792"/>
                <a:gd name="connsiteY0" fmla="*/ 246356 h 371028"/>
                <a:gd name="connsiteX1" fmla="*/ 438068 w 473792"/>
                <a:gd name="connsiteY1" fmla="*/ 278787 h 371028"/>
                <a:gd name="connsiteX2" fmla="*/ 394869 w 473792"/>
                <a:gd name="connsiteY2" fmla="*/ 315144 h 371028"/>
                <a:gd name="connsiteX3" fmla="*/ 350024 w 473792"/>
                <a:gd name="connsiteY3" fmla="*/ 296016 h 371028"/>
                <a:gd name="connsiteX4" fmla="*/ 297197 w 473792"/>
                <a:gd name="connsiteY4" fmla="*/ 338581 h 371028"/>
                <a:gd name="connsiteX5" fmla="*/ 286049 w 473792"/>
                <a:gd name="connsiteY5" fmla="*/ 354796 h 371028"/>
                <a:gd name="connsiteX6" fmla="*/ 263626 w 473792"/>
                <a:gd name="connsiteY6" fmla="*/ 328066 h 371028"/>
                <a:gd name="connsiteX7" fmla="*/ 305178 w 473792"/>
                <a:gd name="connsiteY7" fmla="*/ 262445 h 371028"/>
                <a:gd name="connsiteX8" fmla="*/ 293270 w 473792"/>
                <a:gd name="connsiteY8" fmla="*/ 247623 h 371028"/>
                <a:gd name="connsiteX9" fmla="*/ 266287 w 473792"/>
                <a:gd name="connsiteY9" fmla="*/ 228367 h 371028"/>
                <a:gd name="connsiteX10" fmla="*/ 233223 w 473792"/>
                <a:gd name="connsiteY10" fmla="*/ 254844 h 371028"/>
                <a:gd name="connsiteX11" fmla="*/ 221694 w 473792"/>
                <a:gd name="connsiteY11" fmla="*/ 243316 h 371028"/>
                <a:gd name="connsiteX12" fmla="*/ 191037 w 473792"/>
                <a:gd name="connsiteY12" fmla="*/ 228367 h 371028"/>
                <a:gd name="connsiteX13" fmla="*/ 150879 w 473792"/>
                <a:gd name="connsiteY13" fmla="*/ 291708 h 371028"/>
                <a:gd name="connsiteX14" fmla="*/ 166714 w 473792"/>
                <a:gd name="connsiteY14" fmla="*/ 327053 h 371028"/>
                <a:gd name="connsiteX15" fmla="*/ 151892 w 473792"/>
                <a:gd name="connsiteY15" fmla="*/ 338454 h 371028"/>
                <a:gd name="connsiteX16" fmla="*/ 139477 w 473792"/>
                <a:gd name="connsiteY16" fmla="*/ 349982 h 371028"/>
                <a:gd name="connsiteX17" fmla="*/ 138717 w 473792"/>
                <a:gd name="connsiteY17" fmla="*/ 343268 h 371028"/>
                <a:gd name="connsiteX18" fmla="*/ 138337 w 473792"/>
                <a:gd name="connsiteY18" fmla="*/ 341748 h 371028"/>
                <a:gd name="connsiteX19" fmla="*/ 137451 w 473792"/>
                <a:gd name="connsiteY19" fmla="*/ 338961 h 371028"/>
                <a:gd name="connsiteX20" fmla="*/ 137071 w 473792"/>
                <a:gd name="connsiteY20" fmla="*/ 338074 h 371028"/>
                <a:gd name="connsiteX21" fmla="*/ 136437 w 473792"/>
                <a:gd name="connsiteY21" fmla="*/ 336807 h 371028"/>
                <a:gd name="connsiteX22" fmla="*/ 135677 w 473792"/>
                <a:gd name="connsiteY22" fmla="*/ 335540 h 371028"/>
                <a:gd name="connsiteX23" fmla="*/ 133777 w 473792"/>
                <a:gd name="connsiteY23" fmla="*/ 333007 h 371028"/>
                <a:gd name="connsiteX24" fmla="*/ 98812 w 473792"/>
                <a:gd name="connsiteY24" fmla="*/ 319452 h 371028"/>
                <a:gd name="connsiteX25" fmla="*/ 81584 w 473792"/>
                <a:gd name="connsiteY25" fmla="*/ 303236 h 371028"/>
                <a:gd name="connsiteX26" fmla="*/ 70689 w 473792"/>
                <a:gd name="connsiteY26" fmla="*/ 288921 h 371028"/>
                <a:gd name="connsiteX27" fmla="*/ 51813 w 473792"/>
                <a:gd name="connsiteY27" fmla="*/ 294749 h 371028"/>
                <a:gd name="connsiteX28" fmla="*/ 32938 w 473792"/>
                <a:gd name="connsiteY28" fmla="*/ 293609 h 371028"/>
                <a:gd name="connsiteX29" fmla="*/ 11528 w 473792"/>
                <a:gd name="connsiteY29" fmla="*/ 274099 h 371028"/>
                <a:gd name="connsiteX30" fmla="*/ 0 w 473792"/>
                <a:gd name="connsiteY30" fmla="*/ 244456 h 371028"/>
                <a:gd name="connsiteX31" fmla="*/ 41298 w 473792"/>
                <a:gd name="connsiteY31" fmla="*/ 198217 h 371028"/>
                <a:gd name="connsiteX32" fmla="*/ 73983 w 473792"/>
                <a:gd name="connsiteY32" fmla="*/ 188842 h 371028"/>
                <a:gd name="connsiteX33" fmla="*/ 89818 w 473792"/>
                <a:gd name="connsiteY33" fmla="*/ 148811 h 371028"/>
                <a:gd name="connsiteX34" fmla="*/ 86398 w 473792"/>
                <a:gd name="connsiteY34" fmla="*/ 66720 h 371028"/>
                <a:gd name="connsiteX35" fmla="*/ 115154 w 473792"/>
                <a:gd name="connsiteY35" fmla="*/ 43537 h 371028"/>
                <a:gd name="connsiteX36" fmla="*/ 105653 w 473792"/>
                <a:gd name="connsiteY36" fmla="*/ 20354 h 371028"/>
                <a:gd name="connsiteX37" fmla="*/ 188630 w 473792"/>
                <a:gd name="connsiteY37" fmla="*/ 38343 h 371028"/>
                <a:gd name="connsiteX38" fmla="*/ 213080 w 473792"/>
                <a:gd name="connsiteY38" fmla="*/ 34163 h 371028"/>
                <a:gd name="connsiteX39" fmla="*/ 259953 w 473792"/>
                <a:gd name="connsiteY39" fmla="*/ 7813 h 371028"/>
                <a:gd name="connsiteX40" fmla="*/ 262233 w 473792"/>
                <a:gd name="connsiteY40" fmla="*/ 38470 h 371028"/>
                <a:gd name="connsiteX41" fmla="*/ 274521 w 473792"/>
                <a:gd name="connsiteY41" fmla="*/ 74068 h 371028"/>
                <a:gd name="connsiteX42" fmla="*/ 315820 w 473792"/>
                <a:gd name="connsiteY42" fmla="*/ 87876 h 371028"/>
                <a:gd name="connsiteX43" fmla="*/ 334569 w 473792"/>
                <a:gd name="connsiteY43" fmla="*/ 117900 h 371028"/>
                <a:gd name="connsiteX44" fmla="*/ 372446 w 473792"/>
                <a:gd name="connsiteY44" fmla="*/ 127401 h 371028"/>
                <a:gd name="connsiteX45" fmla="*/ 396516 w 473792"/>
                <a:gd name="connsiteY45" fmla="*/ 144250 h 371028"/>
                <a:gd name="connsiteX46" fmla="*/ 436421 w 473792"/>
                <a:gd name="connsiteY46" fmla="*/ 115493 h 371028"/>
                <a:gd name="connsiteX47" fmla="*/ 446682 w 473792"/>
                <a:gd name="connsiteY47" fmla="*/ 156158 h 371028"/>
                <a:gd name="connsiteX48" fmla="*/ 466445 w 473792"/>
                <a:gd name="connsiteY48" fmla="*/ 182508 h 371028"/>
                <a:gd name="connsiteX49" fmla="*/ 473792 w 473792"/>
                <a:gd name="connsiteY49" fmla="*/ 246356 h 37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73792" h="371028">
                  <a:moveTo>
                    <a:pt x="473792" y="246356"/>
                  </a:moveTo>
                  <a:cubicBezTo>
                    <a:pt x="468599" y="242176"/>
                    <a:pt x="454790" y="271819"/>
                    <a:pt x="438068" y="278787"/>
                  </a:cubicBezTo>
                  <a:cubicBezTo>
                    <a:pt x="419192" y="286768"/>
                    <a:pt x="404117" y="300956"/>
                    <a:pt x="394869" y="315144"/>
                  </a:cubicBezTo>
                  <a:cubicBezTo>
                    <a:pt x="385622" y="329333"/>
                    <a:pt x="358892" y="323125"/>
                    <a:pt x="350024" y="296016"/>
                  </a:cubicBezTo>
                  <a:cubicBezTo>
                    <a:pt x="341156" y="268905"/>
                    <a:pt x="252985" y="270299"/>
                    <a:pt x="297197" y="338581"/>
                  </a:cubicBezTo>
                  <a:cubicBezTo>
                    <a:pt x="341409" y="406863"/>
                    <a:pt x="290610" y="344535"/>
                    <a:pt x="286049" y="354796"/>
                  </a:cubicBezTo>
                  <a:cubicBezTo>
                    <a:pt x="281362" y="365057"/>
                    <a:pt x="289343" y="318185"/>
                    <a:pt x="263626" y="328066"/>
                  </a:cubicBezTo>
                  <a:cubicBezTo>
                    <a:pt x="237910" y="337947"/>
                    <a:pt x="289090" y="281194"/>
                    <a:pt x="305178" y="262445"/>
                  </a:cubicBezTo>
                  <a:cubicBezTo>
                    <a:pt x="321393" y="243696"/>
                    <a:pt x="299604" y="247876"/>
                    <a:pt x="293270" y="247623"/>
                  </a:cubicBezTo>
                  <a:cubicBezTo>
                    <a:pt x="287063" y="247243"/>
                    <a:pt x="278702" y="237108"/>
                    <a:pt x="266287" y="228367"/>
                  </a:cubicBezTo>
                  <a:cubicBezTo>
                    <a:pt x="253745" y="219752"/>
                    <a:pt x="237276" y="241035"/>
                    <a:pt x="233223" y="254844"/>
                  </a:cubicBezTo>
                  <a:cubicBezTo>
                    <a:pt x="229295" y="268779"/>
                    <a:pt x="221694" y="255477"/>
                    <a:pt x="221694" y="243316"/>
                  </a:cubicBezTo>
                  <a:cubicBezTo>
                    <a:pt x="221694" y="231027"/>
                    <a:pt x="213333" y="229380"/>
                    <a:pt x="191037" y="228367"/>
                  </a:cubicBezTo>
                  <a:cubicBezTo>
                    <a:pt x="168741" y="227353"/>
                    <a:pt x="153159" y="270679"/>
                    <a:pt x="150879" y="291708"/>
                  </a:cubicBezTo>
                  <a:cubicBezTo>
                    <a:pt x="148599" y="312737"/>
                    <a:pt x="154806" y="319452"/>
                    <a:pt x="166714" y="327053"/>
                  </a:cubicBezTo>
                  <a:cubicBezTo>
                    <a:pt x="178622" y="334780"/>
                    <a:pt x="164307" y="333513"/>
                    <a:pt x="151892" y="338454"/>
                  </a:cubicBezTo>
                  <a:cubicBezTo>
                    <a:pt x="139604" y="343395"/>
                    <a:pt x="139477" y="349982"/>
                    <a:pt x="139477" y="349982"/>
                  </a:cubicBezTo>
                  <a:cubicBezTo>
                    <a:pt x="139477" y="347702"/>
                    <a:pt x="139224" y="345422"/>
                    <a:pt x="138717" y="343268"/>
                  </a:cubicBezTo>
                  <a:cubicBezTo>
                    <a:pt x="138591" y="342761"/>
                    <a:pt x="138464" y="342255"/>
                    <a:pt x="138337" y="341748"/>
                  </a:cubicBezTo>
                  <a:cubicBezTo>
                    <a:pt x="138084" y="340734"/>
                    <a:pt x="137831" y="339848"/>
                    <a:pt x="137451" y="338961"/>
                  </a:cubicBezTo>
                  <a:cubicBezTo>
                    <a:pt x="137324" y="338708"/>
                    <a:pt x="137197" y="338454"/>
                    <a:pt x="137071" y="338074"/>
                  </a:cubicBezTo>
                  <a:cubicBezTo>
                    <a:pt x="136817" y="337694"/>
                    <a:pt x="136691" y="337187"/>
                    <a:pt x="136437" y="336807"/>
                  </a:cubicBezTo>
                  <a:cubicBezTo>
                    <a:pt x="136184" y="336301"/>
                    <a:pt x="135930" y="335920"/>
                    <a:pt x="135677" y="335540"/>
                  </a:cubicBezTo>
                  <a:cubicBezTo>
                    <a:pt x="135170" y="334654"/>
                    <a:pt x="134537" y="333894"/>
                    <a:pt x="133777" y="333007"/>
                  </a:cubicBezTo>
                  <a:cubicBezTo>
                    <a:pt x="125162" y="323379"/>
                    <a:pt x="109961" y="324772"/>
                    <a:pt x="98812" y="319452"/>
                  </a:cubicBezTo>
                  <a:cubicBezTo>
                    <a:pt x="91338" y="315778"/>
                    <a:pt x="85384" y="310711"/>
                    <a:pt x="81584" y="303236"/>
                  </a:cubicBezTo>
                  <a:cubicBezTo>
                    <a:pt x="78923" y="298043"/>
                    <a:pt x="77150" y="290568"/>
                    <a:pt x="70689" y="288921"/>
                  </a:cubicBezTo>
                  <a:cubicBezTo>
                    <a:pt x="63975" y="287148"/>
                    <a:pt x="57514" y="292215"/>
                    <a:pt x="51813" y="294749"/>
                  </a:cubicBezTo>
                  <a:cubicBezTo>
                    <a:pt x="45099" y="297789"/>
                    <a:pt x="39398" y="297029"/>
                    <a:pt x="32938" y="293609"/>
                  </a:cubicBezTo>
                  <a:cubicBezTo>
                    <a:pt x="24196" y="289048"/>
                    <a:pt x="15962" y="283094"/>
                    <a:pt x="11528" y="274099"/>
                  </a:cubicBezTo>
                  <a:cubicBezTo>
                    <a:pt x="6841" y="264725"/>
                    <a:pt x="3927" y="254210"/>
                    <a:pt x="0" y="244456"/>
                  </a:cubicBezTo>
                  <a:cubicBezTo>
                    <a:pt x="0" y="244456"/>
                    <a:pt x="32431" y="196190"/>
                    <a:pt x="41298" y="198217"/>
                  </a:cubicBezTo>
                  <a:cubicBezTo>
                    <a:pt x="50166" y="200244"/>
                    <a:pt x="63088" y="200750"/>
                    <a:pt x="73983" y="188842"/>
                  </a:cubicBezTo>
                  <a:cubicBezTo>
                    <a:pt x="84877" y="176934"/>
                    <a:pt x="93745" y="174020"/>
                    <a:pt x="89818" y="148811"/>
                  </a:cubicBezTo>
                  <a:cubicBezTo>
                    <a:pt x="85891" y="123600"/>
                    <a:pt x="70055" y="73054"/>
                    <a:pt x="86398" y="66720"/>
                  </a:cubicBezTo>
                  <a:cubicBezTo>
                    <a:pt x="102740" y="60259"/>
                    <a:pt x="120602" y="62286"/>
                    <a:pt x="115154" y="43537"/>
                  </a:cubicBezTo>
                  <a:cubicBezTo>
                    <a:pt x="112874" y="35683"/>
                    <a:pt x="109707" y="27322"/>
                    <a:pt x="105653" y="20354"/>
                  </a:cubicBezTo>
                  <a:cubicBezTo>
                    <a:pt x="107934" y="21114"/>
                    <a:pt x="156580" y="36696"/>
                    <a:pt x="188630" y="38343"/>
                  </a:cubicBezTo>
                  <a:cubicBezTo>
                    <a:pt x="199525" y="38977"/>
                    <a:pt x="208519" y="37837"/>
                    <a:pt x="213080" y="34163"/>
                  </a:cubicBezTo>
                  <a:cubicBezTo>
                    <a:pt x="231829" y="18961"/>
                    <a:pt x="256025" y="-15370"/>
                    <a:pt x="259953" y="7813"/>
                  </a:cubicBezTo>
                  <a:cubicBezTo>
                    <a:pt x="261473" y="16427"/>
                    <a:pt x="261599" y="27702"/>
                    <a:pt x="262233" y="38470"/>
                  </a:cubicBezTo>
                  <a:cubicBezTo>
                    <a:pt x="263120" y="56712"/>
                    <a:pt x="264766" y="73688"/>
                    <a:pt x="274521" y="74068"/>
                  </a:cubicBezTo>
                  <a:cubicBezTo>
                    <a:pt x="290103" y="74701"/>
                    <a:pt x="311512" y="73434"/>
                    <a:pt x="315820" y="87876"/>
                  </a:cubicBezTo>
                  <a:cubicBezTo>
                    <a:pt x="320127" y="102445"/>
                    <a:pt x="315439" y="117900"/>
                    <a:pt x="334569" y="117900"/>
                  </a:cubicBezTo>
                  <a:cubicBezTo>
                    <a:pt x="353698" y="117900"/>
                    <a:pt x="362565" y="114986"/>
                    <a:pt x="372446" y="127401"/>
                  </a:cubicBezTo>
                  <a:cubicBezTo>
                    <a:pt x="382328" y="139943"/>
                    <a:pt x="380681" y="159452"/>
                    <a:pt x="396516" y="144250"/>
                  </a:cubicBezTo>
                  <a:cubicBezTo>
                    <a:pt x="412352" y="129048"/>
                    <a:pt x="420586" y="118913"/>
                    <a:pt x="436421" y="115493"/>
                  </a:cubicBezTo>
                  <a:cubicBezTo>
                    <a:pt x="452257" y="112199"/>
                    <a:pt x="428567" y="150457"/>
                    <a:pt x="446682" y="156158"/>
                  </a:cubicBezTo>
                  <a:cubicBezTo>
                    <a:pt x="464798" y="161732"/>
                    <a:pt x="477720" y="173260"/>
                    <a:pt x="466445" y="182508"/>
                  </a:cubicBezTo>
                  <a:cubicBezTo>
                    <a:pt x="455297" y="191629"/>
                    <a:pt x="457957" y="230267"/>
                    <a:pt x="473792" y="24635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7" name="Полилиния: фигура 696">
              <a:extLst>
                <a:ext uri="{FF2B5EF4-FFF2-40B4-BE49-F238E27FC236}">
                  <a16:creationId xmlns:a16="http://schemas.microsoft.com/office/drawing/2014/main" id="{58C8039D-E6E4-4D77-91B9-8D67AA22640B}"/>
                </a:ext>
              </a:extLst>
            </p:cNvPr>
            <p:cNvSpPr/>
            <p:nvPr/>
          </p:nvSpPr>
          <p:spPr>
            <a:xfrm>
              <a:off x="2754287" y="3874671"/>
              <a:ext cx="297694" cy="258384"/>
            </a:xfrm>
            <a:custGeom>
              <a:avLst/>
              <a:gdLst>
                <a:gd name="connsiteX0" fmla="*/ 290863 w 297694"/>
                <a:gd name="connsiteY0" fmla="*/ 137285 h 258384"/>
                <a:gd name="connsiteX1" fmla="*/ 290610 w 297694"/>
                <a:gd name="connsiteY1" fmla="*/ 142226 h 258384"/>
                <a:gd name="connsiteX2" fmla="*/ 226002 w 297694"/>
                <a:gd name="connsiteY2" fmla="*/ 151600 h 258384"/>
                <a:gd name="connsiteX3" fmla="*/ 202185 w 297694"/>
                <a:gd name="connsiteY3" fmla="*/ 167436 h 258384"/>
                <a:gd name="connsiteX4" fmla="*/ 216627 w 297694"/>
                <a:gd name="connsiteY4" fmla="*/ 205060 h 258384"/>
                <a:gd name="connsiteX5" fmla="*/ 146825 w 297694"/>
                <a:gd name="connsiteY5" fmla="*/ 254086 h 258384"/>
                <a:gd name="connsiteX6" fmla="*/ 130483 w 297694"/>
                <a:gd name="connsiteY6" fmla="*/ 238758 h 258384"/>
                <a:gd name="connsiteX7" fmla="*/ 101346 w 297694"/>
                <a:gd name="connsiteY7" fmla="*/ 231030 h 258384"/>
                <a:gd name="connsiteX8" fmla="*/ 73603 w 297694"/>
                <a:gd name="connsiteY8" fmla="*/ 246486 h 258384"/>
                <a:gd name="connsiteX9" fmla="*/ 71322 w 297694"/>
                <a:gd name="connsiteY9" fmla="*/ 215828 h 258384"/>
                <a:gd name="connsiteX10" fmla="*/ 24450 w 297694"/>
                <a:gd name="connsiteY10" fmla="*/ 242178 h 258384"/>
                <a:gd name="connsiteX11" fmla="*/ 0 w 297694"/>
                <a:gd name="connsiteY11" fmla="*/ 246359 h 258384"/>
                <a:gd name="connsiteX12" fmla="*/ 36105 w 297694"/>
                <a:gd name="connsiteY12" fmla="*/ 199740 h 258384"/>
                <a:gd name="connsiteX13" fmla="*/ 58527 w 297694"/>
                <a:gd name="connsiteY13" fmla="*/ 139186 h 258384"/>
                <a:gd name="connsiteX14" fmla="*/ 47253 w 297694"/>
                <a:gd name="connsiteY14" fmla="*/ 102067 h 258384"/>
                <a:gd name="connsiteX15" fmla="*/ 104640 w 297694"/>
                <a:gd name="connsiteY15" fmla="*/ 105614 h 258384"/>
                <a:gd name="connsiteX16" fmla="*/ 141251 w 297694"/>
                <a:gd name="connsiteY16" fmla="*/ 60642 h 258384"/>
                <a:gd name="connsiteX17" fmla="*/ 171401 w 297694"/>
                <a:gd name="connsiteY17" fmla="*/ 44300 h 258384"/>
                <a:gd name="connsiteX18" fmla="*/ 200538 w 297694"/>
                <a:gd name="connsiteY18" fmla="*/ 9082 h 258384"/>
                <a:gd name="connsiteX19" fmla="*/ 204972 w 297694"/>
                <a:gd name="connsiteY19" fmla="*/ 2368 h 258384"/>
                <a:gd name="connsiteX20" fmla="*/ 272747 w 297694"/>
                <a:gd name="connsiteY20" fmla="*/ 11616 h 258384"/>
                <a:gd name="connsiteX21" fmla="*/ 285542 w 297694"/>
                <a:gd name="connsiteY21" fmla="*/ 72424 h 258384"/>
                <a:gd name="connsiteX22" fmla="*/ 290863 w 297694"/>
                <a:gd name="connsiteY22" fmla="*/ 137285 h 25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7694" h="258384">
                  <a:moveTo>
                    <a:pt x="290863" y="137285"/>
                  </a:moveTo>
                  <a:cubicBezTo>
                    <a:pt x="291750" y="139312"/>
                    <a:pt x="291623" y="140959"/>
                    <a:pt x="290610" y="142226"/>
                  </a:cubicBezTo>
                  <a:cubicBezTo>
                    <a:pt x="283896" y="151474"/>
                    <a:pt x="238543" y="146406"/>
                    <a:pt x="226002" y="151600"/>
                  </a:cubicBezTo>
                  <a:cubicBezTo>
                    <a:pt x="211687" y="157554"/>
                    <a:pt x="204719" y="155527"/>
                    <a:pt x="202185" y="167436"/>
                  </a:cubicBezTo>
                  <a:cubicBezTo>
                    <a:pt x="199778" y="179344"/>
                    <a:pt x="214600" y="188212"/>
                    <a:pt x="216627" y="205060"/>
                  </a:cubicBezTo>
                  <a:cubicBezTo>
                    <a:pt x="218654" y="221909"/>
                    <a:pt x="163674" y="242685"/>
                    <a:pt x="146825" y="254086"/>
                  </a:cubicBezTo>
                  <a:cubicBezTo>
                    <a:pt x="130103" y="265488"/>
                    <a:pt x="128963" y="252060"/>
                    <a:pt x="130483" y="238758"/>
                  </a:cubicBezTo>
                  <a:cubicBezTo>
                    <a:pt x="132003" y="225330"/>
                    <a:pt x="116675" y="230397"/>
                    <a:pt x="101346" y="231030"/>
                  </a:cubicBezTo>
                  <a:cubicBezTo>
                    <a:pt x="86144" y="231664"/>
                    <a:pt x="73603" y="246486"/>
                    <a:pt x="73603" y="246486"/>
                  </a:cubicBezTo>
                  <a:cubicBezTo>
                    <a:pt x="73096" y="235718"/>
                    <a:pt x="72842" y="224443"/>
                    <a:pt x="71322" y="215828"/>
                  </a:cubicBezTo>
                  <a:cubicBezTo>
                    <a:pt x="67395" y="192772"/>
                    <a:pt x="43326" y="227103"/>
                    <a:pt x="24450" y="242178"/>
                  </a:cubicBezTo>
                  <a:cubicBezTo>
                    <a:pt x="19763" y="245979"/>
                    <a:pt x="10768" y="246992"/>
                    <a:pt x="0" y="246359"/>
                  </a:cubicBezTo>
                  <a:cubicBezTo>
                    <a:pt x="2914" y="226216"/>
                    <a:pt x="24830" y="209747"/>
                    <a:pt x="36105" y="199740"/>
                  </a:cubicBezTo>
                  <a:cubicBezTo>
                    <a:pt x="47253" y="189605"/>
                    <a:pt x="45352" y="164268"/>
                    <a:pt x="58527" y="139186"/>
                  </a:cubicBezTo>
                  <a:cubicBezTo>
                    <a:pt x="66762" y="123604"/>
                    <a:pt x="58401" y="110935"/>
                    <a:pt x="47253" y="102067"/>
                  </a:cubicBezTo>
                  <a:cubicBezTo>
                    <a:pt x="64102" y="74704"/>
                    <a:pt x="85891" y="100674"/>
                    <a:pt x="104640" y="105614"/>
                  </a:cubicBezTo>
                  <a:cubicBezTo>
                    <a:pt x="123515" y="110555"/>
                    <a:pt x="134284" y="76478"/>
                    <a:pt x="141251" y="60642"/>
                  </a:cubicBezTo>
                  <a:cubicBezTo>
                    <a:pt x="148219" y="44807"/>
                    <a:pt x="155566" y="49241"/>
                    <a:pt x="171401" y="44300"/>
                  </a:cubicBezTo>
                  <a:cubicBezTo>
                    <a:pt x="187237" y="39360"/>
                    <a:pt x="195598" y="26945"/>
                    <a:pt x="200538" y="9082"/>
                  </a:cubicBezTo>
                  <a:cubicBezTo>
                    <a:pt x="201425" y="6042"/>
                    <a:pt x="202819" y="3762"/>
                    <a:pt x="204972" y="2368"/>
                  </a:cubicBezTo>
                  <a:cubicBezTo>
                    <a:pt x="214854" y="-4472"/>
                    <a:pt x="238037" y="5029"/>
                    <a:pt x="272747" y="11616"/>
                  </a:cubicBezTo>
                  <a:cubicBezTo>
                    <a:pt x="314806" y="19470"/>
                    <a:pt x="292510" y="46707"/>
                    <a:pt x="285542" y="72424"/>
                  </a:cubicBezTo>
                  <a:cubicBezTo>
                    <a:pt x="278828" y="98140"/>
                    <a:pt x="284022" y="121450"/>
                    <a:pt x="290863" y="13728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8" name="Полилиния: фигура 697">
              <a:extLst>
                <a:ext uri="{FF2B5EF4-FFF2-40B4-BE49-F238E27FC236}">
                  <a16:creationId xmlns:a16="http://schemas.microsoft.com/office/drawing/2014/main" id="{90D5DB6A-EA9A-4B72-8D34-84694CF13F8C}"/>
                </a:ext>
              </a:extLst>
            </p:cNvPr>
            <p:cNvSpPr/>
            <p:nvPr/>
          </p:nvSpPr>
          <p:spPr>
            <a:xfrm>
              <a:off x="2540194" y="3514601"/>
              <a:ext cx="720938" cy="466065"/>
            </a:xfrm>
            <a:custGeom>
              <a:avLst/>
              <a:gdLst>
                <a:gd name="connsiteX0" fmla="*/ 716136 w 720938"/>
                <a:gd name="connsiteY0" fmla="*/ 214220 h 466065"/>
                <a:gd name="connsiteX1" fmla="*/ 665717 w 720938"/>
                <a:gd name="connsiteY1" fmla="*/ 229042 h 466065"/>
                <a:gd name="connsiteX2" fmla="*/ 642660 w 720938"/>
                <a:gd name="connsiteY2" fmla="*/ 232336 h 466065"/>
                <a:gd name="connsiteX3" fmla="*/ 615930 w 720938"/>
                <a:gd name="connsiteY3" fmla="*/ 205985 h 466065"/>
                <a:gd name="connsiteX4" fmla="*/ 556643 w 720938"/>
                <a:gd name="connsiteY4" fmla="*/ 265780 h 466065"/>
                <a:gd name="connsiteX5" fmla="*/ 546635 w 720938"/>
                <a:gd name="connsiteY5" fmla="*/ 261726 h 466065"/>
                <a:gd name="connsiteX6" fmla="*/ 436801 w 720938"/>
                <a:gd name="connsiteY6" fmla="*/ 229549 h 466065"/>
                <a:gd name="connsiteX7" fmla="*/ 408551 w 720938"/>
                <a:gd name="connsiteY7" fmla="*/ 281995 h 466065"/>
                <a:gd name="connsiteX8" fmla="*/ 419446 w 720938"/>
                <a:gd name="connsiteY8" fmla="*/ 362312 h 466065"/>
                <a:gd name="connsiteX9" fmla="*/ 415012 w 720938"/>
                <a:gd name="connsiteY9" fmla="*/ 369026 h 466065"/>
                <a:gd name="connsiteX10" fmla="*/ 385875 w 720938"/>
                <a:gd name="connsiteY10" fmla="*/ 404244 h 466065"/>
                <a:gd name="connsiteX11" fmla="*/ 355725 w 720938"/>
                <a:gd name="connsiteY11" fmla="*/ 420586 h 466065"/>
                <a:gd name="connsiteX12" fmla="*/ 319113 w 720938"/>
                <a:gd name="connsiteY12" fmla="*/ 465558 h 466065"/>
                <a:gd name="connsiteX13" fmla="*/ 261726 w 720938"/>
                <a:gd name="connsiteY13" fmla="*/ 462011 h 466065"/>
                <a:gd name="connsiteX14" fmla="*/ 241330 w 720938"/>
                <a:gd name="connsiteY14" fmla="*/ 450356 h 466065"/>
                <a:gd name="connsiteX15" fmla="*/ 238036 w 720938"/>
                <a:gd name="connsiteY15" fmla="*/ 410831 h 466065"/>
                <a:gd name="connsiteX16" fmla="*/ 197118 w 720938"/>
                <a:gd name="connsiteY16" fmla="*/ 434648 h 466065"/>
                <a:gd name="connsiteX17" fmla="*/ 114648 w 720938"/>
                <a:gd name="connsiteY17" fmla="*/ 434648 h 466065"/>
                <a:gd name="connsiteX18" fmla="*/ 93112 w 720938"/>
                <a:gd name="connsiteY18" fmla="*/ 402977 h 466065"/>
                <a:gd name="connsiteX19" fmla="*/ 87664 w 720938"/>
                <a:gd name="connsiteY19" fmla="*/ 369279 h 466065"/>
                <a:gd name="connsiteX20" fmla="*/ 80443 w 720938"/>
                <a:gd name="connsiteY20" fmla="*/ 337609 h 466065"/>
                <a:gd name="connsiteX21" fmla="*/ 90958 w 720938"/>
                <a:gd name="connsiteY21" fmla="*/ 298591 h 466065"/>
                <a:gd name="connsiteX22" fmla="*/ 32177 w 720938"/>
                <a:gd name="connsiteY22" fmla="*/ 274268 h 466065"/>
                <a:gd name="connsiteX23" fmla="*/ 0 w 720938"/>
                <a:gd name="connsiteY23" fmla="*/ 222834 h 466065"/>
                <a:gd name="connsiteX24" fmla="*/ 127 w 720938"/>
                <a:gd name="connsiteY24" fmla="*/ 222581 h 466065"/>
                <a:gd name="connsiteX25" fmla="*/ 2154 w 720938"/>
                <a:gd name="connsiteY25" fmla="*/ 219667 h 466065"/>
                <a:gd name="connsiteX26" fmla="*/ 4561 w 720938"/>
                <a:gd name="connsiteY26" fmla="*/ 216247 h 466065"/>
                <a:gd name="connsiteX27" fmla="*/ 11021 w 720938"/>
                <a:gd name="connsiteY27" fmla="*/ 205605 h 466065"/>
                <a:gd name="connsiteX28" fmla="*/ 11021 w 720938"/>
                <a:gd name="connsiteY28" fmla="*/ 205479 h 466065"/>
                <a:gd name="connsiteX29" fmla="*/ 13428 w 720938"/>
                <a:gd name="connsiteY29" fmla="*/ 200158 h 466065"/>
                <a:gd name="connsiteX30" fmla="*/ 14315 w 720938"/>
                <a:gd name="connsiteY30" fmla="*/ 197498 h 466065"/>
                <a:gd name="connsiteX31" fmla="*/ 14948 w 720938"/>
                <a:gd name="connsiteY31" fmla="*/ 194964 h 466065"/>
                <a:gd name="connsiteX32" fmla="*/ 15329 w 720938"/>
                <a:gd name="connsiteY32" fmla="*/ 187490 h 466065"/>
                <a:gd name="connsiteX33" fmla="*/ 15075 w 720938"/>
                <a:gd name="connsiteY33" fmla="*/ 186350 h 466065"/>
                <a:gd name="connsiteX34" fmla="*/ 14442 w 720938"/>
                <a:gd name="connsiteY34" fmla="*/ 183943 h 466065"/>
                <a:gd name="connsiteX35" fmla="*/ 13682 w 720938"/>
                <a:gd name="connsiteY35" fmla="*/ 182296 h 466065"/>
                <a:gd name="connsiteX36" fmla="*/ 12668 w 720938"/>
                <a:gd name="connsiteY36" fmla="*/ 180523 h 466065"/>
                <a:gd name="connsiteX37" fmla="*/ 3420 w 720938"/>
                <a:gd name="connsiteY37" fmla="*/ 151639 h 466065"/>
                <a:gd name="connsiteX38" fmla="*/ 105400 w 720938"/>
                <a:gd name="connsiteY38" fmla="*/ 126302 h 466065"/>
                <a:gd name="connsiteX39" fmla="*/ 171148 w 720938"/>
                <a:gd name="connsiteY39" fmla="*/ 142771 h 466065"/>
                <a:gd name="connsiteX40" fmla="*/ 210040 w 720938"/>
                <a:gd name="connsiteY40" fmla="*/ 133523 h 466065"/>
                <a:gd name="connsiteX41" fmla="*/ 221948 w 720938"/>
                <a:gd name="connsiteY41" fmla="*/ 110340 h 466065"/>
                <a:gd name="connsiteX42" fmla="*/ 232462 w 720938"/>
                <a:gd name="connsiteY42" fmla="*/ 69422 h 466065"/>
                <a:gd name="connsiteX43" fmla="*/ 234363 w 720938"/>
                <a:gd name="connsiteY43" fmla="*/ 66255 h 466065"/>
                <a:gd name="connsiteX44" fmla="*/ 333808 w 720938"/>
                <a:gd name="connsiteY44" fmla="*/ 25843 h 466065"/>
                <a:gd name="connsiteX45" fmla="*/ 421473 w 720938"/>
                <a:gd name="connsiteY45" fmla="*/ 4560 h 466065"/>
                <a:gd name="connsiteX46" fmla="*/ 430847 w 720938"/>
                <a:gd name="connsiteY46" fmla="*/ 0 h 466065"/>
                <a:gd name="connsiteX47" fmla="*/ 453903 w 720938"/>
                <a:gd name="connsiteY47" fmla="*/ 39018 h 466065"/>
                <a:gd name="connsiteX48" fmla="*/ 491528 w 720938"/>
                <a:gd name="connsiteY48" fmla="*/ 39018 h 466065"/>
                <a:gd name="connsiteX49" fmla="*/ 533713 w 720938"/>
                <a:gd name="connsiteY49" fmla="*/ 33444 h 466065"/>
                <a:gd name="connsiteX50" fmla="*/ 596801 w 720938"/>
                <a:gd name="connsiteY50" fmla="*/ 38385 h 466065"/>
                <a:gd name="connsiteX51" fmla="*/ 599462 w 720938"/>
                <a:gd name="connsiteY51" fmla="*/ 77023 h 466065"/>
                <a:gd name="connsiteX52" fmla="*/ 660903 w 720938"/>
                <a:gd name="connsiteY52" fmla="*/ 92478 h 466065"/>
                <a:gd name="connsiteX53" fmla="*/ 662803 w 720938"/>
                <a:gd name="connsiteY53" fmla="*/ 94378 h 466065"/>
                <a:gd name="connsiteX54" fmla="*/ 663943 w 720938"/>
                <a:gd name="connsiteY54" fmla="*/ 95519 h 466065"/>
                <a:gd name="connsiteX55" fmla="*/ 668124 w 720938"/>
                <a:gd name="connsiteY55" fmla="*/ 100713 h 466065"/>
                <a:gd name="connsiteX56" fmla="*/ 669137 w 720938"/>
                <a:gd name="connsiteY56" fmla="*/ 102233 h 466065"/>
                <a:gd name="connsiteX57" fmla="*/ 670150 w 720938"/>
                <a:gd name="connsiteY57" fmla="*/ 103753 h 466065"/>
                <a:gd name="connsiteX58" fmla="*/ 671291 w 720938"/>
                <a:gd name="connsiteY58" fmla="*/ 105526 h 466065"/>
                <a:gd name="connsiteX59" fmla="*/ 672431 w 720938"/>
                <a:gd name="connsiteY59" fmla="*/ 107300 h 466065"/>
                <a:gd name="connsiteX60" fmla="*/ 673444 w 720938"/>
                <a:gd name="connsiteY60" fmla="*/ 109073 h 466065"/>
                <a:gd name="connsiteX61" fmla="*/ 675218 w 720938"/>
                <a:gd name="connsiteY61" fmla="*/ 112114 h 466065"/>
                <a:gd name="connsiteX62" fmla="*/ 675978 w 720938"/>
                <a:gd name="connsiteY62" fmla="*/ 113634 h 466065"/>
                <a:gd name="connsiteX63" fmla="*/ 678131 w 720938"/>
                <a:gd name="connsiteY63" fmla="*/ 117688 h 466065"/>
                <a:gd name="connsiteX64" fmla="*/ 684086 w 720938"/>
                <a:gd name="connsiteY64" fmla="*/ 128709 h 466065"/>
                <a:gd name="connsiteX65" fmla="*/ 685732 w 720938"/>
                <a:gd name="connsiteY65" fmla="*/ 131623 h 466065"/>
                <a:gd name="connsiteX66" fmla="*/ 686873 w 720938"/>
                <a:gd name="connsiteY66" fmla="*/ 133523 h 466065"/>
                <a:gd name="connsiteX67" fmla="*/ 686999 w 720938"/>
                <a:gd name="connsiteY67" fmla="*/ 133777 h 466065"/>
                <a:gd name="connsiteX68" fmla="*/ 688139 w 720938"/>
                <a:gd name="connsiteY68" fmla="*/ 135423 h 466065"/>
                <a:gd name="connsiteX69" fmla="*/ 689660 w 720938"/>
                <a:gd name="connsiteY69" fmla="*/ 137450 h 466065"/>
                <a:gd name="connsiteX70" fmla="*/ 716136 w 720938"/>
                <a:gd name="connsiteY70" fmla="*/ 21422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0938" h="466065">
                  <a:moveTo>
                    <a:pt x="716136" y="214220"/>
                  </a:moveTo>
                  <a:cubicBezTo>
                    <a:pt x="698654" y="216880"/>
                    <a:pt x="672304" y="223468"/>
                    <a:pt x="665717" y="229042"/>
                  </a:cubicBezTo>
                  <a:cubicBezTo>
                    <a:pt x="659129" y="234616"/>
                    <a:pt x="650261" y="240950"/>
                    <a:pt x="642660" y="232336"/>
                  </a:cubicBezTo>
                  <a:cubicBezTo>
                    <a:pt x="635059" y="223848"/>
                    <a:pt x="629105" y="193444"/>
                    <a:pt x="615930" y="205985"/>
                  </a:cubicBezTo>
                  <a:cubicBezTo>
                    <a:pt x="604529" y="216880"/>
                    <a:pt x="575012" y="252478"/>
                    <a:pt x="556643" y="265780"/>
                  </a:cubicBezTo>
                  <a:cubicBezTo>
                    <a:pt x="553603" y="264260"/>
                    <a:pt x="550309" y="262993"/>
                    <a:pt x="546635" y="261726"/>
                  </a:cubicBezTo>
                  <a:cubicBezTo>
                    <a:pt x="507110" y="248804"/>
                    <a:pt x="465938" y="218654"/>
                    <a:pt x="436801" y="229549"/>
                  </a:cubicBezTo>
                  <a:cubicBezTo>
                    <a:pt x="407664" y="240443"/>
                    <a:pt x="406651" y="266667"/>
                    <a:pt x="408551" y="281995"/>
                  </a:cubicBezTo>
                  <a:cubicBezTo>
                    <a:pt x="410578" y="297324"/>
                    <a:pt x="409565" y="340269"/>
                    <a:pt x="419446" y="362312"/>
                  </a:cubicBezTo>
                  <a:cubicBezTo>
                    <a:pt x="417419" y="363705"/>
                    <a:pt x="415899" y="365986"/>
                    <a:pt x="415012" y="369026"/>
                  </a:cubicBezTo>
                  <a:cubicBezTo>
                    <a:pt x="410071" y="386888"/>
                    <a:pt x="401710" y="399176"/>
                    <a:pt x="385875" y="404244"/>
                  </a:cubicBezTo>
                  <a:cubicBezTo>
                    <a:pt x="370040" y="409184"/>
                    <a:pt x="362565" y="404750"/>
                    <a:pt x="355725" y="420586"/>
                  </a:cubicBezTo>
                  <a:cubicBezTo>
                    <a:pt x="348757" y="436421"/>
                    <a:pt x="337862" y="470625"/>
                    <a:pt x="319113" y="465558"/>
                  </a:cubicBezTo>
                  <a:cubicBezTo>
                    <a:pt x="300364" y="460617"/>
                    <a:pt x="278448" y="434774"/>
                    <a:pt x="261726" y="462011"/>
                  </a:cubicBezTo>
                  <a:cubicBezTo>
                    <a:pt x="254885" y="456563"/>
                    <a:pt x="247031" y="452636"/>
                    <a:pt x="241330" y="450356"/>
                  </a:cubicBezTo>
                  <a:cubicBezTo>
                    <a:pt x="226128" y="444402"/>
                    <a:pt x="250578" y="425907"/>
                    <a:pt x="238036" y="410831"/>
                  </a:cubicBezTo>
                  <a:cubicBezTo>
                    <a:pt x="225495" y="395629"/>
                    <a:pt x="216247" y="421979"/>
                    <a:pt x="197118" y="434648"/>
                  </a:cubicBezTo>
                  <a:cubicBezTo>
                    <a:pt x="177989" y="447189"/>
                    <a:pt x="137071" y="434648"/>
                    <a:pt x="114648" y="434648"/>
                  </a:cubicBezTo>
                  <a:cubicBezTo>
                    <a:pt x="92225" y="434648"/>
                    <a:pt x="109327" y="415518"/>
                    <a:pt x="93112" y="402977"/>
                  </a:cubicBezTo>
                  <a:cubicBezTo>
                    <a:pt x="76770" y="390436"/>
                    <a:pt x="84371" y="375234"/>
                    <a:pt x="87664" y="369279"/>
                  </a:cubicBezTo>
                  <a:cubicBezTo>
                    <a:pt x="90958" y="363325"/>
                    <a:pt x="88931" y="346857"/>
                    <a:pt x="80443" y="337609"/>
                  </a:cubicBezTo>
                  <a:cubicBezTo>
                    <a:pt x="71829" y="328361"/>
                    <a:pt x="77783" y="315819"/>
                    <a:pt x="90958" y="298591"/>
                  </a:cubicBezTo>
                  <a:cubicBezTo>
                    <a:pt x="104133" y="281489"/>
                    <a:pt x="53333" y="274268"/>
                    <a:pt x="32177" y="274268"/>
                  </a:cubicBezTo>
                  <a:cubicBezTo>
                    <a:pt x="11021" y="274268"/>
                    <a:pt x="0" y="222834"/>
                    <a:pt x="0" y="222834"/>
                  </a:cubicBezTo>
                  <a:cubicBezTo>
                    <a:pt x="0" y="222708"/>
                    <a:pt x="127" y="222708"/>
                    <a:pt x="127" y="222581"/>
                  </a:cubicBezTo>
                  <a:cubicBezTo>
                    <a:pt x="887" y="221568"/>
                    <a:pt x="1520" y="220554"/>
                    <a:pt x="2154" y="219667"/>
                  </a:cubicBezTo>
                  <a:cubicBezTo>
                    <a:pt x="3040" y="218527"/>
                    <a:pt x="3801" y="217387"/>
                    <a:pt x="4561" y="216247"/>
                  </a:cubicBezTo>
                  <a:cubicBezTo>
                    <a:pt x="6968" y="212573"/>
                    <a:pt x="9121" y="209026"/>
                    <a:pt x="11021" y="205605"/>
                  </a:cubicBezTo>
                  <a:cubicBezTo>
                    <a:pt x="11021" y="205605"/>
                    <a:pt x="11021" y="205479"/>
                    <a:pt x="11021" y="205479"/>
                  </a:cubicBezTo>
                  <a:cubicBezTo>
                    <a:pt x="11908" y="203705"/>
                    <a:pt x="12795" y="201932"/>
                    <a:pt x="13428" y="200158"/>
                  </a:cubicBezTo>
                  <a:cubicBezTo>
                    <a:pt x="13808" y="199271"/>
                    <a:pt x="14062" y="198385"/>
                    <a:pt x="14315" y="197498"/>
                  </a:cubicBezTo>
                  <a:cubicBezTo>
                    <a:pt x="14568" y="196611"/>
                    <a:pt x="14822" y="195851"/>
                    <a:pt x="14948" y="194964"/>
                  </a:cubicBezTo>
                  <a:cubicBezTo>
                    <a:pt x="15582" y="192431"/>
                    <a:pt x="15709" y="189897"/>
                    <a:pt x="15329" y="187490"/>
                  </a:cubicBezTo>
                  <a:cubicBezTo>
                    <a:pt x="15329" y="187110"/>
                    <a:pt x="15202" y="186730"/>
                    <a:pt x="15075" y="186350"/>
                  </a:cubicBezTo>
                  <a:cubicBezTo>
                    <a:pt x="14948" y="185590"/>
                    <a:pt x="14695" y="184703"/>
                    <a:pt x="14442" y="183943"/>
                  </a:cubicBezTo>
                  <a:cubicBezTo>
                    <a:pt x="14188" y="183436"/>
                    <a:pt x="14062" y="182803"/>
                    <a:pt x="13682" y="182296"/>
                  </a:cubicBezTo>
                  <a:cubicBezTo>
                    <a:pt x="13428" y="181663"/>
                    <a:pt x="13048" y="181029"/>
                    <a:pt x="12668" y="180523"/>
                  </a:cubicBezTo>
                  <a:cubicBezTo>
                    <a:pt x="5827" y="170008"/>
                    <a:pt x="3927" y="163420"/>
                    <a:pt x="3420" y="151639"/>
                  </a:cubicBezTo>
                  <a:cubicBezTo>
                    <a:pt x="24703" y="145685"/>
                    <a:pt x="80063" y="130610"/>
                    <a:pt x="105400" y="126302"/>
                  </a:cubicBezTo>
                  <a:cubicBezTo>
                    <a:pt x="137324" y="120982"/>
                    <a:pt x="144798" y="134157"/>
                    <a:pt x="171148" y="142771"/>
                  </a:cubicBezTo>
                  <a:cubicBezTo>
                    <a:pt x="197498" y="151386"/>
                    <a:pt x="183056" y="135550"/>
                    <a:pt x="210040" y="133523"/>
                  </a:cubicBezTo>
                  <a:cubicBezTo>
                    <a:pt x="237023" y="131496"/>
                    <a:pt x="235123" y="133523"/>
                    <a:pt x="221948" y="110340"/>
                  </a:cubicBezTo>
                  <a:cubicBezTo>
                    <a:pt x="208773" y="87284"/>
                    <a:pt x="223215" y="83230"/>
                    <a:pt x="232462" y="69422"/>
                  </a:cubicBezTo>
                  <a:cubicBezTo>
                    <a:pt x="232716" y="69042"/>
                    <a:pt x="233476" y="67775"/>
                    <a:pt x="234363" y="66255"/>
                  </a:cubicBezTo>
                  <a:cubicBezTo>
                    <a:pt x="265780" y="73983"/>
                    <a:pt x="308092" y="36738"/>
                    <a:pt x="333808" y="25843"/>
                  </a:cubicBezTo>
                  <a:cubicBezTo>
                    <a:pt x="359525" y="14948"/>
                    <a:pt x="400570" y="10008"/>
                    <a:pt x="421473" y="4560"/>
                  </a:cubicBezTo>
                  <a:cubicBezTo>
                    <a:pt x="426540" y="3294"/>
                    <a:pt x="429454" y="1774"/>
                    <a:pt x="430847" y="0"/>
                  </a:cubicBezTo>
                  <a:cubicBezTo>
                    <a:pt x="431607" y="12161"/>
                    <a:pt x="435788" y="36358"/>
                    <a:pt x="453903" y="39018"/>
                  </a:cubicBezTo>
                  <a:cubicBezTo>
                    <a:pt x="478606" y="42692"/>
                    <a:pt x="477340" y="39018"/>
                    <a:pt x="491528" y="39018"/>
                  </a:cubicBezTo>
                  <a:cubicBezTo>
                    <a:pt x="505717" y="39018"/>
                    <a:pt x="519905" y="42312"/>
                    <a:pt x="533713" y="33444"/>
                  </a:cubicBezTo>
                  <a:cubicBezTo>
                    <a:pt x="547522" y="24576"/>
                    <a:pt x="595028" y="20523"/>
                    <a:pt x="596801" y="38385"/>
                  </a:cubicBezTo>
                  <a:cubicBezTo>
                    <a:pt x="598448" y="56247"/>
                    <a:pt x="589200" y="74996"/>
                    <a:pt x="599462" y="77023"/>
                  </a:cubicBezTo>
                  <a:cubicBezTo>
                    <a:pt x="609723" y="79050"/>
                    <a:pt x="646714" y="79050"/>
                    <a:pt x="660903" y="92478"/>
                  </a:cubicBezTo>
                  <a:cubicBezTo>
                    <a:pt x="661536" y="93112"/>
                    <a:pt x="662170" y="93745"/>
                    <a:pt x="662803" y="94378"/>
                  </a:cubicBezTo>
                  <a:cubicBezTo>
                    <a:pt x="663183" y="94758"/>
                    <a:pt x="663563" y="95138"/>
                    <a:pt x="663943" y="95519"/>
                  </a:cubicBezTo>
                  <a:cubicBezTo>
                    <a:pt x="665463" y="97165"/>
                    <a:pt x="666857" y="98939"/>
                    <a:pt x="668124" y="100713"/>
                  </a:cubicBezTo>
                  <a:cubicBezTo>
                    <a:pt x="668504" y="101219"/>
                    <a:pt x="668884" y="101726"/>
                    <a:pt x="669137" y="102233"/>
                  </a:cubicBezTo>
                  <a:cubicBezTo>
                    <a:pt x="669517" y="102739"/>
                    <a:pt x="669897" y="103246"/>
                    <a:pt x="670150" y="103753"/>
                  </a:cubicBezTo>
                  <a:cubicBezTo>
                    <a:pt x="670530" y="104386"/>
                    <a:pt x="670911" y="104893"/>
                    <a:pt x="671291" y="105526"/>
                  </a:cubicBezTo>
                  <a:cubicBezTo>
                    <a:pt x="671671" y="106160"/>
                    <a:pt x="672051" y="106667"/>
                    <a:pt x="672431" y="107300"/>
                  </a:cubicBezTo>
                  <a:cubicBezTo>
                    <a:pt x="672811" y="107933"/>
                    <a:pt x="673191" y="108440"/>
                    <a:pt x="673444" y="109073"/>
                  </a:cubicBezTo>
                  <a:cubicBezTo>
                    <a:pt x="674078" y="110087"/>
                    <a:pt x="674584" y="111100"/>
                    <a:pt x="675218" y="112114"/>
                  </a:cubicBezTo>
                  <a:cubicBezTo>
                    <a:pt x="675471" y="112621"/>
                    <a:pt x="675724" y="113127"/>
                    <a:pt x="675978" y="113634"/>
                  </a:cubicBezTo>
                  <a:cubicBezTo>
                    <a:pt x="676738" y="115028"/>
                    <a:pt x="677498" y="116294"/>
                    <a:pt x="678131" y="117688"/>
                  </a:cubicBezTo>
                  <a:cubicBezTo>
                    <a:pt x="680285" y="121615"/>
                    <a:pt x="682185" y="125416"/>
                    <a:pt x="684086" y="128709"/>
                  </a:cubicBezTo>
                  <a:cubicBezTo>
                    <a:pt x="684592" y="129723"/>
                    <a:pt x="685226" y="130736"/>
                    <a:pt x="685732" y="131623"/>
                  </a:cubicBezTo>
                  <a:cubicBezTo>
                    <a:pt x="686113" y="132256"/>
                    <a:pt x="686493" y="132890"/>
                    <a:pt x="686873" y="133523"/>
                  </a:cubicBezTo>
                  <a:cubicBezTo>
                    <a:pt x="686873" y="133523"/>
                    <a:pt x="686999" y="133650"/>
                    <a:pt x="686999" y="133777"/>
                  </a:cubicBezTo>
                  <a:cubicBezTo>
                    <a:pt x="687379" y="134283"/>
                    <a:pt x="687759" y="134917"/>
                    <a:pt x="688139" y="135423"/>
                  </a:cubicBezTo>
                  <a:cubicBezTo>
                    <a:pt x="688646" y="136184"/>
                    <a:pt x="689153" y="136817"/>
                    <a:pt x="689660" y="137450"/>
                  </a:cubicBezTo>
                  <a:cubicBezTo>
                    <a:pt x="698401" y="147585"/>
                    <a:pt x="733618" y="211560"/>
                    <a:pt x="716136" y="21422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699" name="Полилиния: фигура 698">
              <a:extLst>
                <a:ext uri="{FF2B5EF4-FFF2-40B4-BE49-F238E27FC236}">
                  <a16:creationId xmlns:a16="http://schemas.microsoft.com/office/drawing/2014/main" id="{A0F56620-944A-4E1E-9FEA-81C6E3E35EC9}"/>
                </a:ext>
              </a:extLst>
            </p:cNvPr>
            <p:cNvSpPr/>
            <p:nvPr/>
          </p:nvSpPr>
          <p:spPr>
            <a:xfrm>
              <a:off x="2428971" y="3238180"/>
              <a:ext cx="345694" cy="428440"/>
            </a:xfrm>
            <a:custGeom>
              <a:avLst/>
              <a:gdLst>
                <a:gd name="connsiteX0" fmla="*/ 345205 w 345694"/>
                <a:gd name="connsiteY0" fmla="*/ 342930 h 428440"/>
                <a:gd name="connsiteX1" fmla="*/ 345585 w 345694"/>
                <a:gd name="connsiteY1" fmla="*/ 343056 h 428440"/>
                <a:gd name="connsiteX2" fmla="*/ 343685 w 345694"/>
                <a:gd name="connsiteY2" fmla="*/ 346223 h 428440"/>
                <a:gd name="connsiteX3" fmla="*/ 333171 w 345694"/>
                <a:gd name="connsiteY3" fmla="*/ 387142 h 428440"/>
                <a:gd name="connsiteX4" fmla="*/ 321262 w 345694"/>
                <a:gd name="connsiteY4" fmla="*/ 410325 h 428440"/>
                <a:gd name="connsiteX5" fmla="*/ 282371 w 345694"/>
                <a:gd name="connsiteY5" fmla="*/ 419572 h 428440"/>
                <a:gd name="connsiteX6" fmla="*/ 216623 w 345694"/>
                <a:gd name="connsiteY6" fmla="*/ 403104 h 428440"/>
                <a:gd name="connsiteX7" fmla="*/ 114643 w 345694"/>
                <a:gd name="connsiteY7" fmla="*/ 428440 h 428440"/>
                <a:gd name="connsiteX8" fmla="*/ 114516 w 345694"/>
                <a:gd name="connsiteY8" fmla="*/ 413238 h 428440"/>
                <a:gd name="connsiteX9" fmla="*/ 97161 w 345694"/>
                <a:gd name="connsiteY9" fmla="*/ 372193 h 428440"/>
                <a:gd name="connsiteX10" fmla="*/ 68911 w 345694"/>
                <a:gd name="connsiteY10" fmla="*/ 324687 h 428440"/>
                <a:gd name="connsiteX11" fmla="*/ 49148 w 345694"/>
                <a:gd name="connsiteY11" fmla="*/ 280602 h 428440"/>
                <a:gd name="connsiteX12" fmla="*/ 42307 w 345694"/>
                <a:gd name="connsiteY12" fmla="*/ 276548 h 428440"/>
                <a:gd name="connsiteX13" fmla="*/ 60043 w 345694"/>
                <a:gd name="connsiteY13" fmla="*/ 224355 h 428440"/>
                <a:gd name="connsiteX14" fmla="*/ 58016 w 345694"/>
                <a:gd name="connsiteY14" fmla="*/ 192937 h 428440"/>
                <a:gd name="connsiteX15" fmla="*/ 58523 w 345694"/>
                <a:gd name="connsiteY15" fmla="*/ 175075 h 428440"/>
                <a:gd name="connsiteX16" fmla="*/ 15957 w 345694"/>
                <a:gd name="connsiteY16" fmla="*/ 184450 h 428440"/>
                <a:gd name="connsiteX17" fmla="*/ 12410 w 345694"/>
                <a:gd name="connsiteY17" fmla="*/ 136944 h 428440"/>
                <a:gd name="connsiteX18" fmla="*/ 10510 w 345694"/>
                <a:gd name="connsiteY18" fmla="*/ 95899 h 428440"/>
                <a:gd name="connsiteX19" fmla="*/ 30653 w 345694"/>
                <a:gd name="connsiteY19" fmla="*/ 64735 h 428440"/>
                <a:gd name="connsiteX20" fmla="*/ 41041 w 345694"/>
                <a:gd name="connsiteY20" fmla="*/ 23690 h 428440"/>
                <a:gd name="connsiteX21" fmla="*/ 80566 w 345694"/>
                <a:gd name="connsiteY21" fmla="*/ 5827 h 428440"/>
                <a:gd name="connsiteX22" fmla="*/ 87280 w 345694"/>
                <a:gd name="connsiteY22" fmla="*/ 0 h 428440"/>
                <a:gd name="connsiteX23" fmla="*/ 126425 w 345694"/>
                <a:gd name="connsiteY23" fmla="*/ 30784 h 428440"/>
                <a:gd name="connsiteX24" fmla="*/ 180011 w 345694"/>
                <a:gd name="connsiteY24" fmla="*/ 73476 h 428440"/>
                <a:gd name="connsiteX25" fmla="*/ 181278 w 345694"/>
                <a:gd name="connsiteY25" fmla="*/ 86904 h 428440"/>
                <a:gd name="connsiteX26" fmla="*/ 191159 w 345694"/>
                <a:gd name="connsiteY26" fmla="*/ 146952 h 428440"/>
                <a:gd name="connsiteX27" fmla="*/ 220170 w 345694"/>
                <a:gd name="connsiteY27" fmla="*/ 168741 h 428440"/>
                <a:gd name="connsiteX28" fmla="*/ 231318 w 345694"/>
                <a:gd name="connsiteY28" fmla="*/ 224228 h 428440"/>
                <a:gd name="connsiteX29" fmla="*/ 255768 w 345694"/>
                <a:gd name="connsiteY29" fmla="*/ 246017 h 428440"/>
                <a:gd name="connsiteX30" fmla="*/ 258301 w 345694"/>
                <a:gd name="connsiteY30" fmla="*/ 257926 h 428440"/>
                <a:gd name="connsiteX31" fmla="*/ 278824 w 345694"/>
                <a:gd name="connsiteY31" fmla="*/ 273761 h 428440"/>
                <a:gd name="connsiteX32" fmla="*/ 303907 w 345694"/>
                <a:gd name="connsiteY32" fmla="*/ 283009 h 428440"/>
                <a:gd name="connsiteX33" fmla="*/ 312395 w 345694"/>
                <a:gd name="connsiteY33" fmla="*/ 311386 h 428440"/>
                <a:gd name="connsiteX34" fmla="*/ 345205 w 345694"/>
                <a:gd name="connsiteY34" fmla="*/ 342930 h 42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5694" h="428440">
                  <a:moveTo>
                    <a:pt x="345205" y="342930"/>
                  </a:moveTo>
                  <a:cubicBezTo>
                    <a:pt x="345332" y="342930"/>
                    <a:pt x="345459" y="342930"/>
                    <a:pt x="345585" y="343056"/>
                  </a:cubicBezTo>
                  <a:cubicBezTo>
                    <a:pt x="344698" y="344576"/>
                    <a:pt x="343938" y="345843"/>
                    <a:pt x="343685" y="346223"/>
                  </a:cubicBezTo>
                  <a:cubicBezTo>
                    <a:pt x="334437" y="360032"/>
                    <a:pt x="319869" y="363959"/>
                    <a:pt x="333171" y="387142"/>
                  </a:cubicBezTo>
                  <a:cubicBezTo>
                    <a:pt x="346345" y="410325"/>
                    <a:pt x="348372" y="408298"/>
                    <a:pt x="321262" y="410325"/>
                  </a:cubicBezTo>
                  <a:cubicBezTo>
                    <a:pt x="294279" y="412225"/>
                    <a:pt x="308721" y="428060"/>
                    <a:pt x="282371" y="419572"/>
                  </a:cubicBezTo>
                  <a:cubicBezTo>
                    <a:pt x="256021" y="410958"/>
                    <a:pt x="248420" y="397783"/>
                    <a:pt x="216623" y="403104"/>
                  </a:cubicBezTo>
                  <a:cubicBezTo>
                    <a:pt x="191159" y="407284"/>
                    <a:pt x="135926" y="422359"/>
                    <a:pt x="114643" y="428440"/>
                  </a:cubicBezTo>
                  <a:cubicBezTo>
                    <a:pt x="114516" y="424260"/>
                    <a:pt x="114516" y="419319"/>
                    <a:pt x="114516" y="413238"/>
                  </a:cubicBezTo>
                  <a:cubicBezTo>
                    <a:pt x="114516" y="390436"/>
                    <a:pt x="112490" y="390942"/>
                    <a:pt x="97161" y="372193"/>
                  </a:cubicBezTo>
                  <a:cubicBezTo>
                    <a:pt x="81832" y="353444"/>
                    <a:pt x="67010" y="343563"/>
                    <a:pt x="68911" y="324687"/>
                  </a:cubicBezTo>
                  <a:cubicBezTo>
                    <a:pt x="70938" y="305812"/>
                    <a:pt x="74865" y="294030"/>
                    <a:pt x="49148" y="280602"/>
                  </a:cubicBezTo>
                  <a:cubicBezTo>
                    <a:pt x="46741" y="279335"/>
                    <a:pt x="44461" y="277941"/>
                    <a:pt x="42307" y="276548"/>
                  </a:cubicBezTo>
                  <a:cubicBezTo>
                    <a:pt x="48895" y="266920"/>
                    <a:pt x="65237" y="241203"/>
                    <a:pt x="60043" y="224355"/>
                  </a:cubicBezTo>
                  <a:cubicBezTo>
                    <a:pt x="53582" y="203325"/>
                    <a:pt x="52569" y="203325"/>
                    <a:pt x="58016" y="192937"/>
                  </a:cubicBezTo>
                  <a:cubicBezTo>
                    <a:pt x="63463" y="182550"/>
                    <a:pt x="77779" y="175075"/>
                    <a:pt x="58523" y="175075"/>
                  </a:cubicBezTo>
                  <a:cubicBezTo>
                    <a:pt x="39267" y="175075"/>
                    <a:pt x="31793" y="203832"/>
                    <a:pt x="15957" y="184450"/>
                  </a:cubicBezTo>
                  <a:cubicBezTo>
                    <a:pt x="122" y="165194"/>
                    <a:pt x="25839" y="157720"/>
                    <a:pt x="12410" y="136944"/>
                  </a:cubicBezTo>
                  <a:cubicBezTo>
                    <a:pt x="-1018" y="116168"/>
                    <a:pt x="-6212" y="109200"/>
                    <a:pt x="10510" y="95899"/>
                  </a:cubicBezTo>
                  <a:cubicBezTo>
                    <a:pt x="27232" y="82597"/>
                    <a:pt x="34200" y="82597"/>
                    <a:pt x="30653" y="64735"/>
                  </a:cubicBezTo>
                  <a:cubicBezTo>
                    <a:pt x="27232" y="46872"/>
                    <a:pt x="22292" y="33571"/>
                    <a:pt x="41041" y="23690"/>
                  </a:cubicBezTo>
                  <a:cubicBezTo>
                    <a:pt x="59790" y="13808"/>
                    <a:pt x="63843" y="21283"/>
                    <a:pt x="80566" y="5827"/>
                  </a:cubicBezTo>
                  <a:cubicBezTo>
                    <a:pt x="82593" y="4054"/>
                    <a:pt x="84873" y="2027"/>
                    <a:pt x="87280" y="0"/>
                  </a:cubicBezTo>
                  <a:cubicBezTo>
                    <a:pt x="88040" y="760"/>
                    <a:pt x="115403" y="26983"/>
                    <a:pt x="126425" y="30784"/>
                  </a:cubicBezTo>
                  <a:cubicBezTo>
                    <a:pt x="135292" y="33951"/>
                    <a:pt x="170383" y="55487"/>
                    <a:pt x="180011" y="73476"/>
                  </a:cubicBezTo>
                  <a:cubicBezTo>
                    <a:pt x="182545" y="78416"/>
                    <a:pt x="183305" y="82977"/>
                    <a:pt x="181278" y="86904"/>
                  </a:cubicBezTo>
                  <a:cubicBezTo>
                    <a:pt x="171397" y="105400"/>
                    <a:pt x="171397" y="140998"/>
                    <a:pt x="191159" y="146952"/>
                  </a:cubicBezTo>
                  <a:cubicBezTo>
                    <a:pt x="210922" y="152906"/>
                    <a:pt x="220803" y="151512"/>
                    <a:pt x="220170" y="168741"/>
                  </a:cubicBezTo>
                  <a:cubicBezTo>
                    <a:pt x="219536" y="185843"/>
                    <a:pt x="212949" y="209660"/>
                    <a:pt x="231318" y="224228"/>
                  </a:cubicBezTo>
                  <a:cubicBezTo>
                    <a:pt x="249813" y="238670"/>
                    <a:pt x="264382" y="240063"/>
                    <a:pt x="255768" y="246017"/>
                  </a:cubicBezTo>
                  <a:cubicBezTo>
                    <a:pt x="247153" y="251971"/>
                    <a:pt x="252980" y="255899"/>
                    <a:pt x="258301" y="257926"/>
                  </a:cubicBezTo>
                  <a:cubicBezTo>
                    <a:pt x="263748" y="259953"/>
                    <a:pt x="267042" y="273761"/>
                    <a:pt x="278824" y="273761"/>
                  </a:cubicBezTo>
                  <a:cubicBezTo>
                    <a:pt x="290732" y="273761"/>
                    <a:pt x="309861" y="271100"/>
                    <a:pt x="303907" y="283009"/>
                  </a:cubicBezTo>
                  <a:cubicBezTo>
                    <a:pt x="297953" y="294917"/>
                    <a:pt x="296559" y="305432"/>
                    <a:pt x="312395" y="311386"/>
                  </a:cubicBezTo>
                  <a:cubicBezTo>
                    <a:pt x="327216" y="316706"/>
                    <a:pt x="349259" y="330008"/>
                    <a:pt x="345205" y="342930"/>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0" name="Полилиния: фигура 699">
              <a:extLst>
                <a:ext uri="{FF2B5EF4-FFF2-40B4-BE49-F238E27FC236}">
                  <a16:creationId xmlns:a16="http://schemas.microsoft.com/office/drawing/2014/main" id="{74FB212C-4DCE-4B8D-8C5B-31D75AA725D3}"/>
                </a:ext>
              </a:extLst>
            </p:cNvPr>
            <p:cNvSpPr/>
            <p:nvPr/>
          </p:nvSpPr>
          <p:spPr>
            <a:xfrm>
              <a:off x="2948102" y="3742074"/>
              <a:ext cx="351933" cy="311777"/>
            </a:xfrm>
            <a:custGeom>
              <a:avLst/>
              <a:gdLst>
                <a:gd name="connsiteX0" fmla="*/ 351933 w 351933"/>
                <a:gd name="connsiteY0" fmla="*/ 234665 h 311777"/>
                <a:gd name="connsiteX1" fmla="*/ 344079 w 351933"/>
                <a:gd name="connsiteY1" fmla="*/ 282171 h 311777"/>
                <a:gd name="connsiteX2" fmla="*/ 331031 w 351933"/>
                <a:gd name="connsiteY2" fmla="*/ 300033 h 311777"/>
                <a:gd name="connsiteX3" fmla="*/ 303034 w 351933"/>
                <a:gd name="connsiteY3" fmla="*/ 310928 h 311777"/>
                <a:gd name="connsiteX4" fmla="*/ 292139 w 351933"/>
                <a:gd name="connsiteY4" fmla="*/ 290278 h 311777"/>
                <a:gd name="connsiteX5" fmla="*/ 266422 w 351933"/>
                <a:gd name="connsiteY5" fmla="*/ 289898 h 311777"/>
                <a:gd name="connsiteX6" fmla="*/ 249194 w 351933"/>
                <a:gd name="connsiteY6" fmla="*/ 270389 h 311777"/>
                <a:gd name="connsiteX7" fmla="*/ 166470 w 351933"/>
                <a:gd name="connsiteY7" fmla="*/ 289772 h 311777"/>
                <a:gd name="connsiteX8" fmla="*/ 96921 w 351933"/>
                <a:gd name="connsiteY8" fmla="*/ 274950 h 311777"/>
                <a:gd name="connsiteX9" fmla="*/ 97175 w 351933"/>
                <a:gd name="connsiteY9" fmla="*/ 270009 h 311777"/>
                <a:gd name="connsiteX10" fmla="*/ 92107 w 351933"/>
                <a:gd name="connsiteY10" fmla="*/ 205148 h 311777"/>
                <a:gd name="connsiteX11" fmla="*/ 79313 w 351933"/>
                <a:gd name="connsiteY11" fmla="*/ 144340 h 311777"/>
                <a:gd name="connsiteX12" fmla="*/ 11537 w 351933"/>
                <a:gd name="connsiteY12" fmla="*/ 135092 h 311777"/>
                <a:gd name="connsiteX13" fmla="*/ 643 w 351933"/>
                <a:gd name="connsiteY13" fmla="*/ 54776 h 311777"/>
                <a:gd name="connsiteX14" fmla="*/ 28893 w 351933"/>
                <a:gd name="connsiteY14" fmla="*/ 2329 h 311777"/>
                <a:gd name="connsiteX15" fmla="*/ 138726 w 351933"/>
                <a:gd name="connsiteY15" fmla="*/ 34506 h 311777"/>
                <a:gd name="connsiteX16" fmla="*/ 148734 w 351933"/>
                <a:gd name="connsiteY16" fmla="*/ 38560 h 311777"/>
                <a:gd name="connsiteX17" fmla="*/ 197634 w 351933"/>
                <a:gd name="connsiteY17" fmla="*/ 101775 h 311777"/>
                <a:gd name="connsiteX18" fmla="*/ 272377 w 351933"/>
                <a:gd name="connsiteY18" fmla="*/ 129518 h 311777"/>
                <a:gd name="connsiteX19" fmla="*/ 304047 w 351933"/>
                <a:gd name="connsiteY19" fmla="*/ 164229 h 311777"/>
                <a:gd name="connsiteX20" fmla="*/ 336225 w 351933"/>
                <a:gd name="connsiteY20" fmla="*/ 156882 h 311777"/>
                <a:gd name="connsiteX21" fmla="*/ 337111 w 351933"/>
                <a:gd name="connsiteY21" fmla="*/ 174110 h 311777"/>
                <a:gd name="connsiteX22" fmla="*/ 343572 w 351933"/>
                <a:gd name="connsiteY22" fmla="*/ 209708 h 311777"/>
                <a:gd name="connsiteX23" fmla="*/ 351933 w 351933"/>
                <a:gd name="connsiteY23" fmla="*/ 234665 h 31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933" h="311777">
                  <a:moveTo>
                    <a:pt x="351933" y="234665"/>
                  </a:moveTo>
                  <a:cubicBezTo>
                    <a:pt x="351933" y="244039"/>
                    <a:pt x="345472" y="263928"/>
                    <a:pt x="344079" y="282171"/>
                  </a:cubicBezTo>
                  <a:cubicBezTo>
                    <a:pt x="343445" y="290278"/>
                    <a:pt x="337998" y="295979"/>
                    <a:pt x="331031" y="300033"/>
                  </a:cubicBezTo>
                  <a:cubicBezTo>
                    <a:pt x="322036" y="305354"/>
                    <a:pt x="310508" y="308394"/>
                    <a:pt x="303034" y="310928"/>
                  </a:cubicBezTo>
                  <a:cubicBezTo>
                    <a:pt x="289605" y="315362"/>
                    <a:pt x="292139" y="301553"/>
                    <a:pt x="292139" y="290278"/>
                  </a:cubicBezTo>
                  <a:cubicBezTo>
                    <a:pt x="292139" y="279003"/>
                    <a:pt x="277824" y="287238"/>
                    <a:pt x="266422" y="289898"/>
                  </a:cubicBezTo>
                  <a:cubicBezTo>
                    <a:pt x="255021" y="292559"/>
                    <a:pt x="253501" y="280777"/>
                    <a:pt x="249194" y="270389"/>
                  </a:cubicBezTo>
                  <a:cubicBezTo>
                    <a:pt x="244760" y="260001"/>
                    <a:pt x="194213" y="287238"/>
                    <a:pt x="166470" y="289772"/>
                  </a:cubicBezTo>
                  <a:cubicBezTo>
                    <a:pt x="142654" y="291925"/>
                    <a:pt x="106676" y="278750"/>
                    <a:pt x="96921" y="274950"/>
                  </a:cubicBezTo>
                  <a:cubicBezTo>
                    <a:pt x="97935" y="273556"/>
                    <a:pt x="98061" y="272036"/>
                    <a:pt x="97175" y="270009"/>
                  </a:cubicBezTo>
                  <a:cubicBezTo>
                    <a:pt x="90207" y="254174"/>
                    <a:pt x="85140" y="230864"/>
                    <a:pt x="92107" y="205148"/>
                  </a:cubicBezTo>
                  <a:cubicBezTo>
                    <a:pt x="99202" y="179431"/>
                    <a:pt x="121371" y="152195"/>
                    <a:pt x="79313" y="144340"/>
                  </a:cubicBezTo>
                  <a:cubicBezTo>
                    <a:pt x="44601" y="137753"/>
                    <a:pt x="21292" y="128251"/>
                    <a:pt x="11537" y="135092"/>
                  </a:cubicBezTo>
                  <a:cubicBezTo>
                    <a:pt x="1656" y="113050"/>
                    <a:pt x="2670" y="70104"/>
                    <a:pt x="643" y="54776"/>
                  </a:cubicBezTo>
                  <a:cubicBezTo>
                    <a:pt x="-1384" y="39447"/>
                    <a:pt x="-244" y="13224"/>
                    <a:pt x="28893" y="2329"/>
                  </a:cubicBezTo>
                  <a:cubicBezTo>
                    <a:pt x="58030" y="-8566"/>
                    <a:pt x="99202" y="21585"/>
                    <a:pt x="138726" y="34506"/>
                  </a:cubicBezTo>
                  <a:cubicBezTo>
                    <a:pt x="142400" y="35646"/>
                    <a:pt x="145694" y="37040"/>
                    <a:pt x="148734" y="38560"/>
                  </a:cubicBezTo>
                  <a:cubicBezTo>
                    <a:pt x="178632" y="53002"/>
                    <a:pt x="180912" y="80365"/>
                    <a:pt x="197634" y="101775"/>
                  </a:cubicBezTo>
                  <a:cubicBezTo>
                    <a:pt x="215876" y="125591"/>
                    <a:pt x="253501" y="138386"/>
                    <a:pt x="272377" y="129518"/>
                  </a:cubicBezTo>
                  <a:cubicBezTo>
                    <a:pt x="291125" y="120650"/>
                    <a:pt x="291632" y="150801"/>
                    <a:pt x="304047" y="164229"/>
                  </a:cubicBezTo>
                  <a:cubicBezTo>
                    <a:pt x="316462" y="177531"/>
                    <a:pt x="326343" y="161316"/>
                    <a:pt x="336225" y="156882"/>
                  </a:cubicBezTo>
                  <a:cubicBezTo>
                    <a:pt x="346106" y="152448"/>
                    <a:pt x="344079" y="166763"/>
                    <a:pt x="337111" y="174110"/>
                  </a:cubicBezTo>
                  <a:cubicBezTo>
                    <a:pt x="330271" y="181585"/>
                    <a:pt x="336225" y="202361"/>
                    <a:pt x="343572" y="209708"/>
                  </a:cubicBezTo>
                  <a:cubicBezTo>
                    <a:pt x="350920" y="216929"/>
                    <a:pt x="351933" y="225290"/>
                    <a:pt x="351933" y="234665"/>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1" name="Полилиния: фигура 700">
              <a:extLst>
                <a:ext uri="{FF2B5EF4-FFF2-40B4-BE49-F238E27FC236}">
                  <a16:creationId xmlns:a16="http://schemas.microsoft.com/office/drawing/2014/main" id="{981ECC11-A5A1-47C0-BDAC-2D656DEA4669}"/>
                </a:ext>
              </a:extLst>
            </p:cNvPr>
            <p:cNvSpPr/>
            <p:nvPr/>
          </p:nvSpPr>
          <p:spPr>
            <a:xfrm>
              <a:off x="2828143" y="4010035"/>
              <a:ext cx="697822" cy="596062"/>
            </a:xfrm>
            <a:custGeom>
              <a:avLst/>
              <a:gdLst>
                <a:gd name="connsiteX0" fmla="*/ 689913 w 697822"/>
                <a:gd name="connsiteY0" fmla="*/ 251993 h 596062"/>
                <a:gd name="connsiteX1" fmla="*/ 640760 w 697822"/>
                <a:gd name="connsiteY1" fmla="*/ 286957 h 596062"/>
                <a:gd name="connsiteX2" fmla="*/ 660903 w 697822"/>
                <a:gd name="connsiteY2" fmla="*/ 327242 h 596062"/>
                <a:gd name="connsiteX3" fmla="*/ 653302 w 697822"/>
                <a:gd name="connsiteY3" fmla="*/ 359546 h 596062"/>
                <a:gd name="connsiteX4" fmla="*/ 653808 w 697822"/>
                <a:gd name="connsiteY4" fmla="*/ 361700 h 596062"/>
                <a:gd name="connsiteX5" fmla="*/ 654442 w 697822"/>
                <a:gd name="connsiteY5" fmla="*/ 365247 h 596062"/>
                <a:gd name="connsiteX6" fmla="*/ 654949 w 697822"/>
                <a:gd name="connsiteY6" fmla="*/ 368541 h 596062"/>
                <a:gd name="connsiteX7" fmla="*/ 655329 w 697822"/>
                <a:gd name="connsiteY7" fmla="*/ 371454 h 596062"/>
                <a:gd name="connsiteX8" fmla="*/ 655582 w 697822"/>
                <a:gd name="connsiteY8" fmla="*/ 373355 h 596062"/>
                <a:gd name="connsiteX9" fmla="*/ 655962 w 697822"/>
                <a:gd name="connsiteY9" fmla="*/ 376522 h 596062"/>
                <a:gd name="connsiteX10" fmla="*/ 656722 w 697822"/>
                <a:gd name="connsiteY10" fmla="*/ 384503 h 596062"/>
                <a:gd name="connsiteX11" fmla="*/ 656849 w 697822"/>
                <a:gd name="connsiteY11" fmla="*/ 387416 h 596062"/>
                <a:gd name="connsiteX12" fmla="*/ 656975 w 697822"/>
                <a:gd name="connsiteY12" fmla="*/ 388810 h 596062"/>
                <a:gd name="connsiteX13" fmla="*/ 657229 w 697822"/>
                <a:gd name="connsiteY13" fmla="*/ 393244 h 596062"/>
                <a:gd name="connsiteX14" fmla="*/ 657356 w 697822"/>
                <a:gd name="connsiteY14" fmla="*/ 397298 h 596062"/>
                <a:gd name="connsiteX15" fmla="*/ 657356 w 697822"/>
                <a:gd name="connsiteY15" fmla="*/ 404392 h 596062"/>
                <a:gd name="connsiteX16" fmla="*/ 657229 w 697822"/>
                <a:gd name="connsiteY16" fmla="*/ 407432 h 596062"/>
                <a:gd name="connsiteX17" fmla="*/ 651275 w 697822"/>
                <a:gd name="connsiteY17" fmla="*/ 439103 h 596062"/>
                <a:gd name="connsiteX18" fmla="*/ 650008 w 697822"/>
                <a:gd name="connsiteY18" fmla="*/ 441510 h 596062"/>
                <a:gd name="connsiteX19" fmla="*/ 648614 w 697822"/>
                <a:gd name="connsiteY19" fmla="*/ 443664 h 596062"/>
                <a:gd name="connsiteX20" fmla="*/ 647094 w 697822"/>
                <a:gd name="connsiteY20" fmla="*/ 445564 h 596062"/>
                <a:gd name="connsiteX21" fmla="*/ 645447 w 697822"/>
                <a:gd name="connsiteY21" fmla="*/ 447337 h 596062"/>
                <a:gd name="connsiteX22" fmla="*/ 644814 w 697822"/>
                <a:gd name="connsiteY22" fmla="*/ 447844 h 596062"/>
                <a:gd name="connsiteX23" fmla="*/ 640254 w 697822"/>
                <a:gd name="connsiteY23" fmla="*/ 450758 h 596062"/>
                <a:gd name="connsiteX24" fmla="*/ 637213 w 697822"/>
                <a:gd name="connsiteY24" fmla="*/ 451644 h 596062"/>
                <a:gd name="connsiteX25" fmla="*/ 633793 w 697822"/>
                <a:gd name="connsiteY25" fmla="*/ 452024 h 596062"/>
                <a:gd name="connsiteX26" fmla="*/ 552969 w 697822"/>
                <a:gd name="connsiteY26" fmla="*/ 464186 h 596062"/>
                <a:gd name="connsiteX27" fmla="*/ 507363 w 697822"/>
                <a:gd name="connsiteY27" fmla="*/ 456965 h 596062"/>
                <a:gd name="connsiteX28" fmla="*/ 499382 w 697822"/>
                <a:gd name="connsiteY28" fmla="*/ 538802 h 596062"/>
                <a:gd name="connsiteX29" fmla="*/ 426287 w 697822"/>
                <a:gd name="connsiteY29" fmla="*/ 596063 h 596062"/>
                <a:gd name="connsiteX30" fmla="*/ 410325 w 697822"/>
                <a:gd name="connsiteY30" fmla="*/ 584281 h 596062"/>
                <a:gd name="connsiteX31" fmla="*/ 398670 w 697822"/>
                <a:gd name="connsiteY31" fmla="*/ 563252 h 596062"/>
                <a:gd name="connsiteX32" fmla="*/ 397276 w 697822"/>
                <a:gd name="connsiteY32" fmla="*/ 543489 h 596062"/>
                <a:gd name="connsiteX33" fmla="*/ 367633 w 697822"/>
                <a:gd name="connsiteY33" fmla="*/ 522967 h 596062"/>
                <a:gd name="connsiteX34" fmla="*/ 353318 w 697822"/>
                <a:gd name="connsiteY34" fmla="*/ 515492 h 596062"/>
                <a:gd name="connsiteX35" fmla="*/ 334189 w 697822"/>
                <a:gd name="connsiteY35" fmla="*/ 475587 h 596062"/>
                <a:gd name="connsiteX36" fmla="*/ 327601 w 697822"/>
                <a:gd name="connsiteY36" fmla="*/ 436316 h 596062"/>
                <a:gd name="connsiteX37" fmla="*/ 315693 w 697822"/>
                <a:gd name="connsiteY37" fmla="*/ 411866 h 596062"/>
                <a:gd name="connsiteX38" fmla="*/ 306065 w 697822"/>
                <a:gd name="connsiteY38" fmla="*/ 385770 h 596062"/>
                <a:gd name="connsiteX39" fmla="*/ 256912 w 697822"/>
                <a:gd name="connsiteY39" fmla="*/ 368921 h 596062"/>
                <a:gd name="connsiteX40" fmla="*/ 213080 w 697822"/>
                <a:gd name="connsiteY40" fmla="*/ 322175 h 596062"/>
                <a:gd name="connsiteX41" fmla="*/ 211940 w 697822"/>
                <a:gd name="connsiteY41" fmla="*/ 319514 h 596062"/>
                <a:gd name="connsiteX42" fmla="*/ 211560 w 697822"/>
                <a:gd name="connsiteY42" fmla="*/ 319008 h 596062"/>
                <a:gd name="connsiteX43" fmla="*/ 204212 w 697822"/>
                <a:gd name="connsiteY43" fmla="*/ 255160 h 596062"/>
                <a:gd name="connsiteX44" fmla="*/ 184450 w 697822"/>
                <a:gd name="connsiteY44" fmla="*/ 228810 h 596062"/>
                <a:gd name="connsiteX45" fmla="*/ 174188 w 697822"/>
                <a:gd name="connsiteY45" fmla="*/ 188145 h 596062"/>
                <a:gd name="connsiteX46" fmla="*/ 134284 w 697822"/>
                <a:gd name="connsiteY46" fmla="*/ 216902 h 596062"/>
                <a:gd name="connsiteX47" fmla="*/ 110214 w 697822"/>
                <a:gd name="connsiteY47" fmla="*/ 200053 h 596062"/>
                <a:gd name="connsiteX48" fmla="*/ 72336 w 697822"/>
                <a:gd name="connsiteY48" fmla="*/ 190552 h 596062"/>
                <a:gd name="connsiteX49" fmla="*/ 53587 w 697822"/>
                <a:gd name="connsiteY49" fmla="*/ 160528 h 596062"/>
                <a:gd name="connsiteX50" fmla="*/ 12288 w 697822"/>
                <a:gd name="connsiteY50" fmla="*/ 146720 h 596062"/>
                <a:gd name="connsiteX51" fmla="*/ 0 w 697822"/>
                <a:gd name="connsiteY51" fmla="*/ 111122 h 596062"/>
                <a:gd name="connsiteX52" fmla="*/ 27743 w 697822"/>
                <a:gd name="connsiteY52" fmla="*/ 95667 h 596062"/>
                <a:gd name="connsiteX53" fmla="*/ 56881 w 697822"/>
                <a:gd name="connsiteY53" fmla="*/ 103394 h 596062"/>
                <a:gd name="connsiteX54" fmla="*/ 73222 w 697822"/>
                <a:gd name="connsiteY54" fmla="*/ 118723 h 596062"/>
                <a:gd name="connsiteX55" fmla="*/ 143025 w 697822"/>
                <a:gd name="connsiteY55" fmla="*/ 69697 h 596062"/>
                <a:gd name="connsiteX56" fmla="*/ 128583 w 697822"/>
                <a:gd name="connsiteY56" fmla="*/ 32072 h 596062"/>
                <a:gd name="connsiteX57" fmla="*/ 152399 w 697822"/>
                <a:gd name="connsiteY57" fmla="*/ 16237 h 596062"/>
                <a:gd name="connsiteX58" fmla="*/ 217007 w 697822"/>
                <a:gd name="connsiteY58" fmla="*/ 6862 h 596062"/>
                <a:gd name="connsiteX59" fmla="*/ 286556 w 697822"/>
                <a:gd name="connsiteY59" fmla="*/ 21684 h 596062"/>
                <a:gd name="connsiteX60" fmla="*/ 369280 w 697822"/>
                <a:gd name="connsiteY60" fmla="*/ 2301 h 596062"/>
                <a:gd name="connsiteX61" fmla="*/ 386508 w 697822"/>
                <a:gd name="connsiteY61" fmla="*/ 21811 h 596062"/>
                <a:gd name="connsiteX62" fmla="*/ 412225 w 697822"/>
                <a:gd name="connsiteY62" fmla="*/ 22191 h 596062"/>
                <a:gd name="connsiteX63" fmla="*/ 423120 w 697822"/>
                <a:gd name="connsiteY63" fmla="*/ 42840 h 596062"/>
                <a:gd name="connsiteX64" fmla="*/ 451116 w 697822"/>
                <a:gd name="connsiteY64" fmla="*/ 31945 h 596062"/>
                <a:gd name="connsiteX65" fmla="*/ 469992 w 697822"/>
                <a:gd name="connsiteY65" fmla="*/ 74637 h 596062"/>
                <a:gd name="connsiteX66" fmla="*/ 455550 w 697822"/>
                <a:gd name="connsiteY66" fmla="*/ 104028 h 596062"/>
                <a:gd name="connsiteX67" fmla="*/ 472019 w 697822"/>
                <a:gd name="connsiteY67" fmla="*/ 128731 h 596062"/>
                <a:gd name="connsiteX68" fmla="*/ 458464 w 697822"/>
                <a:gd name="connsiteY68" fmla="*/ 166355 h 596062"/>
                <a:gd name="connsiteX69" fmla="*/ 495835 w 697822"/>
                <a:gd name="connsiteY69" fmla="*/ 193972 h 596062"/>
                <a:gd name="connsiteX70" fmla="*/ 494822 w 697822"/>
                <a:gd name="connsiteY70" fmla="*/ 200686 h 596062"/>
                <a:gd name="connsiteX71" fmla="*/ 488234 w 697822"/>
                <a:gd name="connsiteY71" fmla="*/ 225136 h 596062"/>
                <a:gd name="connsiteX72" fmla="*/ 504703 w 697822"/>
                <a:gd name="connsiteY72" fmla="*/ 265421 h 596062"/>
                <a:gd name="connsiteX73" fmla="*/ 569438 w 697822"/>
                <a:gd name="connsiteY73" fmla="*/ 270362 h 596062"/>
                <a:gd name="connsiteX74" fmla="*/ 579953 w 697822"/>
                <a:gd name="connsiteY74" fmla="*/ 294432 h 596062"/>
                <a:gd name="connsiteX75" fmla="*/ 601108 w 697822"/>
                <a:gd name="connsiteY75" fmla="*/ 272642 h 596062"/>
                <a:gd name="connsiteX76" fmla="*/ 604782 w 697822"/>
                <a:gd name="connsiteY76" fmla="*/ 244265 h 596062"/>
                <a:gd name="connsiteX77" fmla="*/ 638480 w 697822"/>
                <a:gd name="connsiteY77" fmla="*/ 236031 h 596062"/>
                <a:gd name="connsiteX78" fmla="*/ 666857 w 697822"/>
                <a:gd name="connsiteY78" fmla="*/ 212594 h 596062"/>
                <a:gd name="connsiteX79" fmla="*/ 689913 w 697822"/>
                <a:gd name="connsiteY79" fmla="*/ 251993 h 59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7822" h="596062">
                  <a:moveTo>
                    <a:pt x="689913" y="251993"/>
                  </a:moveTo>
                  <a:cubicBezTo>
                    <a:pt x="667744" y="263901"/>
                    <a:pt x="626825" y="273782"/>
                    <a:pt x="640760" y="286957"/>
                  </a:cubicBezTo>
                  <a:cubicBezTo>
                    <a:pt x="654568" y="300132"/>
                    <a:pt x="679652" y="308746"/>
                    <a:pt x="660903" y="327242"/>
                  </a:cubicBezTo>
                  <a:cubicBezTo>
                    <a:pt x="642154" y="345738"/>
                    <a:pt x="650008" y="346751"/>
                    <a:pt x="653302" y="359546"/>
                  </a:cubicBezTo>
                  <a:cubicBezTo>
                    <a:pt x="653428" y="360053"/>
                    <a:pt x="653555" y="360813"/>
                    <a:pt x="653808" y="361700"/>
                  </a:cubicBezTo>
                  <a:cubicBezTo>
                    <a:pt x="654062" y="362713"/>
                    <a:pt x="654315" y="363853"/>
                    <a:pt x="654442" y="365247"/>
                  </a:cubicBezTo>
                  <a:cubicBezTo>
                    <a:pt x="654568" y="366260"/>
                    <a:pt x="654822" y="367400"/>
                    <a:pt x="654949" y="368541"/>
                  </a:cubicBezTo>
                  <a:cubicBezTo>
                    <a:pt x="655075" y="369554"/>
                    <a:pt x="655202" y="370568"/>
                    <a:pt x="655329" y="371454"/>
                  </a:cubicBezTo>
                  <a:cubicBezTo>
                    <a:pt x="655455" y="372088"/>
                    <a:pt x="655455" y="372721"/>
                    <a:pt x="655582" y="373355"/>
                  </a:cubicBezTo>
                  <a:cubicBezTo>
                    <a:pt x="655709" y="374368"/>
                    <a:pt x="655835" y="375382"/>
                    <a:pt x="655962" y="376522"/>
                  </a:cubicBezTo>
                  <a:cubicBezTo>
                    <a:pt x="656215" y="379055"/>
                    <a:pt x="656469" y="381716"/>
                    <a:pt x="656722" y="384503"/>
                  </a:cubicBezTo>
                  <a:cubicBezTo>
                    <a:pt x="656849" y="385390"/>
                    <a:pt x="656849" y="386403"/>
                    <a:pt x="656849" y="387416"/>
                  </a:cubicBezTo>
                  <a:cubicBezTo>
                    <a:pt x="656849" y="387797"/>
                    <a:pt x="656975" y="388303"/>
                    <a:pt x="656975" y="388810"/>
                  </a:cubicBezTo>
                  <a:cubicBezTo>
                    <a:pt x="657102" y="390204"/>
                    <a:pt x="657102" y="391850"/>
                    <a:pt x="657229" y="393244"/>
                  </a:cubicBezTo>
                  <a:cubicBezTo>
                    <a:pt x="657356" y="394637"/>
                    <a:pt x="657356" y="396031"/>
                    <a:pt x="657356" y="397298"/>
                  </a:cubicBezTo>
                  <a:cubicBezTo>
                    <a:pt x="657356" y="399578"/>
                    <a:pt x="657356" y="402112"/>
                    <a:pt x="657356" y="404392"/>
                  </a:cubicBezTo>
                  <a:cubicBezTo>
                    <a:pt x="657356" y="405405"/>
                    <a:pt x="657356" y="406419"/>
                    <a:pt x="657229" y="407432"/>
                  </a:cubicBezTo>
                  <a:cubicBezTo>
                    <a:pt x="656849" y="419214"/>
                    <a:pt x="655075" y="430742"/>
                    <a:pt x="651275" y="439103"/>
                  </a:cubicBezTo>
                  <a:cubicBezTo>
                    <a:pt x="650895" y="439863"/>
                    <a:pt x="650515" y="440750"/>
                    <a:pt x="650008" y="441510"/>
                  </a:cubicBezTo>
                  <a:cubicBezTo>
                    <a:pt x="649628" y="442270"/>
                    <a:pt x="649121" y="443030"/>
                    <a:pt x="648614" y="443664"/>
                  </a:cubicBezTo>
                  <a:cubicBezTo>
                    <a:pt x="648108" y="444424"/>
                    <a:pt x="647601" y="445057"/>
                    <a:pt x="647094" y="445564"/>
                  </a:cubicBezTo>
                  <a:cubicBezTo>
                    <a:pt x="646588" y="446197"/>
                    <a:pt x="646081" y="446831"/>
                    <a:pt x="645447" y="447337"/>
                  </a:cubicBezTo>
                  <a:cubicBezTo>
                    <a:pt x="645194" y="447591"/>
                    <a:pt x="645067" y="447717"/>
                    <a:pt x="644814" y="447844"/>
                  </a:cubicBezTo>
                  <a:cubicBezTo>
                    <a:pt x="643421" y="449111"/>
                    <a:pt x="641900" y="449998"/>
                    <a:pt x="640254" y="450758"/>
                  </a:cubicBezTo>
                  <a:cubicBezTo>
                    <a:pt x="639240" y="451138"/>
                    <a:pt x="638227" y="451518"/>
                    <a:pt x="637213" y="451644"/>
                  </a:cubicBezTo>
                  <a:cubicBezTo>
                    <a:pt x="636200" y="451898"/>
                    <a:pt x="635059" y="452024"/>
                    <a:pt x="633793" y="452024"/>
                  </a:cubicBezTo>
                  <a:cubicBezTo>
                    <a:pt x="601108" y="453038"/>
                    <a:pt x="566144" y="474827"/>
                    <a:pt x="552969" y="464186"/>
                  </a:cubicBezTo>
                  <a:cubicBezTo>
                    <a:pt x="539794" y="453671"/>
                    <a:pt x="501536" y="433909"/>
                    <a:pt x="507363" y="456965"/>
                  </a:cubicBezTo>
                  <a:cubicBezTo>
                    <a:pt x="513318" y="480021"/>
                    <a:pt x="532447" y="520940"/>
                    <a:pt x="499382" y="538802"/>
                  </a:cubicBezTo>
                  <a:cubicBezTo>
                    <a:pt x="466445" y="556664"/>
                    <a:pt x="452510" y="563885"/>
                    <a:pt x="426287" y="596063"/>
                  </a:cubicBezTo>
                  <a:cubicBezTo>
                    <a:pt x="423753" y="590615"/>
                    <a:pt x="416912" y="587702"/>
                    <a:pt x="410325" y="584281"/>
                  </a:cubicBezTo>
                  <a:cubicBezTo>
                    <a:pt x="401077" y="579467"/>
                    <a:pt x="395249" y="574020"/>
                    <a:pt x="398670" y="563252"/>
                  </a:cubicBezTo>
                  <a:cubicBezTo>
                    <a:pt x="401330" y="555017"/>
                    <a:pt x="405257" y="549950"/>
                    <a:pt x="397276" y="543489"/>
                  </a:cubicBezTo>
                  <a:cubicBezTo>
                    <a:pt x="387902" y="535888"/>
                    <a:pt x="376880" y="530821"/>
                    <a:pt x="367633" y="522967"/>
                  </a:cubicBezTo>
                  <a:cubicBezTo>
                    <a:pt x="362312" y="518406"/>
                    <a:pt x="358258" y="514985"/>
                    <a:pt x="353318" y="515492"/>
                  </a:cubicBezTo>
                  <a:cubicBezTo>
                    <a:pt x="358638" y="495857"/>
                    <a:pt x="345337" y="484202"/>
                    <a:pt x="334189" y="475587"/>
                  </a:cubicBezTo>
                  <a:cubicBezTo>
                    <a:pt x="323040" y="466973"/>
                    <a:pt x="325701" y="448224"/>
                    <a:pt x="327601" y="436316"/>
                  </a:cubicBezTo>
                  <a:cubicBezTo>
                    <a:pt x="329628" y="424408"/>
                    <a:pt x="324561" y="419847"/>
                    <a:pt x="315693" y="411866"/>
                  </a:cubicBezTo>
                  <a:cubicBezTo>
                    <a:pt x="306825" y="403885"/>
                    <a:pt x="311766" y="399325"/>
                    <a:pt x="306065" y="385770"/>
                  </a:cubicBezTo>
                  <a:cubicBezTo>
                    <a:pt x="300491" y="372214"/>
                    <a:pt x="281995" y="368287"/>
                    <a:pt x="256912" y="368921"/>
                  </a:cubicBezTo>
                  <a:cubicBezTo>
                    <a:pt x="231829" y="369554"/>
                    <a:pt x="216374" y="336997"/>
                    <a:pt x="213080" y="322175"/>
                  </a:cubicBezTo>
                  <a:cubicBezTo>
                    <a:pt x="212827" y="320908"/>
                    <a:pt x="212447" y="320021"/>
                    <a:pt x="211940" y="319514"/>
                  </a:cubicBezTo>
                  <a:cubicBezTo>
                    <a:pt x="211813" y="319388"/>
                    <a:pt x="211687" y="319261"/>
                    <a:pt x="211560" y="319008"/>
                  </a:cubicBezTo>
                  <a:cubicBezTo>
                    <a:pt x="195598" y="302919"/>
                    <a:pt x="193064" y="264281"/>
                    <a:pt x="204212" y="255160"/>
                  </a:cubicBezTo>
                  <a:cubicBezTo>
                    <a:pt x="215360" y="245912"/>
                    <a:pt x="202565" y="234384"/>
                    <a:pt x="184450" y="228810"/>
                  </a:cubicBezTo>
                  <a:cubicBezTo>
                    <a:pt x="166334" y="223236"/>
                    <a:pt x="190024" y="184978"/>
                    <a:pt x="174188" y="188145"/>
                  </a:cubicBezTo>
                  <a:cubicBezTo>
                    <a:pt x="158353" y="191439"/>
                    <a:pt x="150119" y="201700"/>
                    <a:pt x="134284" y="216902"/>
                  </a:cubicBezTo>
                  <a:cubicBezTo>
                    <a:pt x="118448" y="232104"/>
                    <a:pt x="120095" y="212594"/>
                    <a:pt x="110214" y="200053"/>
                  </a:cubicBezTo>
                  <a:cubicBezTo>
                    <a:pt x="100333" y="187512"/>
                    <a:pt x="91465" y="190552"/>
                    <a:pt x="72336" y="190552"/>
                  </a:cubicBezTo>
                  <a:cubicBezTo>
                    <a:pt x="53207" y="190552"/>
                    <a:pt x="57767" y="174970"/>
                    <a:pt x="53587" y="160528"/>
                  </a:cubicBezTo>
                  <a:cubicBezTo>
                    <a:pt x="49279" y="146086"/>
                    <a:pt x="27870" y="147353"/>
                    <a:pt x="12288" y="146720"/>
                  </a:cubicBezTo>
                  <a:cubicBezTo>
                    <a:pt x="2534" y="146340"/>
                    <a:pt x="887" y="129364"/>
                    <a:pt x="0" y="111122"/>
                  </a:cubicBezTo>
                  <a:cubicBezTo>
                    <a:pt x="0" y="111122"/>
                    <a:pt x="12542" y="96300"/>
                    <a:pt x="27743" y="95667"/>
                  </a:cubicBezTo>
                  <a:cubicBezTo>
                    <a:pt x="42945" y="95033"/>
                    <a:pt x="58401" y="89966"/>
                    <a:pt x="56881" y="103394"/>
                  </a:cubicBezTo>
                  <a:cubicBezTo>
                    <a:pt x="55360" y="116822"/>
                    <a:pt x="56374" y="130124"/>
                    <a:pt x="73222" y="118723"/>
                  </a:cubicBezTo>
                  <a:cubicBezTo>
                    <a:pt x="90071" y="107321"/>
                    <a:pt x="145051" y="86546"/>
                    <a:pt x="143025" y="69697"/>
                  </a:cubicBezTo>
                  <a:cubicBezTo>
                    <a:pt x="140998" y="52848"/>
                    <a:pt x="126176" y="43980"/>
                    <a:pt x="128583" y="32072"/>
                  </a:cubicBezTo>
                  <a:cubicBezTo>
                    <a:pt x="131116" y="20164"/>
                    <a:pt x="137957" y="22191"/>
                    <a:pt x="152399" y="16237"/>
                  </a:cubicBezTo>
                  <a:cubicBezTo>
                    <a:pt x="164941" y="11043"/>
                    <a:pt x="210293" y="16110"/>
                    <a:pt x="217007" y="6862"/>
                  </a:cubicBezTo>
                  <a:cubicBezTo>
                    <a:pt x="226762" y="10662"/>
                    <a:pt x="262866" y="23838"/>
                    <a:pt x="286556" y="21684"/>
                  </a:cubicBezTo>
                  <a:cubicBezTo>
                    <a:pt x="314299" y="19277"/>
                    <a:pt x="364719" y="-7960"/>
                    <a:pt x="369280" y="2301"/>
                  </a:cubicBezTo>
                  <a:cubicBezTo>
                    <a:pt x="373713" y="12689"/>
                    <a:pt x="375234" y="24598"/>
                    <a:pt x="386508" y="21811"/>
                  </a:cubicBezTo>
                  <a:cubicBezTo>
                    <a:pt x="397910" y="19150"/>
                    <a:pt x="412225" y="10916"/>
                    <a:pt x="412225" y="22191"/>
                  </a:cubicBezTo>
                  <a:cubicBezTo>
                    <a:pt x="412225" y="33466"/>
                    <a:pt x="409691" y="47274"/>
                    <a:pt x="423120" y="42840"/>
                  </a:cubicBezTo>
                  <a:cubicBezTo>
                    <a:pt x="430594" y="40306"/>
                    <a:pt x="442122" y="37393"/>
                    <a:pt x="451116" y="31945"/>
                  </a:cubicBezTo>
                  <a:cubicBezTo>
                    <a:pt x="451116" y="31945"/>
                    <a:pt x="479493" y="64376"/>
                    <a:pt x="469992" y="74637"/>
                  </a:cubicBezTo>
                  <a:cubicBezTo>
                    <a:pt x="460491" y="84899"/>
                    <a:pt x="452130" y="92753"/>
                    <a:pt x="455550" y="104028"/>
                  </a:cubicBezTo>
                  <a:cubicBezTo>
                    <a:pt x="458844" y="115302"/>
                    <a:pt x="481900" y="114542"/>
                    <a:pt x="472019" y="128731"/>
                  </a:cubicBezTo>
                  <a:cubicBezTo>
                    <a:pt x="462138" y="142919"/>
                    <a:pt x="449216" y="153180"/>
                    <a:pt x="458464" y="166355"/>
                  </a:cubicBezTo>
                  <a:cubicBezTo>
                    <a:pt x="465558" y="176490"/>
                    <a:pt x="490135" y="186118"/>
                    <a:pt x="495835" y="193972"/>
                  </a:cubicBezTo>
                  <a:cubicBezTo>
                    <a:pt x="497482" y="196379"/>
                    <a:pt x="497482" y="198659"/>
                    <a:pt x="494822" y="200686"/>
                  </a:cubicBezTo>
                  <a:cubicBezTo>
                    <a:pt x="482914" y="209554"/>
                    <a:pt x="474046" y="218802"/>
                    <a:pt x="488234" y="225136"/>
                  </a:cubicBezTo>
                  <a:cubicBezTo>
                    <a:pt x="502423" y="231470"/>
                    <a:pt x="490515" y="264788"/>
                    <a:pt x="504703" y="265421"/>
                  </a:cubicBezTo>
                  <a:cubicBezTo>
                    <a:pt x="518892" y="266054"/>
                    <a:pt x="574379" y="254146"/>
                    <a:pt x="569438" y="270362"/>
                  </a:cubicBezTo>
                  <a:cubicBezTo>
                    <a:pt x="564497" y="286577"/>
                    <a:pt x="572352" y="299752"/>
                    <a:pt x="579953" y="294432"/>
                  </a:cubicBezTo>
                  <a:cubicBezTo>
                    <a:pt x="587554" y="289111"/>
                    <a:pt x="605416" y="288477"/>
                    <a:pt x="601108" y="272642"/>
                  </a:cubicBezTo>
                  <a:cubicBezTo>
                    <a:pt x="596801" y="256807"/>
                    <a:pt x="583246" y="245532"/>
                    <a:pt x="604782" y="244265"/>
                  </a:cubicBezTo>
                  <a:cubicBezTo>
                    <a:pt x="626192" y="242998"/>
                    <a:pt x="633539" y="247939"/>
                    <a:pt x="638480" y="236031"/>
                  </a:cubicBezTo>
                  <a:cubicBezTo>
                    <a:pt x="643421" y="224123"/>
                    <a:pt x="650768" y="205374"/>
                    <a:pt x="666857" y="212594"/>
                  </a:cubicBezTo>
                  <a:cubicBezTo>
                    <a:pt x="682565" y="219942"/>
                    <a:pt x="711956" y="240211"/>
                    <a:pt x="689913" y="251993"/>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2" name="Полилиния: фигура 701">
              <a:extLst>
                <a:ext uri="{FF2B5EF4-FFF2-40B4-BE49-F238E27FC236}">
                  <a16:creationId xmlns:a16="http://schemas.microsoft.com/office/drawing/2014/main" id="{8B54549B-40D5-4974-A33C-CD3D7D9C24F3}"/>
                </a:ext>
              </a:extLst>
            </p:cNvPr>
            <p:cNvSpPr/>
            <p:nvPr/>
          </p:nvSpPr>
          <p:spPr>
            <a:xfrm>
              <a:off x="2028523" y="2639478"/>
              <a:ext cx="717754" cy="571591"/>
            </a:xfrm>
            <a:custGeom>
              <a:avLst/>
              <a:gdLst>
                <a:gd name="connsiteX0" fmla="*/ 711829 w 717754"/>
                <a:gd name="connsiteY0" fmla="*/ 321267 h 571591"/>
                <a:gd name="connsiteX1" fmla="*/ 707268 w 717754"/>
                <a:gd name="connsiteY1" fmla="*/ 331275 h 571591"/>
                <a:gd name="connsiteX2" fmla="*/ 663310 w 717754"/>
                <a:gd name="connsiteY2" fmla="*/ 352937 h 571591"/>
                <a:gd name="connsiteX3" fmla="*/ 632652 w 717754"/>
                <a:gd name="connsiteY3" fmla="*/ 378654 h 571591"/>
                <a:gd name="connsiteX4" fmla="*/ 619224 w 717754"/>
                <a:gd name="connsiteY4" fmla="*/ 421853 h 571591"/>
                <a:gd name="connsiteX5" fmla="*/ 590974 w 717754"/>
                <a:gd name="connsiteY5" fmla="*/ 461504 h 571591"/>
                <a:gd name="connsiteX6" fmla="*/ 588567 w 717754"/>
                <a:gd name="connsiteY6" fmla="*/ 501156 h 571591"/>
                <a:gd name="connsiteX7" fmla="*/ 547522 w 717754"/>
                <a:gd name="connsiteY7" fmla="*/ 553096 h 571591"/>
                <a:gd name="connsiteX8" fmla="*/ 514458 w 717754"/>
                <a:gd name="connsiteY8" fmla="*/ 571591 h 571591"/>
                <a:gd name="connsiteX9" fmla="*/ 515471 w 717754"/>
                <a:gd name="connsiteY9" fmla="*/ 569564 h 571591"/>
                <a:gd name="connsiteX10" fmla="*/ 515598 w 717754"/>
                <a:gd name="connsiteY10" fmla="*/ 569311 h 571591"/>
                <a:gd name="connsiteX11" fmla="*/ 516105 w 717754"/>
                <a:gd name="connsiteY11" fmla="*/ 567918 h 571591"/>
                <a:gd name="connsiteX12" fmla="*/ 516485 w 717754"/>
                <a:gd name="connsiteY12" fmla="*/ 566271 h 571591"/>
                <a:gd name="connsiteX13" fmla="*/ 516485 w 717754"/>
                <a:gd name="connsiteY13" fmla="*/ 563230 h 571591"/>
                <a:gd name="connsiteX14" fmla="*/ 516105 w 717754"/>
                <a:gd name="connsiteY14" fmla="*/ 561837 h 571591"/>
                <a:gd name="connsiteX15" fmla="*/ 515471 w 717754"/>
                <a:gd name="connsiteY15" fmla="*/ 560443 h 571591"/>
                <a:gd name="connsiteX16" fmla="*/ 514964 w 717754"/>
                <a:gd name="connsiteY16" fmla="*/ 559683 h 571591"/>
                <a:gd name="connsiteX17" fmla="*/ 514331 w 717754"/>
                <a:gd name="connsiteY17" fmla="*/ 558923 h 571591"/>
                <a:gd name="connsiteX18" fmla="*/ 508377 w 717754"/>
                <a:gd name="connsiteY18" fmla="*/ 554743 h 571591"/>
                <a:gd name="connsiteX19" fmla="*/ 447062 w 717754"/>
                <a:gd name="connsiteY19" fmla="*/ 512177 h 571591"/>
                <a:gd name="connsiteX20" fmla="*/ 400570 w 717754"/>
                <a:gd name="connsiteY20" fmla="*/ 494315 h 571591"/>
                <a:gd name="connsiteX21" fmla="*/ 352557 w 717754"/>
                <a:gd name="connsiteY21" fmla="*/ 470119 h 571591"/>
                <a:gd name="connsiteX22" fmla="*/ 309485 w 717754"/>
                <a:gd name="connsiteY22" fmla="*/ 443895 h 571591"/>
                <a:gd name="connsiteX23" fmla="*/ 313413 w 717754"/>
                <a:gd name="connsiteY23" fmla="*/ 379541 h 571591"/>
                <a:gd name="connsiteX24" fmla="*/ 258939 w 717754"/>
                <a:gd name="connsiteY24" fmla="*/ 403357 h 571591"/>
                <a:gd name="connsiteX25" fmla="*/ 212320 w 717754"/>
                <a:gd name="connsiteY25" fmla="*/ 389295 h 571591"/>
                <a:gd name="connsiteX26" fmla="*/ 212193 w 717754"/>
                <a:gd name="connsiteY26" fmla="*/ 389042 h 571591"/>
                <a:gd name="connsiteX27" fmla="*/ 195471 w 717754"/>
                <a:gd name="connsiteY27" fmla="*/ 357751 h 571591"/>
                <a:gd name="connsiteX28" fmla="*/ 171781 w 717754"/>
                <a:gd name="connsiteY28" fmla="*/ 317720 h 571591"/>
                <a:gd name="connsiteX29" fmla="*/ 83991 w 717754"/>
                <a:gd name="connsiteY29" fmla="*/ 285162 h 571591"/>
                <a:gd name="connsiteX30" fmla="*/ 37371 w 717754"/>
                <a:gd name="connsiteY30" fmla="*/ 237276 h 571591"/>
                <a:gd name="connsiteX31" fmla="*/ 27237 w 717754"/>
                <a:gd name="connsiteY31" fmla="*/ 203959 h 571591"/>
                <a:gd name="connsiteX32" fmla="*/ 7221 w 717754"/>
                <a:gd name="connsiteY32" fmla="*/ 161140 h 571591"/>
                <a:gd name="connsiteX33" fmla="*/ 5701 w 717754"/>
                <a:gd name="connsiteY33" fmla="*/ 158100 h 571591"/>
                <a:gd name="connsiteX34" fmla="*/ 3547 w 717754"/>
                <a:gd name="connsiteY34" fmla="*/ 153413 h 571591"/>
                <a:gd name="connsiteX35" fmla="*/ 1900 w 717754"/>
                <a:gd name="connsiteY35" fmla="*/ 149739 h 571591"/>
                <a:gd name="connsiteX36" fmla="*/ 0 w 717754"/>
                <a:gd name="connsiteY36" fmla="*/ 146192 h 571591"/>
                <a:gd name="connsiteX37" fmla="*/ 73349 w 717754"/>
                <a:gd name="connsiteY37" fmla="*/ 101093 h 571591"/>
                <a:gd name="connsiteX38" fmla="*/ 78797 w 717754"/>
                <a:gd name="connsiteY38" fmla="*/ 58021 h 571591"/>
                <a:gd name="connsiteX39" fmla="*/ 71956 w 717754"/>
                <a:gd name="connsiteY39" fmla="*/ 32304 h 571591"/>
                <a:gd name="connsiteX40" fmla="*/ 103626 w 717754"/>
                <a:gd name="connsiteY40" fmla="*/ 1647 h 571591"/>
                <a:gd name="connsiteX41" fmla="*/ 129470 w 717754"/>
                <a:gd name="connsiteY41" fmla="*/ 0 h 571591"/>
                <a:gd name="connsiteX42" fmla="*/ 153919 w 717754"/>
                <a:gd name="connsiteY42" fmla="*/ 24450 h 571591"/>
                <a:gd name="connsiteX43" fmla="*/ 202059 w 717754"/>
                <a:gd name="connsiteY43" fmla="*/ 39271 h 571591"/>
                <a:gd name="connsiteX44" fmla="*/ 254505 w 717754"/>
                <a:gd name="connsiteY44" fmla="*/ 72969 h 571591"/>
                <a:gd name="connsiteX45" fmla="*/ 314933 w 717754"/>
                <a:gd name="connsiteY45" fmla="*/ 69549 h 571591"/>
                <a:gd name="connsiteX46" fmla="*/ 332288 w 717754"/>
                <a:gd name="connsiteY46" fmla="*/ 86904 h 571591"/>
                <a:gd name="connsiteX47" fmla="*/ 364972 w 717754"/>
                <a:gd name="connsiteY47" fmla="*/ 109200 h 571591"/>
                <a:gd name="connsiteX48" fmla="*/ 422359 w 717754"/>
                <a:gd name="connsiteY48" fmla="*/ 85511 h 571591"/>
                <a:gd name="connsiteX49" fmla="*/ 427807 w 717754"/>
                <a:gd name="connsiteY49" fmla="*/ 51813 h 571591"/>
                <a:gd name="connsiteX50" fmla="*/ 467965 w 717754"/>
                <a:gd name="connsiteY50" fmla="*/ 84497 h 571591"/>
                <a:gd name="connsiteX51" fmla="*/ 495709 w 717754"/>
                <a:gd name="connsiteY51" fmla="*/ 93365 h 571591"/>
                <a:gd name="connsiteX52" fmla="*/ 495709 w 717754"/>
                <a:gd name="connsiteY52" fmla="*/ 156200 h 571591"/>
                <a:gd name="connsiteX53" fmla="*/ 516738 w 717754"/>
                <a:gd name="connsiteY53" fmla="*/ 163674 h 571591"/>
                <a:gd name="connsiteX54" fmla="*/ 547268 w 717754"/>
                <a:gd name="connsiteY54" fmla="*/ 184956 h 571591"/>
                <a:gd name="connsiteX55" fmla="*/ 588820 w 717754"/>
                <a:gd name="connsiteY55" fmla="*/ 184956 h 571591"/>
                <a:gd name="connsiteX56" fmla="*/ 632399 w 717754"/>
                <a:gd name="connsiteY56" fmla="*/ 246777 h 571591"/>
                <a:gd name="connsiteX57" fmla="*/ 652415 w 717754"/>
                <a:gd name="connsiteY57" fmla="*/ 254252 h 571591"/>
                <a:gd name="connsiteX58" fmla="*/ 699667 w 717754"/>
                <a:gd name="connsiteY58" fmla="*/ 254252 h 571591"/>
                <a:gd name="connsiteX59" fmla="*/ 711829 w 717754"/>
                <a:gd name="connsiteY59" fmla="*/ 321267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7754" h="571591">
                  <a:moveTo>
                    <a:pt x="711829" y="321267"/>
                  </a:moveTo>
                  <a:cubicBezTo>
                    <a:pt x="710816" y="325321"/>
                    <a:pt x="709295" y="328614"/>
                    <a:pt x="707268" y="331275"/>
                  </a:cubicBezTo>
                  <a:cubicBezTo>
                    <a:pt x="697134" y="345463"/>
                    <a:pt x="676231" y="343816"/>
                    <a:pt x="663310" y="352937"/>
                  </a:cubicBezTo>
                  <a:cubicBezTo>
                    <a:pt x="647981" y="363832"/>
                    <a:pt x="647981" y="369279"/>
                    <a:pt x="632652" y="378654"/>
                  </a:cubicBezTo>
                  <a:cubicBezTo>
                    <a:pt x="617324" y="387902"/>
                    <a:pt x="618844" y="402977"/>
                    <a:pt x="619224" y="421853"/>
                  </a:cubicBezTo>
                  <a:cubicBezTo>
                    <a:pt x="619731" y="440602"/>
                    <a:pt x="605416" y="448076"/>
                    <a:pt x="590974" y="461504"/>
                  </a:cubicBezTo>
                  <a:cubicBezTo>
                    <a:pt x="576659" y="474806"/>
                    <a:pt x="590467" y="479367"/>
                    <a:pt x="588567" y="501156"/>
                  </a:cubicBezTo>
                  <a:cubicBezTo>
                    <a:pt x="586540" y="522945"/>
                    <a:pt x="558290" y="537767"/>
                    <a:pt x="547522" y="553096"/>
                  </a:cubicBezTo>
                  <a:cubicBezTo>
                    <a:pt x="536627" y="568424"/>
                    <a:pt x="514458" y="571591"/>
                    <a:pt x="514458" y="571591"/>
                  </a:cubicBezTo>
                  <a:cubicBezTo>
                    <a:pt x="514838" y="570831"/>
                    <a:pt x="515218" y="570198"/>
                    <a:pt x="515471" y="569564"/>
                  </a:cubicBezTo>
                  <a:cubicBezTo>
                    <a:pt x="515471" y="569438"/>
                    <a:pt x="515598" y="569438"/>
                    <a:pt x="515598" y="569311"/>
                  </a:cubicBezTo>
                  <a:cubicBezTo>
                    <a:pt x="515851" y="568804"/>
                    <a:pt x="515978" y="568424"/>
                    <a:pt x="516105" y="567918"/>
                  </a:cubicBezTo>
                  <a:cubicBezTo>
                    <a:pt x="516231" y="567411"/>
                    <a:pt x="516358" y="566777"/>
                    <a:pt x="516485" y="566271"/>
                  </a:cubicBezTo>
                  <a:cubicBezTo>
                    <a:pt x="516738" y="565257"/>
                    <a:pt x="516738" y="564244"/>
                    <a:pt x="516485" y="563230"/>
                  </a:cubicBezTo>
                  <a:cubicBezTo>
                    <a:pt x="516358" y="562724"/>
                    <a:pt x="516358" y="562344"/>
                    <a:pt x="516105" y="561837"/>
                  </a:cubicBezTo>
                  <a:cubicBezTo>
                    <a:pt x="515978" y="561330"/>
                    <a:pt x="515725" y="560950"/>
                    <a:pt x="515471" y="560443"/>
                  </a:cubicBezTo>
                  <a:cubicBezTo>
                    <a:pt x="515344" y="560190"/>
                    <a:pt x="515091" y="559937"/>
                    <a:pt x="514964" y="559683"/>
                  </a:cubicBezTo>
                  <a:cubicBezTo>
                    <a:pt x="514838" y="559430"/>
                    <a:pt x="514584" y="559177"/>
                    <a:pt x="514331" y="558923"/>
                  </a:cubicBezTo>
                  <a:cubicBezTo>
                    <a:pt x="513064" y="557403"/>
                    <a:pt x="511037" y="556009"/>
                    <a:pt x="508377" y="554743"/>
                  </a:cubicBezTo>
                  <a:cubicBezTo>
                    <a:pt x="484561" y="543848"/>
                    <a:pt x="465305" y="523579"/>
                    <a:pt x="447062" y="512177"/>
                  </a:cubicBezTo>
                  <a:cubicBezTo>
                    <a:pt x="428820" y="500776"/>
                    <a:pt x="423373" y="508250"/>
                    <a:pt x="400570" y="494315"/>
                  </a:cubicBezTo>
                  <a:cubicBezTo>
                    <a:pt x="377767" y="480507"/>
                    <a:pt x="368899" y="469612"/>
                    <a:pt x="352557" y="470119"/>
                  </a:cubicBezTo>
                  <a:cubicBezTo>
                    <a:pt x="336215" y="470625"/>
                    <a:pt x="304545" y="457704"/>
                    <a:pt x="309485" y="443895"/>
                  </a:cubicBezTo>
                  <a:cubicBezTo>
                    <a:pt x="314426" y="430087"/>
                    <a:pt x="329755" y="372573"/>
                    <a:pt x="313413" y="379541"/>
                  </a:cubicBezTo>
                  <a:cubicBezTo>
                    <a:pt x="297070" y="386508"/>
                    <a:pt x="274774" y="408298"/>
                    <a:pt x="258939" y="403357"/>
                  </a:cubicBezTo>
                  <a:cubicBezTo>
                    <a:pt x="244497" y="398923"/>
                    <a:pt x="229295" y="387775"/>
                    <a:pt x="212320" y="389295"/>
                  </a:cubicBezTo>
                  <a:cubicBezTo>
                    <a:pt x="212320" y="389169"/>
                    <a:pt x="212320" y="389042"/>
                    <a:pt x="212193" y="389042"/>
                  </a:cubicBezTo>
                  <a:cubicBezTo>
                    <a:pt x="207886" y="378147"/>
                    <a:pt x="201172" y="367759"/>
                    <a:pt x="195471" y="357751"/>
                  </a:cubicBezTo>
                  <a:cubicBezTo>
                    <a:pt x="187997" y="344450"/>
                    <a:pt x="181283" y="329755"/>
                    <a:pt x="171781" y="317720"/>
                  </a:cubicBezTo>
                  <a:cubicBezTo>
                    <a:pt x="150245" y="290483"/>
                    <a:pt x="114268" y="294283"/>
                    <a:pt x="83991" y="285162"/>
                  </a:cubicBezTo>
                  <a:cubicBezTo>
                    <a:pt x="60428" y="278068"/>
                    <a:pt x="46239" y="259192"/>
                    <a:pt x="37371" y="237276"/>
                  </a:cubicBezTo>
                  <a:cubicBezTo>
                    <a:pt x="32937" y="226382"/>
                    <a:pt x="30530" y="215107"/>
                    <a:pt x="27237" y="203959"/>
                  </a:cubicBezTo>
                  <a:cubicBezTo>
                    <a:pt x="22930" y="189137"/>
                    <a:pt x="14442" y="174695"/>
                    <a:pt x="7221" y="161140"/>
                  </a:cubicBezTo>
                  <a:cubicBezTo>
                    <a:pt x="6714" y="160127"/>
                    <a:pt x="6207" y="159113"/>
                    <a:pt x="5701" y="158100"/>
                  </a:cubicBezTo>
                  <a:cubicBezTo>
                    <a:pt x="4941" y="156580"/>
                    <a:pt x="4181" y="154933"/>
                    <a:pt x="3547" y="153413"/>
                  </a:cubicBezTo>
                  <a:cubicBezTo>
                    <a:pt x="3040" y="152146"/>
                    <a:pt x="2407" y="150879"/>
                    <a:pt x="1900" y="149739"/>
                  </a:cubicBezTo>
                  <a:cubicBezTo>
                    <a:pt x="1267" y="148472"/>
                    <a:pt x="633" y="147332"/>
                    <a:pt x="0" y="146192"/>
                  </a:cubicBezTo>
                  <a:cubicBezTo>
                    <a:pt x="0" y="146192"/>
                    <a:pt x="66002" y="122375"/>
                    <a:pt x="73349" y="101093"/>
                  </a:cubicBezTo>
                  <a:cubicBezTo>
                    <a:pt x="80697" y="79810"/>
                    <a:pt x="89184" y="71956"/>
                    <a:pt x="78797" y="58021"/>
                  </a:cubicBezTo>
                  <a:cubicBezTo>
                    <a:pt x="68408" y="44212"/>
                    <a:pt x="62454" y="44592"/>
                    <a:pt x="71956" y="32304"/>
                  </a:cubicBezTo>
                  <a:cubicBezTo>
                    <a:pt x="81330" y="19889"/>
                    <a:pt x="84751" y="1647"/>
                    <a:pt x="103626" y="1647"/>
                  </a:cubicBezTo>
                  <a:cubicBezTo>
                    <a:pt x="118448" y="1647"/>
                    <a:pt x="126556" y="5321"/>
                    <a:pt x="129470" y="0"/>
                  </a:cubicBezTo>
                  <a:cubicBezTo>
                    <a:pt x="129470" y="0"/>
                    <a:pt x="139731" y="12035"/>
                    <a:pt x="153919" y="24450"/>
                  </a:cubicBezTo>
                  <a:cubicBezTo>
                    <a:pt x="168108" y="36864"/>
                    <a:pt x="185717" y="41298"/>
                    <a:pt x="202059" y="39271"/>
                  </a:cubicBezTo>
                  <a:cubicBezTo>
                    <a:pt x="218401" y="37244"/>
                    <a:pt x="232716" y="61568"/>
                    <a:pt x="254505" y="72969"/>
                  </a:cubicBezTo>
                  <a:cubicBezTo>
                    <a:pt x="276295" y="84370"/>
                    <a:pt x="303531" y="71956"/>
                    <a:pt x="314933" y="69549"/>
                  </a:cubicBezTo>
                  <a:cubicBezTo>
                    <a:pt x="326334" y="67015"/>
                    <a:pt x="324814" y="84370"/>
                    <a:pt x="332288" y="86904"/>
                  </a:cubicBezTo>
                  <a:cubicBezTo>
                    <a:pt x="339762" y="89311"/>
                    <a:pt x="340776" y="103753"/>
                    <a:pt x="364972" y="109200"/>
                  </a:cubicBezTo>
                  <a:cubicBezTo>
                    <a:pt x="389169" y="114648"/>
                    <a:pt x="403104" y="100839"/>
                    <a:pt x="422359" y="85511"/>
                  </a:cubicBezTo>
                  <a:cubicBezTo>
                    <a:pt x="441615" y="70182"/>
                    <a:pt x="423880" y="66255"/>
                    <a:pt x="427807" y="51813"/>
                  </a:cubicBezTo>
                  <a:cubicBezTo>
                    <a:pt x="431734" y="37498"/>
                    <a:pt x="458464" y="69675"/>
                    <a:pt x="467965" y="84497"/>
                  </a:cubicBezTo>
                  <a:cubicBezTo>
                    <a:pt x="477340" y="99319"/>
                    <a:pt x="481267" y="93872"/>
                    <a:pt x="495709" y="93365"/>
                  </a:cubicBezTo>
                  <a:cubicBezTo>
                    <a:pt x="510024" y="92858"/>
                    <a:pt x="495202" y="129470"/>
                    <a:pt x="495709" y="156200"/>
                  </a:cubicBezTo>
                  <a:cubicBezTo>
                    <a:pt x="496215" y="182929"/>
                    <a:pt x="506603" y="164054"/>
                    <a:pt x="516738" y="163674"/>
                  </a:cubicBezTo>
                  <a:cubicBezTo>
                    <a:pt x="526873" y="163167"/>
                    <a:pt x="536247" y="177989"/>
                    <a:pt x="547268" y="184956"/>
                  </a:cubicBezTo>
                  <a:cubicBezTo>
                    <a:pt x="558163" y="191797"/>
                    <a:pt x="565131" y="184956"/>
                    <a:pt x="588820" y="184956"/>
                  </a:cubicBezTo>
                  <a:cubicBezTo>
                    <a:pt x="612510" y="184956"/>
                    <a:pt x="620491" y="232969"/>
                    <a:pt x="632399" y="246777"/>
                  </a:cubicBezTo>
                  <a:cubicBezTo>
                    <a:pt x="636960" y="251971"/>
                    <a:pt x="643927" y="253872"/>
                    <a:pt x="652415" y="254252"/>
                  </a:cubicBezTo>
                  <a:cubicBezTo>
                    <a:pt x="666223" y="254885"/>
                    <a:pt x="683706" y="251845"/>
                    <a:pt x="699667" y="254252"/>
                  </a:cubicBezTo>
                  <a:cubicBezTo>
                    <a:pt x="725131" y="257419"/>
                    <a:pt x="718163" y="295930"/>
                    <a:pt x="711829" y="321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3" name="Полилиния: фигура 702">
              <a:extLst>
                <a:ext uri="{FF2B5EF4-FFF2-40B4-BE49-F238E27FC236}">
                  <a16:creationId xmlns:a16="http://schemas.microsoft.com/office/drawing/2014/main" id="{4349D2A9-8138-4490-915F-8562171A6C2C}"/>
                </a:ext>
              </a:extLst>
            </p:cNvPr>
            <p:cNvSpPr/>
            <p:nvPr/>
          </p:nvSpPr>
          <p:spPr>
            <a:xfrm>
              <a:off x="2603885" y="3284672"/>
              <a:ext cx="368042" cy="297483"/>
            </a:xfrm>
            <a:custGeom>
              <a:avLst/>
              <a:gdLst>
                <a:gd name="connsiteX0" fmla="*/ 368042 w 368042"/>
                <a:gd name="connsiteY0" fmla="*/ 225748 h 297483"/>
                <a:gd name="connsiteX1" fmla="*/ 367916 w 368042"/>
                <a:gd name="connsiteY1" fmla="*/ 228662 h 297483"/>
                <a:gd name="connsiteX2" fmla="*/ 367029 w 368042"/>
                <a:gd name="connsiteY2" fmla="*/ 230182 h 297483"/>
                <a:gd name="connsiteX3" fmla="*/ 367029 w 368042"/>
                <a:gd name="connsiteY3" fmla="*/ 230182 h 297483"/>
                <a:gd name="connsiteX4" fmla="*/ 357654 w 368042"/>
                <a:gd name="connsiteY4" fmla="*/ 234743 h 297483"/>
                <a:gd name="connsiteX5" fmla="*/ 269990 w 368042"/>
                <a:gd name="connsiteY5" fmla="*/ 256025 h 297483"/>
                <a:gd name="connsiteX6" fmla="*/ 170545 w 368042"/>
                <a:gd name="connsiteY6" fmla="*/ 296437 h 297483"/>
                <a:gd name="connsiteX7" fmla="*/ 170164 w 368042"/>
                <a:gd name="connsiteY7" fmla="*/ 296310 h 297483"/>
                <a:gd name="connsiteX8" fmla="*/ 137607 w 368042"/>
                <a:gd name="connsiteY8" fmla="*/ 264640 h 297483"/>
                <a:gd name="connsiteX9" fmla="*/ 129119 w 368042"/>
                <a:gd name="connsiteY9" fmla="*/ 236263 h 297483"/>
                <a:gd name="connsiteX10" fmla="*/ 104036 w 368042"/>
                <a:gd name="connsiteY10" fmla="*/ 227015 h 297483"/>
                <a:gd name="connsiteX11" fmla="*/ 83513 w 368042"/>
                <a:gd name="connsiteY11" fmla="*/ 211180 h 297483"/>
                <a:gd name="connsiteX12" fmla="*/ 80980 w 368042"/>
                <a:gd name="connsiteY12" fmla="*/ 199272 h 297483"/>
                <a:gd name="connsiteX13" fmla="*/ 56530 w 368042"/>
                <a:gd name="connsiteY13" fmla="*/ 177482 h 297483"/>
                <a:gd name="connsiteX14" fmla="*/ 45382 w 368042"/>
                <a:gd name="connsiteY14" fmla="*/ 121995 h 297483"/>
                <a:gd name="connsiteX15" fmla="*/ 16372 w 368042"/>
                <a:gd name="connsiteY15" fmla="*/ 100206 h 297483"/>
                <a:gd name="connsiteX16" fmla="*/ 6491 w 368042"/>
                <a:gd name="connsiteY16" fmla="*/ 40158 h 297483"/>
                <a:gd name="connsiteX17" fmla="*/ 5224 w 368042"/>
                <a:gd name="connsiteY17" fmla="*/ 26730 h 297483"/>
                <a:gd name="connsiteX18" fmla="*/ 60711 w 368042"/>
                <a:gd name="connsiteY18" fmla="*/ 0 h 297483"/>
                <a:gd name="connsiteX19" fmla="*/ 125065 w 368042"/>
                <a:gd name="connsiteY19" fmla="*/ 23183 h 297483"/>
                <a:gd name="connsiteX20" fmla="*/ 126966 w 368042"/>
                <a:gd name="connsiteY20" fmla="*/ 23436 h 297483"/>
                <a:gd name="connsiteX21" fmla="*/ 128106 w 368042"/>
                <a:gd name="connsiteY21" fmla="*/ 23690 h 297483"/>
                <a:gd name="connsiteX22" fmla="*/ 128106 w 368042"/>
                <a:gd name="connsiteY22" fmla="*/ 23690 h 297483"/>
                <a:gd name="connsiteX23" fmla="*/ 128866 w 368042"/>
                <a:gd name="connsiteY23" fmla="*/ 23816 h 297483"/>
                <a:gd name="connsiteX24" fmla="*/ 128866 w 368042"/>
                <a:gd name="connsiteY24" fmla="*/ 23816 h 297483"/>
                <a:gd name="connsiteX25" fmla="*/ 129246 w 368042"/>
                <a:gd name="connsiteY25" fmla="*/ 23943 h 297483"/>
                <a:gd name="connsiteX26" fmla="*/ 130513 w 368042"/>
                <a:gd name="connsiteY26" fmla="*/ 24196 h 297483"/>
                <a:gd name="connsiteX27" fmla="*/ 130893 w 368042"/>
                <a:gd name="connsiteY27" fmla="*/ 24323 h 297483"/>
                <a:gd name="connsiteX28" fmla="*/ 132793 w 368042"/>
                <a:gd name="connsiteY28" fmla="*/ 24830 h 297483"/>
                <a:gd name="connsiteX29" fmla="*/ 136087 w 368042"/>
                <a:gd name="connsiteY29" fmla="*/ 26097 h 297483"/>
                <a:gd name="connsiteX30" fmla="*/ 137734 w 368042"/>
                <a:gd name="connsiteY30" fmla="*/ 26857 h 297483"/>
                <a:gd name="connsiteX31" fmla="*/ 140141 w 368042"/>
                <a:gd name="connsiteY31" fmla="*/ 27997 h 297483"/>
                <a:gd name="connsiteX32" fmla="*/ 156356 w 368042"/>
                <a:gd name="connsiteY32" fmla="*/ 38765 h 297483"/>
                <a:gd name="connsiteX33" fmla="*/ 157623 w 368042"/>
                <a:gd name="connsiteY33" fmla="*/ 39778 h 297483"/>
                <a:gd name="connsiteX34" fmla="*/ 158890 w 368042"/>
                <a:gd name="connsiteY34" fmla="*/ 40792 h 297483"/>
                <a:gd name="connsiteX35" fmla="*/ 161803 w 368042"/>
                <a:gd name="connsiteY35" fmla="*/ 43325 h 297483"/>
                <a:gd name="connsiteX36" fmla="*/ 170671 w 368042"/>
                <a:gd name="connsiteY36" fmla="*/ 51940 h 297483"/>
                <a:gd name="connsiteX37" fmla="*/ 227805 w 368042"/>
                <a:gd name="connsiteY37" fmla="*/ 99952 h 297483"/>
                <a:gd name="connsiteX38" fmla="*/ 258969 w 368042"/>
                <a:gd name="connsiteY38" fmla="*/ 91591 h 297483"/>
                <a:gd name="connsiteX39" fmla="*/ 279238 w 368042"/>
                <a:gd name="connsiteY39" fmla="*/ 127696 h 297483"/>
                <a:gd name="connsiteX40" fmla="*/ 321297 w 368042"/>
                <a:gd name="connsiteY40" fmla="*/ 157846 h 297483"/>
                <a:gd name="connsiteX41" fmla="*/ 319776 w 368042"/>
                <a:gd name="connsiteY41" fmla="*/ 185590 h 297483"/>
                <a:gd name="connsiteX42" fmla="*/ 357401 w 368042"/>
                <a:gd name="connsiteY42" fmla="*/ 203452 h 297483"/>
                <a:gd name="connsiteX43" fmla="*/ 368042 w 368042"/>
                <a:gd name="connsiteY43" fmla="*/ 225748 h 29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8042" h="297483">
                  <a:moveTo>
                    <a:pt x="368042" y="225748"/>
                  </a:moveTo>
                  <a:cubicBezTo>
                    <a:pt x="368042" y="226128"/>
                    <a:pt x="367916" y="227142"/>
                    <a:pt x="367916" y="228662"/>
                  </a:cubicBezTo>
                  <a:cubicBezTo>
                    <a:pt x="367789" y="229169"/>
                    <a:pt x="367409" y="229675"/>
                    <a:pt x="367029" y="230182"/>
                  </a:cubicBezTo>
                  <a:lnTo>
                    <a:pt x="367029" y="230182"/>
                  </a:lnTo>
                  <a:cubicBezTo>
                    <a:pt x="365635" y="231956"/>
                    <a:pt x="362722" y="233349"/>
                    <a:pt x="357654" y="234743"/>
                  </a:cubicBezTo>
                  <a:cubicBezTo>
                    <a:pt x="336879" y="240190"/>
                    <a:pt x="295834" y="245131"/>
                    <a:pt x="269990" y="256025"/>
                  </a:cubicBezTo>
                  <a:cubicBezTo>
                    <a:pt x="244274" y="266920"/>
                    <a:pt x="201962" y="304165"/>
                    <a:pt x="170545" y="296437"/>
                  </a:cubicBezTo>
                  <a:cubicBezTo>
                    <a:pt x="170418" y="296437"/>
                    <a:pt x="170291" y="296437"/>
                    <a:pt x="170164" y="296310"/>
                  </a:cubicBezTo>
                  <a:cubicBezTo>
                    <a:pt x="174092" y="283389"/>
                    <a:pt x="152175" y="270087"/>
                    <a:pt x="137607" y="264640"/>
                  </a:cubicBezTo>
                  <a:cubicBezTo>
                    <a:pt x="121772" y="258686"/>
                    <a:pt x="123165" y="248171"/>
                    <a:pt x="129119" y="236263"/>
                  </a:cubicBezTo>
                  <a:cubicBezTo>
                    <a:pt x="135073" y="224355"/>
                    <a:pt x="115944" y="227015"/>
                    <a:pt x="104036" y="227015"/>
                  </a:cubicBezTo>
                  <a:cubicBezTo>
                    <a:pt x="92128" y="227015"/>
                    <a:pt x="88834" y="213207"/>
                    <a:pt x="83513" y="211180"/>
                  </a:cubicBezTo>
                  <a:cubicBezTo>
                    <a:pt x="78066" y="209280"/>
                    <a:pt x="72366" y="205226"/>
                    <a:pt x="80980" y="199272"/>
                  </a:cubicBezTo>
                  <a:cubicBezTo>
                    <a:pt x="89594" y="193317"/>
                    <a:pt x="75026" y="191924"/>
                    <a:pt x="56530" y="177482"/>
                  </a:cubicBezTo>
                  <a:cubicBezTo>
                    <a:pt x="38035" y="163040"/>
                    <a:pt x="44622" y="139224"/>
                    <a:pt x="45382" y="121995"/>
                  </a:cubicBezTo>
                  <a:cubicBezTo>
                    <a:pt x="46016" y="104766"/>
                    <a:pt x="36134" y="106160"/>
                    <a:pt x="16372" y="100206"/>
                  </a:cubicBezTo>
                  <a:cubicBezTo>
                    <a:pt x="-3391" y="94252"/>
                    <a:pt x="-3391" y="58654"/>
                    <a:pt x="6491" y="40158"/>
                  </a:cubicBezTo>
                  <a:cubicBezTo>
                    <a:pt x="8644" y="36231"/>
                    <a:pt x="7884" y="31671"/>
                    <a:pt x="5224" y="26730"/>
                  </a:cubicBezTo>
                  <a:cubicBezTo>
                    <a:pt x="6110" y="25970"/>
                    <a:pt x="35881" y="0"/>
                    <a:pt x="60711" y="0"/>
                  </a:cubicBezTo>
                  <a:cubicBezTo>
                    <a:pt x="85920" y="0"/>
                    <a:pt x="114171" y="22676"/>
                    <a:pt x="125065" y="23183"/>
                  </a:cubicBezTo>
                  <a:cubicBezTo>
                    <a:pt x="125699" y="23183"/>
                    <a:pt x="126332" y="23310"/>
                    <a:pt x="126966" y="23436"/>
                  </a:cubicBezTo>
                  <a:cubicBezTo>
                    <a:pt x="127346" y="23563"/>
                    <a:pt x="127726" y="23563"/>
                    <a:pt x="128106" y="23690"/>
                  </a:cubicBezTo>
                  <a:lnTo>
                    <a:pt x="128106" y="23690"/>
                  </a:lnTo>
                  <a:cubicBezTo>
                    <a:pt x="128359" y="23690"/>
                    <a:pt x="128612" y="23690"/>
                    <a:pt x="128866" y="23816"/>
                  </a:cubicBezTo>
                  <a:lnTo>
                    <a:pt x="128866" y="23816"/>
                  </a:lnTo>
                  <a:cubicBezTo>
                    <a:pt x="128993" y="23816"/>
                    <a:pt x="129119" y="23816"/>
                    <a:pt x="129246" y="23943"/>
                  </a:cubicBezTo>
                  <a:cubicBezTo>
                    <a:pt x="129626" y="23943"/>
                    <a:pt x="130133" y="24070"/>
                    <a:pt x="130513" y="24196"/>
                  </a:cubicBezTo>
                  <a:cubicBezTo>
                    <a:pt x="130639" y="24196"/>
                    <a:pt x="130766" y="24196"/>
                    <a:pt x="130893" y="24323"/>
                  </a:cubicBezTo>
                  <a:cubicBezTo>
                    <a:pt x="131526" y="24450"/>
                    <a:pt x="132160" y="24703"/>
                    <a:pt x="132793" y="24830"/>
                  </a:cubicBezTo>
                  <a:cubicBezTo>
                    <a:pt x="133806" y="25083"/>
                    <a:pt x="134947" y="25590"/>
                    <a:pt x="136087" y="26097"/>
                  </a:cubicBezTo>
                  <a:cubicBezTo>
                    <a:pt x="136593" y="26350"/>
                    <a:pt x="137100" y="26603"/>
                    <a:pt x="137734" y="26857"/>
                  </a:cubicBezTo>
                  <a:cubicBezTo>
                    <a:pt x="138494" y="27237"/>
                    <a:pt x="139381" y="27617"/>
                    <a:pt x="140141" y="27997"/>
                  </a:cubicBezTo>
                  <a:cubicBezTo>
                    <a:pt x="145081" y="30531"/>
                    <a:pt x="150655" y="34078"/>
                    <a:pt x="156356" y="38765"/>
                  </a:cubicBezTo>
                  <a:cubicBezTo>
                    <a:pt x="156736" y="39145"/>
                    <a:pt x="157243" y="39398"/>
                    <a:pt x="157623" y="39778"/>
                  </a:cubicBezTo>
                  <a:cubicBezTo>
                    <a:pt x="158003" y="40032"/>
                    <a:pt x="158510" y="40412"/>
                    <a:pt x="158890" y="40792"/>
                  </a:cubicBezTo>
                  <a:cubicBezTo>
                    <a:pt x="159903" y="41552"/>
                    <a:pt x="160790" y="42439"/>
                    <a:pt x="161803" y="43325"/>
                  </a:cubicBezTo>
                  <a:cubicBezTo>
                    <a:pt x="164717" y="45859"/>
                    <a:pt x="167631" y="48773"/>
                    <a:pt x="170671" y="51940"/>
                  </a:cubicBezTo>
                  <a:cubicBezTo>
                    <a:pt x="188787" y="70689"/>
                    <a:pt x="209056" y="108314"/>
                    <a:pt x="227805" y="99952"/>
                  </a:cubicBezTo>
                  <a:cubicBezTo>
                    <a:pt x="246681" y="91591"/>
                    <a:pt x="255548" y="77656"/>
                    <a:pt x="258969" y="91591"/>
                  </a:cubicBezTo>
                  <a:cubicBezTo>
                    <a:pt x="262389" y="105400"/>
                    <a:pt x="268850" y="123769"/>
                    <a:pt x="279238" y="127696"/>
                  </a:cubicBezTo>
                  <a:cubicBezTo>
                    <a:pt x="289626" y="131623"/>
                    <a:pt x="329784" y="144545"/>
                    <a:pt x="321297" y="157846"/>
                  </a:cubicBezTo>
                  <a:cubicBezTo>
                    <a:pt x="312809" y="171148"/>
                    <a:pt x="307995" y="185590"/>
                    <a:pt x="319776" y="185590"/>
                  </a:cubicBezTo>
                  <a:cubicBezTo>
                    <a:pt x="331685" y="185590"/>
                    <a:pt x="351954" y="185590"/>
                    <a:pt x="357401" y="203452"/>
                  </a:cubicBezTo>
                  <a:cubicBezTo>
                    <a:pt x="360821" y="213713"/>
                    <a:pt x="367029" y="220681"/>
                    <a:pt x="368042" y="22574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4" name="Полилиния: фигура 703">
              <a:extLst>
                <a:ext uri="{FF2B5EF4-FFF2-40B4-BE49-F238E27FC236}">
                  <a16:creationId xmlns:a16="http://schemas.microsoft.com/office/drawing/2014/main" id="{5F9D1AC5-759B-43EA-BEE8-C7BBDB692880}"/>
                </a:ext>
              </a:extLst>
            </p:cNvPr>
            <p:cNvSpPr/>
            <p:nvPr/>
          </p:nvSpPr>
          <p:spPr>
            <a:xfrm>
              <a:off x="2733131" y="3161699"/>
              <a:ext cx="709664" cy="470843"/>
            </a:xfrm>
            <a:custGeom>
              <a:avLst/>
              <a:gdLst>
                <a:gd name="connsiteX0" fmla="*/ 709042 w 709664"/>
                <a:gd name="connsiteY0" fmla="*/ 338587 h 470843"/>
                <a:gd name="connsiteX1" fmla="*/ 684212 w 709664"/>
                <a:gd name="connsiteY1" fmla="*/ 353282 h 470843"/>
                <a:gd name="connsiteX2" fmla="*/ 678258 w 709664"/>
                <a:gd name="connsiteY2" fmla="*/ 394454 h 470843"/>
                <a:gd name="connsiteX3" fmla="*/ 664830 w 709664"/>
                <a:gd name="connsiteY3" fmla="*/ 431066 h 470843"/>
                <a:gd name="connsiteX4" fmla="*/ 643041 w 709664"/>
                <a:gd name="connsiteY4" fmla="*/ 427138 h 470843"/>
                <a:gd name="connsiteX5" fmla="*/ 607949 w 709664"/>
                <a:gd name="connsiteY5" fmla="*/ 424605 h 470843"/>
                <a:gd name="connsiteX6" fmla="*/ 572858 w 709664"/>
                <a:gd name="connsiteY6" fmla="*/ 432459 h 470843"/>
                <a:gd name="connsiteX7" fmla="*/ 540174 w 709664"/>
                <a:gd name="connsiteY7" fmla="*/ 421564 h 470843"/>
                <a:gd name="connsiteX8" fmla="*/ 485194 w 709664"/>
                <a:gd name="connsiteY8" fmla="*/ 470844 h 470843"/>
                <a:gd name="connsiteX9" fmla="*/ 483040 w 709664"/>
                <a:gd name="connsiteY9" fmla="*/ 466790 h 470843"/>
                <a:gd name="connsiteX10" fmla="*/ 482280 w 709664"/>
                <a:gd name="connsiteY10" fmla="*/ 465270 h 470843"/>
                <a:gd name="connsiteX11" fmla="*/ 480507 w 709664"/>
                <a:gd name="connsiteY11" fmla="*/ 462229 h 470843"/>
                <a:gd name="connsiteX12" fmla="*/ 479493 w 709664"/>
                <a:gd name="connsiteY12" fmla="*/ 460456 h 470843"/>
                <a:gd name="connsiteX13" fmla="*/ 478353 w 709664"/>
                <a:gd name="connsiteY13" fmla="*/ 458682 h 470843"/>
                <a:gd name="connsiteX14" fmla="*/ 477213 w 709664"/>
                <a:gd name="connsiteY14" fmla="*/ 456909 h 470843"/>
                <a:gd name="connsiteX15" fmla="*/ 476200 w 709664"/>
                <a:gd name="connsiteY15" fmla="*/ 455389 h 470843"/>
                <a:gd name="connsiteX16" fmla="*/ 475186 w 709664"/>
                <a:gd name="connsiteY16" fmla="*/ 453868 h 470843"/>
                <a:gd name="connsiteX17" fmla="*/ 471006 w 709664"/>
                <a:gd name="connsiteY17" fmla="*/ 448674 h 470843"/>
                <a:gd name="connsiteX18" fmla="*/ 469866 w 709664"/>
                <a:gd name="connsiteY18" fmla="*/ 447534 h 470843"/>
                <a:gd name="connsiteX19" fmla="*/ 467965 w 709664"/>
                <a:gd name="connsiteY19" fmla="*/ 445634 h 470843"/>
                <a:gd name="connsiteX20" fmla="*/ 406524 w 709664"/>
                <a:gd name="connsiteY20" fmla="*/ 430179 h 470843"/>
                <a:gd name="connsiteX21" fmla="*/ 403864 w 709664"/>
                <a:gd name="connsiteY21" fmla="*/ 391540 h 470843"/>
                <a:gd name="connsiteX22" fmla="*/ 340776 w 709664"/>
                <a:gd name="connsiteY22" fmla="*/ 386600 h 470843"/>
                <a:gd name="connsiteX23" fmla="*/ 298591 w 709664"/>
                <a:gd name="connsiteY23" fmla="*/ 392174 h 470843"/>
                <a:gd name="connsiteX24" fmla="*/ 260966 w 709664"/>
                <a:gd name="connsiteY24" fmla="*/ 392174 h 470843"/>
                <a:gd name="connsiteX25" fmla="*/ 237910 w 709664"/>
                <a:gd name="connsiteY25" fmla="*/ 353156 h 470843"/>
                <a:gd name="connsiteX26" fmla="*/ 237910 w 709664"/>
                <a:gd name="connsiteY26" fmla="*/ 353156 h 470843"/>
                <a:gd name="connsiteX27" fmla="*/ 238797 w 709664"/>
                <a:gd name="connsiteY27" fmla="*/ 351636 h 470843"/>
                <a:gd name="connsiteX28" fmla="*/ 238923 w 709664"/>
                <a:gd name="connsiteY28" fmla="*/ 348722 h 470843"/>
                <a:gd name="connsiteX29" fmla="*/ 228535 w 709664"/>
                <a:gd name="connsiteY29" fmla="*/ 326552 h 470843"/>
                <a:gd name="connsiteX30" fmla="*/ 190911 w 709664"/>
                <a:gd name="connsiteY30" fmla="*/ 308690 h 470843"/>
                <a:gd name="connsiteX31" fmla="*/ 192431 w 709664"/>
                <a:gd name="connsiteY31" fmla="*/ 280947 h 470843"/>
                <a:gd name="connsiteX32" fmla="*/ 150372 w 709664"/>
                <a:gd name="connsiteY32" fmla="*/ 250796 h 470843"/>
                <a:gd name="connsiteX33" fmla="*/ 130103 w 709664"/>
                <a:gd name="connsiteY33" fmla="*/ 214692 h 470843"/>
                <a:gd name="connsiteX34" fmla="*/ 98939 w 709664"/>
                <a:gd name="connsiteY34" fmla="*/ 223053 h 470843"/>
                <a:gd name="connsiteX35" fmla="*/ 41805 w 709664"/>
                <a:gd name="connsiteY35" fmla="*/ 175040 h 470843"/>
                <a:gd name="connsiteX36" fmla="*/ 32938 w 709664"/>
                <a:gd name="connsiteY36" fmla="*/ 166426 h 470843"/>
                <a:gd name="connsiteX37" fmla="*/ 30024 w 709664"/>
                <a:gd name="connsiteY37" fmla="*/ 163892 h 470843"/>
                <a:gd name="connsiteX38" fmla="*/ 28757 w 709664"/>
                <a:gd name="connsiteY38" fmla="*/ 162879 h 470843"/>
                <a:gd name="connsiteX39" fmla="*/ 27490 w 709664"/>
                <a:gd name="connsiteY39" fmla="*/ 161865 h 470843"/>
                <a:gd name="connsiteX40" fmla="*/ 11275 w 709664"/>
                <a:gd name="connsiteY40" fmla="*/ 151097 h 470843"/>
                <a:gd name="connsiteX41" fmla="*/ 8868 w 709664"/>
                <a:gd name="connsiteY41" fmla="*/ 149957 h 470843"/>
                <a:gd name="connsiteX42" fmla="*/ 7221 w 709664"/>
                <a:gd name="connsiteY42" fmla="*/ 149197 h 470843"/>
                <a:gd name="connsiteX43" fmla="*/ 3927 w 709664"/>
                <a:gd name="connsiteY43" fmla="*/ 147930 h 470843"/>
                <a:gd name="connsiteX44" fmla="*/ 2027 w 709664"/>
                <a:gd name="connsiteY44" fmla="*/ 147423 h 470843"/>
                <a:gd name="connsiteX45" fmla="*/ 1647 w 709664"/>
                <a:gd name="connsiteY45" fmla="*/ 147297 h 470843"/>
                <a:gd name="connsiteX46" fmla="*/ 380 w 709664"/>
                <a:gd name="connsiteY46" fmla="*/ 147043 h 470843"/>
                <a:gd name="connsiteX47" fmla="*/ 0 w 709664"/>
                <a:gd name="connsiteY47" fmla="*/ 146917 h 470843"/>
                <a:gd name="connsiteX48" fmla="*/ 103880 w 709664"/>
                <a:gd name="connsiteY48" fmla="*/ 123100 h 470843"/>
                <a:gd name="connsiteX49" fmla="*/ 117181 w 709664"/>
                <a:gd name="connsiteY49" fmla="*/ 95357 h 470843"/>
                <a:gd name="connsiteX50" fmla="*/ 149865 w 709664"/>
                <a:gd name="connsiteY50" fmla="*/ 82435 h 470843"/>
                <a:gd name="connsiteX51" fmla="*/ 206746 w 709664"/>
                <a:gd name="connsiteY51" fmla="*/ 42784 h 470843"/>
                <a:gd name="connsiteX52" fmla="*/ 209026 w 709664"/>
                <a:gd name="connsiteY52" fmla="*/ 40757 h 470843"/>
                <a:gd name="connsiteX53" fmla="*/ 209026 w 709664"/>
                <a:gd name="connsiteY53" fmla="*/ 40757 h 470843"/>
                <a:gd name="connsiteX54" fmla="*/ 266160 w 709664"/>
                <a:gd name="connsiteY54" fmla="*/ 1232 h 470843"/>
                <a:gd name="connsiteX55" fmla="*/ 329501 w 709664"/>
                <a:gd name="connsiteY55" fmla="*/ 44811 h 470843"/>
                <a:gd name="connsiteX56" fmla="*/ 376627 w 709664"/>
                <a:gd name="connsiteY56" fmla="*/ 22514 h 470843"/>
                <a:gd name="connsiteX57" fmla="*/ 377007 w 709664"/>
                <a:gd name="connsiteY57" fmla="*/ 45824 h 470843"/>
                <a:gd name="connsiteX58" fmla="*/ 418559 w 709664"/>
                <a:gd name="connsiteY58" fmla="*/ 85476 h 470843"/>
                <a:gd name="connsiteX59" fmla="*/ 456184 w 709664"/>
                <a:gd name="connsiteY59" fmla="*/ 156798 h 470843"/>
                <a:gd name="connsiteX60" fmla="*/ 488868 w 709664"/>
                <a:gd name="connsiteY60" fmla="*/ 219632 h 470843"/>
                <a:gd name="connsiteX61" fmla="*/ 515091 w 709664"/>
                <a:gd name="connsiteY61" fmla="*/ 242435 h 470843"/>
                <a:gd name="connsiteX62" fmla="*/ 571465 w 709664"/>
                <a:gd name="connsiteY62" fmla="*/ 301343 h 470843"/>
                <a:gd name="connsiteX63" fmla="*/ 629865 w 709664"/>
                <a:gd name="connsiteY63" fmla="*/ 311224 h 470843"/>
                <a:gd name="connsiteX64" fmla="*/ 660016 w 709664"/>
                <a:gd name="connsiteY64" fmla="*/ 273092 h 470843"/>
                <a:gd name="connsiteX65" fmla="*/ 707522 w 709664"/>
                <a:gd name="connsiteY65" fmla="*/ 332000 h 470843"/>
                <a:gd name="connsiteX66" fmla="*/ 709042 w 709664"/>
                <a:gd name="connsiteY66" fmla="*/ 338587 h 47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09664" h="470843">
                  <a:moveTo>
                    <a:pt x="709042" y="338587"/>
                  </a:moveTo>
                  <a:cubicBezTo>
                    <a:pt x="706255" y="343528"/>
                    <a:pt x="693967" y="346822"/>
                    <a:pt x="684212" y="353282"/>
                  </a:cubicBezTo>
                  <a:cubicBezTo>
                    <a:pt x="670784" y="362150"/>
                    <a:pt x="677751" y="379632"/>
                    <a:pt x="678258" y="394454"/>
                  </a:cubicBezTo>
                  <a:cubicBezTo>
                    <a:pt x="678765" y="409276"/>
                    <a:pt x="671291" y="423591"/>
                    <a:pt x="664830" y="431066"/>
                  </a:cubicBezTo>
                  <a:cubicBezTo>
                    <a:pt x="658369" y="438540"/>
                    <a:pt x="647474" y="432079"/>
                    <a:pt x="643041" y="427138"/>
                  </a:cubicBezTo>
                  <a:cubicBezTo>
                    <a:pt x="638607" y="422198"/>
                    <a:pt x="625178" y="424605"/>
                    <a:pt x="607949" y="424605"/>
                  </a:cubicBezTo>
                  <a:cubicBezTo>
                    <a:pt x="590594" y="424605"/>
                    <a:pt x="593128" y="427645"/>
                    <a:pt x="572858" y="432459"/>
                  </a:cubicBezTo>
                  <a:cubicBezTo>
                    <a:pt x="552589" y="437400"/>
                    <a:pt x="548029" y="425998"/>
                    <a:pt x="540174" y="421564"/>
                  </a:cubicBezTo>
                  <a:cubicBezTo>
                    <a:pt x="532193" y="417130"/>
                    <a:pt x="485194" y="470844"/>
                    <a:pt x="485194" y="470844"/>
                  </a:cubicBezTo>
                  <a:cubicBezTo>
                    <a:pt x="484561" y="469450"/>
                    <a:pt x="483801" y="468183"/>
                    <a:pt x="483040" y="466790"/>
                  </a:cubicBezTo>
                  <a:cubicBezTo>
                    <a:pt x="482787" y="466283"/>
                    <a:pt x="482534" y="465776"/>
                    <a:pt x="482280" y="465270"/>
                  </a:cubicBezTo>
                  <a:cubicBezTo>
                    <a:pt x="481774" y="464256"/>
                    <a:pt x="481140" y="463243"/>
                    <a:pt x="480507" y="462229"/>
                  </a:cubicBezTo>
                  <a:cubicBezTo>
                    <a:pt x="480127" y="461596"/>
                    <a:pt x="479873" y="461089"/>
                    <a:pt x="479493" y="460456"/>
                  </a:cubicBezTo>
                  <a:cubicBezTo>
                    <a:pt x="479113" y="459822"/>
                    <a:pt x="478733" y="459189"/>
                    <a:pt x="478353" y="458682"/>
                  </a:cubicBezTo>
                  <a:cubicBezTo>
                    <a:pt x="477973" y="458049"/>
                    <a:pt x="477593" y="457542"/>
                    <a:pt x="477213" y="456909"/>
                  </a:cubicBezTo>
                  <a:cubicBezTo>
                    <a:pt x="476833" y="456402"/>
                    <a:pt x="476580" y="455895"/>
                    <a:pt x="476200" y="455389"/>
                  </a:cubicBezTo>
                  <a:cubicBezTo>
                    <a:pt x="475819" y="454882"/>
                    <a:pt x="475439" y="454375"/>
                    <a:pt x="475186" y="453868"/>
                  </a:cubicBezTo>
                  <a:cubicBezTo>
                    <a:pt x="473919" y="452095"/>
                    <a:pt x="472526" y="450321"/>
                    <a:pt x="471006" y="448674"/>
                  </a:cubicBezTo>
                  <a:cubicBezTo>
                    <a:pt x="470626" y="448294"/>
                    <a:pt x="470246" y="447914"/>
                    <a:pt x="469866" y="447534"/>
                  </a:cubicBezTo>
                  <a:cubicBezTo>
                    <a:pt x="469232" y="446901"/>
                    <a:pt x="468599" y="446267"/>
                    <a:pt x="467965" y="445634"/>
                  </a:cubicBezTo>
                  <a:cubicBezTo>
                    <a:pt x="453777" y="432079"/>
                    <a:pt x="416786" y="432079"/>
                    <a:pt x="406524" y="430179"/>
                  </a:cubicBezTo>
                  <a:cubicBezTo>
                    <a:pt x="396263" y="428152"/>
                    <a:pt x="405511" y="409403"/>
                    <a:pt x="403864" y="391540"/>
                  </a:cubicBezTo>
                  <a:cubicBezTo>
                    <a:pt x="402217" y="373805"/>
                    <a:pt x="354711" y="377732"/>
                    <a:pt x="340776" y="386600"/>
                  </a:cubicBezTo>
                  <a:cubicBezTo>
                    <a:pt x="326968" y="395468"/>
                    <a:pt x="312779" y="392174"/>
                    <a:pt x="298591" y="392174"/>
                  </a:cubicBezTo>
                  <a:cubicBezTo>
                    <a:pt x="284402" y="392174"/>
                    <a:pt x="285669" y="395848"/>
                    <a:pt x="260966" y="392174"/>
                  </a:cubicBezTo>
                  <a:cubicBezTo>
                    <a:pt x="242850" y="389514"/>
                    <a:pt x="238670" y="365317"/>
                    <a:pt x="237910" y="353156"/>
                  </a:cubicBezTo>
                  <a:lnTo>
                    <a:pt x="237910" y="353156"/>
                  </a:lnTo>
                  <a:cubicBezTo>
                    <a:pt x="238290" y="352649"/>
                    <a:pt x="238670" y="352142"/>
                    <a:pt x="238797" y="351636"/>
                  </a:cubicBezTo>
                  <a:cubicBezTo>
                    <a:pt x="238797" y="349989"/>
                    <a:pt x="238797" y="348975"/>
                    <a:pt x="238923" y="348722"/>
                  </a:cubicBezTo>
                  <a:cubicBezTo>
                    <a:pt x="237910" y="343654"/>
                    <a:pt x="231576" y="336687"/>
                    <a:pt x="228535" y="326552"/>
                  </a:cubicBezTo>
                  <a:cubicBezTo>
                    <a:pt x="223088" y="308690"/>
                    <a:pt x="202819" y="308690"/>
                    <a:pt x="190911" y="308690"/>
                  </a:cubicBezTo>
                  <a:cubicBezTo>
                    <a:pt x="179002" y="308690"/>
                    <a:pt x="183943" y="294375"/>
                    <a:pt x="192431" y="280947"/>
                  </a:cubicBezTo>
                  <a:cubicBezTo>
                    <a:pt x="200918" y="267645"/>
                    <a:pt x="160760" y="254724"/>
                    <a:pt x="150372" y="250796"/>
                  </a:cubicBezTo>
                  <a:cubicBezTo>
                    <a:pt x="139984" y="246869"/>
                    <a:pt x="133650" y="228500"/>
                    <a:pt x="130103" y="214692"/>
                  </a:cubicBezTo>
                  <a:cubicBezTo>
                    <a:pt x="126556" y="200883"/>
                    <a:pt x="117688" y="214692"/>
                    <a:pt x="98939" y="223053"/>
                  </a:cubicBezTo>
                  <a:cubicBezTo>
                    <a:pt x="80190" y="231414"/>
                    <a:pt x="59794" y="193916"/>
                    <a:pt x="41805" y="175040"/>
                  </a:cubicBezTo>
                  <a:cubicBezTo>
                    <a:pt x="38765" y="171873"/>
                    <a:pt x="35851" y="168959"/>
                    <a:pt x="32938" y="166426"/>
                  </a:cubicBezTo>
                  <a:cubicBezTo>
                    <a:pt x="31924" y="165539"/>
                    <a:pt x="31037" y="164652"/>
                    <a:pt x="30024" y="163892"/>
                  </a:cubicBezTo>
                  <a:cubicBezTo>
                    <a:pt x="29644" y="163512"/>
                    <a:pt x="29137" y="163132"/>
                    <a:pt x="28757" y="162879"/>
                  </a:cubicBezTo>
                  <a:cubicBezTo>
                    <a:pt x="28377" y="162498"/>
                    <a:pt x="27870" y="162245"/>
                    <a:pt x="27490" y="161865"/>
                  </a:cubicBezTo>
                  <a:cubicBezTo>
                    <a:pt x="21663" y="157178"/>
                    <a:pt x="16215" y="153631"/>
                    <a:pt x="11275" y="151097"/>
                  </a:cubicBezTo>
                  <a:cubicBezTo>
                    <a:pt x="10388" y="150717"/>
                    <a:pt x="9628" y="150337"/>
                    <a:pt x="8868" y="149957"/>
                  </a:cubicBezTo>
                  <a:cubicBezTo>
                    <a:pt x="8361" y="149704"/>
                    <a:pt x="7728" y="149450"/>
                    <a:pt x="7221" y="149197"/>
                  </a:cubicBezTo>
                  <a:cubicBezTo>
                    <a:pt x="6081" y="148690"/>
                    <a:pt x="4941" y="148310"/>
                    <a:pt x="3927" y="147930"/>
                  </a:cubicBezTo>
                  <a:cubicBezTo>
                    <a:pt x="3294" y="147677"/>
                    <a:pt x="2660" y="147550"/>
                    <a:pt x="2027" y="147423"/>
                  </a:cubicBezTo>
                  <a:cubicBezTo>
                    <a:pt x="1900" y="147297"/>
                    <a:pt x="1774" y="147297"/>
                    <a:pt x="1647" y="147297"/>
                  </a:cubicBezTo>
                  <a:cubicBezTo>
                    <a:pt x="1140" y="147170"/>
                    <a:pt x="760" y="147043"/>
                    <a:pt x="380" y="147043"/>
                  </a:cubicBezTo>
                  <a:cubicBezTo>
                    <a:pt x="253" y="147043"/>
                    <a:pt x="127" y="146917"/>
                    <a:pt x="0" y="146917"/>
                  </a:cubicBezTo>
                  <a:cubicBezTo>
                    <a:pt x="56881" y="142483"/>
                    <a:pt x="92985" y="128548"/>
                    <a:pt x="103880" y="123100"/>
                  </a:cubicBezTo>
                  <a:cubicBezTo>
                    <a:pt x="114774" y="117653"/>
                    <a:pt x="110721" y="105745"/>
                    <a:pt x="117181" y="95357"/>
                  </a:cubicBezTo>
                  <a:cubicBezTo>
                    <a:pt x="123642" y="84969"/>
                    <a:pt x="137451" y="81928"/>
                    <a:pt x="149865" y="82435"/>
                  </a:cubicBezTo>
                  <a:cubicBezTo>
                    <a:pt x="162280" y="82942"/>
                    <a:pt x="197371" y="45824"/>
                    <a:pt x="206746" y="42784"/>
                  </a:cubicBezTo>
                  <a:cubicBezTo>
                    <a:pt x="208139" y="42404"/>
                    <a:pt x="208773" y="41770"/>
                    <a:pt x="209026" y="40757"/>
                  </a:cubicBezTo>
                  <a:cubicBezTo>
                    <a:pt x="209026" y="40757"/>
                    <a:pt x="209026" y="40757"/>
                    <a:pt x="209026" y="40757"/>
                  </a:cubicBezTo>
                  <a:cubicBezTo>
                    <a:pt x="210673" y="39490"/>
                    <a:pt x="247664" y="9973"/>
                    <a:pt x="266160" y="1232"/>
                  </a:cubicBezTo>
                  <a:cubicBezTo>
                    <a:pt x="284909" y="-7636"/>
                    <a:pt x="314553" y="33916"/>
                    <a:pt x="329501" y="44811"/>
                  </a:cubicBezTo>
                  <a:cubicBezTo>
                    <a:pt x="344323" y="55705"/>
                    <a:pt x="366619" y="27455"/>
                    <a:pt x="376627" y="22514"/>
                  </a:cubicBezTo>
                  <a:cubicBezTo>
                    <a:pt x="386635" y="17574"/>
                    <a:pt x="381061" y="35436"/>
                    <a:pt x="377007" y="45824"/>
                  </a:cubicBezTo>
                  <a:cubicBezTo>
                    <a:pt x="373080" y="56212"/>
                    <a:pt x="397783" y="64066"/>
                    <a:pt x="418559" y="85476"/>
                  </a:cubicBezTo>
                  <a:cubicBezTo>
                    <a:pt x="439335" y="106758"/>
                    <a:pt x="447189" y="129941"/>
                    <a:pt x="456184" y="156798"/>
                  </a:cubicBezTo>
                  <a:cubicBezTo>
                    <a:pt x="465052" y="183528"/>
                    <a:pt x="479367" y="206711"/>
                    <a:pt x="488868" y="219632"/>
                  </a:cubicBezTo>
                  <a:cubicBezTo>
                    <a:pt x="498242" y="232554"/>
                    <a:pt x="501283" y="236481"/>
                    <a:pt x="515091" y="242435"/>
                  </a:cubicBezTo>
                  <a:cubicBezTo>
                    <a:pt x="528899" y="248389"/>
                    <a:pt x="561584" y="288041"/>
                    <a:pt x="571465" y="301343"/>
                  </a:cubicBezTo>
                  <a:cubicBezTo>
                    <a:pt x="581346" y="314644"/>
                    <a:pt x="609596" y="311224"/>
                    <a:pt x="629865" y="311224"/>
                  </a:cubicBezTo>
                  <a:cubicBezTo>
                    <a:pt x="650135" y="311224"/>
                    <a:pt x="650135" y="281960"/>
                    <a:pt x="660016" y="273092"/>
                  </a:cubicBezTo>
                  <a:cubicBezTo>
                    <a:pt x="669897" y="264225"/>
                    <a:pt x="699034" y="322625"/>
                    <a:pt x="707522" y="332000"/>
                  </a:cubicBezTo>
                  <a:cubicBezTo>
                    <a:pt x="709802" y="334660"/>
                    <a:pt x="710182" y="336687"/>
                    <a:pt x="709042" y="3385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5" name="Полилиния: фигура 704">
              <a:extLst>
                <a:ext uri="{FF2B5EF4-FFF2-40B4-BE49-F238E27FC236}">
                  <a16:creationId xmlns:a16="http://schemas.microsoft.com/office/drawing/2014/main" id="{DCE90C97-21C3-4346-A876-C67A065CB3EE}"/>
                </a:ext>
              </a:extLst>
            </p:cNvPr>
            <p:cNvSpPr/>
            <p:nvPr/>
          </p:nvSpPr>
          <p:spPr>
            <a:xfrm>
              <a:off x="2516757" y="2970626"/>
              <a:ext cx="425455" cy="341155"/>
            </a:xfrm>
            <a:custGeom>
              <a:avLst/>
              <a:gdLst>
                <a:gd name="connsiteX0" fmla="*/ 425400 w 425455"/>
                <a:gd name="connsiteY0" fmla="*/ 232082 h 341155"/>
                <a:gd name="connsiteX1" fmla="*/ 425400 w 425455"/>
                <a:gd name="connsiteY1" fmla="*/ 232082 h 341155"/>
                <a:gd name="connsiteX2" fmla="*/ 423120 w 425455"/>
                <a:gd name="connsiteY2" fmla="*/ 234109 h 341155"/>
                <a:gd name="connsiteX3" fmla="*/ 366239 w 425455"/>
                <a:gd name="connsiteY3" fmla="*/ 273761 h 341155"/>
                <a:gd name="connsiteX4" fmla="*/ 333555 w 425455"/>
                <a:gd name="connsiteY4" fmla="*/ 286682 h 341155"/>
                <a:gd name="connsiteX5" fmla="*/ 320253 w 425455"/>
                <a:gd name="connsiteY5" fmla="*/ 314426 h 341155"/>
                <a:gd name="connsiteX6" fmla="*/ 216374 w 425455"/>
                <a:gd name="connsiteY6" fmla="*/ 338242 h 341155"/>
                <a:gd name="connsiteX7" fmla="*/ 216374 w 425455"/>
                <a:gd name="connsiteY7" fmla="*/ 338242 h 341155"/>
                <a:gd name="connsiteX8" fmla="*/ 215614 w 425455"/>
                <a:gd name="connsiteY8" fmla="*/ 338116 h 341155"/>
                <a:gd name="connsiteX9" fmla="*/ 215614 w 425455"/>
                <a:gd name="connsiteY9" fmla="*/ 338116 h 341155"/>
                <a:gd name="connsiteX10" fmla="*/ 214474 w 425455"/>
                <a:gd name="connsiteY10" fmla="*/ 337862 h 341155"/>
                <a:gd name="connsiteX11" fmla="*/ 212573 w 425455"/>
                <a:gd name="connsiteY11" fmla="*/ 337609 h 341155"/>
                <a:gd name="connsiteX12" fmla="*/ 148219 w 425455"/>
                <a:gd name="connsiteY12" fmla="*/ 314426 h 341155"/>
                <a:gd name="connsiteX13" fmla="*/ 92732 w 425455"/>
                <a:gd name="connsiteY13" fmla="*/ 341156 h 341155"/>
                <a:gd name="connsiteX14" fmla="*/ 39145 w 425455"/>
                <a:gd name="connsiteY14" fmla="*/ 298464 h 341155"/>
                <a:gd name="connsiteX15" fmla="*/ 0 w 425455"/>
                <a:gd name="connsiteY15" fmla="*/ 267680 h 341155"/>
                <a:gd name="connsiteX16" fmla="*/ 17102 w 425455"/>
                <a:gd name="connsiteY16" fmla="*/ 252225 h 341155"/>
                <a:gd name="connsiteX17" fmla="*/ 19636 w 425455"/>
                <a:gd name="connsiteY17" fmla="*/ 249564 h 341155"/>
                <a:gd name="connsiteX18" fmla="*/ 23056 w 425455"/>
                <a:gd name="connsiteY18" fmla="*/ 245637 h 341155"/>
                <a:gd name="connsiteX19" fmla="*/ 24576 w 425455"/>
                <a:gd name="connsiteY19" fmla="*/ 243610 h 341155"/>
                <a:gd name="connsiteX20" fmla="*/ 25590 w 425455"/>
                <a:gd name="connsiteY20" fmla="*/ 242090 h 341155"/>
                <a:gd name="connsiteX21" fmla="*/ 26603 w 425455"/>
                <a:gd name="connsiteY21" fmla="*/ 240317 h 341155"/>
                <a:gd name="connsiteX22" fmla="*/ 59668 w 425455"/>
                <a:gd name="connsiteY22" fmla="*/ 221821 h 341155"/>
                <a:gd name="connsiteX23" fmla="*/ 100713 w 425455"/>
                <a:gd name="connsiteY23" fmla="*/ 169881 h 341155"/>
                <a:gd name="connsiteX24" fmla="*/ 103120 w 425455"/>
                <a:gd name="connsiteY24" fmla="*/ 130230 h 341155"/>
                <a:gd name="connsiteX25" fmla="*/ 131370 w 425455"/>
                <a:gd name="connsiteY25" fmla="*/ 90578 h 341155"/>
                <a:gd name="connsiteX26" fmla="*/ 144798 w 425455"/>
                <a:gd name="connsiteY26" fmla="*/ 47379 h 341155"/>
                <a:gd name="connsiteX27" fmla="*/ 175455 w 425455"/>
                <a:gd name="connsiteY27" fmla="*/ 21663 h 341155"/>
                <a:gd name="connsiteX28" fmla="*/ 219414 w 425455"/>
                <a:gd name="connsiteY28" fmla="*/ 0 h 341155"/>
                <a:gd name="connsiteX29" fmla="*/ 310626 w 425455"/>
                <a:gd name="connsiteY29" fmla="*/ 31037 h 341155"/>
                <a:gd name="connsiteX30" fmla="*/ 345210 w 425455"/>
                <a:gd name="connsiteY30" fmla="*/ 71069 h 341155"/>
                <a:gd name="connsiteX31" fmla="*/ 397150 w 425455"/>
                <a:gd name="connsiteY31" fmla="*/ 85384 h 341155"/>
                <a:gd name="connsiteX32" fmla="*/ 400570 w 425455"/>
                <a:gd name="connsiteY32" fmla="*/ 201679 h 341155"/>
                <a:gd name="connsiteX33" fmla="*/ 425400 w 425455"/>
                <a:gd name="connsiteY33" fmla="*/ 232082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455" h="341155">
                  <a:moveTo>
                    <a:pt x="425400" y="232082"/>
                  </a:moveTo>
                  <a:cubicBezTo>
                    <a:pt x="425273" y="232082"/>
                    <a:pt x="425273" y="232082"/>
                    <a:pt x="425400" y="232082"/>
                  </a:cubicBezTo>
                  <a:cubicBezTo>
                    <a:pt x="425147" y="233096"/>
                    <a:pt x="424386" y="233729"/>
                    <a:pt x="423120" y="234109"/>
                  </a:cubicBezTo>
                  <a:cubicBezTo>
                    <a:pt x="413745" y="237150"/>
                    <a:pt x="378527" y="274268"/>
                    <a:pt x="366239" y="273761"/>
                  </a:cubicBezTo>
                  <a:cubicBezTo>
                    <a:pt x="353951" y="273254"/>
                    <a:pt x="340016" y="276295"/>
                    <a:pt x="333555" y="286682"/>
                  </a:cubicBezTo>
                  <a:cubicBezTo>
                    <a:pt x="327094" y="297070"/>
                    <a:pt x="331021" y="308979"/>
                    <a:pt x="320253" y="314426"/>
                  </a:cubicBezTo>
                  <a:cubicBezTo>
                    <a:pt x="309359" y="319873"/>
                    <a:pt x="273254" y="333808"/>
                    <a:pt x="216374" y="338242"/>
                  </a:cubicBezTo>
                  <a:lnTo>
                    <a:pt x="216374" y="338242"/>
                  </a:lnTo>
                  <a:cubicBezTo>
                    <a:pt x="216121" y="338116"/>
                    <a:pt x="215867" y="338116"/>
                    <a:pt x="215614" y="338116"/>
                  </a:cubicBezTo>
                  <a:lnTo>
                    <a:pt x="215614" y="338116"/>
                  </a:lnTo>
                  <a:cubicBezTo>
                    <a:pt x="215234" y="337989"/>
                    <a:pt x="214854" y="337989"/>
                    <a:pt x="214474" y="337862"/>
                  </a:cubicBezTo>
                  <a:cubicBezTo>
                    <a:pt x="213840" y="337735"/>
                    <a:pt x="213207" y="337735"/>
                    <a:pt x="212573" y="337609"/>
                  </a:cubicBezTo>
                  <a:cubicBezTo>
                    <a:pt x="201679" y="337102"/>
                    <a:pt x="173428" y="314426"/>
                    <a:pt x="148219" y="314426"/>
                  </a:cubicBezTo>
                  <a:cubicBezTo>
                    <a:pt x="123389" y="314426"/>
                    <a:pt x="93618" y="340269"/>
                    <a:pt x="92732" y="341156"/>
                  </a:cubicBezTo>
                  <a:cubicBezTo>
                    <a:pt x="83104" y="323040"/>
                    <a:pt x="48013" y="301631"/>
                    <a:pt x="39145" y="298464"/>
                  </a:cubicBezTo>
                  <a:cubicBezTo>
                    <a:pt x="27997" y="294537"/>
                    <a:pt x="760" y="268440"/>
                    <a:pt x="0" y="267680"/>
                  </a:cubicBezTo>
                  <a:cubicBezTo>
                    <a:pt x="5574" y="262739"/>
                    <a:pt x="11908" y="257546"/>
                    <a:pt x="17102" y="252225"/>
                  </a:cubicBezTo>
                  <a:cubicBezTo>
                    <a:pt x="17989" y="251338"/>
                    <a:pt x="18749" y="250451"/>
                    <a:pt x="19636" y="249564"/>
                  </a:cubicBezTo>
                  <a:cubicBezTo>
                    <a:pt x="20903" y="248298"/>
                    <a:pt x="22043" y="246904"/>
                    <a:pt x="23056" y="245637"/>
                  </a:cubicBezTo>
                  <a:cubicBezTo>
                    <a:pt x="23563" y="244877"/>
                    <a:pt x="24070" y="244244"/>
                    <a:pt x="24576" y="243610"/>
                  </a:cubicBezTo>
                  <a:cubicBezTo>
                    <a:pt x="24956" y="243104"/>
                    <a:pt x="25210" y="242597"/>
                    <a:pt x="25590" y="242090"/>
                  </a:cubicBezTo>
                  <a:cubicBezTo>
                    <a:pt x="25970" y="241457"/>
                    <a:pt x="26350" y="240950"/>
                    <a:pt x="26603" y="240317"/>
                  </a:cubicBezTo>
                  <a:cubicBezTo>
                    <a:pt x="26603" y="240317"/>
                    <a:pt x="48773" y="237276"/>
                    <a:pt x="59668" y="221821"/>
                  </a:cubicBezTo>
                  <a:cubicBezTo>
                    <a:pt x="70562" y="206492"/>
                    <a:pt x="98812" y="191670"/>
                    <a:pt x="100713" y="169881"/>
                  </a:cubicBezTo>
                  <a:cubicBezTo>
                    <a:pt x="102740" y="148092"/>
                    <a:pt x="88805" y="143658"/>
                    <a:pt x="103120" y="130230"/>
                  </a:cubicBezTo>
                  <a:cubicBezTo>
                    <a:pt x="117435" y="116801"/>
                    <a:pt x="131877" y="109454"/>
                    <a:pt x="131370" y="90578"/>
                  </a:cubicBezTo>
                  <a:cubicBezTo>
                    <a:pt x="130863" y="71702"/>
                    <a:pt x="129343" y="56754"/>
                    <a:pt x="144798" y="47379"/>
                  </a:cubicBezTo>
                  <a:cubicBezTo>
                    <a:pt x="160127" y="38005"/>
                    <a:pt x="160127" y="32557"/>
                    <a:pt x="175455" y="21663"/>
                  </a:cubicBezTo>
                  <a:cubicBezTo>
                    <a:pt x="188377" y="12541"/>
                    <a:pt x="209280" y="14188"/>
                    <a:pt x="219414" y="0"/>
                  </a:cubicBezTo>
                  <a:cubicBezTo>
                    <a:pt x="219414" y="0"/>
                    <a:pt x="299604" y="10768"/>
                    <a:pt x="310626" y="31037"/>
                  </a:cubicBezTo>
                  <a:cubicBezTo>
                    <a:pt x="321520" y="51306"/>
                    <a:pt x="327981" y="76643"/>
                    <a:pt x="345210" y="71069"/>
                  </a:cubicBezTo>
                  <a:cubicBezTo>
                    <a:pt x="362565" y="65621"/>
                    <a:pt x="398670" y="55234"/>
                    <a:pt x="397150" y="85384"/>
                  </a:cubicBezTo>
                  <a:cubicBezTo>
                    <a:pt x="395630" y="115534"/>
                    <a:pt x="389295" y="187870"/>
                    <a:pt x="400570" y="201679"/>
                  </a:cubicBezTo>
                  <a:cubicBezTo>
                    <a:pt x="409945" y="213713"/>
                    <a:pt x="426540" y="226635"/>
                    <a:pt x="425400" y="2320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6" name="Полилиния: фигура 705">
              <a:extLst>
                <a:ext uri="{FF2B5EF4-FFF2-40B4-BE49-F238E27FC236}">
                  <a16:creationId xmlns:a16="http://schemas.microsoft.com/office/drawing/2014/main" id="{678314DC-232E-4363-9E81-50EE894F0F68}"/>
                </a:ext>
              </a:extLst>
            </p:cNvPr>
            <p:cNvSpPr/>
            <p:nvPr/>
          </p:nvSpPr>
          <p:spPr>
            <a:xfrm>
              <a:off x="2157739" y="2374329"/>
              <a:ext cx="528198" cy="518640"/>
            </a:xfrm>
            <a:custGeom>
              <a:avLst/>
              <a:gdLst>
                <a:gd name="connsiteX0" fmla="*/ 528139 w 528198"/>
                <a:gd name="connsiteY0" fmla="*/ 437944 h 518640"/>
                <a:gd name="connsiteX1" fmla="*/ 522945 w 528198"/>
                <a:gd name="connsiteY1" fmla="*/ 518641 h 518640"/>
                <a:gd name="connsiteX2" fmla="*/ 502930 w 528198"/>
                <a:gd name="connsiteY2" fmla="*/ 511167 h 518640"/>
                <a:gd name="connsiteX3" fmla="*/ 459351 w 528198"/>
                <a:gd name="connsiteY3" fmla="*/ 449346 h 518640"/>
                <a:gd name="connsiteX4" fmla="*/ 417799 w 528198"/>
                <a:gd name="connsiteY4" fmla="*/ 449346 h 518640"/>
                <a:gd name="connsiteX5" fmla="*/ 387269 w 528198"/>
                <a:gd name="connsiteY5" fmla="*/ 428063 h 518640"/>
                <a:gd name="connsiteX6" fmla="*/ 366239 w 528198"/>
                <a:gd name="connsiteY6" fmla="*/ 420589 h 518640"/>
                <a:gd name="connsiteX7" fmla="*/ 366239 w 528198"/>
                <a:gd name="connsiteY7" fmla="*/ 357754 h 518640"/>
                <a:gd name="connsiteX8" fmla="*/ 338496 w 528198"/>
                <a:gd name="connsiteY8" fmla="*/ 348886 h 518640"/>
                <a:gd name="connsiteX9" fmla="*/ 298337 w 528198"/>
                <a:gd name="connsiteY9" fmla="*/ 316202 h 518640"/>
                <a:gd name="connsiteX10" fmla="*/ 292890 w 528198"/>
                <a:gd name="connsiteY10" fmla="*/ 349900 h 518640"/>
                <a:gd name="connsiteX11" fmla="*/ 235503 w 528198"/>
                <a:gd name="connsiteY11" fmla="*/ 373589 h 518640"/>
                <a:gd name="connsiteX12" fmla="*/ 202819 w 528198"/>
                <a:gd name="connsiteY12" fmla="*/ 351293 h 518640"/>
                <a:gd name="connsiteX13" fmla="*/ 185463 w 528198"/>
                <a:gd name="connsiteY13" fmla="*/ 333938 h 518640"/>
                <a:gd name="connsiteX14" fmla="*/ 125036 w 528198"/>
                <a:gd name="connsiteY14" fmla="*/ 337358 h 518640"/>
                <a:gd name="connsiteX15" fmla="*/ 72589 w 528198"/>
                <a:gd name="connsiteY15" fmla="*/ 303661 h 518640"/>
                <a:gd name="connsiteX16" fmla="*/ 24450 w 528198"/>
                <a:gd name="connsiteY16" fmla="*/ 288839 h 518640"/>
                <a:gd name="connsiteX17" fmla="*/ 0 w 528198"/>
                <a:gd name="connsiteY17" fmla="*/ 264389 h 518640"/>
                <a:gd name="connsiteX18" fmla="*/ 1267 w 528198"/>
                <a:gd name="connsiteY18" fmla="*/ 258055 h 518640"/>
                <a:gd name="connsiteX19" fmla="*/ 9755 w 528198"/>
                <a:gd name="connsiteY19" fmla="*/ 217516 h 518640"/>
                <a:gd name="connsiteX20" fmla="*/ 29010 w 528198"/>
                <a:gd name="connsiteY20" fmla="*/ 196234 h 518640"/>
                <a:gd name="connsiteX21" fmla="*/ 32938 w 528198"/>
                <a:gd name="connsiteY21" fmla="*/ 172924 h 518640"/>
                <a:gd name="connsiteX22" fmla="*/ 70055 w 528198"/>
                <a:gd name="connsiteY22" fmla="*/ 159623 h 518640"/>
                <a:gd name="connsiteX23" fmla="*/ 88424 w 528198"/>
                <a:gd name="connsiteY23" fmla="*/ 133906 h 518640"/>
                <a:gd name="connsiteX24" fmla="*/ 117181 w 528198"/>
                <a:gd name="connsiteY24" fmla="*/ 103756 h 518640"/>
                <a:gd name="connsiteX25" fmla="*/ 112241 w 528198"/>
                <a:gd name="connsiteY25" fmla="*/ 17105 h 518640"/>
                <a:gd name="connsiteX26" fmla="*/ 136564 w 528198"/>
                <a:gd name="connsiteY26" fmla="*/ 1776 h 518640"/>
                <a:gd name="connsiteX27" fmla="*/ 178496 w 528198"/>
                <a:gd name="connsiteY27" fmla="*/ 7477 h 518640"/>
                <a:gd name="connsiteX28" fmla="*/ 250578 w 528198"/>
                <a:gd name="connsiteY28" fmla="*/ 31927 h 518640"/>
                <a:gd name="connsiteX29" fmla="*/ 286809 w 528198"/>
                <a:gd name="connsiteY29" fmla="*/ 43201 h 518640"/>
                <a:gd name="connsiteX30" fmla="*/ 334315 w 528198"/>
                <a:gd name="connsiteY30" fmla="*/ 34714 h 518640"/>
                <a:gd name="connsiteX31" fmla="*/ 349517 w 528198"/>
                <a:gd name="connsiteY31" fmla="*/ 72972 h 518640"/>
                <a:gd name="connsiteX32" fmla="*/ 413492 w 528198"/>
                <a:gd name="connsiteY32" fmla="*/ 65117 h 518640"/>
                <a:gd name="connsiteX33" fmla="*/ 424006 w 528198"/>
                <a:gd name="connsiteY33" fmla="*/ 146321 h 518640"/>
                <a:gd name="connsiteX34" fmla="*/ 447063 w 528198"/>
                <a:gd name="connsiteY34" fmla="*/ 168744 h 518640"/>
                <a:gd name="connsiteX35" fmla="*/ 464292 w 528198"/>
                <a:gd name="connsiteY35" fmla="*/ 205735 h 518640"/>
                <a:gd name="connsiteX36" fmla="*/ 491275 w 528198"/>
                <a:gd name="connsiteY36" fmla="*/ 242093 h 518640"/>
                <a:gd name="connsiteX37" fmla="*/ 495962 w 528198"/>
                <a:gd name="connsiteY37" fmla="*/ 293526 h 518640"/>
                <a:gd name="connsiteX38" fmla="*/ 509770 w 528198"/>
                <a:gd name="connsiteY38" fmla="*/ 335711 h 518640"/>
                <a:gd name="connsiteX39" fmla="*/ 512431 w 528198"/>
                <a:gd name="connsiteY39" fmla="*/ 341539 h 518640"/>
                <a:gd name="connsiteX40" fmla="*/ 512684 w 528198"/>
                <a:gd name="connsiteY40" fmla="*/ 341792 h 518640"/>
                <a:gd name="connsiteX41" fmla="*/ 492795 w 528198"/>
                <a:gd name="connsiteY41" fmla="*/ 393352 h 518640"/>
                <a:gd name="connsiteX42" fmla="*/ 528139 w 528198"/>
                <a:gd name="connsiteY42" fmla="*/ 437944 h 51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198" h="518640">
                  <a:moveTo>
                    <a:pt x="528139" y="437944"/>
                  </a:moveTo>
                  <a:cubicBezTo>
                    <a:pt x="526873" y="452513"/>
                    <a:pt x="523705" y="498625"/>
                    <a:pt x="522945" y="518641"/>
                  </a:cubicBezTo>
                  <a:cubicBezTo>
                    <a:pt x="514458" y="518261"/>
                    <a:pt x="507490" y="516361"/>
                    <a:pt x="502930" y="511167"/>
                  </a:cubicBezTo>
                  <a:cubicBezTo>
                    <a:pt x="491022" y="497358"/>
                    <a:pt x="483167" y="449346"/>
                    <a:pt x="459351" y="449346"/>
                  </a:cubicBezTo>
                  <a:cubicBezTo>
                    <a:pt x="435535" y="449346"/>
                    <a:pt x="428567" y="456186"/>
                    <a:pt x="417799" y="449346"/>
                  </a:cubicBezTo>
                  <a:cubicBezTo>
                    <a:pt x="406904" y="442378"/>
                    <a:pt x="397403" y="427556"/>
                    <a:pt x="387269" y="428063"/>
                  </a:cubicBezTo>
                  <a:cubicBezTo>
                    <a:pt x="377134" y="428570"/>
                    <a:pt x="366746" y="447445"/>
                    <a:pt x="366239" y="420589"/>
                  </a:cubicBezTo>
                  <a:cubicBezTo>
                    <a:pt x="365732" y="393859"/>
                    <a:pt x="380554" y="357247"/>
                    <a:pt x="366239" y="357754"/>
                  </a:cubicBezTo>
                  <a:cubicBezTo>
                    <a:pt x="351924" y="358261"/>
                    <a:pt x="347870" y="363708"/>
                    <a:pt x="338496" y="348886"/>
                  </a:cubicBezTo>
                  <a:cubicBezTo>
                    <a:pt x="329121" y="334064"/>
                    <a:pt x="302391" y="301887"/>
                    <a:pt x="298337" y="316202"/>
                  </a:cubicBezTo>
                  <a:cubicBezTo>
                    <a:pt x="294410" y="330517"/>
                    <a:pt x="312146" y="334571"/>
                    <a:pt x="292890" y="349900"/>
                  </a:cubicBezTo>
                  <a:cubicBezTo>
                    <a:pt x="273507" y="365228"/>
                    <a:pt x="259699" y="379037"/>
                    <a:pt x="235503" y="373589"/>
                  </a:cubicBezTo>
                  <a:cubicBezTo>
                    <a:pt x="211180" y="368142"/>
                    <a:pt x="210293" y="353827"/>
                    <a:pt x="202819" y="351293"/>
                  </a:cubicBezTo>
                  <a:cubicBezTo>
                    <a:pt x="195471" y="348760"/>
                    <a:pt x="196865" y="331531"/>
                    <a:pt x="185463" y="333938"/>
                  </a:cubicBezTo>
                  <a:cubicBezTo>
                    <a:pt x="174062" y="336471"/>
                    <a:pt x="146825" y="348760"/>
                    <a:pt x="125036" y="337358"/>
                  </a:cubicBezTo>
                  <a:cubicBezTo>
                    <a:pt x="103246" y="325957"/>
                    <a:pt x="88931" y="301760"/>
                    <a:pt x="72589" y="303661"/>
                  </a:cubicBezTo>
                  <a:cubicBezTo>
                    <a:pt x="56247" y="305688"/>
                    <a:pt x="38765" y="301254"/>
                    <a:pt x="24450" y="288839"/>
                  </a:cubicBezTo>
                  <a:cubicBezTo>
                    <a:pt x="10135" y="276424"/>
                    <a:pt x="0" y="264389"/>
                    <a:pt x="0" y="264389"/>
                  </a:cubicBezTo>
                  <a:cubicBezTo>
                    <a:pt x="760" y="262996"/>
                    <a:pt x="1140" y="260969"/>
                    <a:pt x="1267" y="258055"/>
                  </a:cubicBezTo>
                  <a:cubicBezTo>
                    <a:pt x="1774" y="244247"/>
                    <a:pt x="-3167" y="230818"/>
                    <a:pt x="9755" y="217516"/>
                  </a:cubicBezTo>
                  <a:cubicBezTo>
                    <a:pt x="22549" y="204215"/>
                    <a:pt x="31037" y="209662"/>
                    <a:pt x="29010" y="196234"/>
                  </a:cubicBezTo>
                  <a:cubicBezTo>
                    <a:pt x="26983" y="182806"/>
                    <a:pt x="19636" y="177485"/>
                    <a:pt x="32938" y="172924"/>
                  </a:cubicBezTo>
                  <a:cubicBezTo>
                    <a:pt x="46239" y="168490"/>
                    <a:pt x="63595" y="176852"/>
                    <a:pt x="70055" y="159623"/>
                  </a:cubicBezTo>
                  <a:cubicBezTo>
                    <a:pt x="76516" y="142267"/>
                    <a:pt x="73096" y="142267"/>
                    <a:pt x="88424" y="133906"/>
                  </a:cubicBezTo>
                  <a:cubicBezTo>
                    <a:pt x="103753" y="125545"/>
                    <a:pt x="114648" y="130992"/>
                    <a:pt x="117181" y="103756"/>
                  </a:cubicBezTo>
                  <a:cubicBezTo>
                    <a:pt x="119588" y="76519"/>
                    <a:pt x="101346" y="31927"/>
                    <a:pt x="112241" y="17105"/>
                  </a:cubicBezTo>
                  <a:cubicBezTo>
                    <a:pt x="123135" y="2283"/>
                    <a:pt x="125542" y="-3164"/>
                    <a:pt x="136564" y="1776"/>
                  </a:cubicBezTo>
                  <a:cubicBezTo>
                    <a:pt x="147458" y="6717"/>
                    <a:pt x="163674" y="21665"/>
                    <a:pt x="178496" y="7477"/>
                  </a:cubicBezTo>
                  <a:cubicBezTo>
                    <a:pt x="183436" y="23059"/>
                    <a:pt x="242724" y="31927"/>
                    <a:pt x="250578" y="31927"/>
                  </a:cubicBezTo>
                  <a:cubicBezTo>
                    <a:pt x="259066" y="31927"/>
                    <a:pt x="277561" y="34587"/>
                    <a:pt x="286809" y="43201"/>
                  </a:cubicBezTo>
                  <a:cubicBezTo>
                    <a:pt x="296057" y="51816"/>
                    <a:pt x="305305" y="43201"/>
                    <a:pt x="334315" y="34714"/>
                  </a:cubicBezTo>
                  <a:cubicBezTo>
                    <a:pt x="363326" y="26099"/>
                    <a:pt x="351544" y="49916"/>
                    <a:pt x="349517" y="72972"/>
                  </a:cubicBezTo>
                  <a:cubicBezTo>
                    <a:pt x="347490" y="96155"/>
                    <a:pt x="405004" y="67651"/>
                    <a:pt x="413492" y="65117"/>
                  </a:cubicBezTo>
                  <a:cubicBezTo>
                    <a:pt x="422106" y="62457"/>
                    <a:pt x="428060" y="123898"/>
                    <a:pt x="424006" y="146321"/>
                  </a:cubicBezTo>
                  <a:cubicBezTo>
                    <a:pt x="420079" y="168744"/>
                    <a:pt x="434521" y="168110"/>
                    <a:pt x="447063" y="168744"/>
                  </a:cubicBezTo>
                  <a:cubicBezTo>
                    <a:pt x="459604" y="169377"/>
                    <a:pt x="466192" y="191800"/>
                    <a:pt x="464292" y="205735"/>
                  </a:cubicBezTo>
                  <a:cubicBezTo>
                    <a:pt x="462265" y="219543"/>
                    <a:pt x="474173" y="222964"/>
                    <a:pt x="491275" y="242093"/>
                  </a:cubicBezTo>
                  <a:cubicBezTo>
                    <a:pt x="508377" y="261222"/>
                    <a:pt x="501156" y="266543"/>
                    <a:pt x="495962" y="293526"/>
                  </a:cubicBezTo>
                  <a:cubicBezTo>
                    <a:pt x="490641" y="320509"/>
                    <a:pt x="504450" y="317342"/>
                    <a:pt x="509770" y="335711"/>
                  </a:cubicBezTo>
                  <a:cubicBezTo>
                    <a:pt x="510531" y="338245"/>
                    <a:pt x="511417" y="340145"/>
                    <a:pt x="512431" y="341539"/>
                  </a:cubicBezTo>
                  <a:cubicBezTo>
                    <a:pt x="512558" y="341665"/>
                    <a:pt x="512558" y="341792"/>
                    <a:pt x="512684" y="341792"/>
                  </a:cubicBezTo>
                  <a:cubicBezTo>
                    <a:pt x="503310" y="355094"/>
                    <a:pt x="486588" y="381444"/>
                    <a:pt x="492795" y="393352"/>
                  </a:cubicBezTo>
                  <a:cubicBezTo>
                    <a:pt x="501409" y="409694"/>
                    <a:pt x="529660" y="421095"/>
                    <a:pt x="528139" y="43794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7" name="Полилиния: фигура 706">
              <a:extLst>
                <a:ext uri="{FF2B5EF4-FFF2-40B4-BE49-F238E27FC236}">
                  <a16:creationId xmlns:a16="http://schemas.microsoft.com/office/drawing/2014/main" id="{BA601365-D5AE-4920-8315-7F8C6B866AB9}"/>
                </a:ext>
              </a:extLst>
            </p:cNvPr>
            <p:cNvSpPr/>
            <p:nvPr/>
          </p:nvSpPr>
          <p:spPr>
            <a:xfrm>
              <a:off x="2649686" y="2572524"/>
              <a:ext cx="954662" cy="927888"/>
            </a:xfrm>
            <a:custGeom>
              <a:avLst/>
              <a:gdLst>
                <a:gd name="connsiteX0" fmla="*/ 953754 w 954662"/>
                <a:gd name="connsiteY0" fmla="*/ 758768 h 927888"/>
                <a:gd name="connsiteX1" fmla="*/ 924364 w 954662"/>
                <a:gd name="connsiteY1" fmla="*/ 783217 h 927888"/>
                <a:gd name="connsiteX2" fmla="*/ 852155 w 954662"/>
                <a:gd name="connsiteY2" fmla="*/ 803993 h 927888"/>
                <a:gd name="connsiteX3" fmla="*/ 799328 w 954662"/>
                <a:gd name="connsiteY3" fmla="*/ 808681 h 927888"/>
                <a:gd name="connsiteX4" fmla="*/ 821118 w 954662"/>
                <a:gd name="connsiteY4" fmla="*/ 860114 h 927888"/>
                <a:gd name="connsiteX5" fmla="*/ 808196 w 954662"/>
                <a:gd name="connsiteY5" fmla="*/ 890138 h 927888"/>
                <a:gd name="connsiteX6" fmla="*/ 792487 w 954662"/>
                <a:gd name="connsiteY6" fmla="*/ 927889 h 927888"/>
                <a:gd name="connsiteX7" fmla="*/ 790967 w 954662"/>
                <a:gd name="connsiteY7" fmla="*/ 921301 h 927888"/>
                <a:gd name="connsiteX8" fmla="*/ 743461 w 954662"/>
                <a:gd name="connsiteY8" fmla="*/ 862394 h 927888"/>
                <a:gd name="connsiteX9" fmla="*/ 713311 w 954662"/>
                <a:gd name="connsiteY9" fmla="*/ 900525 h 927888"/>
                <a:gd name="connsiteX10" fmla="*/ 654910 w 954662"/>
                <a:gd name="connsiteY10" fmla="*/ 890644 h 927888"/>
                <a:gd name="connsiteX11" fmla="*/ 598536 w 954662"/>
                <a:gd name="connsiteY11" fmla="*/ 831737 h 927888"/>
                <a:gd name="connsiteX12" fmla="*/ 572313 w 954662"/>
                <a:gd name="connsiteY12" fmla="*/ 808934 h 927888"/>
                <a:gd name="connsiteX13" fmla="*/ 539629 w 954662"/>
                <a:gd name="connsiteY13" fmla="*/ 746100 h 927888"/>
                <a:gd name="connsiteX14" fmla="*/ 502004 w 954662"/>
                <a:gd name="connsiteY14" fmla="*/ 674777 h 927888"/>
                <a:gd name="connsiteX15" fmla="*/ 460453 w 954662"/>
                <a:gd name="connsiteY15" fmla="*/ 635126 h 927888"/>
                <a:gd name="connsiteX16" fmla="*/ 460073 w 954662"/>
                <a:gd name="connsiteY16" fmla="*/ 611816 h 927888"/>
                <a:gd name="connsiteX17" fmla="*/ 412947 w 954662"/>
                <a:gd name="connsiteY17" fmla="*/ 634112 h 927888"/>
                <a:gd name="connsiteX18" fmla="*/ 349605 w 954662"/>
                <a:gd name="connsiteY18" fmla="*/ 590534 h 927888"/>
                <a:gd name="connsiteX19" fmla="*/ 292471 w 954662"/>
                <a:gd name="connsiteY19" fmla="*/ 630058 h 927888"/>
                <a:gd name="connsiteX20" fmla="*/ 267388 w 954662"/>
                <a:gd name="connsiteY20" fmla="*/ 599908 h 927888"/>
                <a:gd name="connsiteX21" fmla="*/ 263968 w 954662"/>
                <a:gd name="connsiteY21" fmla="*/ 483613 h 927888"/>
                <a:gd name="connsiteX22" fmla="*/ 212028 w 954662"/>
                <a:gd name="connsiteY22" fmla="*/ 469298 h 927888"/>
                <a:gd name="connsiteX23" fmla="*/ 177444 w 954662"/>
                <a:gd name="connsiteY23" fmla="*/ 429267 h 927888"/>
                <a:gd name="connsiteX24" fmla="*/ 86232 w 954662"/>
                <a:gd name="connsiteY24" fmla="*/ 398229 h 927888"/>
                <a:gd name="connsiteX25" fmla="*/ 90793 w 954662"/>
                <a:gd name="connsiteY25" fmla="*/ 388222 h 927888"/>
                <a:gd name="connsiteX26" fmla="*/ 78505 w 954662"/>
                <a:gd name="connsiteY26" fmla="*/ 320446 h 927888"/>
                <a:gd name="connsiteX27" fmla="*/ 31252 w 954662"/>
                <a:gd name="connsiteY27" fmla="*/ 320446 h 927888"/>
                <a:gd name="connsiteX28" fmla="*/ 36446 w 954662"/>
                <a:gd name="connsiteY28" fmla="*/ 239750 h 927888"/>
                <a:gd name="connsiteX29" fmla="*/ 1355 w 954662"/>
                <a:gd name="connsiteY29" fmla="*/ 195157 h 927888"/>
                <a:gd name="connsiteX30" fmla="*/ 21244 w 954662"/>
                <a:gd name="connsiteY30" fmla="*/ 143597 h 927888"/>
                <a:gd name="connsiteX31" fmla="*/ 51395 w 954662"/>
                <a:gd name="connsiteY31" fmla="*/ 136123 h 927888"/>
                <a:gd name="connsiteX32" fmla="*/ 81038 w 954662"/>
                <a:gd name="connsiteY32" fmla="*/ 164500 h 927888"/>
                <a:gd name="connsiteX33" fmla="*/ 108782 w 954662"/>
                <a:gd name="connsiteY33" fmla="*/ 138150 h 927888"/>
                <a:gd name="connsiteX34" fmla="*/ 143746 w 954662"/>
                <a:gd name="connsiteY34" fmla="*/ 148665 h 927888"/>
                <a:gd name="connsiteX35" fmla="*/ 149067 w 954662"/>
                <a:gd name="connsiteY35" fmla="*/ 124849 h 927888"/>
                <a:gd name="connsiteX36" fmla="*/ 177444 w 954662"/>
                <a:gd name="connsiteY36" fmla="*/ 48332 h 927888"/>
                <a:gd name="connsiteX37" fmla="*/ 247373 w 954662"/>
                <a:gd name="connsiteY37" fmla="*/ 31104 h 927888"/>
                <a:gd name="connsiteX38" fmla="*/ 271822 w 954662"/>
                <a:gd name="connsiteY38" fmla="*/ 5387 h 927888"/>
                <a:gd name="connsiteX39" fmla="*/ 315401 w 954662"/>
                <a:gd name="connsiteY39" fmla="*/ 2093 h 927888"/>
                <a:gd name="connsiteX40" fmla="*/ 336810 w 954662"/>
                <a:gd name="connsiteY40" fmla="*/ 6147 h 927888"/>
                <a:gd name="connsiteX41" fmla="*/ 336810 w 954662"/>
                <a:gd name="connsiteY41" fmla="*/ 6147 h 927888"/>
                <a:gd name="connsiteX42" fmla="*/ 340991 w 954662"/>
                <a:gd name="connsiteY42" fmla="*/ 14001 h 927888"/>
                <a:gd name="connsiteX43" fmla="*/ 404206 w 954662"/>
                <a:gd name="connsiteY43" fmla="*/ 56313 h 927888"/>
                <a:gd name="connsiteX44" fmla="*/ 442590 w 954662"/>
                <a:gd name="connsiteY44" fmla="*/ 40605 h 927888"/>
                <a:gd name="connsiteX45" fmla="*/ 455005 w 954662"/>
                <a:gd name="connsiteY45" fmla="*/ 25149 h 927888"/>
                <a:gd name="connsiteX46" fmla="*/ 503778 w 954662"/>
                <a:gd name="connsiteY46" fmla="*/ 103186 h 927888"/>
                <a:gd name="connsiteX47" fmla="*/ 502384 w 954662"/>
                <a:gd name="connsiteY47" fmla="*/ 113700 h 927888"/>
                <a:gd name="connsiteX48" fmla="*/ 458172 w 954662"/>
                <a:gd name="connsiteY48" fmla="*/ 222521 h 927888"/>
                <a:gd name="connsiteX49" fmla="*/ 473754 w 954662"/>
                <a:gd name="connsiteY49" fmla="*/ 271674 h 927888"/>
                <a:gd name="connsiteX50" fmla="*/ 501751 w 954662"/>
                <a:gd name="connsiteY50" fmla="*/ 302077 h 927888"/>
                <a:gd name="connsiteX51" fmla="*/ 533675 w 954662"/>
                <a:gd name="connsiteY51" fmla="*/ 359465 h 927888"/>
                <a:gd name="connsiteX52" fmla="*/ 561038 w 954662"/>
                <a:gd name="connsiteY52" fmla="*/ 388222 h 927888"/>
                <a:gd name="connsiteX53" fmla="*/ 585108 w 954662"/>
                <a:gd name="connsiteY53" fmla="*/ 411658 h 927888"/>
                <a:gd name="connsiteX54" fmla="*/ 646422 w 954662"/>
                <a:gd name="connsiteY54" fmla="*/ 435727 h 927888"/>
                <a:gd name="connsiteX55" fmla="*/ 662258 w 954662"/>
                <a:gd name="connsiteY55" fmla="*/ 480320 h 927888"/>
                <a:gd name="connsiteX56" fmla="*/ 687974 w 954662"/>
                <a:gd name="connsiteY56" fmla="*/ 499195 h 927888"/>
                <a:gd name="connsiteX57" fmla="*/ 702796 w 954662"/>
                <a:gd name="connsiteY57" fmla="*/ 532133 h 927888"/>
                <a:gd name="connsiteX58" fmla="*/ 746375 w 954662"/>
                <a:gd name="connsiteY58" fmla="*/ 550628 h 927888"/>
                <a:gd name="connsiteX59" fmla="*/ 781719 w 954662"/>
                <a:gd name="connsiteY59" fmla="*/ 563170 h 927888"/>
                <a:gd name="connsiteX60" fmla="*/ 809083 w 954662"/>
                <a:gd name="connsiteY60" fmla="*/ 619670 h 927888"/>
                <a:gd name="connsiteX61" fmla="*/ 848988 w 954662"/>
                <a:gd name="connsiteY61" fmla="*/ 644374 h 927888"/>
                <a:gd name="connsiteX62" fmla="*/ 888259 w 954662"/>
                <a:gd name="connsiteY62" fmla="*/ 641460 h 927888"/>
                <a:gd name="connsiteX63" fmla="*/ 900167 w 954662"/>
                <a:gd name="connsiteY63" fmla="*/ 678451 h 927888"/>
                <a:gd name="connsiteX64" fmla="*/ 892567 w 954662"/>
                <a:gd name="connsiteY64" fmla="*/ 707208 h 927888"/>
                <a:gd name="connsiteX65" fmla="*/ 950714 w 954662"/>
                <a:gd name="connsiteY65" fmla="*/ 747366 h 927888"/>
                <a:gd name="connsiteX66" fmla="*/ 953754 w 954662"/>
                <a:gd name="connsiteY66" fmla="*/ 758768 h 92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54662" h="927888">
                  <a:moveTo>
                    <a:pt x="953754" y="758768"/>
                  </a:moveTo>
                  <a:cubicBezTo>
                    <a:pt x="945140" y="772576"/>
                    <a:pt x="936272" y="778910"/>
                    <a:pt x="924364" y="783217"/>
                  </a:cubicBezTo>
                  <a:cubicBezTo>
                    <a:pt x="912456" y="787525"/>
                    <a:pt x="864316" y="805007"/>
                    <a:pt x="852155" y="803993"/>
                  </a:cubicBezTo>
                  <a:cubicBezTo>
                    <a:pt x="839993" y="802980"/>
                    <a:pt x="794388" y="788158"/>
                    <a:pt x="799328" y="808681"/>
                  </a:cubicBezTo>
                  <a:cubicBezTo>
                    <a:pt x="804269" y="829076"/>
                    <a:pt x="838600" y="843899"/>
                    <a:pt x="821118" y="860114"/>
                  </a:cubicBezTo>
                  <a:cubicBezTo>
                    <a:pt x="803635" y="876329"/>
                    <a:pt x="805282" y="881903"/>
                    <a:pt x="808196" y="890138"/>
                  </a:cubicBezTo>
                  <a:cubicBezTo>
                    <a:pt x="811110" y="898372"/>
                    <a:pt x="826058" y="913194"/>
                    <a:pt x="792487" y="927889"/>
                  </a:cubicBezTo>
                  <a:cubicBezTo>
                    <a:pt x="793501" y="925989"/>
                    <a:pt x="793247" y="923835"/>
                    <a:pt x="790967" y="921301"/>
                  </a:cubicBezTo>
                  <a:cubicBezTo>
                    <a:pt x="782480" y="911927"/>
                    <a:pt x="753343" y="853526"/>
                    <a:pt x="743461" y="862394"/>
                  </a:cubicBezTo>
                  <a:cubicBezTo>
                    <a:pt x="733580" y="871262"/>
                    <a:pt x="733580" y="900525"/>
                    <a:pt x="713311" y="900525"/>
                  </a:cubicBezTo>
                  <a:cubicBezTo>
                    <a:pt x="693042" y="900525"/>
                    <a:pt x="664791" y="903946"/>
                    <a:pt x="654910" y="890644"/>
                  </a:cubicBezTo>
                  <a:cubicBezTo>
                    <a:pt x="645029" y="877216"/>
                    <a:pt x="612345" y="837691"/>
                    <a:pt x="598536" y="831737"/>
                  </a:cubicBezTo>
                  <a:cubicBezTo>
                    <a:pt x="584728" y="825783"/>
                    <a:pt x="581688" y="821856"/>
                    <a:pt x="572313" y="808934"/>
                  </a:cubicBezTo>
                  <a:cubicBezTo>
                    <a:pt x="562939" y="796012"/>
                    <a:pt x="548497" y="772830"/>
                    <a:pt x="539629" y="746100"/>
                  </a:cubicBezTo>
                  <a:cubicBezTo>
                    <a:pt x="530635" y="719370"/>
                    <a:pt x="522780" y="696060"/>
                    <a:pt x="502004" y="674777"/>
                  </a:cubicBezTo>
                  <a:cubicBezTo>
                    <a:pt x="481229" y="653495"/>
                    <a:pt x="456525" y="645514"/>
                    <a:pt x="460453" y="635126"/>
                  </a:cubicBezTo>
                  <a:cubicBezTo>
                    <a:pt x="464380" y="624738"/>
                    <a:pt x="469954" y="606875"/>
                    <a:pt x="460073" y="611816"/>
                  </a:cubicBezTo>
                  <a:cubicBezTo>
                    <a:pt x="450065" y="616757"/>
                    <a:pt x="427769" y="645007"/>
                    <a:pt x="412947" y="634112"/>
                  </a:cubicBezTo>
                  <a:cubicBezTo>
                    <a:pt x="397998" y="623217"/>
                    <a:pt x="368354" y="581666"/>
                    <a:pt x="349605" y="590534"/>
                  </a:cubicBezTo>
                  <a:cubicBezTo>
                    <a:pt x="331110" y="599274"/>
                    <a:pt x="294118" y="628792"/>
                    <a:pt x="292471" y="630058"/>
                  </a:cubicBezTo>
                  <a:cubicBezTo>
                    <a:pt x="293738" y="624738"/>
                    <a:pt x="277143" y="611816"/>
                    <a:pt x="267388" y="599908"/>
                  </a:cubicBezTo>
                  <a:cubicBezTo>
                    <a:pt x="255987" y="586100"/>
                    <a:pt x="262448" y="513764"/>
                    <a:pt x="263968" y="483613"/>
                  </a:cubicBezTo>
                  <a:cubicBezTo>
                    <a:pt x="265488" y="453463"/>
                    <a:pt x="229384" y="463851"/>
                    <a:pt x="212028" y="469298"/>
                  </a:cubicBezTo>
                  <a:cubicBezTo>
                    <a:pt x="194673" y="474746"/>
                    <a:pt x="188338" y="449536"/>
                    <a:pt x="177444" y="429267"/>
                  </a:cubicBezTo>
                  <a:cubicBezTo>
                    <a:pt x="166549" y="408997"/>
                    <a:pt x="86232" y="398229"/>
                    <a:pt x="86232" y="398229"/>
                  </a:cubicBezTo>
                  <a:cubicBezTo>
                    <a:pt x="88259" y="395569"/>
                    <a:pt x="89779" y="392149"/>
                    <a:pt x="90793" y="388222"/>
                  </a:cubicBezTo>
                  <a:cubicBezTo>
                    <a:pt x="97254" y="362885"/>
                    <a:pt x="104221" y="324373"/>
                    <a:pt x="78505" y="320446"/>
                  </a:cubicBezTo>
                  <a:cubicBezTo>
                    <a:pt x="62543" y="318039"/>
                    <a:pt x="45061" y="321080"/>
                    <a:pt x="31252" y="320446"/>
                  </a:cubicBezTo>
                  <a:cubicBezTo>
                    <a:pt x="32012" y="300430"/>
                    <a:pt x="35179" y="254318"/>
                    <a:pt x="36446" y="239750"/>
                  </a:cubicBezTo>
                  <a:cubicBezTo>
                    <a:pt x="37966" y="222901"/>
                    <a:pt x="9716" y="211499"/>
                    <a:pt x="1355" y="195157"/>
                  </a:cubicBezTo>
                  <a:cubicBezTo>
                    <a:pt x="-4852" y="183123"/>
                    <a:pt x="11743" y="156899"/>
                    <a:pt x="21244" y="143597"/>
                  </a:cubicBezTo>
                  <a:cubicBezTo>
                    <a:pt x="27579" y="151832"/>
                    <a:pt x="38980" y="140684"/>
                    <a:pt x="51395" y="136123"/>
                  </a:cubicBezTo>
                  <a:cubicBezTo>
                    <a:pt x="65963" y="130803"/>
                    <a:pt x="66597" y="151325"/>
                    <a:pt x="81038" y="164500"/>
                  </a:cubicBezTo>
                  <a:cubicBezTo>
                    <a:pt x="95607" y="177675"/>
                    <a:pt x="103461" y="149298"/>
                    <a:pt x="108782" y="138150"/>
                  </a:cubicBezTo>
                  <a:cubicBezTo>
                    <a:pt x="114102" y="127002"/>
                    <a:pt x="131838" y="137517"/>
                    <a:pt x="143746" y="148665"/>
                  </a:cubicBezTo>
                  <a:cubicBezTo>
                    <a:pt x="155654" y="159813"/>
                    <a:pt x="153628" y="141444"/>
                    <a:pt x="149067" y="124849"/>
                  </a:cubicBezTo>
                  <a:cubicBezTo>
                    <a:pt x="144380" y="108380"/>
                    <a:pt x="168829" y="63534"/>
                    <a:pt x="177444" y="48332"/>
                  </a:cubicBezTo>
                  <a:cubicBezTo>
                    <a:pt x="186058" y="33131"/>
                    <a:pt x="221023" y="25910"/>
                    <a:pt x="247373" y="31104"/>
                  </a:cubicBezTo>
                  <a:cubicBezTo>
                    <a:pt x="273723" y="36424"/>
                    <a:pt x="267895" y="17928"/>
                    <a:pt x="271822" y="5387"/>
                  </a:cubicBezTo>
                  <a:cubicBezTo>
                    <a:pt x="275750" y="-7155"/>
                    <a:pt x="304760" y="6781"/>
                    <a:pt x="315401" y="2093"/>
                  </a:cubicBezTo>
                  <a:cubicBezTo>
                    <a:pt x="320215" y="-60"/>
                    <a:pt x="328449" y="2220"/>
                    <a:pt x="336810" y="6147"/>
                  </a:cubicBezTo>
                  <a:lnTo>
                    <a:pt x="336810" y="6147"/>
                  </a:lnTo>
                  <a:cubicBezTo>
                    <a:pt x="338457" y="8807"/>
                    <a:pt x="339977" y="11341"/>
                    <a:pt x="340991" y="14001"/>
                  </a:cubicBezTo>
                  <a:cubicBezTo>
                    <a:pt x="351126" y="39211"/>
                    <a:pt x="374435" y="62521"/>
                    <a:pt x="404206" y="56313"/>
                  </a:cubicBezTo>
                  <a:cubicBezTo>
                    <a:pt x="416747" y="53653"/>
                    <a:pt x="432202" y="48586"/>
                    <a:pt x="442590" y="40605"/>
                  </a:cubicBezTo>
                  <a:cubicBezTo>
                    <a:pt x="448038" y="36424"/>
                    <a:pt x="451711" y="30977"/>
                    <a:pt x="455005" y="25149"/>
                  </a:cubicBezTo>
                  <a:cubicBezTo>
                    <a:pt x="472741" y="38451"/>
                    <a:pt x="505045" y="67588"/>
                    <a:pt x="503778" y="103186"/>
                  </a:cubicBezTo>
                  <a:cubicBezTo>
                    <a:pt x="503651" y="106606"/>
                    <a:pt x="503145" y="110153"/>
                    <a:pt x="502384" y="113700"/>
                  </a:cubicBezTo>
                  <a:cubicBezTo>
                    <a:pt x="490096" y="167794"/>
                    <a:pt x="456145" y="205419"/>
                    <a:pt x="458172" y="222521"/>
                  </a:cubicBezTo>
                  <a:cubicBezTo>
                    <a:pt x="460199" y="239623"/>
                    <a:pt x="457286" y="263059"/>
                    <a:pt x="473754" y="271674"/>
                  </a:cubicBezTo>
                  <a:cubicBezTo>
                    <a:pt x="490223" y="280288"/>
                    <a:pt x="496430" y="292069"/>
                    <a:pt x="501751" y="302077"/>
                  </a:cubicBezTo>
                  <a:cubicBezTo>
                    <a:pt x="507072" y="311959"/>
                    <a:pt x="518220" y="353891"/>
                    <a:pt x="533675" y="359465"/>
                  </a:cubicBezTo>
                  <a:cubicBezTo>
                    <a:pt x="549257" y="365039"/>
                    <a:pt x="551157" y="371626"/>
                    <a:pt x="561038" y="388222"/>
                  </a:cubicBezTo>
                  <a:cubicBezTo>
                    <a:pt x="570920" y="404690"/>
                    <a:pt x="564332" y="411278"/>
                    <a:pt x="585108" y="411658"/>
                  </a:cubicBezTo>
                  <a:cubicBezTo>
                    <a:pt x="605884" y="411911"/>
                    <a:pt x="642242" y="415205"/>
                    <a:pt x="646422" y="435727"/>
                  </a:cubicBezTo>
                  <a:cubicBezTo>
                    <a:pt x="650730" y="456250"/>
                    <a:pt x="647056" y="471072"/>
                    <a:pt x="662258" y="480320"/>
                  </a:cubicBezTo>
                  <a:cubicBezTo>
                    <a:pt x="677460" y="489568"/>
                    <a:pt x="686328" y="482980"/>
                    <a:pt x="687974" y="499195"/>
                  </a:cubicBezTo>
                  <a:cubicBezTo>
                    <a:pt x="689621" y="515284"/>
                    <a:pt x="684427" y="521998"/>
                    <a:pt x="702796" y="532133"/>
                  </a:cubicBezTo>
                  <a:cubicBezTo>
                    <a:pt x="721292" y="542394"/>
                    <a:pt x="730920" y="548981"/>
                    <a:pt x="746375" y="550628"/>
                  </a:cubicBezTo>
                  <a:cubicBezTo>
                    <a:pt x="761957" y="552275"/>
                    <a:pt x="783366" y="542014"/>
                    <a:pt x="781719" y="563170"/>
                  </a:cubicBezTo>
                  <a:cubicBezTo>
                    <a:pt x="780073" y="584326"/>
                    <a:pt x="786027" y="605355"/>
                    <a:pt x="809083" y="619670"/>
                  </a:cubicBezTo>
                  <a:cubicBezTo>
                    <a:pt x="832139" y="633859"/>
                    <a:pt x="836193" y="652354"/>
                    <a:pt x="848988" y="644374"/>
                  </a:cubicBezTo>
                  <a:cubicBezTo>
                    <a:pt x="861909" y="636519"/>
                    <a:pt x="876985" y="628538"/>
                    <a:pt x="888259" y="641460"/>
                  </a:cubicBezTo>
                  <a:cubicBezTo>
                    <a:pt x="899407" y="654255"/>
                    <a:pt x="910302" y="673764"/>
                    <a:pt x="900167" y="678451"/>
                  </a:cubicBezTo>
                  <a:cubicBezTo>
                    <a:pt x="889906" y="683138"/>
                    <a:pt x="876351" y="694666"/>
                    <a:pt x="892567" y="707208"/>
                  </a:cubicBezTo>
                  <a:cubicBezTo>
                    <a:pt x="904855" y="716709"/>
                    <a:pt x="938806" y="733685"/>
                    <a:pt x="950714" y="747366"/>
                  </a:cubicBezTo>
                  <a:cubicBezTo>
                    <a:pt x="954261" y="751420"/>
                    <a:pt x="955781" y="755347"/>
                    <a:pt x="953754" y="758768"/>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8" name="Полилиния: фигура 707">
              <a:extLst>
                <a:ext uri="{FF2B5EF4-FFF2-40B4-BE49-F238E27FC236}">
                  <a16:creationId xmlns:a16="http://schemas.microsoft.com/office/drawing/2014/main" id="{4C7D52A5-437C-48E1-94B8-36ABDF65D4E6}"/>
                </a:ext>
              </a:extLst>
            </p:cNvPr>
            <p:cNvSpPr/>
            <p:nvPr/>
          </p:nvSpPr>
          <p:spPr>
            <a:xfrm>
              <a:off x="3213161" y="4361437"/>
              <a:ext cx="688742" cy="894561"/>
            </a:xfrm>
            <a:custGeom>
              <a:avLst/>
              <a:gdLst>
                <a:gd name="connsiteX0" fmla="*/ 688616 w 688742"/>
                <a:gd name="connsiteY0" fmla="*/ 343726 h 894561"/>
                <a:gd name="connsiteX1" fmla="*/ 648331 w 688742"/>
                <a:gd name="connsiteY1" fmla="*/ 368429 h 894561"/>
                <a:gd name="connsiteX2" fmla="*/ 669740 w 688742"/>
                <a:gd name="connsiteY2" fmla="*/ 413908 h 894561"/>
                <a:gd name="connsiteX3" fmla="*/ 631102 w 688742"/>
                <a:gd name="connsiteY3" fmla="*/ 416568 h 894561"/>
                <a:gd name="connsiteX4" fmla="*/ 590184 w 688742"/>
                <a:gd name="connsiteY4" fmla="*/ 437977 h 894561"/>
                <a:gd name="connsiteX5" fmla="*/ 566747 w 688742"/>
                <a:gd name="connsiteY5" fmla="*/ 413275 h 894561"/>
                <a:gd name="connsiteX6" fmla="*/ 528109 w 688742"/>
                <a:gd name="connsiteY6" fmla="*/ 422522 h 894561"/>
                <a:gd name="connsiteX7" fmla="*/ 512021 w 688742"/>
                <a:gd name="connsiteY7" fmla="*/ 401113 h 894561"/>
                <a:gd name="connsiteX8" fmla="*/ 478323 w 688742"/>
                <a:gd name="connsiteY8" fmla="*/ 404407 h 894561"/>
                <a:gd name="connsiteX9" fmla="*/ 505053 w 688742"/>
                <a:gd name="connsiteY9" fmla="*/ 358928 h 894561"/>
                <a:gd name="connsiteX10" fmla="*/ 455267 w 688742"/>
                <a:gd name="connsiteY10" fmla="*/ 311042 h 894561"/>
                <a:gd name="connsiteX11" fmla="*/ 410421 w 688742"/>
                <a:gd name="connsiteY11" fmla="*/ 363108 h 894561"/>
                <a:gd name="connsiteX12" fmla="*/ 387999 w 688742"/>
                <a:gd name="connsiteY12" fmla="*/ 420242 h 894561"/>
                <a:gd name="connsiteX13" fmla="*/ 415742 w 688742"/>
                <a:gd name="connsiteY13" fmla="*/ 478643 h 894561"/>
                <a:gd name="connsiteX14" fmla="*/ 438798 w 688742"/>
                <a:gd name="connsiteY14" fmla="*/ 474082 h 894561"/>
                <a:gd name="connsiteX15" fmla="*/ 467809 w 688742"/>
                <a:gd name="connsiteY15" fmla="*/ 493211 h 894561"/>
                <a:gd name="connsiteX16" fmla="*/ 508347 w 688742"/>
                <a:gd name="connsiteY16" fmla="*/ 510440 h 894561"/>
                <a:gd name="connsiteX17" fmla="*/ 548632 w 688742"/>
                <a:gd name="connsiteY17" fmla="*/ 525895 h 894561"/>
                <a:gd name="connsiteX18" fmla="*/ 577389 w 688742"/>
                <a:gd name="connsiteY18" fmla="*/ 513354 h 894561"/>
                <a:gd name="connsiteX19" fmla="*/ 614634 w 688742"/>
                <a:gd name="connsiteY19" fmla="*/ 528175 h 894561"/>
                <a:gd name="connsiteX20" fmla="*/ 579289 w 688742"/>
                <a:gd name="connsiteY20" fmla="*/ 563773 h 894561"/>
                <a:gd name="connsiteX21" fmla="*/ 566114 w 688742"/>
                <a:gd name="connsiteY21" fmla="*/ 600384 h 894561"/>
                <a:gd name="connsiteX22" fmla="*/ 526843 w 688742"/>
                <a:gd name="connsiteY22" fmla="*/ 591517 h 894561"/>
                <a:gd name="connsiteX23" fmla="*/ 470722 w 688742"/>
                <a:gd name="connsiteY23" fmla="*/ 581635 h 894561"/>
                <a:gd name="connsiteX24" fmla="*/ 445006 w 688742"/>
                <a:gd name="connsiteY24" fmla="*/ 622554 h 894561"/>
                <a:gd name="connsiteX25" fmla="*/ 400413 w 688742"/>
                <a:gd name="connsiteY25" fmla="*/ 669807 h 894561"/>
                <a:gd name="connsiteX26" fmla="*/ 374063 w 688742"/>
                <a:gd name="connsiteY26" fmla="*/ 718959 h 894561"/>
                <a:gd name="connsiteX27" fmla="*/ 320984 w 688742"/>
                <a:gd name="connsiteY27" fmla="*/ 769126 h 894561"/>
                <a:gd name="connsiteX28" fmla="*/ 302108 w 688742"/>
                <a:gd name="connsiteY28" fmla="*/ 817392 h 894561"/>
                <a:gd name="connsiteX29" fmla="*/ 297674 w 688742"/>
                <a:gd name="connsiteY29" fmla="*/ 835634 h 894561"/>
                <a:gd name="connsiteX30" fmla="*/ 286019 w 688742"/>
                <a:gd name="connsiteY30" fmla="*/ 835761 h 894561"/>
                <a:gd name="connsiteX31" fmla="*/ 268030 w 688742"/>
                <a:gd name="connsiteY31" fmla="*/ 838421 h 894561"/>
                <a:gd name="connsiteX32" fmla="*/ 238640 w 688742"/>
                <a:gd name="connsiteY32" fmla="*/ 847669 h 894561"/>
                <a:gd name="connsiteX33" fmla="*/ 219131 w 688742"/>
                <a:gd name="connsiteY33" fmla="*/ 877946 h 894561"/>
                <a:gd name="connsiteX34" fmla="*/ 186320 w 688742"/>
                <a:gd name="connsiteY34" fmla="*/ 893021 h 894561"/>
                <a:gd name="connsiteX35" fmla="*/ 175932 w 688742"/>
                <a:gd name="connsiteY35" fmla="*/ 852483 h 894561"/>
                <a:gd name="connsiteX36" fmla="*/ 158450 w 688742"/>
                <a:gd name="connsiteY36" fmla="*/ 852356 h 894561"/>
                <a:gd name="connsiteX37" fmla="*/ 136787 w 688742"/>
                <a:gd name="connsiteY37" fmla="*/ 851849 h 894561"/>
                <a:gd name="connsiteX38" fmla="*/ 118418 w 688742"/>
                <a:gd name="connsiteY38" fmla="*/ 844501 h 894561"/>
                <a:gd name="connsiteX39" fmla="*/ 99542 w 688742"/>
                <a:gd name="connsiteY39" fmla="*/ 842601 h 894561"/>
                <a:gd name="connsiteX40" fmla="*/ 77880 w 688742"/>
                <a:gd name="connsiteY40" fmla="*/ 804090 h 894561"/>
                <a:gd name="connsiteX41" fmla="*/ 42029 w 688742"/>
                <a:gd name="connsiteY41" fmla="*/ 816632 h 894561"/>
                <a:gd name="connsiteX42" fmla="*/ 30627 w 688742"/>
                <a:gd name="connsiteY42" fmla="*/ 790535 h 894561"/>
                <a:gd name="connsiteX43" fmla="*/ 54824 w 688742"/>
                <a:gd name="connsiteY43" fmla="*/ 768239 h 894561"/>
                <a:gd name="connsiteX44" fmla="*/ 71292 w 688742"/>
                <a:gd name="connsiteY44" fmla="*/ 737708 h 894561"/>
                <a:gd name="connsiteX45" fmla="*/ 55584 w 688742"/>
                <a:gd name="connsiteY45" fmla="*/ 700590 h 894561"/>
                <a:gd name="connsiteX46" fmla="*/ 85481 w 688742"/>
                <a:gd name="connsiteY46" fmla="*/ 678928 h 894561"/>
                <a:gd name="connsiteX47" fmla="*/ 98782 w 688742"/>
                <a:gd name="connsiteY47" fmla="*/ 637629 h 894561"/>
                <a:gd name="connsiteX48" fmla="*/ 64071 w 688742"/>
                <a:gd name="connsiteY48" fmla="*/ 631422 h 894561"/>
                <a:gd name="connsiteX49" fmla="*/ 30247 w 688742"/>
                <a:gd name="connsiteY49" fmla="*/ 635222 h 894561"/>
                <a:gd name="connsiteX50" fmla="*/ 6178 w 688742"/>
                <a:gd name="connsiteY50" fmla="*/ 610899 h 894561"/>
                <a:gd name="connsiteX51" fmla="*/ 3390 w 688742"/>
                <a:gd name="connsiteY51" fmla="*/ 575555 h 894561"/>
                <a:gd name="connsiteX52" fmla="*/ 17832 w 688742"/>
                <a:gd name="connsiteY52" fmla="*/ 542997 h 894561"/>
                <a:gd name="connsiteX53" fmla="*/ 14792 w 688742"/>
                <a:gd name="connsiteY53" fmla="*/ 509427 h 894561"/>
                <a:gd name="connsiteX54" fmla="*/ 18972 w 688742"/>
                <a:gd name="connsiteY54" fmla="*/ 478389 h 894561"/>
                <a:gd name="connsiteX55" fmla="*/ 36201 w 688742"/>
                <a:gd name="connsiteY55" fmla="*/ 438357 h 894561"/>
                <a:gd name="connsiteX56" fmla="*/ 97 w 688742"/>
                <a:gd name="connsiteY56" fmla="*/ 378943 h 894561"/>
                <a:gd name="connsiteX57" fmla="*/ 8838 w 688742"/>
                <a:gd name="connsiteY57" fmla="*/ 338152 h 894561"/>
                <a:gd name="connsiteX58" fmla="*/ 17072 w 688742"/>
                <a:gd name="connsiteY58" fmla="*/ 300654 h 894561"/>
                <a:gd name="connsiteX59" fmla="*/ 41775 w 688742"/>
                <a:gd name="connsiteY59" fmla="*/ 255555 h 894561"/>
                <a:gd name="connsiteX60" fmla="*/ 41522 w 688742"/>
                <a:gd name="connsiteY60" fmla="*/ 245040 h 894561"/>
                <a:gd name="connsiteX61" fmla="*/ 114618 w 688742"/>
                <a:gd name="connsiteY61" fmla="*/ 187779 h 894561"/>
                <a:gd name="connsiteX62" fmla="*/ 122599 w 688742"/>
                <a:gd name="connsiteY62" fmla="*/ 105943 h 894561"/>
                <a:gd name="connsiteX63" fmla="*/ 168204 w 688742"/>
                <a:gd name="connsiteY63" fmla="*/ 113164 h 894561"/>
                <a:gd name="connsiteX64" fmla="*/ 249028 w 688742"/>
                <a:gd name="connsiteY64" fmla="*/ 101002 h 894561"/>
                <a:gd name="connsiteX65" fmla="*/ 252448 w 688742"/>
                <a:gd name="connsiteY65" fmla="*/ 100622 h 894561"/>
                <a:gd name="connsiteX66" fmla="*/ 255489 w 688742"/>
                <a:gd name="connsiteY66" fmla="*/ 99735 h 894561"/>
                <a:gd name="connsiteX67" fmla="*/ 260049 w 688742"/>
                <a:gd name="connsiteY67" fmla="*/ 96822 h 894561"/>
                <a:gd name="connsiteX68" fmla="*/ 260683 w 688742"/>
                <a:gd name="connsiteY68" fmla="*/ 96315 h 894561"/>
                <a:gd name="connsiteX69" fmla="*/ 262330 w 688742"/>
                <a:gd name="connsiteY69" fmla="*/ 94541 h 894561"/>
                <a:gd name="connsiteX70" fmla="*/ 263850 w 688742"/>
                <a:gd name="connsiteY70" fmla="*/ 92641 h 894561"/>
                <a:gd name="connsiteX71" fmla="*/ 265243 w 688742"/>
                <a:gd name="connsiteY71" fmla="*/ 90487 h 894561"/>
                <a:gd name="connsiteX72" fmla="*/ 266510 w 688742"/>
                <a:gd name="connsiteY72" fmla="*/ 88080 h 894561"/>
                <a:gd name="connsiteX73" fmla="*/ 272464 w 688742"/>
                <a:gd name="connsiteY73" fmla="*/ 56410 h 894561"/>
                <a:gd name="connsiteX74" fmla="*/ 272591 w 688742"/>
                <a:gd name="connsiteY74" fmla="*/ 53370 h 894561"/>
                <a:gd name="connsiteX75" fmla="*/ 272591 w 688742"/>
                <a:gd name="connsiteY75" fmla="*/ 46275 h 894561"/>
                <a:gd name="connsiteX76" fmla="*/ 315410 w 688742"/>
                <a:gd name="connsiteY76" fmla="*/ 39308 h 894561"/>
                <a:gd name="connsiteX77" fmla="*/ 361902 w 688742"/>
                <a:gd name="connsiteY77" fmla="*/ 1176 h 894561"/>
                <a:gd name="connsiteX78" fmla="*/ 365956 w 688742"/>
                <a:gd name="connsiteY78" fmla="*/ 4217 h 894561"/>
                <a:gd name="connsiteX79" fmla="*/ 417896 w 688742"/>
                <a:gd name="connsiteY79" fmla="*/ 80479 h 894561"/>
                <a:gd name="connsiteX80" fmla="*/ 464388 w 688742"/>
                <a:gd name="connsiteY80" fmla="*/ 86940 h 894561"/>
                <a:gd name="connsiteX81" fmla="*/ 485671 w 688742"/>
                <a:gd name="connsiteY81" fmla="*/ 117091 h 894561"/>
                <a:gd name="connsiteX82" fmla="*/ 514428 w 688742"/>
                <a:gd name="connsiteY82" fmla="*/ 141414 h 894561"/>
                <a:gd name="connsiteX83" fmla="*/ 521395 w 688742"/>
                <a:gd name="connsiteY83" fmla="*/ 171564 h 894561"/>
                <a:gd name="connsiteX84" fmla="*/ 554586 w 688742"/>
                <a:gd name="connsiteY84" fmla="*/ 176251 h 894561"/>
                <a:gd name="connsiteX85" fmla="*/ 554586 w 688742"/>
                <a:gd name="connsiteY85" fmla="*/ 176251 h 894561"/>
                <a:gd name="connsiteX86" fmla="*/ 562947 w 688742"/>
                <a:gd name="connsiteY86" fmla="*/ 185879 h 894561"/>
                <a:gd name="connsiteX87" fmla="*/ 592591 w 688742"/>
                <a:gd name="connsiteY87" fmla="*/ 231992 h 894561"/>
                <a:gd name="connsiteX88" fmla="*/ 688743 w 688742"/>
                <a:gd name="connsiteY88" fmla="*/ 319149 h 894561"/>
                <a:gd name="connsiteX89" fmla="*/ 688616 w 688742"/>
                <a:gd name="connsiteY89" fmla="*/ 343726 h 89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742" h="894561">
                  <a:moveTo>
                    <a:pt x="688616" y="343726"/>
                  </a:moveTo>
                  <a:cubicBezTo>
                    <a:pt x="688236" y="361208"/>
                    <a:pt x="656566" y="353354"/>
                    <a:pt x="648331" y="368429"/>
                  </a:cubicBezTo>
                  <a:cubicBezTo>
                    <a:pt x="640097" y="383631"/>
                    <a:pt x="664800" y="395539"/>
                    <a:pt x="669740" y="413908"/>
                  </a:cubicBezTo>
                  <a:cubicBezTo>
                    <a:pt x="674681" y="432403"/>
                    <a:pt x="641997" y="425816"/>
                    <a:pt x="631102" y="416568"/>
                  </a:cubicBezTo>
                  <a:cubicBezTo>
                    <a:pt x="620207" y="407320"/>
                    <a:pt x="601079" y="428730"/>
                    <a:pt x="590184" y="437977"/>
                  </a:cubicBezTo>
                  <a:cubicBezTo>
                    <a:pt x="579289" y="447225"/>
                    <a:pt x="566747" y="427083"/>
                    <a:pt x="566747" y="413275"/>
                  </a:cubicBezTo>
                  <a:cubicBezTo>
                    <a:pt x="566747" y="399466"/>
                    <a:pt x="532797" y="408967"/>
                    <a:pt x="528109" y="422522"/>
                  </a:cubicBezTo>
                  <a:cubicBezTo>
                    <a:pt x="523549" y="436077"/>
                    <a:pt x="520888" y="413908"/>
                    <a:pt x="512021" y="401113"/>
                  </a:cubicBezTo>
                  <a:cubicBezTo>
                    <a:pt x="503153" y="388191"/>
                    <a:pt x="483644" y="409347"/>
                    <a:pt x="478323" y="404407"/>
                  </a:cubicBezTo>
                  <a:cubicBezTo>
                    <a:pt x="473003" y="399466"/>
                    <a:pt x="492892" y="378690"/>
                    <a:pt x="505053" y="358928"/>
                  </a:cubicBezTo>
                  <a:cubicBezTo>
                    <a:pt x="517215" y="339165"/>
                    <a:pt x="477310" y="323330"/>
                    <a:pt x="455267" y="311042"/>
                  </a:cubicBezTo>
                  <a:cubicBezTo>
                    <a:pt x="433098" y="298753"/>
                    <a:pt x="418276" y="341445"/>
                    <a:pt x="410421" y="363108"/>
                  </a:cubicBezTo>
                  <a:cubicBezTo>
                    <a:pt x="402440" y="384897"/>
                    <a:pt x="393953" y="395792"/>
                    <a:pt x="387999" y="420242"/>
                  </a:cubicBezTo>
                  <a:cubicBezTo>
                    <a:pt x="382044" y="444692"/>
                    <a:pt x="406114" y="469775"/>
                    <a:pt x="415742" y="478643"/>
                  </a:cubicBezTo>
                  <a:cubicBezTo>
                    <a:pt x="425243" y="487510"/>
                    <a:pt x="432844" y="479656"/>
                    <a:pt x="438798" y="474082"/>
                  </a:cubicBezTo>
                  <a:cubicBezTo>
                    <a:pt x="444752" y="468508"/>
                    <a:pt x="452987" y="467115"/>
                    <a:pt x="467809" y="493211"/>
                  </a:cubicBezTo>
                  <a:cubicBezTo>
                    <a:pt x="482630" y="519308"/>
                    <a:pt x="496186" y="510060"/>
                    <a:pt x="508347" y="510440"/>
                  </a:cubicBezTo>
                  <a:cubicBezTo>
                    <a:pt x="520635" y="510693"/>
                    <a:pt x="530136" y="516647"/>
                    <a:pt x="548632" y="525895"/>
                  </a:cubicBezTo>
                  <a:cubicBezTo>
                    <a:pt x="567128" y="535143"/>
                    <a:pt x="566494" y="526909"/>
                    <a:pt x="577389" y="513354"/>
                  </a:cubicBezTo>
                  <a:cubicBezTo>
                    <a:pt x="588284" y="499799"/>
                    <a:pt x="602852" y="520321"/>
                    <a:pt x="614634" y="528175"/>
                  </a:cubicBezTo>
                  <a:cubicBezTo>
                    <a:pt x="626542" y="536156"/>
                    <a:pt x="608046" y="554905"/>
                    <a:pt x="579289" y="563773"/>
                  </a:cubicBezTo>
                  <a:cubicBezTo>
                    <a:pt x="550532" y="572641"/>
                    <a:pt x="567381" y="580622"/>
                    <a:pt x="566114" y="600384"/>
                  </a:cubicBezTo>
                  <a:cubicBezTo>
                    <a:pt x="564721" y="620147"/>
                    <a:pt x="538751" y="602031"/>
                    <a:pt x="526843" y="591517"/>
                  </a:cubicBezTo>
                  <a:cubicBezTo>
                    <a:pt x="514934" y="581002"/>
                    <a:pt x="494159" y="590123"/>
                    <a:pt x="470722" y="581635"/>
                  </a:cubicBezTo>
                  <a:cubicBezTo>
                    <a:pt x="447286" y="573021"/>
                    <a:pt x="449313" y="604438"/>
                    <a:pt x="445006" y="622554"/>
                  </a:cubicBezTo>
                  <a:cubicBezTo>
                    <a:pt x="440699" y="640669"/>
                    <a:pt x="410041" y="659545"/>
                    <a:pt x="400413" y="669807"/>
                  </a:cubicBezTo>
                  <a:cubicBezTo>
                    <a:pt x="390912" y="680068"/>
                    <a:pt x="377991" y="701097"/>
                    <a:pt x="374063" y="718959"/>
                  </a:cubicBezTo>
                  <a:cubicBezTo>
                    <a:pt x="370136" y="736821"/>
                    <a:pt x="337452" y="756964"/>
                    <a:pt x="320984" y="769126"/>
                  </a:cubicBezTo>
                  <a:cubicBezTo>
                    <a:pt x="304515" y="781287"/>
                    <a:pt x="301221" y="804470"/>
                    <a:pt x="302108" y="817392"/>
                  </a:cubicBezTo>
                  <a:cubicBezTo>
                    <a:pt x="303121" y="830187"/>
                    <a:pt x="297674" y="835634"/>
                    <a:pt x="297674" y="835634"/>
                  </a:cubicBezTo>
                  <a:cubicBezTo>
                    <a:pt x="294254" y="832467"/>
                    <a:pt x="289946" y="834620"/>
                    <a:pt x="286019" y="835761"/>
                  </a:cubicBezTo>
                  <a:cubicBezTo>
                    <a:pt x="279938" y="837534"/>
                    <a:pt x="274364" y="838928"/>
                    <a:pt x="268030" y="838421"/>
                  </a:cubicBezTo>
                  <a:cubicBezTo>
                    <a:pt x="254729" y="837407"/>
                    <a:pt x="247001" y="834874"/>
                    <a:pt x="238640" y="847669"/>
                  </a:cubicBezTo>
                  <a:cubicBezTo>
                    <a:pt x="231799" y="858057"/>
                    <a:pt x="228759" y="869712"/>
                    <a:pt x="219131" y="877946"/>
                  </a:cubicBezTo>
                  <a:cubicBezTo>
                    <a:pt x="212923" y="883267"/>
                    <a:pt x="194934" y="899608"/>
                    <a:pt x="186320" y="893021"/>
                  </a:cubicBezTo>
                  <a:cubicBezTo>
                    <a:pt x="175045" y="884533"/>
                    <a:pt x="187080" y="861477"/>
                    <a:pt x="175932" y="852483"/>
                  </a:cubicBezTo>
                  <a:cubicBezTo>
                    <a:pt x="171118" y="848555"/>
                    <a:pt x="163771" y="851469"/>
                    <a:pt x="158450" y="852356"/>
                  </a:cubicBezTo>
                  <a:cubicBezTo>
                    <a:pt x="151102" y="853749"/>
                    <a:pt x="144008" y="854129"/>
                    <a:pt x="136787" y="851849"/>
                  </a:cubicBezTo>
                  <a:cubicBezTo>
                    <a:pt x="130580" y="849822"/>
                    <a:pt x="124879" y="846148"/>
                    <a:pt x="118418" y="844501"/>
                  </a:cubicBezTo>
                  <a:cubicBezTo>
                    <a:pt x="112211" y="842981"/>
                    <a:pt x="105750" y="844121"/>
                    <a:pt x="99542" y="842601"/>
                  </a:cubicBezTo>
                  <a:cubicBezTo>
                    <a:pt x="81174" y="838294"/>
                    <a:pt x="86494" y="816125"/>
                    <a:pt x="77880" y="804090"/>
                  </a:cubicBezTo>
                  <a:cubicBezTo>
                    <a:pt x="69645" y="792562"/>
                    <a:pt x="51910" y="815491"/>
                    <a:pt x="42029" y="816632"/>
                  </a:cubicBezTo>
                  <a:cubicBezTo>
                    <a:pt x="28980" y="818152"/>
                    <a:pt x="27587" y="799403"/>
                    <a:pt x="30627" y="790535"/>
                  </a:cubicBezTo>
                  <a:cubicBezTo>
                    <a:pt x="34174" y="780147"/>
                    <a:pt x="46336" y="774066"/>
                    <a:pt x="54824" y="768239"/>
                  </a:cubicBezTo>
                  <a:cubicBezTo>
                    <a:pt x="65972" y="760511"/>
                    <a:pt x="76613" y="752657"/>
                    <a:pt x="71292" y="737708"/>
                  </a:cubicBezTo>
                  <a:cubicBezTo>
                    <a:pt x="67619" y="727700"/>
                    <a:pt x="50263" y="711738"/>
                    <a:pt x="55584" y="700590"/>
                  </a:cubicBezTo>
                  <a:cubicBezTo>
                    <a:pt x="60398" y="690329"/>
                    <a:pt x="77626" y="687035"/>
                    <a:pt x="85481" y="678928"/>
                  </a:cubicBezTo>
                  <a:cubicBezTo>
                    <a:pt x="94855" y="669173"/>
                    <a:pt x="102203" y="651184"/>
                    <a:pt x="98782" y="637629"/>
                  </a:cubicBezTo>
                  <a:cubicBezTo>
                    <a:pt x="94475" y="620401"/>
                    <a:pt x="75599" y="625974"/>
                    <a:pt x="64071" y="631422"/>
                  </a:cubicBezTo>
                  <a:cubicBezTo>
                    <a:pt x="53557" y="636362"/>
                    <a:pt x="41649" y="637756"/>
                    <a:pt x="30247" y="635222"/>
                  </a:cubicBezTo>
                  <a:cubicBezTo>
                    <a:pt x="19732" y="632815"/>
                    <a:pt x="12132" y="619134"/>
                    <a:pt x="6178" y="610899"/>
                  </a:cubicBezTo>
                  <a:cubicBezTo>
                    <a:pt x="-1170" y="600891"/>
                    <a:pt x="1490" y="586829"/>
                    <a:pt x="3390" y="575555"/>
                  </a:cubicBezTo>
                  <a:cubicBezTo>
                    <a:pt x="5291" y="563520"/>
                    <a:pt x="14159" y="554525"/>
                    <a:pt x="17832" y="542997"/>
                  </a:cubicBezTo>
                  <a:cubicBezTo>
                    <a:pt x="21506" y="531469"/>
                    <a:pt x="17832" y="520575"/>
                    <a:pt x="14792" y="509427"/>
                  </a:cubicBezTo>
                  <a:cubicBezTo>
                    <a:pt x="11498" y="497518"/>
                    <a:pt x="12512" y="488904"/>
                    <a:pt x="18972" y="478389"/>
                  </a:cubicBezTo>
                  <a:cubicBezTo>
                    <a:pt x="26573" y="465974"/>
                    <a:pt x="36075" y="453559"/>
                    <a:pt x="36201" y="438357"/>
                  </a:cubicBezTo>
                  <a:cubicBezTo>
                    <a:pt x="36581" y="409601"/>
                    <a:pt x="-2184" y="407320"/>
                    <a:pt x="97" y="378943"/>
                  </a:cubicBezTo>
                  <a:cubicBezTo>
                    <a:pt x="1237" y="365135"/>
                    <a:pt x="6811" y="351833"/>
                    <a:pt x="8838" y="338152"/>
                  </a:cubicBezTo>
                  <a:cubicBezTo>
                    <a:pt x="10865" y="325103"/>
                    <a:pt x="11625" y="312815"/>
                    <a:pt x="17072" y="300654"/>
                  </a:cubicBezTo>
                  <a:cubicBezTo>
                    <a:pt x="24040" y="285198"/>
                    <a:pt x="36708" y="271770"/>
                    <a:pt x="41775" y="255555"/>
                  </a:cubicBezTo>
                  <a:cubicBezTo>
                    <a:pt x="43169" y="251121"/>
                    <a:pt x="42915" y="247700"/>
                    <a:pt x="41522" y="245040"/>
                  </a:cubicBezTo>
                  <a:cubicBezTo>
                    <a:pt x="67745" y="212863"/>
                    <a:pt x="81680" y="205642"/>
                    <a:pt x="114618" y="187779"/>
                  </a:cubicBezTo>
                  <a:cubicBezTo>
                    <a:pt x="147682" y="169917"/>
                    <a:pt x="128426" y="128999"/>
                    <a:pt x="122599" y="105943"/>
                  </a:cubicBezTo>
                  <a:cubicBezTo>
                    <a:pt x="116645" y="82886"/>
                    <a:pt x="154903" y="102649"/>
                    <a:pt x="168204" y="113164"/>
                  </a:cubicBezTo>
                  <a:cubicBezTo>
                    <a:pt x="181379" y="123805"/>
                    <a:pt x="216344" y="102016"/>
                    <a:pt x="249028" y="101002"/>
                  </a:cubicBezTo>
                  <a:cubicBezTo>
                    <a:pt x="250168" y="101002"/>
                    <a:pt x="251308" y="100875"/>
                    <a:pt x="252448" y="100622"/>
                  </a:cubicBezTo>
                  <a:cubicBezTo>
                    <a:pt x="253462" y="100369"/>
                    <a:pt x="254475" y="100115"/>
                    <a:pt x="255489" y="99735"/>
                  </a:cubicBezTo>
                  <a:cubicBezTo>
                    <a:pt x="257136" y="98975"/>
                    <a:pt x="258656" y="98088"/>
                    <a:pt x="260049" y="96822"/>
                  </a:cubicBezTo>
                  <a:cubicBezTo>
                    <a:pt x="260303" y="96568"/>
                    <a:pt x="260429" y="96441"/>
                    <a:pt x="260683" y="96315"/>
                  </a:cubicBezTo>
                  <a:cubicBezTo>
                    <a:pt x="261316" y="95681"/>
                    <a:pt x="261823" y="95175"/>
                    <a:pt x="262330" y="94541"/>
                  </a:cubicBezTo>
                  <a:cubicBezTo>
                    <a:pt x="262836" y="93908"/>
                    <a:pt x="263343" y="93274"/>
                    <a:pt x="263850" y="92641"/>
                  </a:cubicBezTo>
                  <a:cubicBezTo>
                    <a:pt x="264357" y="92008"/>
                    <a:pt x="264737" y="91247"/>
                    <a:pt x="265243" y="90487"/>
                  </a:cubicBezTo>
                  <a:cubicBezTo>
                    <a:pt x="265750" y="89727"/>
                    <a:pt x="266130" y="88967"/>
                    <a:pt x="266510" y="88080"/>
                  </a:cubicBezTo>
                  <a:cubicBezTo>
                    <a:pt x="270437" y="79593"/>
                    <a:pt x="272084" y="68065"/>
                    <a:pt x="272464" y="56410"/>
                  </a:cubicBezTo>
                  <a:cubicBezTo>
                    <a:pt x="272464" y="55396"/>
                    <a:pt x="272591" y="54383"/>
                    <a:pt x="272591" y="53370"/>
                  </a:cubicBezTo>
                  <a:cubicBezTo>
                    <a:pt x="272591" y="51089"/>
                    <a:pt x="272591" y="48682"/>
                    <a:pt x="272591" y="46275"/>
                  </a:cubicBezTo>
                  <a:cubicBezTo>
                    <a:pt x="272591" y="46275"/>
                    <a:pt x="301094" y="55143"/>
                    <a:pt x="315410" y="39308"/>
                  </a:cubicBezTo>
                  <a:cubicBezTo>
                    <a:pt x="328584" y="24739"/>
                    <a:pt x="346700" y="-6425"/>
                    <a:pt x="361902" y="1176"/>
                  </a:cubicBezTo>
                  <a:cubicBezTo>
                    <a:pt x="363296" y="1810"/>
                    <a:pt x="364562" y="2823"/>
                    <a:pt x="365956" y="4217"/>
                  </a:cubicBezTo>
                  <a:cubicBezTo>
                    <a:pt x="381791" y="20559"/>
                    <a:pt x="402567" y="78959"/>
                    <a:pt x="417896" y="80479"/>
                  </a:cubicBezTo>
                  <a:cubicBezTo>
                    <a:pt x="433224" y="82000"/>
                    <a:pt x="461981" y="70598"/>
                    <a:pt x="464388" y="86940"/>
                  </a:cubicBezTo>
                  <a:cubicBezTo>
                    <a:pt x="466922" y="103282"/>
                    <a:pt x="469329" y="107716"/>
                    <a:pt x="485671" y="117091"/>
                  </a:cubicBezTo>
                  <a:cubicBezTo>
                    <a:pt x="502013" y="126465"/>
                    <a:pt x="514934" y="130899"/>
                    <a:pt x="514428" y="141414"/>
                  </a:cubicBezTo>
                  <a:cubicBezTo>
                    <a:pt x="513921" y="151802"/>
                    <a:pt x="507967" y="165610"/>
                    <a:pt x="521395" y="171564"/>
                  </a:cubicBezTo>
                  <a:cubicBezTo>
                    <a:pt x="530643" y="175618"/>
                    <a:pt x="545212" y="172578"/>
                    <a:pt x="554586" y="176251"/>
                  </a:cubicBezTo>
                  <a:lnTo>
                    <a:pt x="554586" y="176251"/>
                  </a:lnTo>
                  <a:cubicBezTo>
                    <a:pt x="558640" y="177898"/>
                    <a:pt x="561807" y="180685"/>
                    <a:pt x="562947" y="185879"/>
                  </a:cubicBezTo>
                  <a:cubicBezTo>
                    <a:pt x="566874" y="203235"/>
                    <a:pt x="572321" y="221477"/>
                    <a:pt x="592591" y="231992"/>
                  </a:cubicBezTo>
                  <a:cubicBezTo>
                    <a:pt x="612860" y="242380"/>
                    <a:pt x="676328" y="303947"/>
                    <a:pt x="688743" y="319149"/>
                  </a:cubicBezTo>
                  <a:cubicBezTo>
                    <a:pt x="687603" y="326877"/>
                    <a:pt x="688743" y="336505"/>
                    <a:pt x="688616" y="343726"/>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09" name="Полилиния: фигура 708">
              <a:extLst>
                <a:ext uri="{FF2B5EF4-FFF2-40B4-BE49-F238E27FC236}">
                  <a16:creationId xmlns:a16="http://schemas.microsoft.com/office/drawing/2014/main" id="{4C7AD28E-4274-43E9-8943-E845BCEAD007}"/>
                </a:ext>
              </a:extLst>
            </p:cNvPr>
            <p:cNvSpPr/>
            <p:nvPr/>
          </p:nvSpPr>
          <p:spPr>
            <a:xfrm>
              <a:off x="3767240" y="3852952"/>
              <a:ext cx="902595" cy="1025149"/>
            </a:xfrm>
            <a:custGeom>
              <a:avLst/>
              <a:gdLst>
                <a:gd name="connsiteX0" fmla="*/ 886524 w 902595"/>
                <a:gd name="connsiteY0" fmla="*/ 822694 h 1025149"/>
                <a:gd name="connsiteX1" fmla="*/ 885891 w 902595"/>
                <a:gd name="connsiteY1" fmla="*/ 868173 h 1025149"/>
                <a:gd name="connsiteX2" fmla="*/ 855234 w 902595"/>
                <a:gd name="connsiteY2" fmla="*/ 889456 h 1025149"/>
                <a:gd name="connsiteX3" fmla="*/ 814569 w 902595"/>
                <a:gd name="connsiteY3" fmla="*/ 906811 h 1025149"/>
                <a:gd name="connsiteX4" fmla="*/ 752241 w 902595"/>
                <a:gd name="connsiteY4" fmla="*/ 887049 h 1025149"/>
                <a:gd name="connsiteX5" fmla="*/ 710689 w 902595"/>
                <a:gd name="connsiteY5" fmla="*/ 908838 h 1025149"/>
                <a:gd name="connsiteX6" fmla="*/ 700301 w 902595"/>
                <a:gd name="connsiteY6" fmla="*/ 965719 h 1025149"/>
                <a:gd name="connsiteX7" fmla="*/ 661916 w 902595"/>
                <a:gd name="connsiteY7" fmla="*/ 1019052 h 1025149"/>
                <a:gd name="connsiteX8" fmla="*/ 651528 w 902595"/>
                <a:gd name="connsiteY8" fmla="*/ 1012211 h 1025149"/>
                <a:gd name="connsiteX9" fmla="*/ 591481 w 902595"/>
                <a:gd name="connsiteY9" fmla="*/ 1020065 h 1025149"/>
                <a:gd name="connsiteX10" fmla="*/ 560064 w 902595"/>
                <a:gd name="connsiteY10" fmla="*/ 1024626 h 1025149"/>
                <a:gd name="connsiteX11" fmla="*/ 537387 w 902595"/>
                <a:gd name="connsiteY11" fmla="*/ 1011831 h 1025149"/>
                <a:gd name="connsiteX12" fmla="*/ 508631 w 902595"/>
                <a:gd name="connsiteY12" fmla="*/ 993842 h 1025149"/>
                <a:gd name="connsiteX13" fmla="*/ 482914 w 902595"/>
                <a:gd name="connsiteY13" fmla="*/ 968252 h 1025149"/>
                <a:gd name="connsiteX14" fmla="*/ 417419 w 902595"/>
                <a:gd name="connsiteY14" fmla="*/ 960525 h 1025149"/>
                <a:gd name="connsiteX15" fmla="*/ 378147 w 902595"/>
                <a:gd name="connsiteY15" fmla="*/ 974713 h 1025149"/>
                <a:gd name="connsiteX16" fmla="*/ 339763 w 902595"/>
                <a:gd name="connsiteY16" fmla="*/ 921760 h 1025149"/>
                <a:gd name="connsiteX17" fmla="*/ 298464 w 902595"/>
                <a:gd name="connsiteY17" fmla="*/ 914539 h 1025149"/>
                <a:gd name="connsiteX18" fmla="*/ 276421 w 902595"/>
                <a:gd name="connsiteY18" fmla="*/ 893763 h 1025149"/>
                <a:gd name="connsiteX19" fmla="*/ 216247 w 902595"/>
                <a:gd name="connsiteY19" fmla="*/ 856899 h 1025149"/>
                <a:gd name="connsiteX20" fmla="*/ 156833 w 902595"/>
                <a:gd name="connsiteY20" fmla="*/ 812306 h 1025149"/>
                <a:gd name="connsiteX21" fmla="*/ 134157 w 902595"/>
                <a:gd name="connsiteY21" fmla="*/ 827255 h 1025149"/>
                <a:gd name="connsiteX22" fmla="*/ 38005 w 902595"/>
                <a:gd name="connsiteY22" fmla="*/ 740097 h 1025149"/>
                <a:gd name="connsiteX23" fmla="*/ 8361 w 902595"/>
                <a:gd name="connsiteY23" fmla="*/ 693985 h 1025149"/>
                <a:gd name="connsiteX24" fmla="*/ 0 w 902595"/>
                <a:gd name="connsiteY24" fmla="*/ 684357 h 1025149"/>
                <a:gd name="connsiteX25" fmla="*/ 60808 w 902595"/>
                <a:gd name="connsiteY25" fmla="*/ 602900 h 1025149"/>
                <a:gd name="connsiteX26" fmla="*/ 122629 w 902595"/>
                <a:gd name="connsiteY26" fmla="*/ 637104 h 1025149"/>
                <a:gd name="connsiteX27" fmla="*/ 161140 w 902595"/>
                <a:gd name="connsiteY27" fmla="*/ 583644 h 1025149"/>
                <a:gd name="connsiteX28" fmla="*/ 193824 w 902595"/>
                <a:gd name="connsiteY28" fmla="*/ 535125 h 1025149"/>
                <a:gd name="connsiteX29" fmla="*/ 239303 w 902595"/>
                <a:gd name="connsiteY29" fmla="*/ 574776 h 1025149"/>
                <a:gd name="connsiteX30" fmla="*/ 274901 w 902595"/>
                <a:gd name="connsiteY30" fmla="*/ 573256 h 1025149"/>
                <a:gd name="connsiteX31" fmla="*/ 298591 w 902595"/>
                <a:gd name="connsiteY31" fmla="*/ 513842 h 1025149"/>
                <a:gd name="connsiteX32" fmla="*/ 393096 w 902595"/>
                <a:gd name="connsiteY32" fmla="*/ 483185 h 1025149"/>
                <a:gd name="connsiteX33" fmla="*/ 408425 w 902595"/>
                <a:gd name="connsiteY33" fmla="*/ 437706 h 1025149"/>
                <a:gd name="connsiteX34" fmla="*/ 427680 w 902595"/>
                <a:gd name="connsiteY34" fmla="*/ 396661 h 1025149"/>
                <a:gd name="connsiteX35" fmla="*/ 414252 w 902595"/>
                <a:gd name="connsiteY35" fmla="*/ 354096 h 1025149"/>
                <a:gd name="connsiteX36" fmla="*/ 440982 w 902595"/>
                <a:gd name="connsiteY36" fmla="*/ 294682 h 1025149"/>
                <a:gd name="connsiteX37" fmla="*/ 477086 w 902595"/>
                <a:gd name="connsiteY37" fmla="*/ 274919 h 1025149"/>
                <a:gd name="connsiteX38" fmla="*/ 538401 w 902595"/>
                <a:gd name="connsiteY38" fmla="*/ 237801 h 1025149"/>
                <a:gd name="connsiteX39" fmla="*/ 608203 w 902595"/>
                <a:gd name="connsiteY39" fmla="*/ 183328 h 1025149"/>
                <a:gd name="connsiteX40" fmla="*/ 627965 w 902595"/>
                <a:gd name="connsiteY40" fmla="*/ 147730 h 1025149"/>
                <a:gd name="connsiteX41" fmla="*/ 649755 w 902595"/>
                <a:gd name="connsiteY41" fmla="*/ 101237 h 1025149"/>
                <a:gd name="connsiteX42" fmla="*/ 690420 w 902595"/>
                <a:gd name="connsiteY42" fmla="*/ 54745 h 1025149"/>
                <a:gd name="connsiteX43" fmla="*/ 700301 w 902595"/>
                <a:gd name="connsiteY43" fmla="*/ 18640 h 1025149"/>
                <a:gd name="connsiteX44" fmla="*/ 735392 w 902595"/>
                <a:gd name="connsiteY44" fmla="*/ 398 h 1025149"/>
                <a:gd name="connsiteX45" fmla="*/ 740839 w 902595"/>
                <a:gd name="connsiteY45" fmla="*/ 1918 h 1025149"/>
                <a:gd name="connsiteX46" fmla="*/ 774917 w 902595"/>
                <a:gd name="connsiteY46" fmla="*/ 72227 h 1025149"/>
                <a:gd name="connsiteX47" fmla="*/ 823943 w 902595"/>
                <a:gd name="connsiteY47" fmla="*/ 114792 h 1025149"/>
                <a:gd name="connsiteX48" fmla="*/ 866509 w 902595"/>
                <a:gd name="connsiteY48" fmla="*/ 166225 h 1025149"/>
                <a:gd name="connsiteX49" fmla="*/ 884371 w 902595"/>
                <a:gd name="connsiteY49" fmla="*/ 220699 h 1025149"/>
                <a:gd name="connsiteX50" fmla="*/ 895772 w 902595"/>
                <a:gd name="connsiteY50" fmla="*/ 284547 h 1025149"/>
                <a:gd name="connsiteX51" fmla="*/ 852700 w 902595"/>
                <a:gd name="connsiteY51" fmla="*/ 334080 h 1025149"/>
                <a:gd name="connsiteX52" fmla="*/ 859161 w 902595"/>
                <a:gd name="connsiteY52" fmla="*/ 365750 h 1025149"/>
                <a:gd name="connsiteX53" fmla="*/ 852700 w 902595"/>
                <a:gd name="connsiteY53" fmla="*/ 400462 h 1025149"/>
                <a:gd name="connsiteX54" fmla="*/ 864989 w 902595"/>
                <a:gd name="connsiteY54" fmla="*/ 452401 h 1025149"/>
                <a:gd name="connsiteX55" fmla="*/ 830911 w 902595"/>
                <a:gd name="connsiteY55" fmla="*/ 553367 h 1025149"/>
                <a:gd name="connsiteX56" fmla="*/ 882850 w 902595"/>
                <a:gd name="connsiteY56" fmla="*/ 606827 h 1025149"/>
                <a:gd name="connsiteX57" fmla="*/ 889311 w 902595"/>
                <a:gd name="connsiteY57" fmla="*/ 707286 h 1025149"/>
                <a:gd name="connsiteX58" fmla="*/ 899193 w 902595"/>
                <a:gd name="connsiteY58" fmla="*/ 789377 h 1025149"/>
                <a:gd name="connsiteX59" fmla="*/ 902233 w 902595"/>
                <a:gd name="connsiteY59" fmla="*/ 796724 h 1025149"/>
                <a:gd name="connsiteX60" fmla="*/ 886524 w 902595"/>
                <a:gd name="connsiteY60" fmla="*/ 822694 h 10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2595" h="1025149">
                  <a:moveTo>
                    <a:pt x="886524" y="822694"/>
                  </a:moveTo>
                  <a:cubicBezTo>
                    <a:pt x="873729" y="838529"/>
                    <a:pt x="881457" y="853858"/>
                    <a:pt x="885891" y="868173"/>
                  </a:cubicBezTo>
                  <a:cubicBezTo>
                    <a:pt x="890325" y="882615"/>
                    <a:pt x="868029" y="887555"/>
                    <a:pt x="855234" y="889456"/>
                  </a:cubicBezTo>
                  <a:cubicBezTo>
                    <a:pt x="842312" y="891483"/>
                    <a:pt x="834964" y="895410"/>
                    <a:pt x="814569" y="906811"/>
                  </a:cubicBezTo>
                  <a:cubicBezTo>
                    <a:pt x="794299" y="918213"/>
                    <a:pt x="776057" y="888949"/>
                    <a:pt x="752241" y="887049"/>
                  </a:cubicBezTo>
                  <a:cubicBezTo>
                    <a:pt x="728424" y="885022"/>
                    <a:pt x="723484" y="895030"/>
                    <a:pt x="710689" y="908838"/>
                  </a:cubicBezTo>
                  <a:cubicBezTo>
                    <a:pt x="697767" y="922646"/>
                    <a:pt x="703722" y="934048"/>
                    <a:pt x="700301" y="965719"/>
                  </a:cubicBezTo>
                  <a:cubicBezTo>
                    <a:pt x="696881" y="997389"/>
                    <a:pt x="661916" y="1019052"/>
                    <a:pt x="661916" y="1019052"/>
                  </a:cubicBezTo>
                  <a:cubicBezTo>
                    <a:pt x="662170" y="1014491"/>
                    <a:pt x="657989" y="1012718"/>
                    <a:pt x="651528" y="1012211"/>
                  </a:cubicBezTo>
                  <a:cubicBezTo>
                    <a:pt x="631386" y="1010438"/>
                    <a:pt x="610737" y="1014618"/>
                    <a:pt x="591481" y="1020065"/>
                  </a:cubicBezTo>
                  <a:cubicBezTo>
                    <a:pt x="581473" y="1022852"/>
                    <a:pt x="570452" y="1026526"/>
                    <a:pt x="560064" y="1024626"/>
                  </a:cubicBezTo>
                  <a:cubicBezTo>
                    <a:pt x="551196" y="1023106"/>
                    <a:pt x="544482" y="1016898"/>
                    <a:pt x="537387" y="1011831"/>
                  </a:cubicBezTo>
                  <a:cubicBezTo>
                    <a:pt x="528139" y="1005244"/>
                    <a:pt x="518005" y="1000303"/>
                    <a:pt x="508631" y="993842"/>
                  </a:cubicBezTo>
                  <a:cubicBezTo>
                    <a:pt x="498369" y="986748"/>
                    <a:pt x="491148" y="977500"/>
                    <a:pt x="482914" y="968252"/>
                  </a:cubicBezTo>
                  <a:cubicBezTo>
                    <a:pt x="464165" y="946970"/>
                    <a:pt x="441615" y="955331"/>
                    <a:pt x="417419" y="960525"/>
                  </a:cubicBezTo>
                  <a:cubicBezTo>
                    <a:pt x="404878" y="963312"/>
                    <a:pt x="384988" y="962552"/>
                    <a:pt x="378147" y="974713"/>
                  </a:cubicBezTo>
                  <a:cubicBezTo>
                    <a:pt x="378147" y="974713"/>
                    <a:pt x="354078" y="946083"/>
                    <a:pt x="339763" y="921760"/>
                  </a:cubicBezTo>
                  <a:cubicBezTo>
                    <a:pt x="325447" y="897564"/>
                    <a:pt x="309359" y="911625"/>
                    <a:pt x="298464" y="914539"/>
                  </a:cubicBezTo>
                  <a:cubicBezTo>
                    <a:pt x="287569" y="917453"/>
                    <a:pt x="286049" y="903898"/>
                    <a:pt x="276421" y="893763"/>
                  </a:cubicBezTo>
                  <a:cubicBezTo>
                    <a:pt x="266794" y="883628"/>
                    <a:pt x="226002" y="867033"/>
                    <a:pt x="216247" y="856899"/>
                  </a:cubicBezTo>
                  <a:cubicBezTo>
                    <a:pt x="206620" y="846764"/>
                    <a:pt x="185843" y="821554"/>
                    <a:pt x="156833" y="812306"/>
                  </a:cubicBezTo>
                  <a:cubicBezTo>
                    <a:pt x="139731" y="806859"/>
                    <a:pt x="135170" y="815600"/>
                    <a:pt x="134157" y="827255"/>
                  </a:cubicBezTo>
                  <a:cubicBezTo>
                    <a:pt x="121869" y="812053"/>
                    <a:pt x="58274" y="750485"/>
                    <a:pt x="38005" y="740097"/>
                  </a:cubicBezTo>
                  <a:cubicBezTo>
                    <a:pt x="17736" y="729709"/>
                    <a:pt x="12288" y="711340"/>
                    <a:pt x="8361" y="693985"/>
                  </a:cubicBezTo>
                  <a:cubicBezTo>
                    <a:pt x="7221" y="688791"/>
                    <a:pt x="4054" y="685877"/>
                    <a:pt x="0" y="684357"/>
                  </a:cubicBezTo>
                  <a:cubicBezTo>
                    <a:pt x="30657" y="676629"/>
                    <a:pt x="45986" y="615822"/>
                    <a:pt x="60808" y="602900"/>
                  </a:cubicBezTo>
                  <a:cubicBezTo>
                    <a:pt x="75629" y="590105"/>
                    <a:pt x="98433" y="634571"/>
                    <a:pt x="122629" y="637104"/>
                  </a:cubicBezTo>
                  <a:cubicBezTo>
                    <a:pt x="146825" y="639638"/>
                    <a:pt x="156707" y="609868"/>
                    <a:pt x="161140" y="583644"/>
                  </a:cubicBezTo>
                  <a:cubicBezTo>
                    <a:pt x="165574" y="557421"/>
                    <a:pt x="175582" y="549947"/>
                    <a:pt x="193824" y="535125"/>
                  </a:cubicBezTo>
                  <a:cubicBezTo>
                    <a:pt x="212067" y="520303"/>
                    <a:pt x="234363" y="560841"/>
                    <a:pt x="239303" y="574776"/>
                  </a:cubicBezTo>
                  <a:cubicBezTo>
                    <a:pt x="244244" y="588585"/>
                    <a:pt x="254125" y="575790"/>
                    <a:pt x="274901" y="573256"/>
                  </a:cubicBezTo>
                  <a:cubicBezTo>
                    <a:pt x="295677" y="570722"/>
                    <a:pt x="297577" y="540066"/>
                    <a:pt x="298591" y="513842"/>
                  </a:cubicBezTo>
                  <a:cubicBezTo>
                    <a:pt x="299604" y="487619"/>
                    <a:pt x="367379" y="495093"/>
                    <a:pt x="393096" y="483185"/>
                  </a:cubicBezTo>
                  <a:cubicBezTo>
                    <a:pt x="418813" y="471277"/>
                    <a:pt x="408425" y="458862"/>
                    <a:pt x="408425" y="437706"/>
                  </a:cubicBezTo>
                  <a:cubicBezTo>
                    <a:pt x="408425" y="416423"/>
                    <a:pt x="415899" y="406922"/>
                    <a:pt x="427680" y="396661"/>
                  </a:cubicBezTo>
                  <a:cubicBezTo>
                    <a:pt x="439588" y="386273"/>
                    <a:pt x="424767" y="371451"/>
                    <a:pt x="414252" y="354096"/>
                  </a:cubicBezTo>
                  <a:cubicBezTo>
                    <a:pt x="403864" y="336740"/>
                    <a:pt x="433634" y="308617"/>
                    <a:pt x="440982" y="294682"/>
                  </a:cubicBezTo>
                  <a:cubicBezTo>
                    <a:pt x="448330" y="280873"/>
                    <a:pt x="458338" y="279860"/>
                    <a:pt x="477086" y="274919"/>
                  </a:cubicBezTo>
                  <a:cubicBezTo>
                    <a:pt x="495836" y="269978"/>
                    <a:pt x="518638" y="254650"/>
                    <a:pt x="538401" y="237801"/>
                  </a:cubicBezTo>
                  <a:cubicBezTo>
                    <a:pt x="558163" y="220952"/>
                    <a:pt x="590847" y="197643"/>
                    <a:pt x="608203" y="183328"/>
                  </a:cubicBezTo>
                  <a:cubicBezTo>
                    <a:pt x="625558" y="169012"/>
                    <a:pt x="628472" y="159511"/>
                    <a:pt x="627965" y="147730"/>
                  </a:cubicBezTo>
                  <a:cubicBezTo>
                    <a:pt x="627459" y="135822"/>
                    <a:pt x="640380" y="124547"/>
                    <a:pt x="649755" y="101237"/>
                  </a:cubicBezTo>
                  <a:cubicBezTo>
                    <a:pt x="659129" y="77928"/>
                    <a:pt x="678512" y="67540"/>
                    <a:pt x="690420" y="54745"/>
                  </a:cubicBezTo>
                  <a:cubicBezTo>
                    <a:pt x="702328" y="41823"/>
                    <a:pt x="697767" y="30548"/>
                    <a:pt x="700301" y="18640"/>
                  </a:cubicBezTo>
                  <a:cubicBezTo>
                    <a:pt x="702708" y="6732"/>
                    <a:pt x="723991" y="6352"/>
                    <a:pt x="735392" y="398"/>
                  </a:cubicBezTo>
                  <a:cubicBezTo>
                    <a:pt x="737039" y="-489"/>
                    <a:pt x="738939" y="145"/>
                    <a:pt x="740839" y="1918"/>
                  </a:cubicBezTo>
                  <a:cubicBezTo>
                    <a:pt x="751861" y="11926"/>
                    <a:pt x="766049" y="58292"/>
                    <a:pt x="774917" y="72227"/>
                  </a:cubicBezTo>
                  <a:cubicBezTo>
                    <a:pt x="785305" y="88569"/>
                    <a:pt x="816976" y="99464"/>
                    <a:pt x="823943" y="114792"/>
                  </a:cubicBezTo>
                  <a:cubicBezTo>
                    <a:pt x="830911" y="130121"/>
                    <a:pt x="849153" y="142536"/>
                    <a:pt x="866509" y="166225"/>
                  </a:cubicBezTo>
                  <a:cubicBezTo>
                    <a:pt x="883864" y="190042"/>
                    <a:pt x="883357" y="196883"/>
                    <a:pt x="884371" y="220699"/>
                  </a:cubicBezTo>
                  <a:cubicBezTo>
                    <a:pt x="885257" y="244389"/>
                    <a:pt x="892225" y="258830"/>
                    <a:pt x="895772" y="284547"/>
                  </a:cubicBezTo>
                  <a:cubicBezTo>
                    <a:pt x="899193" y="310263"/>
                    <a:pt x="866635" y="322678"/>
                    <a:pt x="852700" y="334080"/>
                  </a:cubicBezTo>
                  <a:cubicBezTo>
                    <a:pt x="838892" y="345481"/>
                    <a:pt x="853207" y="352449"/>
                    <a:pt x="859161" y="365750"/>
                  </a:cubicBezTo>
                  <a:cubicBezTo>
                    <a:pt x="865115" y="379179"/>
                    <a:pt x="856754" y="384119"/>
                    <a:pt x="852700" y="400462"/>
                  </a:cubicBezTo>
                  <a:cubicBezTo>
                    <a:pt x="848773" y="416803"/>
                    <a:pt x="858654" y="424658"/>
                    <a:pt x="864989" y="452401"/>
                  </a:cubicBezTo>
                  <a:cubicBezTo>
                    <a:pt x="871449" y="480145"/>
                    <a:pt x="842692" y="525624"/>
                    <a:pt x="830911" y="553367"/>
                  </a:cubicBezTo>
                  <a:cubicBezTo>
                    <a:pt x="819003" y="581111"/>
                    <a:pt x="864102" y="590992"/>
                    <a:pt x="882850" y="606827"/>
                  </a:cubicBezTo>
                  <a:cubicBezTo>
                    <a:pt x="901726" y="622662"/>
                    <a:pt x="899193" y="671688"/>
                    <a:pt x="889311" y="707286"/>
                  </a:cubicBezTo>
                  <a:cubicBezTo>
                    <a:pt x="879430" y="742884"/>
                    <a:pt x="890831" y="776075"/>
                    <a:pt x="899193" y="789377"/>
                  </a:cubicBezTo>
                  <a:cubicBezTo>
                    <a:pt x="900966" y="792164"/>
                    <a:pt x="901980" y="794444"/>
                    <a:pt x="902233" y="796724"/>
                  </a:cubicBezTo>
                  <a:cubicBezTo>
                    <a:pt x="904387" y="804705"/>
                    <a:pt x="896659" y="810026"/>
                    <a:pt x="886524" y="82269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0" name="Полилиния: фигура 709">
              <a:extLst>
                <a:ext uri="{FF2B5EF4-FFF2-40B4-BE49-F238E27FC236}">
                  <a16:creationId xmlns:a16="http://schemas.microsoft.com/office/drawing/2014/main" id="{AE004E96-13A0-4A07-893D-C845D8D43943}"/>
                </a:ext>
              </a:extLst>
            </p:cNvPr>
            <p:cNvSpPr/>
            <p:nvPr/>
          </p:nvSpPr>
          <p:spPr>
            <a:xfrm>
              <a:off x="3562297" y="3611698"/>
              <a:ext cx="905877" cy="925357"/>
            </a:xfrm>
            <a:custGeom>
              <a:avLst/>
              <a:gdLst>
                <a:gd name="connsiteX0" fmla="*/ 905877 w 905877"/>
                <a:gd name="connsiteY0" fmla="*/ 259641 h 925357"/>
                <a:gd name="connsiteX1" fmla="*/ 895996 w 905877"/>
                <a:gd name="connsiteY1" fmla="*/ 295746 h 925357"/>
                <a:gd name="connsiteX2" fmla="*/ 855331 w 905877"/>
                <a:gd name="connsiteY2" fmla="*/ 342238 h 925357"/>
                <a:gd name="connsiteX3" fmla="*/ 833542 w 905877"/>
                <a:gd name="connsiteY3" fmla="*/ 388731 h 925357"/>
                <a:gd name="connsiteX4" fmla="*/ 813779 w 905877"/>
                <a:gd name="connsiteY4" fmla="*/ 424329 h 925357"/>
                <a:gd name="connsiteX5" fmla="*/ 743977 w 905877"/>
                <a:gd name="connsiteY5" fmla="*/ 478802 h 925357"/>
                <a:gd name="connsiteX6" fmla="*/ 682663 w 905877"/>
                <a:gd name="connsiteY6" fmla="*/ 515920 h 925357"/>
                <a:gd name="connsiteX7" fmla="*/ 646558 w 905877"/>
                <a:gd name="connsiteY7" fmla="*/ 535682 h 925357"/>
                <a:gd name="connsiteX8" fmla="*/ 619828 w 905877"/>
                <a:gd name="connsiteY8" fmla="*/ 595096 h 925357"/>
                <a:gd name="connsiteX9" fmla="*/ 633257 w 905877"/>
                <a:gd name="connsiteY9" fmla="*/ 637662 h 925357"/>
                <a:gd name="connsiteX10" fmla="*/ 614001 w 905877"/>
                <a:gd name="connsiteY10" fmla="*/ 678707 h 925357"/>
                <a:gd name="connsiteX11" fmla="*/ 598672 w 905877"/>
                <a:gd name="connsiteY11" fmla="*/ 724186 h 925357"/>
                <a:gd name="connsiteX12" fmla="*/ 504167 w 905877"/>
                <a:gd name="connsiteY12" fmla="*/ 754843 h 925357"/>
                <a:gd name="connsiteX13" fmla="*/ 480477 w 905877"/>
                <a:gd name="connsiteY13" fmla="*/ 814257 h 925357"/>
                <a:gd name="connsiteX14" fmla="*/ 444879 w 905877"/>
                <a:gd name="connsiteY14" fmla="*/ 815777 h 925357"/>
                <a:gd name="connsiteX15" fmla="*/ 399400 w 905877"/>
                <a:gd name="connsiteY15" fmla="*/ 776126 h 925357"/>
                <a:gd name="connsiteX16" fmla="*/ 366716 w 905877"/>
                <a:gd name="connsiteY16" fmla="*/ 824645 h 925357"/>
                <a:gd name="connsiteX17" fmla="*/ 328205 w 905877"/>
                <a:gd name="connsiteY17" fmla="*/ 878105 h 925357"/>
                <a:gd name="connsiteX18" fmla="*/ 266384 w 905877"/>
                <a:gd name="connsiteY18" fmla="*/ 843901 h 925357"/>
                <a:gd name="connsiteX19" fmla="*/ 205576 w 905877"/>
                <a:gd name="connsiteY19" fmla="*/ 925358 h 925357"/>
                <a:gd name="connsiteX20" fmla="*/ 205576 w 905877"/>
                <a:gd name="connsiteY20" fmla="*/ 925358 h 925357"/>
                <a:gd name="connsiteX21" fmla="*/ 172386 w 905877"/>
                <a:gd name="connsiteY21" fmla="*/ 920671 h 925357"/>
                <a:gd name="connsiteX22" fmla="*/ 165418 w 905877"/>
                <a:gd name="connsiteY22" fmla="*/ 890520 h 925357"/>
                <a:gd name="connsiteX23" fmla="*/ 136661 w 905877"/>
                <a:gd name="connsiteY23" fmla="*/ 866197 h 925357"/>
                <a:gd name="connsiteX24" fmla="*/ 115378 w 905877"/>
                <a:gd name="connsiteY24" fmla="*/ 836047 h 925357"/>
                <a:gd name="connsiteX25" fmla="*/ 68886 w 905877"/>
                <a:gd name="connsiteY25" fmla="*/ 829586 h 925357"/>
                <a:gd name="connsiteX26" fmla="*/ 16946 w 905877"/>
                <a:gd name="connsiteY26" fmla="*/ 753323 h 925357"/>
                <a:gd name="connsiteX27" fmla="*/ 12892 w 905877"/>
                <a:gd name="connsiteY27" fmla="*/ 750282 h 925357"/>
                <a:gd name="connsiteX28" fmla="*/ 10485 w 905877"/>
                <a:gd name="connsiteY28" fmla="*/ 729000 h 925357"/>
                <a:gd name="connsiteX29" fmla="*/ 13019 w 905877"/>
                <a:gd name="connsiteY29" fmla="*/ 685041 h 925357"/>
                <a:gd name="connsiteX30" fmla="*/ 80794 w 905877"/>
                <a:gd name="connsiteY30" fmla="*/ 644502 h 925357"/>
                <a:gd name="connsiteX31" fmla="*/ 86748 w 905877"/>
                <a:gd name="connsiteY31" fmla="*/ 589016 h 925357"/>
                <a:gd name="connsiteX32" fmla="*/ 119432 w 905877"/>
                <a:gd name="connsiteY32" fmla="*/ 534162 h 925357"/>
                <a:gd name="connsiteX33" fmla="*/ 152623 w 905877"/>
                <a:gd name="connsiteY33" fmla="*/ 501985 h 925357"/>
                <a:gd name="connsiteX34" fmla="*/ 181887 w 905877"/>
                <a:gd name="connsiteY34" fmla="*/ 453972 h 925357"/>
                <a:gd name="connsiteX35" fmla="*/ 215584 w 905877"/>
                <a:gd name="connsiteY35" fmla="*/ 419008 h 925357"/>
                <a:gd name="connsiteX36" fmla="*/ 224959 w 905877"/>
                <a:gd name="connsiteY36" fmla="*/ 398232 h 925357"/>
                <a:gd name="connsiteX37" fmla="*/ 230406 w 905877"/>
                <a:gd name="connsiteY37" fmla="*/ 351613 h 925357"/>
                <a:gd name="connsiteX38" fmla="*/ 258656 w 905877"/>
                <a:gd name="connsiteY38" fmla="*/ 322856 h 925357"/>
                <a:gd name="connsiteX39" fmla="*/ 244848 w 905877"/>
                <a:gd name="connsiteY39" fmla="*/ 273830 h 925357"/>
                <a:gd name="connsiteX40" fmla="*/ 295774 w 905877"/>
                <a:gd name="connsiteY40" fmla="*/ 243679 h 925357"/>
                <a:gd name="connsiteX41" fmla="*/ 356708 w 905877"/>
                <a:gd name="connsiteY41" fmla="*/ 226324 h 925357"/>
                <a:gd name="connsiteX42" fmla="*/ 359622 w 905877"/>
                <a:gd name="connsiteY42" fmla="*/ 162476 h 925357"/>
                <a:gd name="connsiteX43" fmla="*/ 313510 w 905877"/>
                <a:gd name="connsiteY43" fmla="*/ 132325 h 925357"/>
                <a:gd name="connsiteX44" fmla="*/ 303755 w 905877"/>
                <a:gd name="connsiteY44" fmla="*/ 102555 h 925357"/>
                <a:gd name="connsiteX45" fmla="*/ 307049 w 905877"/>
                <a:gd name="connsiteY45" fmla="*/ 98628 h 925357"/>
                <a:gd name="connsiteX46" fmla="*/ 318957 w 905877"/>
                <a:gd name="connsiteY46" fmla="*/ 63917 h 925357"/>
                <a:gd name="connsiteX47" fmla="*/ 311990 w 905877"/>
                <a:gd name="connsiteY47" fmla="*/ 30219 h 925357"/>
                <a:gd name="connsiteX48" fmla="*/ 344674 w 905877"/>
                <a:gd name="connsiteY48" fmla="*/ 2476 h 925357"/>
                <a:gd name="connsiteX49" fmla="*/ 361016 w 905877"/>
                <a:gd name="connsiteY49" fmla="*/ 18311 h 925357"/>
                <a:gd name="connsiteX50" fmla="*/ 374824 w 905877"/>
                <a:gd name="connsiteY50" fmla="*/ 10964 h 925357"/>
                <a:gd name="connsiteX51" fmla="*/ 401554 w 905877"/>
                <a:gd name="connsiteY51" fmla="*/ 30219 h 925357"/>
                <a:gd name="connsiteX52" fmla="*/ 414856 w 905877"/>
                <a:gd name="connsiteY52" fmla="*/ 25785 h 925357"/>
                <a:gd name="connsiteX53" fmla="*/ 451467 w 905877"/>
                <a:gd name="connsiteY53" fmla="*/ 76838 h 925357"/>
                <a:gd name="connsiteX54" fmla="*/ 454381 w 905877"/>
                <a:gd name="connsiteY54" fmla="*/ 101541 h 925357"/>
                <a:gd name="connsiteX55" fmla="*/ 490992 w 905877"/>
                <a:gd name="connsiteY55" fmla="*/ 106482 h 925357"/>
                <a:gd name="connsiteX56" fmla="*/ 517722 w 905877"/>
                <a:gd name="connsiteY56" fmla="*/ 138153 h 925357"/>
                <a:gd name="connsiteX57" fmla="*/ 545465 w 905877"/>
                <a:gd name="connsiteY57" fmla="*/ 168810 h 925357"/>
                <a:gd name="connsiteX58" fmla="*/ 581570 w 905877"/>
                <a:gd name="connsiteY58" fmla="*/ 157915 h 925357"/>
                <a:gd name="connsiteX59" fmla="*/ 621222 w 905877"/>
                <a:gd name="connsiteY59" fmla="*/ 184645 h 925357"/>
                <a:gd name="connsiteX60" fmla="*/ 645925 w 905877"/>
                <a:gd name="connsiteY60" fmla="*/ 185152 h 925357"/>
                <a:gd name="connsiteX61" fmla="*/ 678102 w 905877"/>
                <a:gd name="connsiteY61" fmla="*/ 194019 h 925357"/>
                <a:gd name="connsiteX62" fmla="*/ 744864 w 905877"/>
                <a:gd name="connsiteY62" fmla="*/ 186039 h 925357"/>
                <a:gd name="connsiteX63" fmla="*/ 905877 w 905877"/>
                <a:gd name="connsiteY63" fmla="*/ 259641 h 92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05877" h="925357">
                  <a:moveTo>
                    <a:pt x="905877" y="259641"/>
                  </a:moveTo>
                  <a:cubicBezTo>
                    <a:pt x="903343" y="271550"/>
                    <a:pt x="907904" y="282951"/>
                    <a:pt x="895996" y="295746"/>
                  </a:cubicBezTo>
                  <a:cubicBezTo>
                    <a:pt x="884088" y="308667"/>
                    <a:pt x="864832" y="319055"/>
                    <a:pt x="855331" y="342238"/>
                  </a:cubicBezTo>
                  <a:cubicBezTo>
                    <a:pt x="845956" y="365548"/>
                    <a:pt x="833035" y="376823"/>
                    <a:pt x="833542" y="388731"/>
                  </a:cubicBezTo>
                  <a:cubicBezTo>
                    <a:pt x="834048" y="400639"/>
                    <a:pt x="831135" y="410013"/>
                    <a:pt x="813779" y="424329"/>
                  </a:cubicBezTo>
                  <a:cubicBezTo>
                    <a:pt x="796423" y="438643"/>
                    <a:pt x="763866" y="461953"/>
                    <a:pt x="743977" y="478802"/>
                  </a:cubicBezTo>
                  <a:cubicBezTo>
                    <a:pt x="724215" y="495650"/>
                    <a:pt x="701411" y="510979"/>
                    <a:pt x="682663" y="515920"/>
                  </a:cubicBezTo>
                  <a:cubicBezTo>
                    <a:pt x="663787" y="520861"/>
                    <a:pt x="653906" y="521874"/>
                    <a:pt x="646558" y="535682"/>
                  </a:cubicBezTo>
                  <a:cubicBezTo>
                    <a:pt x="639084" y="549491"/>
                    <a:pt x="609440" y="577741"/>
                    <a:pt x="619828" y="595096"/>
                  </a:cubicBezTo>
                  <a:cubicBezTo>
                    <a:pt x="630216" y="612452"/>
                    <a:pt x="645038" y="627274"/>
                    <a:pt x="633257" y="637662"/>
                  </a:cubicBezTo>
                  <a:cubicBezTo>
                    <a:pt x="621348" y="648050"/>
                    <a:pt x="614001" y="657424"/>
                    <a:pt x="614001" y="678707"/>
                  </a:cubicBezTo>
                  <a:cubicBezTo>
                    <a:pt x="614001" y="699989"/>
                    <a:pt x="624389" y="712404"/>
                    <a:pt x="598672" y="724186"/>
                  </a:cubicBezTo>
                  <a:cubicBezTo>
                    <a:pt x="572956" y="736094"/>
                    <a:pt x="505054" y="728620"/>
                    <a:pt x="504167" y="754843"/>
                  </a:cubicBezTo>
                  <a:cubicBezTo>
                    <a:pt x="503153" y="781067"/>
                    <a:pt x="501126" y="811723"/>
                    <a:pt x="480477" y="814257"/>
                  </a:cubicBezTo>
                  <a:cubicBezTo>
                    <a:pt x="459701" y="816791"/>
                    <a:pt x="449693" y="829586"/>
                    <a:pt x="444879" y="815777"/>
                  </a:cubicBezTo>
                  <a:cubicBezTo>
                    <a:pt x="439939" y="801842"/>
                    <a:pt x="417643" y="761304"/>
                    <a:pt x="399400" y="776126"/>
                  </a:cubicBezTo>
                  <a:cubicBezTo>
                    <a:pt x="381032" y="790948"/>
                    <a:pt x="371150" y="798422"/>
                    <a:pt x="366716" y="824645"/>
                  </a:cubicBezTo>
                  <a:cubicBezTo>
                    <a:pt x="362283" y="850868"/>
                    <a:pt x="352401" y="880639"/>
                    <a:pt x="328205" y="878105"/>
                  </a:cubicBezTo>
                  <a:cubicBezTo>
                    <a:pt x="303882" y="875572"/>
                    <a:pt x="281206" y="831106"/>
                    <a:pt x="266384" y="843901"/>
                  </a:cubicBezTo>
                  <a:cubicBezTo>
                    <a:pt x="251562" y="856822"/>
                    <a:pt x="236233" y="917503"/>
                    <a:pt x="205576" y="925358"/>
                  </a:cubicBezTo>
                  <a:lnTo>
                    <a:pt x="205576" y="925358"/>
                  </a:lnTo>
                  <a:cubicBezTo>
                    <a:pt x="196328" y="921811"/>
                    <a:pt x="181760" y="924851"/>
                    <a:pt x="172386" y="920671"/>
                  </a:cubicBezTo>
                  <a:cubicBezTo>
                    <a:pt x="158957" y="914716"/>
                    <a:pt x="164911" y="900908"/>
                    <a:pt x="165418" y="890520"/>
                  </a:cubicBezTo>
                  <a:cubicBezTo>
                    <a:pt x="165925" y="880132"/>
                    <a:pt x="153003" y="875698"/>
                    <a:pt x="136661" y="866197"/>
                  </a:cubicBezTo>
                  <a:cubicBezTo>
                    <a:pt x="120319" y="856822"/>
                    <a:pt x="117785" y="852388"/>
                    <a:pt x="115378" y="836047"/>
                  </a:cubicBezTo>
                  <a:cubicBezTo>
                    <a:pt x="112971" y="819705"/>
                    <a:pt x="84214" y="831106"/>
                    <a:pt x="68886" y="829586"/>
                  </a:cubicBezTo>
                  <a:cubicBezTo>
                    <a:pt x="53557" y="828066"/>
                    <a:pt x="32781" y="769665"/>
                    <a:pt x="16946" y="753323"/>
                  </a:cubicBezTo>
                  <a:cubicBezTo>
                    <a:pt x="15679" y="751929"/>
                    <a:pt x="14286" y="751042"/>
                    <a:pt x="12892" y="750282"/>
                  </a:cubicBezTo>
                  <a:cubicBezTo>
                    <a:pt x="12892" y="750282"/>
                    <a:pt x="20366" y="738881"/>
                    <a:pt x="10485" y="729000"/>
                  </a:cubicBezTo>
                  <a:cubicBezTo>
                    <a:pt x="604" y="719119"/>
                    <a:pt x="-8137" y="692389"/>
                    <a:pt x="13019" y="685041"/>
                  </a:cubicBezTo>
                  <a:cubicBezTo>
                    <a:pt x="34175" y="677567"/>
                    <a:pt x="80794" y="670726"/>
                    <a:pt x="80794" y="644502"/>
                  </a:cubicBezTo>
                  <a:cubicBezTo>
                    <a:pt x="80794" y="618279"/>
                    <a:pt x="72813" y="613845"/>
                    <a:pt x="86748" y="589016"/>
                  </a:cubicBezTo>
                  <a:cubicBezTo>
                    <a:pt x="100556" y="564313"/>
                    <a:pt x="103597" y="539989"/>
                    <a:pt x="119432" y="534162"/>
                  </a:cubicBezTo>
                  <a:cubicBezTo>
                    <a:pt x="135267" y="528208"/>
                    <a:pt x="142235" y="522761"/>
                    <a:pt x="152623" y="501985"/>
                  </a:cubicBezTo>
                  <a:cubicBezTo>
                    <a:pt x="163011" y="481209"/>
                    <a:pt x="160984" y="475762"/>
                    <a:pt x="181887" y="453972"/>
                  </a:cubicBezTo>
                  <a:cubicBezTo>
                    <a:pt x="194301" y="440924"/>
                    <a:pt x="207223" y="429649"/>
                    <a:pt x="215584" y="419008"/>
                  </a:cubicBezTo>
                  <a:cubicBezTo>
                    <a:pt x="221158" y="411914"/>
                    <a:pt x="224705" y="405073"/>
                    <a:pt x="224959" y="398232"/>
                  </a:cubicBezTo>
                  <a:cubicBezTo>
                    <a:pt x="225466" y="380750"/>
                    <a:pt x="212544" y="359974"/>
                    <a:pt x="230406" y="351613"/>
                  </a:cubicBezTo>
                  <a:cubicBezTo>
                    <a:pt x="248268" y="343125"/>
                    <a:pt x="272465" y="346672"/>
                    <a:pt x="258656" y="322856"/>
                  </a:cubicBezTo>
                  <a:cubicBezTo>
                    <a:pt x="244848" y="299166"/>
                    <a:pt x="230913" y="286244"/>
                    <a:pt x="244848" y="273830"/>
                  </a:cubicBezTo>
                  <a:cubicBezTo>
                    <a:pt x="258656" y="261541"/>
                    <a:pt x="267144" y="245579"/>
                    <a:pt x="295774" y="243679"/>
                  </a:cubicBezTo>
                  <a:cubicBezTo>
                    <a:pt x="324531" y="241652"/>
                    <a:pt x="353161" y="248113"/>
                    <a:pt x="356708" y="226324"/>
                  </a:cubicBezTo>
                  <a:cubicBezTo>
                    <a:pt x="360256" y="204534"/>
                    <a:pt x="376471" y="166910"/>
                    <a:pt x="359622" y="162476"/>
                  </a:cubicBezTo>
                  <a:cubicBezTo>
                    <a:pt x="342773" y="158042"/>
                    <a:pt x="322504" y="147147"/>
                    <a:pt x="313510" y="132325"/>
                  </a:cubicBezTo>
                  <a:cubicBezTo>
                    <a:pt x="305402" y="118644"/>
                    <a:pt x="293367" y="116237"/>
                    <a:pt x="303755" y="102555"/>
                  </a:cubicBezTo>
                  <a:cubicBezTo>
                    <a:pt x="304642" y="101415"/>
                    <a:pt x="305782" y="100021"/>
                    <a:pt x="307049" y="98628"/>
                  </a:cubicBezTo>
                  <a:cubicBezTo>
                    <a:pt x="322884" y="81272"/>
                    <a:pt x="327318" y="73418"/>
                    <a:pt x="318957" y="63917"/>
                  </a:cubicBezTo>
                  <a:cubicBezTo>
                    <a:pt x="310596" y="54542"/>
                    <a:pt x="298688" y="43647"/>
                    <a:pt x="311990" y="30219"/>
                  </a:cubicBezTo>
                  <a:cubicBezTo>
                    <a:pt x="325291" y="16918"/>
                    <a:pt x="338720" y="-7912"/>
                    <a:pt x="344674" y="2476"/>
                  </a:cubicBezTo>
                  <a:cubicBezTo>
                    <a:pt x="350628" y="12864"/>
                    <a:pt x="353541" y="23378"/>
                    <a:pt x="361016" y="18311"/>
                  </a:cubicBezTo>
                  <a:cubicBezTo>
                    <a:pt x="368490" y="13370"/>
                    <a:pt x="369504" y="3489"/>
                    <a:pt x="374824" y="10964"/>
                  </a:cubicBezTo>
                  <a:cubicBezTo>
                    <a:pt x="380272" y="18311"/>
                    <a:pt x="395600" y="38707"/>
                    <a:pt x="401554" y="30219"/>
                  </a:cubicBezTo>
                  <a:cubicBezTo>
                    <a:pt x="407508" y="21858"/>
                    <a:pt x="404468" y="15904"/>
                    <a:pt x="414856" y="25785"/>
                  </a:cubicBezTo>
                  <a:cubicBezTo>
                    <a:pt x="425244" y="35667"/>
                    <a:pt x="457421" y="67844"/>
                    <a:pt x="451467" y="76838"/>
                  </a:cubicBezTo>
                  <a:cubicBezTo>
                    <a:pt x="445513" y="85706"/>
                    <a:pt x="436645" y="94194"/>
                    <a:pt x="454381" y="101541"/>
                  </a:cubicBezTo>
                  <a:cubicBezTo>
                    <a:pt x="472243" y="109016"/>
                    <a:pt x="479084" y="92673"/>
                    <a:pt x="490992" y="106482"/>
                  </a:cubicBezTo>
                  <a:cubicBezTo>
                    <a:pt x="502900" y="120291"/>
                    <a:pt x="513288" y="125738"/>
                    <a:pt x="517722" y="138153"/>
                  </a:cubicBezTo>
                  <a:cubicBezTo>
                    <a:pt x="522156" y="150441"/>
                    <a:pt x="529630" y="177171"/>
                    <a:pt x="545465" y="168810"/>
                  </a:cubicBezTo>
                  <a:cubicBezTo>
                    <a:pt x="561301" y="160449"/>
                    <a:pt x="568775" y="147527"/>
                    <a:pt x="581570" y="157915"/>
                  </a:cubicBezTo>
                  <a:cubicBezTo>
                    <a:pt x="594365" y="168303"/>
                    <a:pt x="606780" y="185025"/>
                    <a:pt x="621222" y="184645"/>
                  </a:cubicBezTo>
                  <a:cubicBezTo>
                    <a:pt x="635537" y="184138"/>
                    <a:pt x="639464" y="178184"/>
                    <a:pt x="645925" y="185152"/>
                  </a:cubicBezTo>
                  <a:cubicBezTo>
                    <a:pt x="652385" y="192119"/>
                    <a:pt x="653779" y="200480"/>
                    <a:pt x="678102" y="194019"/>
                  </a:cubicBezTo>
                  <a:cubicBezTo>
                    <a:pt x="702425" y="187559"/>
                    <a:pt x="724088" y="180591"/>
                    <a:pt x="744864" y="186039"/>
                  </a:cubicBezTo>
                  <a:cubicBezTo>
                    <a:pt x="765260" y="191866"/>
                    <a:pt x="841016" y="267116"/>
                    <a:pt x="905877" y="25964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1" name="Полилиния: фигура 710">
              <a:extLst>
                <a:ext uri="{FF2B5EF4-FFF2-40B4-BE49-F238E27FC236}">
                  <a16:creationId xmlns:a16="http://schemas.microsoft.com/office/drawing/2014/main" id="{45980B4F-C3C8-4F6B-9CF5-4A05538831F8}"/>
                </a:ext>
              </a:extLst>
            </p:cNvPr>
            <p:cNvSpPr/>
            <p:nvPr/>
          </p:nvSpPr>
          <p:spPr>
            <a:xfrm>
              <a:off x="6095665" y="5619089"/>
              <a:ext cx="501765" cy="811545"/>
            </a:xfrm>
            <a:custGeom>
              <a:avLst/>
              <a:gdLst>
                <a:gd name="connsiteX0" fmla="*/ 499129 w 501765"/>
                <a:gd name="connsiteY0" fmla="*/ 185424 h 811545"/>
                <a:gd name="connsiteX1" fmla="*/ 463151 w 501765"/>
                <a:gd name="connsiteY1" fmla="*/ 218742 h 811545"/>
                <a:gd name="connsiteX2" fmla="*/ 426540 w 501765"/>
                <a:gd name="connsiteY2" fmla="*/ 245472 h 811545"/>
                <a:gd name="connsiteX3" fmla="*/ 400950 w 501765"/>
                <a:gd name="connsiteY3" fmla="*/ 267261 h 811545"/>
                <a:gd name="connsiteX4" fmla="*/ 381694 w 501765"/>
                <a:gd name="connsiteY4" fmla="*/ 325915 h 811545"/>
                <a:gd name="connsiteX5" fmla="*/ 384355 w 501765"/>
                <a:gd name="connsiteY5" fmla="*/ 389890 h 811545"/>
                <a:gd name="connsiteX6" fmla="*/ 362945 w 501765"/>
                <a:gd name="connsiteY6" fmla="*/ 425868 h 811545"/>
                <a:gd name="connsiteX7" fmla="*/ 375234 w 501765"/>
                <a:gd name="connsiteY7" fmla="*/ 471093 h 811545"/>
                <a:gd name="connsiteX8" fmla="*/ 418052 w 501765"/>
                <a:gd name="connsiteY8" fmla="*/ 476034 h 811545"/>
                <a:gd name="connsiteX9" fmla="*/ 394996 w 501765"/>
                <a:gd name="connsiteY9" fmla="*/ 520246 h 811545"/>
                <a:gd name="connsiteX10" fmla="*/ 385748 w 501765"/>
                <a:gd name="connsiteY10" fmla="*/ 544696 h 811545"/>
                <a:gd name="connsiteX11" fmla="*/ 342550 w 501765"/>
                <a:gd name="connsiteY11" fmla="*/ 567499 h 811545"/>
                <a:gd name="connsiteX12" fmla="*/ 361298 w 501765"/>
                <a:gd name="connsiteY12" fmla="*/ 633500 h 811545"/>
                <a:gd name="connsiteX13" fmla="*/ 348377 w 501765"/>
                <a:gd name="connsiteY13" fmla="*/ 683667 h 811545"/>
                <a:gd name="connsiteX14" fmla="*/ 364845 w 501765"/>
                <a:gd name="connsiteY14" fmla="*/ 737760 h 811545"/>
                <a:gd name="connsiteX15" fmla="*/ 260586 w 501765"/>
                <a:gd name="connsiteY15" fmla="*/ 811236 h 811545"/>
                <a:gd name="connsiteX16" fmla="*/ 277815 w 501765"/>
                <a:gd name="connsiteY16" fmla="*/ 778678 h 811545"/>
                <a:gd name="connsiteX17" fmla="*/ 253112 w 501765"/>
                <a:gd name="connsiteY17" fmla="*/ 754989 h 811545"/>
                <a:gd name="connsiteX18" fmla="*/ 230309 w 501765"/>
                <a:gd name="connsiteY18" fmla="*/ 737887 h 811545"/>
                <a:gd name="connsiteX19" fmla="*/ 204592 w 501765"/>
                <a:gd name="connsiteY19" fmla="*/ 759042 h 811545"/>
                <a:gd name="connsiteX20" fmla="*/ 176342 w 501765"/>
                <a:gd name="connsiteY20" fmla="*/ 750428 h 811545"/>
                <a:gd name="connsiteX21" fmla="*/ 165321 w 501765"/>
                <a:gd name="connsiteY21" fmla="*/ 718757 h 811545"/>
                <a:gd name="connsiteX22" fmla="*/ 158606 w 501765"/>
                <a:gd name="connsiteY22" fmla="*/ 707736 h 811545"/>
                <a:gd name="connsiteX23" fmla="*/ 138844 w 501765"/>
                <a:gd name="connsiteY23" fmla="*/ 669478 h 811545"/>
                <a:gd name="connsiteX24" fmla="*/ 154806 w 501765"/>
                <a:gd name="connsiteY24" fmla="*/ 642115 h 811545"/>
                <a:gd name="connsiteX25" fmla="*/ 136564 w 501765"/>
                <a:gd name="connsiteY25" fmla="*/ 617285 h 811545"/>
                <a:gd name="connsiteX26" fmla="*/ 176215 w 501765"/>
                <a:gd name="connsiteY26" fmla="*/ 586121 h 811545"/>
                <a:gd name="connsiteX27" fmla="*/ 159746 w 501765"/>
                <a:gd name="connsiteY27" fmla="*/ 567752 h 811545"/>
                <a:gd name="connsiteX28" fmla="*/ 133017 w 501765"/>
                <a:gd name="connsiteY28" fmla="*/ 555464 h 811545"/>
                <a:gd name="connsiteX29" fmla="*/ 122122 w 501765"/>
                <a:gd name="connsiteY29" fmla="*/ 513405 h 811545"/>
                <a:gd name="connsiteX30" fmla="*/ 112494 w 501765"/>
                <a:gd name="connsiteY30" fmla="*/ 494530 h 811545"/>
                <a:gd name="connsiteX31" fmla="*/ 82724 w 501765"/>
                <a:gd name="connsiteY31" fmla="*/ 472487 h 811545"/>
                <a:gd name="connsiteX32" fmla="*/ 72842 w 501765"/>
                <a:gd name="connsiteY32" fmla="*/ 461212 h 811545"/>
                <a:gd name="connsiteX33" fmla="*/ 73856 w 501765"/>
                <a:gd name="connsiteY33" fmla="*/ 439296 h 811545"/>
                <a:gd name="connsiteX34" fmla="*/ 76010 w 501765"/>
                <a:gd name="connsiteY34" fmla="*/ 422574 h 811545"/>
                <a:gd name="connsiteX35" fmla="*/ 64481 w 501765"/>
                <a:gd name="connsiteY35" fmla="*/ 405978 h 811545"/>
                <a:gd name="connsiteX36" fmla="*/ 43832 w 501765"/>
                <a:gd name="connsiteY36" fmla="*/ 390017 h 811545"/>
                <a:gd name="connsiteX37" fmla="*/ 21283 w 501765"/>
                <a:gd name="connsiteY37" fmla="*/ 380009 h 811545"/>
                <a:gd name="connsiteX38" fmla="*/ 9881 w 501765"/>
                <a:gd name="connsiteY38" fmla="*/ 363160 h 811545"/>
                <a:gd name="connsiteX39" fmla="*/ 0 w 501765"/>
                <a:gd name="connsiteY39" fmla="*/ 352012 h 811545"/>
                <a:gd name="connsiteX40" fmla="*/ 14188 w 501765"/>
                <a:gd name="connsiteY40" fmla="*/ 311980 h 811545"/>
                <a:gd name="connsiteX41" fmla="*/ 14188 w 501765"/>
                <a:gd name="connsiteY41" fmla="*/ 279296 h 811545"/>
                <a:gd name="connsiteX42" fmla="*/ 9881 w 501765"/>
                <a:gd name="connsiteY42" fmla="*/ 244585 h 811545"/>
                <a:gd name="connsiteX43" fmla="*/ 19762 w 501765"/>
                <a:gd name="connsiteY43" fmla="*/ 227230 h 811545"/>
                <a:gd name="connsiteX44" fmla="*/ 21916 w 501765"/>
                <a:gd name="connsiteY44" fmla="*/ 179217 h 811545"/>
                <a:gd name="connsiteX45" fmla="*/ 42819 w 501765"/>
                <a:gd name="connsiteY45" fmla="*/ 129177 h 811545"/>
                <a:gd name="connsiteX46" fmla="*/ 11655 w 501765"/>
                <a:gd name="connsiteY46" fmla="*/ 111822 h 811545"/>
                <a:gd name="connsiteX47" fmla="*/ 21536 w 501765"/>
                <a:gd name="connsiteY47" fmla="*/ 78631 h 811545"/>
                <a:gd name="connsiteX48" fmla="*/ 25337 w 501765"/>
                <a:gd name="connsiteY48" fmla="*/ 75844 h 811545"/>
                <a:gd name="connsiteX49" fmla="*/ 44466 w 501765"/>
                <a:gd name="connsiteY49" fmla="*/ 60008 h 811545"/>
                <a:gd name="connsiteX50" fmla="*/ 118955 w 501765"/>
                <a:gd name="connsiteY50" fmla="*/ 54054 h 811545"/>
                <a:gd name="connsiteX51" fmla="*/ 149992 w 501765"/>
                <a:gd name="connsiteY51" fmla="*/ 32265 h 811545"/>
                <a:gd name="connsiteX52" fmla="*/ 192177 w 501765"/>
                <a:gd name="connsiteY52" fmla="*/ 23651 h 811545"/>
                <a:gd name="connsiteX53" fmla="*/ 216627 w 501765"/>
                <a:gd name="connsiteY53" fmla="*/ 1861 h 811545"/>
                <a:gd name="connsiteX54" fmla="*/ 283896 w 501765"/>
                <a:gd name="connsiteY54" fmla="*/ 22384 h 811545"/>
                <a:gd name="connsiteX55" fmla="*/ 324054 w 501765"/>
                <a:gd name="connsiteY55" fmla="*/ 18457 h 811545"/>
                <a:gd name="connsiteX56" fmla="*/ 357751 w 501765"/>
                <a:gd name="connsiteY56" fmla="*/ 40880 h 811545"/>
                <a:gd name="connsiteX57" fmla="*/ 412605 w 501765"/>
                <a:gd name="connsiteY57" fmla="*/ 17823 h 811545"/>
                <a:gd name="connsiteX58" fmla="*/ 424006 w 501765"/>
                <a:gd name="connsiteY58" fmla="*/ 13896 h 811545"/>
                <a:gd name="connsiteX59" fmla="*/ 425273 w 501765"/>
                <a:gd name="connsiteY59" fmla="*/ 39866 h 811545"/>
                <a:gd name="connsiteX60" fmla="*/ 415899 w 501765"/>
                <a:gd name="connsiteY60" fmla="*/ 87625 h 811545"/>
                <a:gd name="connsiteX61" fmla="*/ 457830 w 501765"/>
                <a:gd name="connsiteY61" fmla="*/ 114229 h 811545"/>
                <a:gd name="connsiteX62" fmla="*/ 483547 w 501765"/>
                <a:gd name="connsiteY62" fmla="*/ 149826 h 811545"/>
                <a:gd name="connsiteX63" fmla="*/ 499129 w 501765"/>
                <a:gd name="connsiteY63" fmla="*/ 185424 h 81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1765" h="811545">
                  <a:moveTo>
                    <a:pt x="499129" y="185424"/>
                  </a:moveTo>
                  <a:cubicBezTo>
                    <a:pt x="489881" y="199233"/>
                    <a:pt x="481267" y="213421"/>
                    <a:pt x="463151" y="218742"/>
                  </a:cubicBezTo>
                  <a:cubicBezTo>
                    <a:pt x="445036" y="224062"/>
                    <a:pt x="444656" y="227610"/>
                    <a:pt x="426540" y="245472"/>
                  </a:cubicBezTo>
                  <a:cubicBezTo>
                    <a:pt x="420332" y="251679"/>
                    <a:pt x="410324" y="258900"/>
                    <a:pt x="400950" y="267261"/>
                  </a:cubicBezTo>
                  <a:cubicBezTo>
                    <a:pt x="382961" y="283223"/>
                    <a:pt x="366746" y="303239"/>
                    <a:pt x="381694" y="325915"/>
                  </a:cubicBezTo>
                  <a:cubicBezTo>
                    <a:pt x="404497" y="360499"/>
                    <a:pt x="401203" y="376715"/>
                    <a:pt x="384355" y="389890"/>
                  </a:cubicBezTo>
                  <a:cubicBezTo>
                    <a:pt x="367506" y="403065"/>
                    <a:pt x="364845" y="407372"/>
                    <a:pt x="362945" y="425868"/>
                  </a:cubicBezTo>
                  <a:cubicBezTo>
                    <a:pt x="360918" y="444363"/>
                    <a:pt x="356358" y="476667"/>
                    <a:pt x="375234" y="471093"/>
                  </a:cubicBezTo>
                  <a:cubicBezTo>
                    <a:pt x="394109" y="465519"/>
                    <a:pt x="444529" y="443350"/>
                    <a:pt x="418052" y="476034"/>
                  </a:cubicBezTo>
                  <a:cubicBezTo>
                    <a:pt x="391702" y="508718"/>
                    <a:pt x="393603" y="506691"/>
                    <a:pt x="394996" y="520246"/>
                  </a:cubicBezTo>
                  <a:cubicBezTo>
                    <a:pt x="396263" y="533801"/>
                    <a:pt x="397023" y="543936"/>
                    <a:pt x="385748" y="544696"/>
                  </a:cubicBezTo>
                  <a:cubicBezTo>
                    <a:pt x="374600" y="545329"/>
                    <a:pt x="339636" y="548623"/>
                    <a:pt x="342550" y="567499"/>
                  </a:cubicBezTo>
                  <a:cubicBezTo>
                    <a:pt x="345463" y="586248"/>
                    <a:pt x="375234" y="617031"/>
                    <a:pt x="361298" y="633500"/>
                  </a:cubicBezTo>
                  <a:cubicBezTo>
                    <a:pt x="347490" y="649969"/>
                    <a:pt x="328614" y="669098"/>
                    <a:pt x="348377" y="683667"/>
                  </a:cubicBezTo>
                  <a:cubicBezTo>
                    <a:pt x="368139" y="698235"/>
                    <a:pt x="377134" y="720658"/>
                    <a:pt x="364845" y="737760"/>
                  </a:cubicBezTo>
                  <a:cubicBezTo>
                    <a:pt x="352684" y="754862"/>
                    <a:pt x="304798" y="816430"/>
                    <a:pt x="260586" y="811236"/>
                  </a:cubicBezTo>
                  <a:cubicBezTo>
                    <a:pt x="269200" y="804395"/>
                    <a:pt x="271734" y="795401"/>
                    <a:pt x="277815" y="778678"/>
                  </a:cubicBezTo>
                  <a:cubicBezTo>
                    <a:pt x="285416" y="757902"/>
                    <a:pt x="260332" y="756636"/>
                    <a:pt x="253112" y="754989"/>
                  </a:cubicBezTo>
                  <a:cubicBezTo>
                    <a:pt x="245891" y="753342"/>
                    <a:pt x="240950" y="748781"/>
                    <a:pt x="230309" y="737887"/>
                  </a:cubicBezTo>
                  <a:cubicBezTo>
                    <a:pt x="219794" y="726992"/>
                    <a:pt x="209913" y="752075"/>
                    <a:pt x="204592" y="759042"/>
                  </a:cubicBezTo>
                  <a:cubicBezTo>
                    <a:pt x="199272" y="766010"/>
                    <a:pt x="187744" y="751062"/>
                    <a:pt x="176342" y="750428"/>
                  </a:cubicBezTo>
                  <a:cubicBezTo>
                    <a:pt x="164940" y="749795"/>
                    <a:pt x="162407" y="728892"/>
                    <a:pt x="165321" y="718757"/>
                  </a:cubicBezTo>
                  <a:cubicBezTo>
                    <a:pt x="168234" y="709003"/>
                    <a:pt x="159366" y="707863"/>
                    <a:pt x="158606" y="707736"/>
                  </a:cubicBezTo>
                  <a:cubicBezTo>
                    <a:pt x="161393" y="697855"/>
                    <a:pt x="135930" y="679739"/>
                    <a:pt x="138844" y="669478"/>
                  </a:cubicBezTo>
                  <a:cubicBezTo>
                    <a:pt x="141631" y="659090"/>
                    <a:pt x="154172" y="653516"/>
                    <a:pt x="154806" y="642115"/>
                  </a:cubicBezTo>
                  <a:cubicBezTo>
                    <a:pt x="155566" y="630460"/>
                    <a:pt x="142898" y="625012"/>
                    <a:pt x="136564" y="617285"/>
                  </a:cubicBezTo>
                  <a:cubicBezTo>
                    <a:pt x="124022" y="602083"/>
                    <a:pt x="174188" y="599929"/>
                    <a:pt x="176215" y="586121"/>
                  </a:cubicBezTo>
                  <a:cubicBezTo>
                    <a:pt x="177482" y="577633"/>
                    <a:pt x="165827" y="570919"/>
                    <a:pt x="159746" y="567752"/>
                  </a:cubicBezTo>
                  <a:cubicBezTo>
                    <a:pt x="151132" y="563318"/>
                    <a:pt x="140998" y="561164"/>
                    <a:pt x="133017" y="555464"/>
                  </a:cubicBezTo>
                  <a:cubicBezTo>
                    <a:pt x="118828" y="545329"/>
                    <a:pt x="125542" y="527847"/>
                    <a:pt x="122122" y="513405"/>
                  </a:cubicBezTo>
                  <a:cubicBezTo>
                    <a:pt x="120475" y="506438"/>
                    <a:pt x="117055" y="500104"/>
                    <a:pt x="112494" y="494530"/>
                  </a:cubicBezTo>
                  <a:cubicBezTo>
                    <a:pt x="104513" y="484902"/>
                    <a:pt x="93618" y="478188"/>
                    <a:pt x="82724" y="472487"/>
                  </a:cubicBezTo>
                  <a:cubicBezTo>
                    <a:pt x="76643" y="469320"/>
                    <a:pt x="74363" y="468433"/>
                    <a:pt x="72842" y="461212"/>
                  </a:cubicBezTo>
                  <a:cubicBezTo>
                    <a:pt x="71322" y="453991"/>
                    <a:pt x="71702" y="446390"/>
                    <a:pt x="73856" y="439296"/>
                  </a:cubicBezTo>
                  <a:cubicBezTo>
                    <a:pt x="75503" y="433722"/>
                    <a:pt x="77656" y="428401"/>
                    <a:pt x="76010" y="422574"/>
                  </a:cubicBezTo>
                  <a:cubicBezTo>
                    <a:pt x="74236" y="416113"/>
                    <a:pt x="69042" y="410666"/>
                    <a:pt x="64481" y="405978"/>
                  </a:cubicBezTo>
                  <a:cubicBezTo>
                    <a:pt x="58400" y="399644"/>
                    <a:pt x="51560" y="394070"/>
                    <a:pt x="43832" y="390017"/>
                  </a:cubicBezTo>
                  <a:cubicBezTo>
                    <a:pt x="36611" y="386216"/>
                    <a:pt x="28124" y="384443"/>
                    <a:pt x="21283" y="380009"/>
                  </a:cubicBezTo>
                  <a:cubicBezTo>
                    <a:pt x="15075" y="375955"/>
                    <a:pt x="12541" y="369747"/>
                    <a:pt x="9881" y="363160"/>
                  </a:cubicBezTo>
                  <a:cubicBezTo>
                    <a:pt x="7981" y="358346"/>
                    <a:pt x="6081" y="352012"/>
                    <a:pt x="0" y="352012"/>
                  </a:cubicBezTo>
                  <a:cubicBezTo>
                    <a:pt x="0" y="352012"/>
                    <a:pt x="4687" y="319454"/>
                    <a:pt x="14188" y="311980"/>
                  </a:cubicBezTo>
                  <a:cubicBezTo>
                    <a:pt x="23563" y="304506"/>
                    <a:pt x="19636" y="293611"/>
                    <a:pt x="14188" y="279296"/>
                  </a:cubicBezTo>
                  <a:cubicBezTo>
                    <a:pt x="8741" y="264981"/>
                    <a:pt x="3674" y="248639"/>
                    <a:pt x="9881" y="244585"/>
                  </a:cubicBezTo>
                  <a:cubicBezTo>
                    <a:pt x="16089" y="240658"/>
                    <a:pt x="26477" y="235717"/>
                    <a:pt x="19762" y="227230"/>
                  </a:cubicBezTo>
                  <a:cubicBezTo>
                    <a:pt x="13048" y="218742"/>
                    <a:pt x="8488" y="194039"/>
                    <a:pt x="21916" y="179217"/>
                  </a:cubicBezTo>
                  <a:cubicBezTo>
                    <a:pt x="35345" y="164395"/>
                    <a:pt x="55740" y="138172"/>
                    <a:pt x="42819" y="129177"/>
                  </a:cubicBezTo>
                  <a:cubicBezTo>
                    <a:pt x="29897" y="120309"/>
                    <a:pt x="1773" y="130698"/>
                    <a:pt x="11655" y="111822"/>
                  </a:cubicBezTo>
                  <a:cubicBezTo>
                    <a:pt x="21536" y="93073"/>
                    <a:pt x="24323" y="84078"/>
                    <a:pt x="21536" y="78631"/>
                  </a:cubicBezTo>
                  <a:cubicBezTo>
                    <a:pt x="22930" y="78504"/>
                    <a:pt x="24196" y="77618"/>
                    <a:pt x="25337" y="75844"/>
                  </a:cubicBezTo>
                  <a:cubicBezTo>
                    <a:pt x="30657" y="67863"/>
                    <a:pt x="27997" y="57348"/>
                    <a:pt x="44466" y="60008"/>
                  </a:cubicBezTo>
                  <a:cubicBezTo>
                    <a:pt x="60934" y="62669"/>
                    <a:pt x="99952" y="64569"/>
                    <a:pt x="118955" y="54054"/>
                  </a:cubicBezTo>
                  <a:cubicBezTo>
                    <a:pt x="138084" y="43540"/>
                    <a:pt x="129470" y="34292"/>
                    <a:pt x="149992" y="32265"/>
                  </a:cubicBezTo>
                  <a:cubicBezTo>
                    <a:pt x="170515" y="30238"/>
                    <a:pt x="186984" y="42780"/>
                    <a:pt x="192177" y="23651"/>
                  </a:cubicBezTo>
                  <a:cubicBezTo>
                    <a:pt x="197498" y="4521"/>
                    <a:pt x="200792" y="-4093"/>
                    <a:pt x="216627" y="1861"/>
                  </a:cubicBezTo>
                  <a:cubicBezTo>
                    <a:pt x="232462" y="7815"/>
                    <a:pt x="262739" y="24284"/>
                    <a:pt x="283896" y="22384"/>
                  </a:cubicBezTo>
                  <a:cubicBezTo>
                    <a:pt x="305051" y="20357"/>
                    <a:pt x="317593" y="7182"/>
                    <a:pt x="324054" y="18457"/>
                  </a:cubicBezTo>
                  <a:cubicBezTo>
                    <a:pt x="330641" y="29732"/>
                    <a:pt x="340523" y="46200"/>
                    <a:pt x="357751" y="40880"/>
                  </a:cubicBezTo>
                  <a:cubicBezTo>
                    <a:pt x="374980" y="35559"/>
                    <a:pt x="402597" y="21750"/>
                    <a:pt x="412605" y="17823"/>
                  </a:cubicBezTo>
                  <a:cubicBezTo>
                    <a:pt x="415138" y="16810"/>
                    <a:pt x="419319" y="15543"/>
                    <a:pt x="424006" y="13896"/>
                  </a:cubicBezTo>
                  <a:cubicBezTo>
                    <a:pt x="424766" y="14403"/>
                    <a:pt x="433128" y="20864"/>
                    <a:pt x="425273" y="39866"/>
                  </a:cubicBezTo>
                  <a:cubicBezTo>
                    <a:pt x="417039" y="59628"/>
                    <a:pt x="401710" y="86865"/>
                    <a:pt x="415899" y="87625"/>
                  </a:cubicBezTo>
                  <a:cubicBezTo>
                    <a:pt x="429960" y="88386"/>
                    <a:pt x="448203" y="100293"/>
                    <a:pt x="457830" y="114229"/>
                  </a:cubicBezTo>
                  <a:cubicBezTo>
                    <a:pt x="467458" y="128037"/>
                    <a:pt x="476326" y="143619"/>
                    <a:pt x="483547" y="149826"/>
                  </a:cubicBezTo>
                  <a:cubicBezTo>
                    <a:pt x="490895" y="156414"/>
                    <a:pt x="508377" y="171616"/>
                    <a:pt x="499129" y="185424"/>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2" name="Полилиния: фигура 711">
              <a:extLst>
                <a:ext uri="{FF2B5EF4-FFF2-40B4-BE49-F238E27FC236}">
                  <a16:creationId xmlns:a16="http://schemas.microsoft.com/office/drawing/2014/main" id="{64B8EBAA-0FE6-4811-B039-30C005AB8064}"/>
                </a:ext>
              </a:extLst>
            </p:cNvPr>
            <p:cNvSpPr/>
            <p:nvPr/>
          </p:nvSpPr>
          <p:spPr>
            <a:xfrm>
              <a:off x="4508460" y="3410730"/>
              <a:ext cx="1923160" cy="1582509"/>
            </a:xfrm>
            <a:custGeom>
              <a:avLst/>
              <a:gdLst>
                <a:gd name="connsiteX0" fmla="*/ 1917973 w 1923160"/>
                <a:gd name="connsiteY0" fmla="*/ 1404267 h 1582509"/>
                <a:gd name="connsiteX1" fmla="*/ 1865780 w 1923160"/>
                <a:gd name="connsiteY1" fmla="*/ 1418835 h 1582509"/>
                <a:gd name="connsiteX2" fmla="*/ 1784576 w 1923160"/>
                <a:gd name="connsiteY2" fmla="*/ 1438598 h 1582509"/>
                <a:gd name="connsiteX3" fmla="*/ 1780523 w 1923160"/>
                <a:gd name="connsiteY3" fmla="*/ 1445185 h 1582509"/>
                <a:gd name="connsiteX4" fmla="*/ 1713635 w 1923160"/>
                <a:gd name="connsiteY4" fmla="*/ 1413895 h 1582509"/>
                <a:gd name="connsiteX5" fmla="*/ 1618242 w 1923160"/>
                <a:gd name="connsiteY5" fmla="*/ 1451520 h 1582509"/>
                <a:gd name="connsiteX6" fmla="*/ 1590499 w 1923160"/>
                <a:gd name="connsiteY6" fmla="*/ 1432390 h 1582509"/>
                <a:gd name="connsiteX7" fmla="*/ 1535772 w 1923160"/>
                <a:gd name="connsiteY7" fmla="*/ 1427450 h 1582509"/>
                <a:gd name="connsiteX8" fmla="*/ 1511069 w 1923160"/>
                <a:gd name="connsiteY8" fmla="*/ 1390459 h 1582509"/>
                <a:gd name="connsiteX9" fmla="*/ 1439493 w 1923160"/>
                <a:gd name="connsiteY9" fmla="*/ 1383491 h 1582509"/>
                <a:gd name="connsiteX10" fmla="*/ 1373872 w 1923160"/>
                <a:gd name="connsiteY10" fmla="*/ 1345233 h 1582509"/>
                <a:gd name="connsiteX11" fmla="*/ 1315091 w 1923160"/>
                <a:gd name="connsiteY11" fmla="*/ 1333325 h 1582509"/>
                <a:gd name="connsiteX12" fmla="*/ 1257071 w 1923160"/>
                <a:gd name="connsiteY12" fmla="*/ 1283792 h 1582509"/>
                <a:gd name="connsiteX13" fmla="*/ 1210578 w 1923160"/>
                <a:gd name="connsiteY13" fmla="*/ 1304948 h 1582509"/>
                <a:gd name="connsiteX14" fmla="*/ 1170926 w 1923160"/>
                <a:gd name="connsiteY14" fmla="*/ 1328384 h 1582509"/>
                <a:gd name="connsiteX15" fmla="*/ 1157372 w 1923160"/>
                <a:gd name="connsiteY15" fmla="*/ 1372216 h 1582509"/>
                <a:gd name="connsiteX16" fmla="*/ 1125701 w 1923160"/>
                <a:gd name="connsiteY16" fmla="*/ 1401607 h 1582509"/>
                <a:gd name="connsiteX17" fmla="*/ 1094284 w 1923160"/>
                <a:gd name="connsiteY17" fmla="*/ 1459120 h 1582509"/>
                <a:gd name="connsiteX18" fmla="*/ 1021821 w 1923160"/>
                <a:gd name="connsiteY18" fmla="*/ 1470015 h 1582509"/>
                <a:gd name="connsiteX19" fmla="*/ 992938 w 1923160"/>
                <a:gd name="connsiteY19" fmla="*/ 1524108 h 1582509"/>
                <a:gd name="connsiteX20" fmla="*/ 949359 w 1923160"/>
                <a:gd name="connsiteY20" fmla="*/ 1565027 h 1582509"/>
                <a:gd name="connsiteX21" fmla="*/ 919842 w 1923160"/>
                <a:gd name="connsiteY21" fmla="*/ 1582509 h 1582509"/>
                <a:gd name="connsiteX22" fmla="*/ 921362 w 1923160"/>
                <a:gd name="connsiteY22" fmla="*/ 1579849 h 1582509"/>
                <a:gd name="connsiteX23" fmla="*/ 921488 w 1923160"/>
                <a:gd name="connsiteY23" fmla="*/ 1575035 h 1582509"/>
                <a:gd name="connsiteX24" fmla="*/ 921235 w 1923160"/>
                <a:gd name="connsiteY24" fmla="*/ 1574148 h 1582509"/>
                <a:gd name="connsiteX25" fmla="*/ 920222 w 1923160"/>
                <a:gd name="connsiteY25" fmla="*/ 1572501 h 1582509"/>
                <a:gd name="connsiteX26" fmla="*/ 919588 w 1923160"/>
                <a:gd name="connsiteY26" fmla="*/ 1571741 h 1582509"/>
                <a:gd name="connsiteX27" fmla="*/ 918575 w 1923160"/>
                <a:gd name="connsiteY27" fmla="*/ 1570727 h 1582509"/>
                <a:gd name="connsiteX28" fmla="*/ 917435 w 1923160"/>
                <a:gd name="connsiteY28" fmla="*/ 1569714 h 1582509"/>
                <a:gd name="connsiteX29" fmla="*/ 916168 w 1923160"/>
                <a:gd name="connsiteY29" fmla="*/ 1568701 h 1582509"/>
                <a:gd name="connsiteX30" fmla="*/ 913381 w 1923160"/>
                <a:gd name="connsiteY30" fmla="*/ 1566674 h 1582509"/>
                <a:gd name="connsiteX31" fmla="*/ 910214 w 1923160"/>
                <a:gd name="connsiteY31" fmla="*/ 1564774 h 1582509"/>
                <a:gd name="connsiteX32" fmla="*/ 910214 w 1923160"/>
                <a:gd name="connsiteY32" fmla="*/ 1564774 h 1582509"/>
                <a:gd name="connsiteX33" fmla="*/ 904767 w 1923160"/>
                <a:gd name="connsiteY33" fmla="*/ 1562113 h 1582509"/>
                <a:gd name="connsiteX34" fmla="*/ 904767 w 1923160"/>
                <a:gd name="connsiteY34" fmla="*/ 1562113 h 1582509"/>
                <a:gd name="connsiteX35" fmla="*/ 900840 w 1923160"/>
                <a:gd name="connsiteY35" fmla="*/ 1560340 h 1582509"/>
                <a:gd name="connsiteX36" fmla="*/ 898813 w 1923160"/>
                <a:gd name="connsiteY36" fmla="*/ 1559453 h 1582509"/>
                <a:gd name="connsiteX37" fmla="*/ 892732 w 1923160"/>
                <a:gd name="connsiteY37" fmla="*/ 1557046 h 1582509"/>
                <a:gd name="connsiteX38" fmla="*/ 880823 w 1923160"/>
                <a:gd name="connsiteY38" fmla="*/ 1552866 h 1582509"/>
                <a:gd name="connsiteX39" fmla="*/ 877276 w 1923160"/>
                <a:gd name="connsiteY39" fmla="*/ 1551725 h 1582509"/>
                <a:gd name="connsiteX40" fmla="*/ 872589 w 1923160"/>
                <a:gd name="connsiteY40" fmla="*/ 1550079 h 1582509"/>
                <a:gd name="connsiteX41" fmla="*/ 833064 w 1923160"/>
                <a:gd name="connsiteY41" fmla="*/ 1498012 h 1582509"/>
                <a:gd name="connsiteX42" fmla="*/ 763769 w 1923160"/>
                <a:gd name="connsiteY42" fmla="*/ 1475589 h 1582509"/>
                <a:gd name="connsiteX43" fmla="*/ 767696 w 1923160"/>
                <a:gd name="connsiteY43" fmla="*/ 1437964 h 1582509"/>
                <a:gd name="connsiteX44" fmla="*/ 741219 w 1923160"/>
                <a:gd name="connsiteY44" fmla="*/ 1385898 h 1582509"/>
                <a:gd name="connsiteX45" fmla="*/ 720063 w 1923160"/>
                <a:gd name="connsiteY45" fmla="*/ 1282272 h 1582509"/>
                <a:gd name="connsiteX46" fmla="*/ 601235 w 1923160"/>
                <a:gd name="connsiteY46" fmla="*/ 1231472 h 1582509"/>
                <a:gd name="connsiteX47" fmla="*/ 554363 w 1923160"/>
                <a:gd name="connsiteY47" fmla="*/ 1226151 h 1582509"/>
                <a:gd name="connsiteX48" fmla="*/ 326714 w 1923160"/>
                <a:gd name="connsiteY48" fmla="*/ 1231472 h 1582509"/>
                <a:gd name="connsiteX49" fmla="*/ 213207 w 1923160"/>
                <a:gd name="connsiteY49" fmla="*/ 1261116 h 1582509"/>
                <a:gd name="connsiteX50" fmla="*/ 161393 w 1923160"/>
                <a:gd name="connsiteY50" fmla="*/ 1238566 h 1582509"/>
                <a:gd name="connsiteX51" fmla="*/ 158353 w 1923160"/>
                <a:gd name="connsiteY51" fmla="*/ 1231219 h 1582509"/>
                <a:gd name="connsiteX52" fmla="*/ 148472 w 1923160"/>
                <a:gd name="connsiteY52" fmla="*/ 1149128 h 1582509"/>
                <a:gd name="connsiteX53" fmla="*/ 142011 w 1923160"/>
                <a:gd name="connsiteY53" fmla="*/ 1048669 h 1582509"/>
                <a:gd name="connsiteX54" fmla="*/ 90071 w 1923160"/>
                <a:gd name="connsiteY54" fmla="*/ 995209 h 1582509"/>
                <a:gd name="connsiteX55" fmla="*/ 124149 w 1923160"/>
                <a:gd name="connsiteY55" fmla="*/ 894243 h 1582509"/>
                <a:gd name="connsiteX56" fmla="*/ 111861 w 1923160"/>
                <a:gd name="connsiteY56" fmla="*/ 842303 h 1582509"/>
                <a:gd name="connsiteX57" fmla="*/ 118321 w 1923160"/>
                <a:gd name="connsiteY57" fmla="*/ 807592 h 1582509"/>
                <a:gd name="connsiteX58" fmla="*/ 111861 w 1923160"/>
                <a:gd name="connsiteY58" fmla="*/ 775922 h 1582509"/>
                <a:gd name="connsiteX59" fmla="*/ 154933 w 1923160"/>
                <a:gd name="connsiteY59" fmla="*/ 726389 h 1582509"/>
                <a:gd name="connsiteX60" fmla="*/ 143531 w 1923160"/>
                <a:gd name="connsiteY60" fmla="*/ 662541 h 1582509"/>
                <a:gd name="connsiteX61" fmla="*/ 125669 w 1923160"/>
                <a:gd name="connsiteY61" fmla="*/ 608067 h 1582509"/>
                <a:gd name="connsiteX62" fmla="*/ 83104 w 1923160"/>
                <a:gd name="connsiteY62" fmla="*/ 556634 h 1582509"/>
                <a:gd name="connsiteX63" fmla="*/ 34078 w 1923160"/>
                <a:gd name="connsiteY63" fmla="*/ 514069 h 1582509"/>
                <a:gd name="connsiteX64" fmla="*/ 0 w 1923160"/>
                <a:gd name="connsiteY64" fmla="*/ 443760 h 1582509"/>
                <a:gd name="connsiteX65" fmla="*/ 35345 w 1923160"/>
                <a:gd name="connsiteY65" fmla="*/ 423998 h 1582509"/>
                <a:gd name="connsiteX66" fmla="*/ 64355 w 1923160"/>
                <a:gd name="connsiteY66" fmla="*/ 374972 h 1582509"/>
                <a:gd name="connsiteX67" fmla="*/ 69295 w 1923160"/>
                <a:gd name="connsiteY67" fmla="*/ 338614 h 1582509"/>
                <a:gd name="connsiteX68" fmla="*/ 90832 w 1923160"/>
                <a:gd name="connsiteY68" fmla="*/ 309730 h 1582509"/>
                <a:gd name="connsiteX69" fmla="*/ 120728 w 1923160"/>
                <a:gd name="connsiteY69" fmla="*/ 262984 h 1582509"/>
                <a:gd name="connsiteX70" fmla="*/ 165067 w 1923160"/>
                <a:gd name="connsiteY70" fmla="*/ 228907 h 1582509"/>
                <a:gd name="connsiteX71" fmla="*/ 233096 w 1923160"/>
                <a:gd name="connsiteY71" fmla="*/ 138075 h 1582509"/>
                <a:gd name="connsiteX72" fmla="*/ 246018 w 1923160"/>
                <a:gd name="connsiteY72" fmla="*/ 81195 h 1582509"/>
                <a:gd name="connsiteX73" fmla="*/ 289343 w 1923160"/>
                <a:gd name="connsiteY73" fmla="*/ 61179 h 1582509"/>
                <a:gd name="connsiteX74" fmla="*/ 302898 w 1923160"/>
                <a:gd name="connsiteY74" fmla="*/ 29508 h 1582509"/>
                <a:gd name="connsiteX75" fmla="*/ 350657 w 1923160"/>
                <a:gd name="connsiteY75" fmla="*/ 25581 h 1582509"/>
                <a:gd name="connsiteX76" fmla="*/ 367506 w 1923160"/>
                <a:gd name="connsiteY76" fmla="*/ 80055 h 1582509"/>
                <a:gd name="connsiteX77" fmla="*/ 417672 w 1923160"/>
                <a:gd name="connsiteY77" fmla="*/ 57885 h 1582509"/>
                <a:gd name="connsiteX78" fmla="*/ 501030 w 1923160"/>
                <a:gd name="connsiteY78" fmla="*/ 245 h 1582509"/>
                <a:gd name="connsiteX79" fmla="*/ 532573 w 1923160"/>
                <a:gd name="connsiteY79" fmla="*/ 1892 h 1582509"/>
                <a:gd name="connsiteX80" fmla="*/ 542455 w 1923160"/>
                <a:gd name="connsiteY80" fmla="*/ 95510 h 1582509"/>
                <a:gd name="connsiteX81" fmla="*/ 504197 w 1923160"/>
                <a:gd name="connsiteY81" fmla="*/ 157838 h 1582509"/>
                <a:gd name="connsiteX82" fmla="*/ 464925 w 1923160"/>
                <a:gd name="connsiteY82" fmla="*/ 194702 h 1582509"/>
                <a:gd name="connsiteX83" fmla="*/ 489628 w 1923160"/>
                <a:gd name="connsiteY83" fmla="*/ 222066 h 1582509"/>
                <a:gd name="connsiteX84" fmla="*/ 512811 w 1923160"/>
                <a:gd name="connsiteY84" fmla="*/ 259944 h 1582509"/>
                <a:gd name="connsiteX85" fmla="*/ 547522 w 1923160"/>
                <a:gd name="connsiteY85" fmla="*/ 281480 h 1582509"/>
                <a:gd name="connsiteX86" fmla="*/ 632019 w 1923160"/>
                <a:gd name="connsiteY86" fmla="*/ 281480 h 1582509"/>
                <a:gd name="connsiteX87" fmla="*/ 728298 w 1923160"/>
                <a:gd name="connsiteY87" fmla="*/ 362303 h 1582509"/>
                <a:gd name="connsiteX88" fmla="*/ 690673 w 1923160"/>
                <a:gd name="connsiteY88" fmla="*/ 386753 h 1582509"/>
                <a:gd name="connsiteX89" fmla="*/ 728298 w 1923160"/>
                <a:gd name="connsiteY89" fmla="*/ 429065 h 1582509"/>
                <a:gd name="connsiteX90" fmla="*/ 741473 w 1923160"/>
                <a:gd name="connsiteY90" fmla="*/ 449841 h 1582509"/>
                <a:gd name="connsiteX91" fmla="*/ 773523 w 1923160"/>
                <a:gd name="connsiteY91" fmla="*/ 478598 h 1582509"/>
                <a:gd name="connsiteX92" fmla="*/ 801520 w 1923160"/>
                <a:gd name="connsiteY92" fmla="*/ 448574 h 1582509"/>
                <a:gd name="connsiteX93" fmla="*/ 832811 w 1923160"/>
                <a:gd name="connsiteY93" fmla="*/ 456808 h 1582509"/>
                <a:gd name="connsiteX94" fmla="*/ 861821 w 1923160"/>
                <a:gd name="connsiteY94" fmla="*/ 413230 h 1582509"/>
                <a:gd name="connsiteX95" fmla="*/ 883610 w 1923160"/>
                <a:gd name="connsiteY95" fmla="*/ 465676 h 1582509"/>
                <a:gd name="connsiteX96" fmla="*/ 932510 w 1923160"/>
                <a:gd name="connsiteY96" fmla="*/ 521163 h 1582509"/>
                <a:gd name="connsiteX97" fmla="*/ 919968 w 1923160"/>
                <a:gd name="connsiteY97" fmla="*/ 609587 h 1582509"/>
                <a:gd name="connsiteX98" fmla="*/ 962280 w 1923160"/>
                <a:gd name="connsiteY98" fmla="*/ 676223 h 1582509"/>
                <a:gd name="connsiteX99" fmla="*/ 969248 w 1923160"/>
                <a:gd name="connsiteY99" fmla="*/ 727656 h 1582509"/>
                <a:gd name="connsiteX100" fmla="*/ 1036896 w 1923160"/>
                <a:gd name="connsiteY100" fmla="*/ 739564 h 1582509"/>
                <a:gd name="connsiteX101" fmla="*/ 1098591 w 1923160"/>
                <a:gd name="connsiteY101" fmla="*/ 787450 h 1582509"/>
                <a:gd name="connsiteX102" fmla="*/ 1166619 w 1923160"/>
                <a:gd name="connsiteY102" fmla="*/ 834956 h 1582509"/>
                <a:gd name="connsiteX103" fmla="*/ 1221093 w 1923160"/>
                <a:gd name="connsiteY103" fmla="*/ 834956 h 1582509"/>
                <a:gd name="connsiteX104" fmla="*/ 1259984 w 1923160"/>
                <a:gd name="connsiteY104" fmla="*/ 910205 h 1582509"/>
                <a:gd name="connsiteX105" fmla="*/ 1312178 w 1923160"/>
                <a:gd name="connsiteY105" fmla="*/ 918819 h 1582509"/>
                <a:gd name="connsiteX106" fmla="*/ 1351449 w 1923160"/>
                <a:gd name="connsiteY106" fmla="*/ 997363 h 1582509"/>
                <a:gd name="connsiteX107" fmla="*/ 1403896 w 1923160"/>
                <a:gd name="connsiteY107" fmla="*/ 1021432 h 1582509"/>
                <a:gd name="connsiteX108" fmla="*/ 1481425 w 1923160"/>
                <a:gd name="connsiteY108" fmla="*/ 1050823 h 1582509"/>
                <a:gd name="connsiteX109" fmla="*/ 1585305 w 1923160"/>
                <a:gd name="connsiteY109" fmla="*/ 1009904 h 1582509"/>
                <a:gd name="connsiteX110" fmla="*/ 1634458 w 1923160"/>
                <a:gd name="connsiteY110" fmla="*/ 1005344 h 1582509"/>
                <a:gd name="connsiteX111" fmla="*/ 1665495 w 1923160"/>
                <a:gd name="connsiteY111" fmla="*/ 1067671 h 1582509"/>
                <a:gd name="connsiteX112" fmla="*/ 1705147 w 1923160"/>
                <a:gd name="connsiteY112" fmla="*/ 1078566 h 1582509"/>
                <a:gd name="connsiteX113" fmla="*/ 1754680 w 1923160"/>
                <a:gd name="connsiteY113" fmla="*/ 1158756 h 1582509"/>
                <a:gd name="connsiteX114" fmla="*/ 1813080 w 1923160"/>
                <a:gd name="connsiteY114" fmla="*/ 1144188 h 1582509"/>
                <a:gd name="connsiteX115" fmla="*/ 1843104 w 1923160"/>
                <a:gd name="connsiteY115" fmla="*/ 1204869 h 1582509"/>
                <a:gd name="connsiteX116" fmla="*/ 1852985 w 1923160"/>
                <a:gd name="connsiteY116" fmla="*/ 1238440 h 1582509"/>
                <a:gd name="connsiteX117" fmla="*/ 1852858 w 1923160"/>
                <a:gd name="connsiteY117" fmla="*/ 1238693 h 1582509"/>
                <a:gd name="connsiteX118" fmla="*/ 1841457 w 1923160"/>
                <a:gd name="connsiteY118" fmla="*/ 1289999 h 1582509"/>
                <a:gd name="connsiteX119" fmla="*/ 1900111 w 1923160"/>
                <a:gd name="connsiteY119" fmla="*/ 1337505 h 1582509"/>
                <a:gd name="connsiteX120" fmla="*/ 1917973 w 1923160"/>
                <a:gd name="connsiteY120" fmla="*/ 1404267 h 158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23160" h="1582509">
                  <a:moveTo>
                    <a:pt x="1917973" y="1404267"/>
                  </a:moveTo>
                  <a:cubicBezTo>
                    <a:pt x="1911386" y="1429350"/>
                    <a:pt x="1894157" y="1423396"/>
                    <a:pt x="1865780" y="1418835"/>
                  </a:cubicBezTo>
                  <a:cubicBezTo>
                    <a:pt x="1837403" y="1414148"/>
                    <a:pt x="1801172" y="1437331"/>
                    <a:pt x="1784576" y="1438598"/>
                  </a:cubicBezTo>
                  <a:cubicBezTo>
                    <a:pt x="1781536" y="1438851"/>
                    <a:pt x="1780396" y="1441258"/>
                    <a:pt x="1780523" y="1445185"/>
                  </a:cubicBezTo>
                  <a:cubicBezTo>
                    <a:pt x="1756073" y="1452406"/>
                    <a:pt x="1736057" y="1423142"/>
                    <a:pt x="1713635" y="1413895"/>
                  </a:cubicBezTo>
                  <a:cubicBezTo>
                    <a:pt x="1691211" y="1404647"/>
                    <a:pt x="1636105" y="1435684"/>
                    <a:pt x="1618242" y="1451520"/>
                  </a:cubicBezTo>
                  <a:cubicBezTo>
                    <a:pt x="1600380" y="1467355"/>
                    <a:pt x="1593159" y="1442525"/>
                    <a:pt x="1590499" y="1432390"/>
                  </a:cubicBezTo>
                  <a:cubicBezTo>
                    <a:pt x="1587839" y="1422129"/>
                    <a:pt x="1553254" y="1425803"/>
                    <a:pt x="1535772" y="1427450"/>
                  </a:cubicBezTo>
                  <a:cubicBezTo>
                    <a:pt x="1518290" y="1429097"/>
                    <a:pt x="1511323" y="1400720"/>
                    <a:pt x="1511069" y="1390459"/>
                  </a:cubicBezTo>
                  <a:cubicBezTo>
                    <a:pt x="1510816" y="1380197"/>
                    <a:pt x="1471797" y="1382604"/>
                    <a:pt x="1439493" y="1383491"/>
                  </a:cubicBezTo>
                  <a:cubicBezTo>
                    <a:pt x="1407190" y="1384504"/>
                    <a:pt x="1380459" y="1359421"/>
                    <a:pt x="1373872" y="1345233"/>
                  </a:cubicBezTo>
                  <a:cubicBezTo>
                    <a:pt x="1367284" y="1331044"/>
                    <a:pt x="1331940" y="1337632"/>
                    <a:pt x="1315091" y="1333325"/>
                  </a:cubicBezTo>
                  <a:cubicBezTo>
                    <a:pt x="1298242" y="1329017"/>
                    <a:pt x="1269232" y="1296334"/>
                    <a:pt x="1257071" y="1283792"/>
                  </a:cubicBezTo>
                  <a:cubicBezTo>
                    <a:pt x="1244909" y="1271250"/>
                    <a:pt x="1226033" y="1286452"/>
                    <a:pt x="1210578" y="1304948"/>
                  </a:cubicBezTo>
                  <a:cubicBezTo>
                    <a:pt x="1195123" y="1323443"/>
                    <a:pt x="1187522" y="1320149"/>
                    <a:pt x="1170926" y="1328384"/>
                  </a:cubicBezTo>
                  <a:cubicBezTo>
                    <a:pt x="1154458" y="1336618"/>
                    <a:pt x="1157752" y="1359041"/>
                    <a:pt x="1157372" y="1372216"/>
                  </a:cubicBezTo>
                  <a:cubicBezTo>
                    <a:pt x="1156992" y="1385391"/>
                    <a:pt x="1135202" y="1394006"/>
                    <a:pt x="1125701" y="1401607"/>
                  </a:cubicBezTo>
                  <a:cubicBezTo>
                    <a:pt x="1116073" y="1409207"/>
                    <a:pt x="1106192" y="1437838"/>
                    <a:pt x="1094284" y="1459120"/>
                  </a:cubicBezTo>
                  <a:cubicBezTo>
                    <a:pt x="1082375" y="1480403"/>
                    <a:pt x="1045638" y="1468748"/>
                    <a:pt x="1021821" y="1470015"/>
                  </a:cubicBezTo>
                  <a:cubicBezTo>
                    <a:pt x="998005" y="1471282"/>
                    <a:pt x="995598" y="1499912"/>
                    <a:pt x="992938" y="1524108"/>
                  </a:cubicBezTo>
                  <a:cubicBezTo>
                    <a:pt x="990277" y="1548305"/>
                    <a:pt x="959747" y="1561987"/>
                    <a:pt x="949359" y="1565027"/>
                  </a:cubicBezTo>
                  <a:cubicBezTo>
                    <a:pt x="939224" y="1567941"/>
                    <a:pt x="920982" y="1581622"/>
                    <a:pt x="919842" y="1582509"/>
                  </a:cubicBezTo>
                  <a:cubicBezTo>
                    <a:pt x="920475" y="1581622"/>
                    <a:pt x="920982" y="1580735"/>
                    <a:pt x="921362" y="1579849"/>
                  </a:cubicBezTo>
                  <a:cubicBezTo>
                    <a:pt x="921995" y="1578202"/>
                    <a:pt x="921995" y="1576555"/>
                    <a:pt x="921488" y="1575035"/>
                  </a:cubicBezTo>
                  <a:cubicBezTo>
                    <a:pt x="921362" y="1574781"/>
                    <a:pt x="921235" y="1574528"/>
                    <a:pt x="921235" y="1574148"/>
                  </a:cubicBezTo>
                  <a:cubicBezTo>
                    <a:pt x="920982" y="1573641"/>
                    <a:pt x="920728" y="1573008"/>
                    <a:pt x="920222" y="1572501"/>
                  </a:cubicBezTo>
                  <a:cubicBezTo>
                    <a:pt x="919968" y="1572248"/>
                    <a:pt x="919842" y="1571994"/>
                    <a:pt x="919588" y="1571741"/>
                  </a:cubicBezTo>
                  <a:cubicBezTo>
                    <a:pt x="919335" y="1571361"/>
                    <a:pt x="918955" y="1570981"/>
                    <a:pt x="918575" y="1570727"/>
                  </a:cubicBezTo>
                  <a:cubicBezTo>
                    <a:pt x="918195" y="1570347"/>
                    <a:pt x="917815" y="1569967"/>
                    <a:pt x="917435" y="1569714"/>
                  </a:cubicBezTo>
                  <a:cubicBezTo>
                    <a:pt x="917055" y="1569334"/>
                    <a:pt x="916675" y="1568954"/>
                    <a:pt x="916168" y="1568701"/>
                  </a:cubicBezTo>
                  <a:cubicBezTo>
                    <a:pt x="915281" y="1567941"/>
                    <a:pt x="914394" y="1567307"/>
                    <a:pt x="913381" y="1566674"/>
                  </a:cubicBezTo>
                  <a:cubicBezTo>
                    <a:pt x="912368" y="1566040"/>
                    <a:pt x="911354" y="1565407"/>
                    <a:pt x="910214" y="1564774"/>
                  </a:cubicBezTo>
                  <a:lnTo>
                    <a:pt x="910214" y="1564774"/>
                  </a:lnTo>
                  <a:cubicBezTo>
                    <a:pt x="908567" y="1563887"/>
                    <a:pt x="906667" y="1562873"/>
                    <a:pt x="904767" y="1562113"/>
                  </a:cubicBezTo>
                  <a:cubicBezTo>
                    <a:pt x="904767" y="1562113"/>
                    <a:pt x="904767" y="1562113"/>
                    <a:pt x="904767" y="1562113"/>
                  </a:cubicBezTo>
                  <a:cubicBezTo>
                    <a:pt x="903500" y="1561480"/>
                    <a:pt x="902233" y="1560973"/>
                    <a:pt x="900840" y="1560340"/>
                  </a:cubicBezTo>
                  <a:cubicBezTo>
                    <a:pt x="900206" y="1560086"/>
                    <a:pt x="899446" y="1559833"/>
                    <a:pt x="898813" y="1559453"/>
                  </a:cubicBezTo>
                  <a:cubicBezTo>
                    <a:pt x="896786" y="1558566"/>
                    <a:pt x="894759" y="1557806"/>
                    <a:pt x="892732" y="1557046"/>
                  </a:cubicBezTo>
                  <a:cubicBezTo>
                    <a:pt x="888678" y="1555526"/>
                    <a:pt x="884497" y="1554132"/>
                    <a:pt x="880823" y="1552866"/>
                  </a:cubicBezTo>
                  <a:cubicBezTo>
                    <a:pt x="879557" y="1552486"/>
                    <a:pt x="878416" y="1551979"/>
                    <a:pt x="877276" y="1551725"/>
                  </a:cubicBezTo>
                  <a:cubicBezTo>
                    <a:pt x="875629" y="1551219"/>
                    <a:pt x="873982" y="1550585"/>
                    <a:pt x="872589" y="1550079"/>
                  </a:cubicBezTo>
                  <a:cubicBezTo>
                    <a:pt x="855487" y="1544124"/>
                    <a:pt x="842946" y="1514481"/>
                    <a:pt x="833064" y="1498012"/>
                  </a:cubicBezTo>
                  <a:cubicBezTo>
                    <a:pt x="823183" y="1481543"/>
                    <a:pt x="776310" y="1477489"/>
                    <a:pt x="763769" y="1475589"/>
                  </a:cubicBezTo>
                  <a:cubicBezTo>
                    <a:pt x="751228" y="1473562"/>
                    <a:pt x="752621" y="1453800"/>
                    <a:pt x="767696" y="1437964"/>
                  </a:cubicBezTo>
                  <a:cubicBezTo>
                    <a:pt x="782898" y="1422129"/>
                    <a:pt x="754521" y="1407687"/>
                    <a:pt x="741219" y="1385898"/>
                  </a:cubicBezTo>
                  <a:cubicBezTo>
                    <a:pt x="728044" y="1364108"/>
                    <a:pt x="739953" y="1348273"/>
                    <a:pt x="720063" y="1282272"/>
                  </a:cubicBezTo>
                  <a:cubicBezTo>
                    <a:pt x="700301" y="1216270"/>
                    <a:pt x="637593" y="1230078"/>
                    <a:pt x="601235" y="1231472"/>
                  </a:cubicBezTo>
                  <a:cubicBezTo>
                    <a:pt x="564877" y="1232739"/>
                    <a:pt x="576785" y="1242747"/>
                    <a:pt x="554363" y="1226151"/>
                  </a:cubicBezTo>
                  <a:cubicBezTo>
                    <a:pt x="531940" y="1209682"/>
                    <a:pt x="352431" y="1231472"/>
                    <a:pt x="326714" y="1231472"/>
                  </a:cubicBezTo>
                  <a:cubicBezTo>
                    <a:pt x="300998" y="1231472"/>
                    <a:pt x="232969" y="1258582"/>
                    <a:pt x="213207" y="1261116"/>
                  </a:cubicBezTo>
                  <a:cubicBezTo>
                    <a:pt x="197498" y="1263142"/>
                    <a:pt x="171528" y="1245914"/>
                    <a:pt x="161393" y="1238566"/>
                  </a:cubicBezTo>
                  <a:cubicBezTo>
                    <a:pt x="161013" y="1236413"/>
                    <a:pt x="160000" y="1234006"/>
                    <a:pt x="158353" y="1231219"/>
                  </a:cubicBezTo>
                  <a:cubicBezTo>
                    <a:pt x="149992" y="1217917"/>
                    <a:pt x="138591" y="1184726"/>
                    <a:pt x="148472" y="1149128"/>
                  </a:cubicBezTo>
                  <a:cubicBezTo>
                    <a:pt x="158353" y="1113530"/>
                    <a:pt x="160887" y="1064504"/>
                    <a:pt x="142011" y="1048669"/>
                  </a:cubicBezTo>
                  <a:cubicBezTo>
                    <a:pt x="123135" y="1032834"/>
                    <a:pt x="78163" y="1022952"/>
                    <a:pt x="90071" y="995209"/>
                  </a:cubicBezTo>
                  <a:cubicBezTo>
                    <a:pt x="101980" y="967465"/>
                    <a:pt x="130610" y="921986"/>
                    <a:pt x="124149" y="894243"/>
                  </a:cubicBezTo>
                  <a:cubicBezTo>
                    <a:pt x="117688" y="866499"/>
                    <a:pt x="107807" y="858645"/>
                    <a:pt x="111861" y="842303"/>
                  </a:cubicBezTo>
                  <a:cubicBezTo>
                    <a:pt x="115788" y="825961"/>
                    <a:pt x="124149" y="821021"/>
                    <a:pt x="118321" y="807592"/>
                  </a:cubicBezTo>
                  <a:cubicBezTo>
                    <a:pt x="112367" y="794291"/>
                    <a:pt x="98052" y="787323"/>
                    <a:pt x="111861" y="775922"/>
                  </a:cubicBezTo>
                  <a:cubicBezTo>
                    <a:pt x="125669" y="764520"/>
                    <a:pt x="158353" y="752105"/>
                    <a:pt x="154933" y="726389"/>
                  </a:cubicBezTo>
                  <a:cubicBezTo>
                    <a:pt x="151512" y="700672"/>
                    <a:pt x="144545" y="686357"/>
                    <a:pt x="143531" y="662541"/>
                  </a:cubicBezTo>
                  <a:cubicBezTo>
                    <a:pt x="142518" y="638725"/>
                    <a:pt x="143025" y="631884"/>
                    <a:pt x="125669" y="608067"/>
                  </a:cubicBezTo>
                  <a:cubicBezTo>
                    <a:pt x="108314" y="584251"/>
                    <a:pt x="90071" y="571963"/>
                    <a:pt x="83104" y="556634"/>
                  </a:cubicBezTo>
                  <a:cubicBezTo>
                    <a:pt x="76263" y="541306"/>
                    <a:pt x="44592" y="530411"/>
                    <a:pt x="34078" y="514069"/>
                  </a:cubicBezTo>
                  <a:cubicBezTo>
                    <a:pt x="25210" y="500134"/>
                    <a:pt x="11021" y="453768"/>
                    <a:pt x="0" y="443760"/>
                  </a:cubicBezTo>
                  <a:cubicBezTo>
                    <a:pt x="5954" y="442493"/>
                    <a:pt x="19762" y="438186"/>
                    <a:pt x="35345" y="423998"/>
                  </a:cubicBezTo>
                  <a:cubicBezTo>
                    <a:pt x="56120" y="404995"/>
                    <a:pt x="63341" y="394861"/>
                    <a:pt x="64355" y="374972"/>
                  </a:cubicBezTo>
                  <a:cubicBezTo>
                    <a:pt x="65368" y="355209"/>
                    <a:pt x="61694" y="346215"/>
                    <a:pt x="69295" y="338614"/>
                  </a:cubicBezTo>
                  <a:cubicBezTo>
                    <a:pt x="77023" y="330886"/>
                    <a:pt x="84624" y="322272"/>
                    <a:pt x="90832" y="309730"/>
                  </a:cubicBezTo>
                  <a:cubicBezTo>
                    <a:pt x="97039" y="297062"/>
                    <a:pt x="113127" y="273752"/>
                    <a:pt x="120728" y="262984"/>
                  </a:cubicBezTo>
                  <a:cubicBezTo>
                    <a:pt x="128456" y="252090"/>
                    <a:pt x="154679" y="240181"/>
                    <a:pt x="165067" y="228907"/>
                  </a:cubicBezTo>
                  <a:cubicBezTo>
                    <a:pt x="175455" y="217505"/>
                    <a:pt x="227142" y="168226"/>
                    <a:pt x="233096" y="138075"/>
                  </a:cubicBezTo>
                  <a:cubicBezTo>
                    <a:pt x="239050" y="107925"/>
                    <a:pt x="230309" y="85882"/>
                    <a:pt x="246018" y="81195"/>
                  </a:cubicBezTo>
                  <a:cubicBezTo>
                    <a:pt x="261599" y="76508"/>
                    <a:pt x="288583" y="75494"/>
                    <a:pt x="289343" y="61179"/>
                  </a:cubicBezTo>
                  <a:cubicBezTo>
                    <a:pt x="290103" y="46864"/>
                    <a:pt x="290990" y="38883"/>
                    <a:pt x="302898" y="29508"/>
                  </a:cubicBezTo>
                  <a:cubicBezTo>
                    <a:pt x="314806" y="20134"/>
                    <a:pt x="353698" y="1385"/>
                    <a:pt x="350657" y="25581"/>
                  </a:cubicBezTo>
                  <a:cubicBezTo>
                    <a:pt x="347744" y="49904"/>
                    <a:pt x="350911" y="86515"/>
                    <a:pt x="367506" y="80055"/>
                  </a:cubicBezTo>
                  <a:cubicBezTo>
                    <a:pt x="384101" y="73594"/>
                    <a:pt x="403611" y="68400"/>
                    <a:pt x="417672" y="57885"/>
                  </a:cubicBezTo>
                  <a:cubicBezTo>
                    <a:pt x="431861" y="47244"/>
                    <a:pt x="484307" y="2145"/>
                    <a:pt x="501030" y="245"/>
                  </a:cubicBezTo>
                  <a:cubicBezTo>
                    <a:pt x="507110" y="-515"/>
                    <a:pt x="519145" y="625"/>
                    <a:pt x="532573" y="1892"/>
                  </a:cubicBezTo>
                  <a:cubicBezTo>
                    <a:pt x="534727" y="16713"/>
                    <a:pt x="543088" y="75114"/>
                    <a:pt x="542455" y="95510"/>
                  </a:cubicBezTo>
                  <a:cubicBezTo>
                    <a:pt x="541821" y="118946"/>
                    <a:pt x="515724" y="141622"/>
                    <a:pt x="504197" y="157838"/>
                  </a:cubicBezTo>
                  <a:cubicBezTo>
                    <a:pt x="492668" y="174053"/>
                    <a:pt x="485447" y="180261"/>
                    <a:pt x="464925" y="194702"/>
                  </a:cubicBezTo>
                  <a:cubicBezTo>
                    <a:pt x="444529" y="209271"/>
                    <a:pt x="476453" y="216492"/>
                    <a:pt x="489628" y="222066"/>
                  </a:cubicBezTo>
                  <a:cubicBezTo>
                    <a:pt x="502803" y="227640"/>
                    <a:pt x="507110" y="240561"/>
                    <a:pt x="512811" y="259944"/>
                  </a:cubicBezTo>
                  <a:cubicBezTo>
                    <a:pt x="518385" y="279453"/>
                    <a:pt x="527633" y="270585"/>
                    <a:pt x="547522" y="281480"/>
                  </a:cubicBezTo>
                  <a:cubicBezTo>
                    <a:pt x="567284" y="292375"/>
                    <a:pt x="593381" y="277173"/>
                    <a:pt x="632019" y="281480"/>
                  </a:cubicBezTo>
                  <a:cubicBezTo>
                    <a:pt x="670657" y="285787"/>
                    <a:pt x="730071" y="346468"/>
                    <a:pt x="728298" y="362303"/>
                  </a:cubicBezTo>
                  <a:cubicBezTo>
                    <a:pt x="726651" y="378139"/>
                    <a:pt x="694347" y="372184"/>
                    <a:pt x="690673" y="386753"/>
                  </a:cubicBezTo>
                  <a:cubicBezTo>
                    <a:pt x="686999" y="401321"/>
                    <a:pt x="718796" y="423998"/>
                    <a:pt x="728298" y="429065"/>
                  </a:cubicBezTo>
                  <a:cubicBezTo>
                    <a:pt x="737926" y="434006"/>
                    <a:pt x="738179" y="439580"/>
                    <a:pt x="741473" y="449841"/>
                  </a:cubicBezTo>
                  <a:cubicBezTo>
                    <a:pt x="744767" y="460102"/>
                    <a:pt x="761615" y="469983"/>
                    <a:pt x="773523" y="478598"/>
                  </a:cubicBezTo>
                  <a:cubicBezTo>
                    <a:pt x="785432" y="487212"/>
                    <a:pt x="795946" y="455541"/>
                    <a:pt x="801520" y="448574"/>
                  </a:cubicBezTo>
                  <a:cubicBezTo>
                    <a:pt x="807094" y="441607"/>
                    <a:pt x="819002" y="447181"/>
                    <a:pt x="832811" y="456808"/>
                  </a:cubicBezTo>
                  <a:cubicBezTo>
                    <a:pt x="846619" y="466310"/>
                    <a:pt x="848646" y="418804"/>
                    <a:pt x="861821" y="413230"/>
                  </a:cubicBezTo>
                  <a:cubicBezTo>
                    <a:pt x="874996" y="407655"/>
                    <a:pt x="884244" y="448827"/>
                    <a:pt x="883610" y="465676"/>
                  </a:cubicBezTo>
                  <a:cubicBezTo>
                    <a:pt x="882977" y="482525"/>
                    <a:pt x="923135" y="508875"/>
                    <a:pt x="932510" y="521163"/>
                  </a:cubicBezTo>
                  <a:cubicBezTo>
                    <a:pt x="941758" y="533325"/>
                    <a:pt x="919588" y="587165"/>
                    <a:pt x="919968" y="609587"/>
                  </a:cubicBezTo>
                  <a:cubicBezTo>
                    <a:pt x="920348" y="632010"/>
                    <a:pt x="949359" y="664061"/>
                    <a:pt x="962280" y="676223"/>
                  </a:cubicBezTo>
                  <a:cubicBezTo>
                    <a:pt x="975202" y="688384"/>
                    <a:pt x="963547" y="708273"/>
                    <a:pt x="969248" y="727656"/>
                  </a:cubicBezTo>
                  <a:cubicBezTo>
                    <a:pt x="974822" y="747165"/>
                    <a:pt x="1007886" y="736904"/>
                    <a:pt x="1036896" y="739564"/>
                  </a:cubicBezTo>
                  <a:cubicBezTo>
                    <a:pt x="1065907" y="742224"/>
                    <a:pt x="1083389" y="771868"/>
                    <a:pt x="1098591" y="787450"/>
                  </a:cubicBezTo>
                  <a:cubicBezTo>
                    <a:pt x="1113793" y="802905"/>
                    <a:pt x="1141536" y="815826"/>
                    <a:pt x="1166619" y="834956"/>
                  </a:cubicBezTo>
                  <a:cubicBezTo>
                    <a:pt x="1191702" y="854085"/>
                    <a:pt x="1176500" y="827735"/>
                    <a:pt x="1221093" y="834956"/>
                  </a:cubicBezTo>
                  <a:cubicBezTo>
                    <a:pt x="1265685" y="842303"/>
                    <a:pt x="1260745" y="894623"/>
                    <a:pt x="1259984" y="910205"/>
                  </a:cubicBezTo>
                  <a:cubicBezTo>
                    <a:pt x="1259351" y="925660"/>
                    <a:pt x="1279113" y="920720"/>
                    <a:pt x="1312178" y="918819"/>
                  </a:cubicBezTo>
                  <a:cubicBezTo>
                    <a:pt x="1345115" y="916792"/>
                    <a:pt x="1345115" y="971266"/>
                    <a:pt x="1351449" y="997363"/>
                  </a:cubicBezTo>
                  <a:cubicBezTo>
                    <a:pt x="1357657" y="1023459"/>
                    <a:pt x="1373238" y="1021432"/>
                    <a:pt x="1403896" y="1021432"/>
                  </a:cubicBezTo>
                  <a:cubicBezTo>
                    <a:pt x="1434553" y="1021432"/>
                    <a:pt x="1460650" y="1040561"/>
                    <a:pt x="1481425" y="1050823"/>
                  </a:cubicBezTo>
                  <a:cubicBezTo>
                    <a:pt x="1502201" y="1061084"/>
                    <a:pt x="1575170" y="1016872"/>
                    <a:pt x="1585305" y="1009904"/>
                  </a:cubicBezTo>
                  <a:cubicBezTo>
                    <a:pt x="1595566" y="1002937"/>
                    <a:pt x="1622550" y="1003570"/>
                    <a:pt x="1634458" y="1005344"/>
                  </a:cubicBezTo>
                  <a:cubicBezTo>
                    <a:pt x="1646366" y="1006990"/>
                    <a:pt x="1647379" y="1040688"/>
                    <a:pt x="1665495" y="1067671"/>
                  </a:cubicBezTo>
                  <a:cubicBezTo>
                    <a:pt x="1683610" y="1094655"/>
                    <a:pt x="1686017" y="1076539"/>
                    <a:pt x="1705147" y="1078566"/>
                  </a:cubicBezTo>
                  <a:cubicBezTo>
                    <a:pt x="1724276" y="1080466"/>
                    <a:pt x="1753286" y="1142288"/>
                    <a:pt x="1754680" y="1158756"/>
                  </a:cubicBezTo>
                  <a:cubicBezTo>
                    <a:pt x="1755946" y="1175225"/>
                    <a:pt x="1791291" y="1148115"/>
                    <a:pt x="1813080" y="1144188"/>
                  </a:cubicBezTo>
                  <a:cubicBezTo>
                    <a:pt x="1834869" y="1140261"/>
                    <a:pt x="1842470" y="1183839"/>
                    <a:pt x="1843104" y="1204869"/>
                  </a:cubicBezTo>
                  <a:cubicBezTo>
                    <a:pt x="1843611" y="1220957"/>
                    <a:pt x="1849945" y="1233372"/>
                    <a:pt x="1852985" y="1238440"/>
                  </a:cubicBezTo>
                  <a:cubicBezTo>
                    <a:pt x="1852985" y="1238566"/>
                    <a:pt x="1852985" y="1238566"/>
                    <a:pt x="1852858" y="1238693"/>
                  </a:cubicBezTo>
                  <a:cubicBezTo>
                    <a:pt x="1846398" y="1257188"/>
                    <a:pt x="1842597" y="1279738"/>
                    <a:pt x="1841457" y="1289999"/>
                  </a:cubicBezTo>
                  <a:cubicBezTo>
                    <a:pt x="1839430" y="1307228"/>
                    <a:pt x="1870467" y="1329017"/>
                    <a:pt x="1900111" y="1337505"/>
                  </a:cubicBezTo>
                  <a:cubicBezTo>
                    <a:pt x="1929881" y="1345613"/>
                    <a:pt x="1924687" y="1379184"/>
                    <a:pt x="1917973" y="140426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3" name="Полилиния: фигура 712">
              <a:extLst>
                <a:ext uri="{FF2B5EF4-FFF2-40B4-BE49-F238E27FC236}">
                  <a16:creationId xmlns:a16="http://schemas.microsoft.com/office/drawing/2014/main" id="{B619FB60-F02C-421D-A638-E96030B76049}"/>
                </a:ext>
              </a:extLst>
            </p:cNvPr>
            <p:cNvSpPr/>
            <p:nvPr/>
          </p:nvSpPr>
          <p:spPr>
            <a:xfrm>
              <a:off x="6314203" y="5886477"/>
              <a:ext cx="457299" cy="682672"/>
            </a:xfrm>
            <a:custGeom>
              <a:avLst/>
              <a:gdLst>
                <a:gd name="connsiteX0" fmla="*/ 408920 w 457299"/>
                <a:gd name="connsiteY0" fmla="*/ 428187 h 682672"/>
                <a:gd name="connsiteX1" fmla="*/ 388524 w 457299"/>
                <a:gd name="connsiteY1" fmla="*/ 469485 h 682672"/>
                <a:gd name="connsiteX2" fmla="*/ 331771 w 457299"/>
                <a:gd name="connsiteY2" fmla="*/ 508124 h 682672"/>
                <a:gd name="connsiteX3" fmla="*/ 275651 w 457299"/>
                <a:gd name="connsiteY3" fmla="*/ 573238 h 682672"/>
                <a:gd name="connsiteX4" fmla="*/ 275651 w 457299"/>
                <a:gd name="connsiteY4" fmla="*/ 573238 h 682672"/>
                <a:gd name="connsiteX5" fmla="*/ 274004 w 457299"/>
                <a:gd name="connsiteY5" fmla="*/ 571972 h 682672"/>
                <a:gd name="connsiteX6" fmla="*/ 272230 w 457299"/>
                <a:gd name="connsiteY6" fmla="*/ 570705 h 682672"/>
                <a:gd name="connsiteX7" fmla="*/ 270457 w 457299"/>
                <a:gd name="connsiteY7" fmla="*/ 569565 h 682672"/>
                <a:gd name="connsiteX8" fmla="*/ 267036 w 457299"/>
                <a:gd name="connsiteY8" fmla="*/ 567664 h 682672"/>
                <a:gd name="connsiteX9" fmla="*/ 265643 w 457299"/>
                <a:gd name="connsiteY9" fmla="*/ 566904 h 682672"/>
                <a:gd name="connsiteX10" fmla="*/ 255508 w 457299"/>
                <a:gd name="connsiteY10" fmla="*/ 563104 h 682672"/>
                <a:gd name="connsiteX11" fmla="*/ 254114 w 457299"/>
                <a:gd name="connsiteY11" fmla="*/ 562851 h 682672"/>
                <a:gd name="connsiteX12" fmla="*/ 250820 w 457299"/>
                <a:gd name="connsiteY12" fmla="*/ 562217 h 682672"/>
                <a:gd name="connsiteX13" fmla="*/ 249174 w 457299"/>
                <a:gd name="connsiteY13" fmla="*/ 561964 h 682672"/>
                <a:gd name="connsiteX14" fmla="*/ 247907 w 457299"/>
                <a:gd name="connsiteY14" fmla="*/ 561837 h 682672"/>
                <a:gd name="connsiteX15" fmla="*/ 223964 w 457299"/>
                <a:gd name="connsiteY15" fmla="*/ 570325 h 682672"/>
                <a:gd name="connsiteX16" fmla="*/ 207115 w 457299"/>
                <a:gd name="connsiteY16" fmla="*/ 604783 h 682672"/>
                <a:gd name="connsiteX17" fmla="*/ 198881 w 457299"/>
                <a:gd name="connsiteY17" fmla="*/ 625812 h 682672"/>
                <a:gd name="connsiteX18" fmla="*/ 178105 w 457299"/>
                <a:gd name="connsiteY18" fmla="*/ 645828 h 682672"/>
                <a:gd name="connsiteX19" fmla="*/ 138706 w 457299"/>
                <a:gd name="connsiteY19" fmla="*/ 639620 h 682672"/>
                <a:gd name="connsiteX20" fmla="*/ 93861 w 457299"/>
                <a:gd name="connsiteY20" fmla="*/ 633032 h 682672"/>
                <a:gd name="connsiteX21" fmla="*/ 87653 w 457299"/>
                <a:gd name="connsiteY21" fmla="*/ 637973 h 682672"/>
                <a:gd name="connsiteX22" fmla="*/ 85627 w 457299"/>
                <a:gd name="connsiteY22" fmla="*/ 640760 h 682672"/>
                <a:gd name="connsiteX23" fmla="*/ 85120 w 457299"/>
                <a:gd name="connsiteY23" fmla="*/ 641647 h 682672"/>
                <a:gd name="connsiteX24" fmla="*/ 83980 w 457299"/>
                <a:gd name="connsiteY24" fmla="*/ 643927 h 682672"/>
                <a:gd name="connsiteX25" fmla="*/ 40274 w 457299"/>
                <a:gd name="connsiteY25" fmla="*/ 681679 h 682672"/>
                <a:gd name="connsiteX26" fmla="*/ 12531 w 457299"/>
                <a:gd name="connsiteY26" fmla="*/ 632906 h 682672"/>
                <a:gd name="connsiteX27" fmla="*/ 496 w 457299"/>
                <a:gd name="connsiteY27" fmla="*/ 580079 h 682672"/>
                <a:gd name="connsiteX28" fmla="*/ 34700 w 457299"/>
                <a:gd name="connsiteY28" fmla="*/ 548662 h 682672"/>
                <a:gd name="connsiteX29" fmla="*/ 42174 w 457299"/>
                <a:gd name="connsiteY29" fmla="*/ 543975 h 682672"/>
                <a:gd name="connsiteX30" fmla="*/ 42174 w 457299"/>
                <a:gd name="connsiteY30" fmla="*/ 543975 h 682672"/>
                <a:gd name="connsiteX31" fmla="*/ 146434 w 457299"/>
                <a:gd name="connsiteY31" fmla="*/ 470499 h 682672"/>
                <a:gd name="connsiteX32" fmla="*/ 129966 w 457299"/>
                <a:gd name="connsiteY32" fmla="*/ 416406 h 682672"/>
                <a:gd name="connsiteX33" fmla="*/ 142887 w 457299"/>
                <a:gd name="connsiteY33" fmla="*/ 366239 h 682672"/>
                <a:gd name="connsiteX34" fmla="*/ 124138 w 457299"/>
                <a:gd name="connsiteY34" fmla="*/ 300238 h 682672"/>
                <a:gd name="connsiteX35" fmla="*/ 167337 w 457299"/>
                <a:gd name="connsiteY35" fmla="*/ 277435 h 682672"/>
                <a:gd name="connsiteX36" fmla="*/ 176585 w 457299"/>
                <a:gd name="connsiteY36" fmla="*/ 252985 h 682672"/>
                <a:gd name="connsiteX37" fmla="*/ 199641 w 457299"/>
                <a:gd name="connsiteY37" fmla="*/ 208773 h 682672"/>
                <a:gd name="connsiteX38" fmla="*/ 156822 w 457299"/>
                <a:gd name="connsiteY38" fmla="*/ 203832 h 682672"/>
                <a:gd name="connsiteX39" fmla="*/ 144534 w 457299"/>
                <a:gd name="connsiteY39" fmla="*/ 158607 h 682672"/>
                <a:gd name="connsiteX40" fmla="*/ 165943 w 457299"/>
                <a:gd name="connsiteY40" fmla="*/ 122629 h 682672"/>
                <a:gd name="connsiteX41" fmla="*/ 163283 w 457299"/>
                <a:gd name="connsiteY41" fmla="*/ 58654 h 682672"/>
                <a:gd name="connsiteX42" fmla="*/ 182539 w 457299"/>
                <a:gd name="connsiteY42" fmla="*/ 0 h 682672"/>
                <a:gd name="connsiteX43" fmla="*/ 251074 w 457299"/>
                <a:gd name="connsiteY43" fmla="*/ 82724 h 682672"/>
                <a:gd name="connsiteX44" fmla="*/ 310488 w 457299"/>
                <a:gd name="connsiteY44" fmla="*/ 38892 h 682672"/>
                <a:gd name="connsiteX45" fmla="*/ 381430 w 457299"/>
                <a:gd name="connsiteY45" fmla="*/ 88425 h 682672"/>
                <a:gd name="connsiteX46" fmla="*/ 417028 w 457299"/>
                <a:gd name="connsiteY46" fmla="*/ 149486 h 682672"/>
                <a:gd name="connsiteX47" fmla="*/ 439831 w 457299"/>
                <a:gd name="connsiteY47" fmla="*/ 220681 h 682672"/>
                <a:gd name="connsiteX48" fmla="*/ 429570 w 457299"/>
                <a:gd name="connsiteY48" fmla="*/ 311386 h 682672"/>
                <a:gd name="connsiteX49" fmla="*/ 452752 w 457299"/>
                <a:gd name="connsiteY49" fmla="*/ 381314 h 682672"/>
                <a:gd name="connsiteX50" fmla="*/ 408920 w 457299"/>
                <a:gd name="connsiteY50" fmla="*/ 428187 h 68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7299" h="682672">
                  <a:moveTo>
                    <a:pt x="408920" y="428187"/>
                  </a:moveTo>
                  <a:cubicBezTo>
                    <a:pt x="384471" y="436421"/>
                    <a:pt x="391438" y="447316"/>
                    <a:pt x="388524" y="469485"/>
                  </a:cubicBezTo>
                  <a:cubicBezTo>
                    <a:pt x="385484" y="491655"/>
                    <a:pt x="351533" y="495202"/>
                    <a:pt x="331771" y="508124"/>
                  </a:cubicBezTo>
                  <a:cubicBezTo>
                    <a:pt x="312008" y="521045"/>
                    <a:pt x="275651" y="573238"/>
                    <a:pt x="275651" y="573238"/>
                  </a:cubicBezTo>
                  <a:lnTo>
                    <a:pt x="275651" y="573238"/>
                  </a:lnTo>
                  <a:cubicBezTo>
                    <a:pt x="275144" y="572858"/>
                    <a:pt x="274510" y="572352"/>
                    <a:pt x="274004" y="571972"/>
                  </a:cubicBezTo>
                  <a:cubicBezTo>
                    <a:pt x="273497" y="571592"/>
                    <a:pt x="272864" y="571212"/>
                    <a:pt x="272230" y="570705"/>
                  </a:cubicBezTo>
                  <a:cubicBezTo>
                    <a:pt x="271597" y="570325"/>
                    <a:pt x="271090" y="569945"/>
                    <a:pt x="270457" y="569565"/>
                  </a:cubicBezTo>
                  <a:cubicBezTo>
                    <a:pt x="269316" y="568805"/>
                    <a:pt x="268176" y="568298"/>
                    <a:pt x="267036" y="567664"/>
                  </a:cubicBezTo>
                  <a:cubicBezTo>
                    <a:pt x="266529" y="567411"/>
                    <a:pt x="266149" y="567158"/>
                    <a:pt x="265643" y="566904"/>
                  </a:cubicBezTo>
                  <a:cubicBezTo>
                    <a:pt x="262349" y="565384"/>
                    <a:pt x="258928" y="564117"/>
                    <a:pt x="255508" y="563104"/>
                  </a:cubicBezTo>
                  <a:cubicBezTo>
                    <a:pt x="255001" y="562977"/>
                    <a:pt x="254621" y="562851"/>
                    <a:pt x="254114" y="562851"/>
                  </a:cubicBezTo>
                  <a:cubicBezTo>
                    <a:pt x="252974" y="562597"/>
                    <a:pt x="251961" y="562344"/>
                    <a:pt x="250820" y="562217"/>
                  </a:cubicBezTo>
                  <a:cubicBezTo>
                    <a:pt x="250314" y="562091"/>
                    <a:pt x="249680" y="561964"/>
                    <a:pt x="249174" y="561964"/>
                  </a:cubicBezTo>
                  <a:cubicBezTo>
                    <a:pt x="248794" y="561837"/>
                    <a:pt x="248287" y="561837"/>
                    <a:pt x="247907" y="561837"/>
                  </a:cubicBezTo>
                  <a:cubicBezTo>
                    <a:pt x="238659" y="560950"/>
                    <a:pt x="229791" y="563231"/>
                    <a:pt x="223964" y="570325"/>
                  </a:cubicBezTo>
                  <a:cubicBezTo>
                    <a:pt x="216490" y="579319"/>
                    <a:pt x="210789" y="593634"/>
                    <a:pt x="207115" y="604783"/>
                  </a:cubicBezTo>
                  <a:cubicBezTo>
                    <a:pt x="204708" y="612003"/>
                    <a:pt x="202174" y="619098"/>
                    <a:pt x="198881" y="625812"/>
                  </a:cubicBezTo>
                  <a:cubicBezTo>
                    <a:pt x="194447" y="634933"/>
                    <a:pt x="187606" y="641774"/>
                    <a:pt x="178105" y="645828"/>
                  </a:cubicBezTo>
                  <a:cubicBezTo>
                    <a:pt x="164930" y="651528"/>
                    <a:pt x="150615" y="645954"/>
                    <a:pt x="138706" y="639620"/>
                  </a:cubicBezTo>
                  <a:cubicBezTo>
                    <a:pt x="123758" y="631639"/>
                    <a:pt x="110330" y="623531"/>
                    <a:pt x="93861" y="633032"/>
                  </a:cubicBezTo>
                  <a:cubicBezTo>
                    <a:pt x="91327" y="634553"/>
                    <a:pt x="89300" y="636200"/>
                    <a:pt x="87653" y="637973"/>
                  </a:cubicBezTo>
                  <a:cubicBezTo>
                    <a:pt x="86893" y="638860"/>
                    <a:pt x="86133" y="639747"/>
                    <a:pt x="85627" y="640760"/>
                  </a:cubicBezTo>
                  <a:cubicBezTo>
                    <a:pt x="85373" y="641014"/>
                    <a:pt x="85247" y="641267"/>
                    <a:pt x="85120" y="641647"/>
                  </a:cubicBezTo>
                  <a:cubicBezTo>
                    <a:pt x="84740" y="642407"/>
                    <a:pt x="84360" y="643167"/>
                    <a:pt x="83980" y="643927"/>
                  </a:cubicBezTo>
                  <a:cubicBezTo>
                    <a:pt x="65738" y="611243"/>
                    <a:pt x="55349" y="674078"/>
                    <a:pt x="40274" y="681679"/>
                  </a:cubicBezTo>
                  <a:cubicBezTo>
                    <a:pt x="25073" y="689280"/>
                    <a:pt x="21145" y="651402"/>
                    <a:pt x="12531" y="632906"/>
                  </a:cubicBezTo>
                  <a:cubicBezTo>
                    <a:pt x="3916" y="614410"/>
                    <a:pt x="4550" y="597562"/>
                    <a:pt x="496" y="580079"/>
                  </a:cubicBezTo>
                  <a:cubicBezTo>
                    <a:pt x="-3685" y="562597"/>
                    <a:pt x="19498" y="556263"/>
                    <a:pt x="34700" y="548662"/>
                  </a:cubicBezTo>
                  <a:cubicBezTo>
                    <a:pt x="37614" y="547142"/>
                    <a:pt x="40147" y="545622"/>
                    <a:pt x="42174" y="543975"/>
                  </a:cubicBezTo>
                  <a:lnTo>
                    <a:pt x="42174" y="543975"/>
                  </a:lnTo>
                  <a:cubicBezTo>
                    <a:pt x="86387" y="549169"/>
                    <a:pt x="134273" y="487601"/>
                    <a:pt x="146434" y="470499"/>
                  </a:cubicBezTo>
                  <a:cubicBezTo>
                    <a:pt x="158722" y="453397"/>
                    <a:pt x="149728" y="430847"/>
                    <a:pt x="129966" y="416406"/>
                  </a:cubicBezTo>
                  <a:cubicBezTo>
                    <a:pt x="110203" y="401837"/>
                    <a:pt x="128952" y="382708"/>
                    <a:pt x="142887" y="366239"/>
                  </a:cubicBezTo>
                  <a:cubicBezTo>
                    <a:pt x="156695" y="349771"/>
                    <a:pt x="127052" y="319113"/>
                    <a:pt x="124138" y="300238"/>
                  </a:cubicBezTo>
                  <a:cubicBezTo>
                    <a:pt x="121225" y="281489"/>
                    <a:pt x="156189" y="278195"/>
                    <a:pt x="167337" y="277435"/>
                  </a:cubicBezTo>
                  <a:cubicBezTo>
                    <a:pt x="178612" y="276801"/>
                    <a:pt x="177852" y="266540"/>
                    <a:pt x="176585" y="252985"/>
                  </a:cubicBezTo>
                  <a:cubicBezTo>
                    <a:pt x="175191" y="239430"/>
                    <a:pt x="173291" y="241457"/>
                    <a:pt x="199641" y="208773"/>
                  </a:cubicBezTo>
                  <a:cubicBezTo>
                    <a:pt x="225991" y="176089"/>
                    <a:pt x="175571" y="198258"/>
                    <a:pt x="156822" y="203832"/>
                  </a:cubicBezTo>
                  <a:cubicBezTo>
                    <a:pt x="138073" y="209406"/>
                    <a:pt x="142634" y="177102"/>
                    <a:pt x="144534" y="158607"/>
                  </a:cubicBezTo>
                  <a:cubicBezTo>
                    <a:pt x="146561" y="140111"/>
                    <a:pt x="149221" y="135804"/>
                    <a:pt x="165943" y="122629"/>
                  </a:cubicBezTo>
                  <a:cubicBezTo>
                    <a:pt x="182792" y="109454"/>
                    <a:pt x="186086" y="93239"/>
                    <a:pt x="163283" y="58654"/>
                  </a:cubicBezTo>
                  <a:cubicBezTo>
                    <a:pt x="148334" y="35978"/>
                    <a:pt x="164550" y="15962"/>
                    <a:pt x="182539" y="0"/>
                  </a:cubicBezTo>
                  <a:cubicBezTo>
                    <a:pt x="186973" y="33698"/>
                    <a:pt x="221050" y="71196"/>
                    <a:pt x="251074" y="82724"/>
                  </a:cubicBezTo>
                  <a:cubicBezTo>
                    <a:pt x="281098" y="94252"/>
                    <a:pt x="300860" y="39525"/>
                    <a:pt x="310488" y="38892"/>
                  </a:cubicBezTo>
                  <a:cubicBezTo>
                    <a:pt x="320116" y="38258"/>
                    <a:pt x="356727" y="79177"/>
                    <a:pt x="381430" y="88425"/>
                  </a:cubicBezTo>
                  <a:cubicBezTo>
                    <a:pt x="406133" y="97672"/>
                    <a:pt x="418042" y="135550"/>
                    <a:pt x="417028" y="149486"/>
                  </a:cubicBezTo>
                  <a:cubicBezTo>
                    <a:pt x="416015" y="163294"/>
                    <a:pt x="425896" y="189390"/>
                    <a:pt x="439831" y="220681"/>
                  </a:cubicBezTo>
                  <a:cubicBezTo>
                    <a:pt x="453639" y="251972"/>
                    <a:pt x="438184" y="294537"/>
                    <a:pt x="429570" y="311386"/>
                  </a:cubicBezTo>
                  <a:cubicBezTo>
                    <a:pt x="421082" y="328234"/>
                    <a:pt x="434890" y="352938"/>
                    <a:pt x="452752" y="381314"/>
                  </a:cubicBezTo>
                  <a:cubicBezTo>
                    <a:pt x="470235" y="409692"/>
                    <a:pt x="433370" y="419953"/>
                    <a:pt x="408920" y="428187"/>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4" name="Полилиния: фигура 713">
              <a:extLst>
                <a:ext uri="{FF2B5EF4-FFF2-40B4-BE49-F238E27FC236}">
                  <a16:creationId xmlns:a16="http://schemas.microsoft.com/office/drawing/2014/main" id="{7CB04B0C-5855-4B26-8C47-FB47198CBD34}"/>
                </a:ext>
              </a:extLst>
            </p:cNvPr>
            <p:cNvSpPr/>
            <p:nvPr/>
          </p:nvSpPr>
          <p:spPr>
            <a:xfrm>
              <a:off x="6288719" y="3573497"/>
              <a:ext cx="1588861" cy="2977120"/>
            </a:xfrm>
            <a:custGeom>
              <a:avLst/>
              <a:gdLst>
                <a:gd name="connsiteX0" fmla="*/ 1581260 w 1588861"/>
                <a:gd name="connsiteY0" fmla="*/ 1744682 h 2977120"/>
                <a:gd name="connsiteX1" fmla="*/ 1578600 w 1588861"/>
                <a:gd name="connsiteY1" fmla="*/ 1800423 h 2977120"/>
                <a:gd name="connsiteX2" fmla="*/ 1550224 w 1588861"/>
                <a:gd name="connsiteY2" fmla="*/ 1833360 h 2977120"/>
                <a:gd name="connsiteX3" fmla="*/ 1501071 w 1588861"/>
                <a:gd name="connsiteY3" fmla="*/ 1852489 h 2977120"/>
                <a:gd name="connsiteX4" fmla="*/ 1495497 w 1588861"/>
                <a:gd name="connsiteY4" fmla="*/ 1900628 h 2977120"/>
                <a:gd name="connsiteX5" fmla="*/ 1462179 w 1588861"/>
                <a:gd name="connsiteY5" fmla="*/ 1904302 h 2977120"/>
                <a:gd name="connsiteX6" fmla="*/ 1436082 w 1588861"/>
                <a:gd name="connsiteY6" fmla="*/ 1931286 h 2977120"/>
                <a:gd name="connsiteX7" fmla="*/ 1449638 w 1588861"/>
                <a:gd name="connsiteY7" fmla="*/ 2026298 h 2977120"/>
                <a:gd name="connsiteX8" fmla="*/ 1428228 w 1588861"/>
                <a:gd name="connsiteY8" fmla="*/ 2037825 h 2977120"/>
                <a:gd name="connsiteX9" fmla="*/ 1377048 w 1588861"/>
                <a:gd name="connsiteY9" fmla="*/ 1955355 h 2977120"/>
                <a:gd name="connsiteX10" fmla="*/ 1324855 w 1588861"/>
                <a:gd name="connsiteY10" fmla="*/ 1931286 h 2977120"/>
                <a:gd name="connsiteX11" fmla="*/ 1305092 w 1588861"/>
                <a:gd name="connsiteY11" fmla="*/ 1971571 h 2977120"/>
                <a:gd name="connsiteX12" fmla="*/ 1266201 w 1588861"/>
                <a:gd name="connsiteY12" fmla="*/ 2002861 h 2977120"/>
                <a:gd name="connsiteX13" fmla="*/ 1229590 w 1588861"/>
                <a:gd name="connsiteY13" fmla="*/ 1982719 h 2977120"/>
                <a:gd name="connsiteX14" fmla="*/ 1167262 w 1588861"/>
                <a:gd name="connsiteY14" fmla="*/ 1977398 h 2977120"/>
                <a:gd name="connsiteX15" fmla="*/ 1143445 w 1588861"/>
                <a:gd name="connsiteY15" fmla="*/ 2022244 h 2977120"/>
                <a:gd name="connsiteX16" fmla="*/ 1096193 w 1588861"/>
                <a:gd name="connsiteY16" fmla="*/ 2094833 h 2977120"/>
                <a:gd name="connsiteX17" fmla="*/ 1107468 w 1588861"/>
                <a:gd name="connsiteY17" fmla="*/ 2111682 h 2977120"/>
                <a:gd name="connsiteX18" fmla="*/ 1112409 w 1588861"/>
                <a:gd name="connsiteY18" fmla="*/ 2133091 h 2977120"/>
                <a:gd name="connsiteX19" fmla="*/ 1131537 w 1588861"/>
                <a:gd name="connsiteY19" fmla="*/ 2157794 h 2977120"/>
                <a:gd name="connsiteX20" fmla="*/ 1142433 w 1588861"/>
                <a:gd name="connsiteY20" fmla="*/ 2201753 h 2977120"/>
                <a:gd name="connsiteX21" fmla="*/ 1130524 w 1588861"/>
                <a:gd name="connsiteY21" fmla="*/ 2232410 h 2977120"/>
                <a:gd name="connsiteX22" fmla="*/ 1100501 w 1588861"/>
                <a:gd name="connsiteY22" fmla="*/ 2264081 h 2977120"/>
                <a:gd name="connsiteX23" fmla="*/ 1056289 w 1588861"/>
                <a:gd name="connsiteY23" fmla="*/ 2325395 h 2977120"/>
                <a:gd name="connsiteX24" fmla="*/ 1045393 w 1588861"/>
                <a:gd name="connsiteY24" fmla="*/ 2382149 h 2977120"/>
                <a:gd name="connsiteX25" fmla="*/ 1019930 w 1588861"/>
                <a:gd name="connsiteY25" fmla="*/ 2410779 h 2977120"/>
                <a:gd name="connsiteX26" fmla="*/ 1008783 w 1588861"/>
                <a:gd name="connsiteY26" fmla="*/ 2503510 h 2977120"/>
                <a:gd name="connsiteX27" fmla="*/ 955955 w 1588861"/>
                <a:gd name="connsiteY27" fmla="*/ 2529861 h 2977120"/>
                <a:gd name="connsiteX28" fmla="*/ 904776 w 1588861"/>
                <a:gd name="connsiteY28" fmla="*/ 2562545 h 2977120"/>
                <a:gd name="connsiteX29" fmla="*/ 936700 w 1588861"/>
                <a:gd name="connsiteY29" fmla="*/ 2623226 h 2977120"/>
                <a:gd name="connsiteX30" fmla="*/ 966724 w 1588861"/>
                <a:gd name="connsiteY30" fmla="*/ 2676306 h 2977120"/>
                <a:gd name="connsiteX31" fmla="*/ 996240 w 1588861"/>
                <a:gd name="connsiteY31" fmla="*/ 2705189 h 2977120"/>
                <a:gd name="connsiteX32" fmla="*/ 992821 w 1588861"/>
                <a:gd name="connsiteY32" fmla="*/ 2714184 h 2977120"/>
                <a:gd name="connsiteX33" fmla="*/ 992313 w 1588861"/>
                <a:gd name="connsiteY33" fmla="*/ 2715324 h 2977120"/>
                <a:gd name="connsiteX34" fmla="*/ 991553 w 1588861"/>
                <a:gd name="connsiteY34" fmla="*/ 2716717 h 2977120"/>
                <a:gd name="connsiteX35" fmla="*/ 990920 w 1588861"/>
                <a:gd name="connsiteY35" fmla="*/ 2717857 h 2977120"/>
                <a:gd name="connsiteX36" fmla="*/ 985979 w 1588861"/>
                <a:gd name="connsiteY36" fmla="*/ 2723685 h 2977120"/>
                <a:gd name="connsiteX37" fmla="*/ 984839 w 1588861"/>
                <a:gd name="connsiteY37" fmla="*/ 2724572 h 2977120"/>
                <a:gd name="connsiteX38" fmla="*/ 983319 w 1588861"/>
                <a:gd name="connsiteY38" fmla="*/ 2725585 h 2977120"/>
                <a:gd name="connsiteX39" fmla="*/ 981799 w 1588861"/>
                <a:gd name="connsiteY39" fmla="*/ 2726472 h 2977120"/>
                <a:gd name="connsiteX40" fmla="*/ 940120 w 1588861"/>
                <a:gd name="connsiteY40" fmla="*/ 2724318 h 2977120"/>
                <a:gd name="connsiteX41" fmla="*/ 895021 w 1588861"/>
                <a:gd name="connsiteY41" fmla="*/ 2718364 h 2977120"/>
                <a:gd name="connsiteX42" fmla="*/ 873865 w 1588861"/>
                <a:gd name="connsiteY42" fmla="*/ 2714310 h 2977120"/>
                <a:gd name="connsiteX43" fmla="*/ 844475 w 1588861"/>
                <a:gd name="connsiteY43" fmla="*/ 2716844 h 2977120"/>
                <a:gd name="connsiteX44" fmla="*/ 818505 w 1588861"/>
                <a:gd name="connsiteY44" fmla="*/ 2709496 h 2977120"/>
                <a:gd name="connsiteX45" fmla="*/ 802163 w 1588861"/>
                <a:gd name="connsiteY45" fmla="*/ 2708736 h 2977120"/>
                <a:gd name="connsiteX46" fmla="*/ 774926 w 1588861"/>
                <a:gd name="connsiteY46" fmla="*/ 2744207 h 2977120"/>
                <a:gd name="connsiteX47" fmla="*/ 781894 w 1588861"/>
                <a:gd name="connsiteY47" fmla="*/ 2774865 h 2977120"/>
                <a:gd name="connsiteX48" fmla="*/ 775813 w 1588861"/>
                <a:gd name="connsiteY48" fmla="*/ 2805268 h 2977120"/>
                <a:gd name="connsiteX49" fmla="*/ 770492 w 1588861"/>
                <a:gd name="connsiteY49" fmla="*/ 2814389 h 2977120"/>
                <a:gd name="connsiteX50" fmla="*/ 756811 w 1588861"/>
                <a:gd name="connsiteY50" fmla="*/ 2819837 h 2977120"/>
                <a:gd name="connsiteX51" fmla="*/ 745030 w 1588861"/>
                <a:gd name="connsiteY51" fmla="*/ 2827565 h 2977120"/>
                <a:gd name="connsiteX52" fmla="*/ 731601 w 1588861"/>
                <a:gd name="connsiteY52" fmla="*/ 2834405 h 2977120"/>
                <a:gd name="connsiteX53" fmla="*/ 706011 w 1588861"/>
                <a:gd name="connsiteY53" fmla="*/ 2844540 h 2977120"/>
                <a:gd name="connsiteX54" fmla="*/ 686755 w 1588861"/>
                <a:gd name="connsiteY54" fmla="*/ 2862275 h 2977120"/>
                <a:gd name="connsiteX55" fmla="*/ 655338 w 1588861"/>
                <a:gd name="connsiteY55" fmla="*/ 2883811 h 2977120"/>
                <a:gd name="connsiteX56" fmla="*/ 624048 w 1588861"/>
                <a:gd name="connsiteY56" fmla="*/ 2903067 h 2977120"/>
                <a:gd name="connsiteX57" fmla="*/ 588070 w 1588861"/>
                <a:gd name="connsiteY57" fmla="*/ 2928784 h 2977120"/>
                <a:gd name="connsiteX58" fmla="*/ 570841 w 1588861"/>
                <a:gd name="connsiteY58" fmla="*/ 2942212 h 2977120"/>
                <a:gd name="connsiteX59" fmla="*/ 547911 w 1588861"/>
                <a:gd name="connsiteY59" fmla="*/ 2952727 h 2977120"/>
                <a:gd name="connsiteX60" fmla="*/ 524855 w 1588861"/>
                <a:gd name="connsiteY60" fmla="*/ 2964508 h 2977120"/>
                <a:gd name="connsiteX61" fmla="*/ 503952 w 1588861"/>
                <a:gd name="connsiteY61" fmla="*/ 2974389 h 2977120"/>
                <a:gd name="connsiteX62" fmla="*/ 470762 w 1588861"/>
                <a:gd name="connsiteY62" fmla="*/ 2975910 h 2977120"/>
                <a:gd name="connsiteX63" fmla="*/ 437951 w 1588861"/>
                <a:gd name="connsiteY63" fmla="*/ 2962988 h 2977120"/>
                <a:gd name="connsiteX64" fmla="*/ 420849 w 1588861"/>
                <a:gd name="connsiteY64" fmla="*/ 2955767 h 2977120"/>
                <a:gd name="connsiteX65" fmla="*/ 399439 w 1588861"/>
                <a:gd name="connsiteY65" fmla="*/ 2932204 h 2977120"/>
                <a:gd name="connsiteX66" fmla="*/ 371823 w 1588861"/>
                <a:gd name="connsiteY66" fmla="*/ 2934231 h 2977120"/>
                <a:gd name="connsiteX67" fmla="*/ 342052 w 1588861"/>
                <a:gd name="connsiteY67" fmla="*/ 2948039 h 2977120"/>
                <a:gd name="connsiteX68" fmla="*/ 312408 w 1588861"/>
                <a:gd name="connsiteY68" fmla="*/ 2899647 h 2977120"/>
                <a:gd name="connsiteX69" fmla="*/ 307721 w 1588861"/>
                <a:gd name="connsiteY69" fmla="*/ 2892172 h 2977120"/>
                <a:gd name="connsiteX70" fmla="*/ 306201 w 1588861"/>
                <a:gd name="connsiteY70" fmla="*/ 2890526 h 2977120"/>
                <a:gd name="connsiteX71" fmla="*/ 304554 w 1588861"/>
                <a:gd name="connsiteY71" fmla="*/ 2888752 h 2977120"/>
                <a:gd name="connsiteX72" fmla="*/ 303287 w 1588861"/>
                <a:gd name="connsiteY72" fmla="*/ 2887612 h 2977120"/>
                <a:gd name="connsiteX73" fmla="*/ 302781 w 1588861"/>
                <a:gd name="connsiteY73" fmla="*/ 2887105 h 2977120"/>
                <a:gd name="connsiteX74" fmla="*/ 300880 w 1588861"/>
                <a:gd name="connsiteY74" fmla="*/ 2885585 h 2977120"/>
                <a:gd name="connsiteX75" fmla="*/ 357001 w 1588861"/>
                <a:gd name="connsiteY75" fmla="*/ 2820470 h 2977120"/>
                <a:gd name="connsiteX76" fmla="*/ 413755 w 1588861"/>
                <a:gd name="connsiteY76" fmla="*/ 2781832 h 2977120"/>
                <a:gd name="connsiteX77" fmla="*/ 434151 w 1588861"/>
                <a:gd name="connsiteY77" fmla="*/ 2740533 h 2977120"/>
                <a:gd name="connsiteX78" fmla="*/ 477729 w 1588861"/>
                <a:gd name="connsiteY78" fmla="*/ 2693661 h 2977120"/>
                <a:gd name="connsiteX79" fmla="*/ 454546 w 1588861"/>
                <a:gd name="connsiteY79" fmla="*/ 2623732 h 2977120"/>
                <a:gd name="connsiteX80" fmla="*/ 464808 w 1588861"/>
                <a:gd name="connsiteY80" fmla="*/ 2533028 h 2977120"/>
                <a:gd name="connsiteX81" fmla="*/ 442005 w 1588861"/>
                <a:gd name="connsiteY81" fmla="*/ 2461832 h 2977120"/>
                <a:gd name="connsiteX82" fmla="*/ 406407 w 1588861"/>
                <a:gd name="connsiteY82" fmla="*/ 2400771 h 2977120"/>
                <a:gd name="connsiteX83" fmla="*/ 335465 w 1588861"/>
                <a:gd name="connsiteY83" fmla="*/ 2351238 h 2977120"/>
                <a:gd name="connsiteX84" fmla="*/ 276051 w 1588861"/>
                <a:gd name="connsiteY84" fmla="*/ 2395070 h 2977120"/>
                <a:gd name="connsiteX85" fmla="*/ 207515 w 1588861"/>
                <a:gd name="connsiteY85" fmla="*/ 2312347 h 2977120"/>
                <a:gd name="connsiteX86" fmla="*/ 233105 w 1588861"/>
                <a:gd name="connsiteY86" fmla="*/ 2290557 h 2977120"/>
                <a:gd name="connsiteX87" fmla="*/ 269717 w 1588861"/>
                <a:gd name="connsiteY87" fmla="*/ 2263827 h 2977120"/>
                <a:gd name="connsiteX88" fmla="*/ 305694 w 1588861"/>
                <a:gd name="connsiteY88" fmla="*/ 2230510 h 2977120"/>
                <a:gd name="connsiteX89" fmla="*/ 290112 w 1588861"/>
                <a:gd name="connsiteY89" fmla="*/ 2195165 h 2977120"/>
                <a:gd name="connsiteX90" fmla="*/ 264396 w 1588861"/>
                <a:gd name="connsiteY90" fmla="*/ 2159568 h 2977120"/>
                <a:gd name="connsiteX91" fmla="*/ 222464 w 1588861"/>
                <a:gd name="connsiteY91" fmla="*/ 2132964 h 2977120"/>
                <a:gd name="connsiteX92" fmla="*/ 231839 w 1588861"/>
                <a:gd name="connsiteY92" fmla="*/ 2085205 h 2977120"/>
                <a:gd name="connsiteX93" fmla="*/ 230572 w 1588861"/>
                <a:gd name="connsiteY93" fmla="*/ 2059235 h 2977120"/>
                <a:gd name="connsiteX94" fmla="*/ 248814 w 1588861"/>
                <a:gd name="connsiteY94" fmla="*/ 2036685 h 2977120"/>
                <a:gd name="connsiteX95" fmla="*/ 248180 w 1588861"/>
                <a:gd name="connsiteY95" fmla="*/ 1993107 h 2977120"/>
                <a:gd name="connsiteX96" fmla="*/ 302907 w 1588861"/>
                <a:gd name="connsiteY96" fmla="*/ 1961436 h 2977120"/>
                <a:gd name="connsiteX97" fmla="*/ 316716 w 1588861"/>
                <a:gd name="connsiteY97" fmla="*/ 1935086 h 2977120"/>
                <a:gd name="connsiteX98" fmla="*/ 320643 w 1588861"/>
                <a:gd name="connsiteY98" fmla="*/ 1892141 h 2977120"/>
                <a:gd name="connsiteX99" fmla="*/ 223604 w 1588861"/>
                <a:gd name="connsiteY99" fmla="*/ 1781927 h 2977120"/>
                <a:gd name="connsiteX100" fmla="*/ 283652 w 1588861"/>
                <a:gd name="connsiteY100" fmla="*/ 1688942 h 2977120"/>
                <a:gd name="connsiteX101" fmla="*/ 320010 w 1588861"/>
                <a:gd name="connsiteY101" fmla="*/ 1688815 h 2977120"/>
                <a:gd name="connsiteX102" fmla="*/ 307468 w 1588861"/>
                <a:gd name="connsiteY102" fmla="*/ 1627501 h 2977120"/>
                <a:gd name="connsiteX103" fmla="*/ 231585 w 1588861"/>
                <a:gd name="connsiteY103" fmla="*/ 1607739 h 2977120"/>
                <a:gd name="connsiteX104" fmla="*/ 169637 w 1588861"/>
                <a:gd name="connsiteY104" fmla="*/ 1507406 h 2977120"/>
                <a:gd name="connsiteX105" fmla="*/ 7990 w 1588861"/>
                <a:gd name="connsiteY105" fmla="*/ 1443431 h 2977120"/>
                <a:gd name="connsiteX106" fmla="*/ 31807 w 1588861"/>
                <a:gd name="connsiteY106" fmla="*/ 1372109 h 2977120"/>
                <a:gd name="connsiteX107" fmla="*/ 9 w 1588861"/>
                <a:gd name="connsiteY107" fmla="*/ 1281658 h 2977120"/>
                <a:gd name="connsiteX108" fmla="*/ 4063 w 1588861"/>
                <a:gd name="connsiteY108" fmla="*/ 1275070 h 2977120"/>
                <a:gd name="connsiteX109" fmla="*/ 85267 w 1588861"/>
                <a:gd name="connsiteY109" fmla="*/ 1255308 h 2977120"/>
                <a:gd name="connsiteX110" fmla="*/ 137460 w 1588861"/>
                <a:gd name="connsiteY110" fmla="*/ 1240739 h 2977120"/>
                <a:gd name="connsiteX111" fmla="*/ 119598 w 1588861"/>
                <a:gd name="connsiteY111" fmla="*/ 1173344 h 2977120"/>
                <a:gd name="connsiteX112" fmla="*/ 60944 w 1588861"/>
                <a:gd name="connsiteY112" fmla="*/ 1125838 h 2977120"/>
                <a:gd name="connsiteX113" fmla="*/ 72345 w 1588861"/>
                <a:gd name="connsiteY113" fmla="*/ 1074532 h 2977120"/>
                <a:gd name="connsiteX114" fmla="*/ 72472 w 1588861"/>
                <a:gd name="connsiteY114" fmla="*/ 1074278 h 2977120"/>
                <a:gd name="connsiteX115" fmla="*/ 89321 w 1588861"/>
                <a:gd name="connsiteY115" fmla="*/ 1047295 h 2977120"/>
                <a:gd name="connsiteX116" fmla="*/ 138220 w 1588861"/>
                <a:gd name="connsiteY116" fmla="*/ 1010304 h 2977120"/>
                <a:gd name="connsiteX117" fmla="*/ 162036 w 1588861"/>
                <a:gd name="connsiteY117" fmla="*/ 971286 h 2977120"/>
                <a:gd name="connsiteX118" fmla="*/ 168624 w 1588861"/>
                <a:gd name="connsiteY118" fmla="*/ 946203 h 2977120"/>
                <a:gd name="connsiteX119" fmla="*/ 199027 w 1588861"/>
                <a:gd name="connsiteY119" fmla="*/ 883495 h 2977120"/>
                <a:gd name="connsiteX120" fmla="*/ 172678 w 1588861"/>
                <a:gd name="connsiteY120" fmla="*/ 833328 h 2977120"/>
                <a:gd name="connsiteX121" fmla="*/ 197127 w 1588861"/>
                <a:gd name="connsiteY121" fmla="*/ 796971 h 2977120"/>
                <a:gd name="connsiteX122" fmla="*/ 259835 w 1588861"/>
                <a:gd name="connsiteY122" fmla="*/ 765933 h 2977120"/>
                <a:gd name="connsiteX123" fmla="*/ 257175 w 1588861"/>
                <a:gd name="connsiteY123" fmla="*/ 715134 h 2977120"/>
                <a:gd name="connsiteX124" fmla="*/ 267056 w 1588861"/>
                <a:gd name="connsiteY124" fmla="*/ 641278 h 2977120"/>
                <a:gd name="connsiteX125" fmla="*/ 173311 w 1588861"/>
                <a:gd name="connsiteY125" fmla="*/ 609607 h 2977120"/>
                <a:gd name="connsiteX126" fmla="*/ 195734 w 1588861"/>
                <a:gd name="connsiteY126" fmla="*/ 511935 h 2977120"/>
                <a:gd name="connsiteX127" fmla="*/ 174578 w 1588861"/>
                <a:gd name="connsiteY127" fmla="*/ 449861 h 2977120"/>
                <a:gd name="connsiteX128" fmla="*/ 133660 w 1588861"/>
                <a:gd name="connsiteY128" fmla="*/ 396401 h 2977120"/>
                <a:gd name="connsiteX129" fmla="*/ 148861 w 1588861"/>
                <a:gd name="connsiteY129" fmla="*/ 336353 h 2977120"/>
                <a:gd name="connsiteX130" fmla="*/ 141640 w 1588861"/>
                <a:gd name="connsiteY130" fmla="*/ 288214 h 2977120"/>
                <a:gd name="connsiteX131" fmla="*/ 164697 w 1588861"/>
                <a:gd name="connsiteY131" fmla="*/ 236147 h 2977120"/>
                <a:gd name="connsiteX132" fmla="*/ 121751 w 1588861"/>
                <a:gd name="connsiteY132" fmla="*/ 160264 h 2977120"/>
                <a:gd name="connsiteX133" fmla="*/ 143541 w 1588861"/>
                <a:gd name="connsiteY133" fmla="*/ 108198 h 2977120"/>
                <a:gd name="connsiteX134" fmla="*/ 128339 w 1588861"/>
                <a:gd name="connsiteY134" fmla="*/ 35609 h 2977120"/>
                <a:gd name="connsiteX135" fmla="*/ 181166 w 1588861"/>
                <a:gd name="connsiteY135" fmla="*/ 42196 h 2977120"/>
                <a:gd name="connsiteX136" fmla="*/ 213723 w 1588861"/>
                <a:gd name="connsiteY136" fmla="*/ 11 h 2977120"/>
                <a:gd name="connsiteX137" fmla="*/ 216383 w 1588861"/>
                <a:gd name="connsiteY137" fmla="*/ 8752 h 2977120"/>
                <a:gd name="connsiteX138" fmla="*/ 223731 w 1588861"/>
                <a:gd name="connsiteY138" fmla="*/ 16860 h 2977120"/>
                <a:gd name="connsiteX139" fmla="*/ 229685 w 1588861"/>
                <a:gd name="connsiteY139" fmla="*/ 29655 h 2977120"/>
                <a:gd name="connsiteX140" fmla="*/ 228545 w 1588861"/>
                <a:gd name="connsiteY140" fmla="*/ 55751 h 2977120"/>
                <a:gd name="connsiteX141" fmla="*/ 223858 w 1588861"/>
                <a:gd name="connsiteY141" fmla="*/ 75894 h 2977120"/>
                <a:gd name="connsiteX142" fmla="*/ 235259 w 1588861"/>
                <a:gd name="connsiteY142" fmla="*/ 95656 h 2977120"/>
                <a:gd name="connsiteX143" fmla="*/ 255148 w 1588861"/>
                <a:gd name="connsiteY143" fmla="*/ 132394 h 2977120"/>
                <a:gd name="connsiteX144" fmla="*/ 277951 w 1588861"/>
                <a:gd name="connsiteY144" fmla="*/ 163811 h 2977120"/>
                <a:gd name="connsiteX145" fmla="*/ 293786 w 1588861"/>
                <a:gd name="connsiteY145" fmla="*/ 217778 h 2977120"/>
                <a:gd name="connsiteX146" fmla="*/ 318743 w 1588861"/>
                <a:gd name="connsiteY146" fmla="*/ 200169 h 2977120"/>
                <a:gd name="connsiteX147" fmla="*/ 338125 w 1588861"/>
                <a:gd name="connsiteY147" fmla="*/ 178507 h 2977120"/>
                <a:gd name="connsiteX148" fmla="*/ 360041 w 1588861"/>
                <a:gd name="connsiteY148" fmla="*/ 128974 h 2977120"/>
                <a:gd name="connsiteX149" fmla="*/ 388038 w 1588861"/>
                <a:gd name="connsiteY149" fmla="*/ 82355 h 2977120"/>
                <a:gd name="connsiteX150" fmla="*/ 414261 w 1588861"/>
                <a:gd name="connsiteY150" fmla="*/ 78934 h 2977120"/>
                <a:gd name="connsiteX151" fmla="*/ 444158 w 1588861"/>
                <a:gd name="connsiteY151" fmla="*/ 114785 h 2977120"/>
                <a:gd name="connsiteX152" fmla="*/ 468481 w 1588861"/>
                <a:gd name="connsiteY152" fmla="*/ 166978 h 2977120"/>
                <a:gd name="connsiteX153" fmla="*/ 471902 w 1588861"/>
                <a:gd name="connsiteY153" fmla="*/ 184587 h 2977120"/>
                <a:gd name="connsiteX154" fmla="*/ 444412 w 1588861"/>
                <a:gd name="connsiteY154" fmla="*/ 233107 h 2977120"/>
                <a:gd name="connsiteX155" fmla="*/ 442765 w 1588861"/>
                <a:gd name="connsiteY155" fmla="*/ 271365 h 2977120"/>
                <a:gd name="connsiteX156" fmla="*/ 483810 w 1588861"/>
                <a:gd name="connsiteY156" fmla="*/ 262877 h 2977120"/>
                <a:gd name="connsiteX157" fmla="*/ 516114 w 1588861"/>
                <a:gd name="connsiteY157" fmla="*/ 247675 h 2977120"/>
                <a:gd name="connsiteX158" fmla="*/ 544871 w 1588861"/>
                <a:gd name="connsiteY158" fmla="*/ 237414 h 2977120"/>
                <a:gd name="connsiteX159" fmla="*/ 614800 w 1588861"/>
                <a:gd name="connsiteY159" fmla="*/ 230573 h 2977120"/>
                <a:gd name="connsiteX160" fmla="*/ 658885 w 1588861"/>
                <a:gd name="connsiteY160" fmla="*/ 243875 h 2977120"/>
                <a:gd name="connsiteX161" fmla="*/ 696256 w 1588861"/>
                <a:gd name="connsiteY161" fmla="*/ 242608 h 2977120"/>
                <a:gd name="connsiteX162" fmla="*/ 739835 w 1588861"/>
                <a:gd name="connsiteY162" fmla="*/ 239694 h 2977120"/>
                <a:gd name="connsiteX163" fmla="*/ 773659 w 1588861"/>
                <a:gd name="connsiteY163" fmla="*/ 235640 h 2977120"/>
                <a:gd name="connsiteX164" fmla="*/ 780247 w 1588861"/>
                <a:gd name="connsiteY164" fmla="*/ 232473 h 2977120"/>
                <a:gd name="connsiteX165" fmla="*/ 702590 w 1588861"/>
                <a:gd name="connsiteY165" fmla="*/ 326852 h 2977120"/>
                <a:gd name="connsiteX166" fmla="*/ 563367 w 1588861"/>
                <a:gd name="connsiteY166" fmla="*/ 396527 h 2977120"/>
                <a:gd name="connsiteX167" fmla="*/ 520801 w 1588861"/>
                <a:gd name="connsiteY167" fmla="*/ 487992 h 2977120"/>
                <a:gd name="connsiteX168" fmla="*/ 508893 w 1588861"/>
                <a:gd name="connsiteY168" fmla="*/ 525997 h 2977120"/>
                <a:gd name="connsiteX169" fmla="*/ 505979 w 1588861"/>
                <a:gd name="connsiteY169" fmla="*/ 578063 h 2977120"/>
                <a:gd name="connsiteX170" fmla="*/ 533343 w 1588861"/>
                <a:gd name="connsiteY170" fmla="*/ 627596 h 2977120"/>
                <a:gd name="connsiteX171" fmla="*/ 516874 w 1588861"/>
                <a:gd name="connsiteY171" fmla="*/ 705506 h 2977120"/>
                <a:gd name="connsiteX172" fmla="*/ 576922 w 1588861"/>
                <a:gd name="connsiteY172" fmla="*/ 728942 h 2977120"/>
                <a:gd name="connsiteX173" fmla="*/ 639249 w 1588861"/>
                <a:gd name="connsiteY173" fmla="*/ 774168 h 2977120"/>
                <a:gd name="connsiteX174" fmla="*/ 744522 w 1588861"/>
                <a:gd name="connsiteY174" fmla="*/ 861579 h 2977120"/>
                <a:gd name="connsiteX175" fmla="*/ 713232 w 1588861"/>
                <a:gd name="connsiteY175" fmla="*/ 994215 h 2977120"/>
                <a:gd name="connsiteX176" fmla="*/ 689162 w 1588861"/>
                <a:gd name="connsiteY176" fmla="*/ 1077065 h 2977120"/>
                <a:gd name="connsiteX177" fmla="*/ 577048 w 1588861"/>
                <a:gd name="connsiteY177" fmla="*/ 1079346 h 2977120"/>
                <a:gd name="connsiteX178" fmla="*/ 524602 w 1588861"/>
                <a:gd name="connsiteY178" fmla="*/ 1143701 h 2977120"/>
                <a:gd name="connsiteX179" fmla="*/ 559946 w 1588861"/>
                <a:gd name="connsiteY179" fmla="*/ 1227818 h 2977120"/>
                <a:gd name="connsiteX180" fmla="*/ 545758 w 1588861"/>
                <a:gd name="connsiteY180" fmla="*/ 1322449 h 2977120"/>
                <a:gd name="connsiteX181" fmla="*/ 626201 w 1588861"/>
                <a:gd name="connsiteY181" fmla="*/ 1444571 h 2977120"/>
                <a:gd name="connsiteX182" fmla="*/ 742369 w 1588861"/>
                <a:gd name="connsiteY182" fmla="*/ 1380217 h 2977120"/>
                <a:gd name="connsiteX183" fmla="*/ 763525 w 1588861"/>
                <a:gd name="connsiteY183" fmla="*/ 1330684 h 2977120"/>
                <a:gd name="connsiteX184" fmla="*/ 806091 w 1588861"/>
                <a:gd name="connsiteY184" fmla="*/ 1345252 h 2977120"/>
                <a:gd name="connsiteX185" fmla="*/ 810018 w 1588861"/>
                <a:gd name="connsiteY185" fmla="*/ 1379583 h 2977120"/>
                <a:gd name="connsiteX186" fmla="*/ 865504 w 1588861"/>
                <a:gd name="connsiteY186" fmla="*/ 1387818 h 2977120"/>
                <a:gd name="connsiteX187" fmla="*/ 945948 w 1588861"/>
                <a:gd name="connsiteY187" fmla="*/ 1409861 h 2977120"/>
                <a:gd name="connsiteX188" fmla="*/ 951522 w 1588861"/>
                <a:gd name="connsiteY188" fmla="*/ 1481563 h 2977120"/>
                <a:gd name="connsiteX189" fmla="*/ 918584 w 1588861"/>
                <a:gd name="connsiteY189" fmla="*/ 1542624 h 2977120"/>
                <a:gd name="connsiteX190" fmla="*/ 928845 w 1588861"/>
                <a:gd name="connsiteY190" fmla="*/ 1583542 h 2977120"/>
                <a:gd name="connsiteX191" fmla="*/ 946962 w 1588861"/>
                <a:gd name="connsiteY191" fmla="*/ 1638649 h 2977120"/>
                <a:gd name="connsiteX192" fmla="*/ 1002449 w 1588861"/>
                <a:gd name="connsiteY192" fmla="*/ 1666013 h 2977120"/>
                <a:gd name="connsiteX193" fmla="*/ 1035765 w 1588861"/>
                <a:gd name="connsiteY193" fmla="*/ 1645237 h 2977120"/>
                <a:gd name="connsiteX194" fmla="*/ 1075037 w 1588861"/>
                <a:gd name="connsiteY194" fmla="*/ 1667279 h 2977120"/>
                <a:gd name="connsiteX195" fmla="*/ 1113296 w 1588861"/>
                <a:gd name="connsiteY195" fmla="*/ 1661705 h 2977120"/>
                <a:gd name="connsiteX196" fmla="*/ 1123557 w 1588861"/>
                <a:gd name="connsiteY196" fmla="*/ 1627121 h 2977120"/>
                <a:gd name="connsiteX197" fmla="*/ 1185251 w 1588861"/>
                <a:gd name="connsiteY197" fmla="*/ 1628134 h 2977120"/>
                <a:gd name="connsiteX198" fmla="*/ 1232757 w 1588861"/>
                <a:gd name="connsiteY198" fmla="*/ 1628768 h 2977120"/>
                <a:gd name="connsiteX199" fmla="*/ 1282543 w 1588861"/>
                <a:gd name="connsiteY199" fmla="*/ 1630161 h 2977120"/>
                <a:gd name="connsiteX200" fmla="*/ 1332456 w 1588861"/>
                <a:gd name="connsiteY200" fmla="*/ 1593550 h 2977120"/>
                <a:gd name="connsiteX201" fmla="*/ 1384269 w 1588861"/>
                <a:gd name="connsiteY201" fmla="*/ 1602798 h 2977120"/>
                <a:gd name="connsiteX202" fmla="*/ 1418980 w 1588861"/>
                <a:gd name="connsiteY202" fmla="*/ 1619647 h 2977120"/>
                <a:gd name="connsiteX203" fmla="*/ 1499803 w 1588861"/>
                <a:gd name="connsiteY203" fmla="*/ 1630541 h 2977120"/>
                <a:gd name="connsiteX204" fmla="*/ 1525520 w 1588861"/>
                <a:gd name="connsiteY204" fmla="*/ 1643716 h 2977120"/>
                <a:gd name="connsiteX205" fmla="*/ 1572646 w 1588861"/>
                <a:gd name="connsiteY205" fmla="*/ 1637129 h 2977120"/>
                <a:gd name="connsiteX206" fmla="*/ 1574926 w 1588861"/>
                <a:gd name="connsiteY206" fmla="*/ 1680961 h 2977120"/>
                <a:gd name="connsiteX207" fmla="*/ 1588862 w 1588861"/>
                <a:gd name="connsiteY207" fmla="*/ 1739362 h 2977120"/>
                <a:gd name="connsiteX208" fmla="*/ 1581260 w 1588861"/>
                <a:gd name="connsiteY208" fmla="*/ 1744682 h 29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588861" h="2977120">
                  <a:moveTo>
                    <a:pt x="1581260" y="1744682"/>
                  </a:moveTo>
                  <a:cubicBezTo>
                    <a:pt x="1571759" y="1752917"/>
                    <a:pt x="1575687" y="1779647"/>
                    <a:pt x="1578600" y="1800423"/>
                  </a:cubicBezTo>
                  <a:cubicBezTo>
                    <a:pt x="1581514" y="1821199"/>
                    <a:pt x="1566059" y="1821832"/>
                    <a:pt x="1550224" y="1833360"/>
                  </a:cubicBezTo>
                  <a:cubicBezTo>
                    <a:pt x="1534388" y="1844888"/>
                    <a:pt x="1516273" y="1844888"/>
                    <a:pt x="1501071" y="1852489"/>
                  </a:cubicBezTo>
                  <a:cubicBezTo>
                    <a:pt x="1485869" y="1860090"/>
                    <a:pt x="1489162" y="1881879"/>
                    <a:pt x="1495497" y="1900628"/>
                  </a:cubicBezTo>
                  <a:cubicBezTo>
                    <a:pt x="1501704" y="1919378"/>
                    <a:pt x="1476747" y="1908483"/>
                    <a:pt x="1462179" y="1904302"/>
                  </a:cubicBezTo>
                  <a:cubicBezTo>
                    <a:pt x="1447610" y="1899995"/>
                    <a:pt x="1445076" y="1919504"/>
                    <a:pt x="1436082" y="1931286"/>
                  </a:cubicBezTo>
                  <a:cubicBezTo>
                    <a:pt x="1427215" y="1943194"/>
                    <a:pt x="1448624" y="2011096"/>
                    <a:pt x="1449638" y="2026298"/>
                  </a:cubicBezTo>
                  <a:cubicBezTo>
                    <a:pt x="1450651" y="2041499"/>
                    <a:pt x="1442670" y="2040866"/>
                    <a:pt x="1428228" y="2037825"/>
                  </a:cubicBezTo>
                  <a:cubicBezTo>
                    <a:pt x="1413659" y="2034912"/>
                    <a:pt x="1385663" y="1977145"/>
                    <a:pt x="1377048" y="1955355"/>
                  </a:cubicBezTo>
                  <a:cubicBezTo>
                    <a:pt x="1368434" y="1933566"/>
                    <a:pt x="1341071" y="1931286"/>
                    <a:pt x="1324855" y="1931286"/>
                  </a:cubicBezTo>
                  <a:cubicBezTo>
                    <a:pt x="1308640" y="1931286"/>
                    <a:pt x="1310667" y="1957636"/>
                    <a:pt x="1305092" y="1971571"/>
                  </a:cubicBezTo>
                  <a:cubicBezTo>
                    <a:pt x="1299518" y="1985379"/>
                    <a:pt x="1284697" y="1999948"/>
                    <a:pt x="1266201" y="2002861"/>
                  </a:cubicBezTo>
                  <a:cubicBezTo>
                    <a:pt x="1247706" y="2005775"/>
                    <a:pt x="1235797" y="1991966"/>
                    <a:pt x="1229590" y="1982719"/>
                  </a:cubicBezTo>
                  <a:cubicBezTo>
                    <a:pt x="1223256" y="1973471"/>
                    <a:pt x="1181071" y="1975751"/>
                    <a:pt x="1167262" y="1977398"/>
                  </a:cubicBezTo>
                  <a:cubicBezTo>
                    <a:pt x="1153454" y="1979045"/>
                    <a:pt x="1148133" y="2004128"/>
                    <a:pt x="1143445" y="2022244"/>
                  </a:cubicBezTo>
                  <a:cubicBezTo>
                    <a:pt x="1138885" y="2040359"/>
                    <a:pt x="1106454" y="2081911"/>
                    <a:pt x="1096193" y="2094833"/>
                  </a:cubicBezTo>
                  <a:cubicBezTo>
                    <a:pt x="1085932" y="2107755"/>
                    <a:pt x="1096826" y="2108388"/>
                    <a:pt x="1107468" y="2111682"/>
                  </a:cubicBezTo>
                  <a:cubicBezTo>
                    <a:pt x="1117983" y="2114975"/>
                    <a:pt x="1117729" y="2128530"/>
                    <a:pt x="1112409" y="2133091"/>
                  </a:cubicBezTo>
                  <a:cubicBezTo>
                    <a:pt x="1107088" y="2137778"/>
                    <a:pt x="1116336" y="2154627"/>
                    <a:pt x="1131537" y="2157794"/>
                  </a:cubicBezTo>
                  <a:cubicBezTo>
                    <a:pt x="1146739" y="2161088"/>
                    <a:pt x="1143445" y="2190858"/>
                    <a:pt x="1142433" y="2201753"/>
                  </a:cubicBezTo>
                  <a:cubicBezTo>
                    <a:pt x="1141419" y="2212648"/>
                    <a:pt x="1140405" y="2227469"/>
                    <a:pt x="1130524" y="2232410"/>
                  </a:cubicBezTo>
                  <a:cubicBezTo>
                    <a:pt x="1120643" y="2237350"/>
                    <a:pt x="1110762" y="2254833"/>
                    <a:pt x="1100501" y="2264081"/>
                  </a:cubicBezTo>
                  <a:cubicBezTo>
                    <a:pt x="1090239" y="2273329"/>
                    <a:pt x="1066169" y="2305252"/>
                    <a:pt x="1056289" y="2325395"/>
                  </a:cubicBezTo>
                  <a:cubicBezTo>
                    <a:pt x="1046407" y="2345537"/>
                    <a:pt x="1044760" y="2364033"/>
                    <a:pt x="1045393" y="2382149"/>
                  </a:cubicBezTo>
                  <a:cubicBezTo>
                    <a:pt x="1046027" y="2400264"/>
                    <a:pt x="1030572" y="2403178"/>
                    <a:pt x="1019930" y="2410779"/>
                  </a:cubicBezTo>
                  <a:cubicBezTo>
                    <a:pt x="1009416" y="2418380"/>
                    <a:pt x="1016003" y="2469813"/>
                    <a:pt x="1008783" y="2503510"/>
                  </a:cubicBezTo>
                  <a:cubicBezTo>
                    <a:pt x="1001562" y="2537208"/>
                    <a:pt x="967230" y="2529481"/>
                    <a:pt x="955955" y="2529861"/>
                  </a:cubicBezTo>
                  <a:cubicBezTo>
                    <a:pt x="944681" y="2530241"/>
                    <a:pt x="908830" y="2533788"/>
                    <a:pt x="904776" y="2562545"/>
                  </a:cubicBezTo>
                  <a:cubicBezTo>
                    <a:pt x="900849" y="2591301"/>
                    <a:pt x="927199" y="2609797"/>
                    <a:pt x="936700" y="2623226"/>
                  </a:cubicBezTo>
                  <a:cubicBezTo>
                    <a:pt x="946327" y="2636780"/>
                    <a:pt x="958870" y="2658570"/>
                    <a:pt x="966724" y="2676306"/>
                  </a:cubicBezTo>
                  <a:cubicBezTo>
                    <a:pt x="974578" y="2694041"/>
                    <a:pt x="996240" y="2705189"/>
                    <a:pt x="996240" y="2705189"/>
                  </a:cubicBezTo>
                  <a:cubicBezTo>
                    <a:pt x="995228" y="2708229"/>
                    <a:pt x="994087" y="2711270"/>
                    <a:pt x="992821" y="2714184"/>
                  </a:cubicBezTo>
                  <a:cubicBezTo>
                    <a:pt x="992694" y="2714564"/>
                    <a:pt x="992567" y="2714944"/>
                    <a:pt x="992313" y="2715324"/>
                  </a:cubicBezTo>
                  <a:cubicBezTo>
                    <a:pt x="992060" y="2715830"/>
                    <a:pt x="991934" y="2716337"/>
                    <a:pt x="991553" y="2716717"/>
                  </a:cubicBezTo>
                  <a:cubicBezTo>
                    <a:pt x="991300" y="2717097"/>
                    <a:pt x="991174" y="2717477"/>
                    <a:pt x="990920" y="2717857"/>
                  </a:cubicBezTo>
                  <a:cubicBezTo>
                    <a:pt x="989653" y="2720011"/>
                    <a:pt x="988007" y="2722038"/>
                    <a:pt x="985979" y="2723685"/>
                  </a:cubicBezTo>
                  <a:cubicBezTo>
                    <a:pt x="985600" y="2724065"/>
                    <a:pt x="985219" y="2724318"/>
                    <a:pt x="984839" y="2724572"/>
                  </a:cubicBezTo>
                  <a:cubicBezTo>
                    <a:pt x="984332" y="2724952"/>
                    <a:pt x="983953" y="2725205"/>
                    <a:pt x="983319" y="2725585"/>
                  </a:cubicBezTo>
                  <a:cubicBezTo>
                    <a:pt x="982812" y="2725839"/>
                    <a:pt x="982306" y="2726092"/>
                    <a:pt x="981799" y="2726472"/>
                  </a:cubicBezTo>
                  <a:cubicBezTo>
                    <a:pt x="967484" y="2733059"/>
                    <a:pt x="954435" y="2717857"/>
                    <a:pt x="940120" y="2724318"/>
                  </a:cubicBezTo>
                  <a:cubicBezTo>
                    <a:pt x="924792" y="2731286"/>
                    <a:pt x="909843" y="2723432"/>
                    <a:pt x="895021" y="2718364"/>
                  </a:cubicBezTo>
                  <a:cubicBezTo>
                    <a:pt x="888054" y="2715957"/>
                    <a:pt x="881213" y="2714184"/>
                    <a:pt x="873865" y="2714310"/>
                  </a:cubicBezTo>
                  <a:cubicBezTo>
                    <a:pt x="863984" y="2714690"/>
                    <a:pt x="854357" y="2716971"/>
                    <a:pt x="844475" y="2716844"/>
                  </a:cubicBezTo>
                  <a:cubicBezTo>
                    <a:pt x="834847" y="2716717"/>
                    <a:pt x="826613" y="2714437"/>
                    <a:pt x="818505" y="2709496"/>
                  </a:cubicBezTo>
                  <a:cubicBezTo>
                    <a:pt x="812425" y="2705822"/>
                    <a:pt x="808624" y="2705062"/>
                    <a:pt x="802163" y="2708736"/>
                  </a:cubicBezTo>
                  <a:cubicBezTo>
                    <a:pt x="790129" y="2715830"/>
                    <a:pt x="773786" y="2728752"/>
                    <a:pt x="774926" y="2744207"/>
                  </a:cubicBezTo>
                  <a:cubicBezTo>
                    <a:pt x="775687" y="2755355"/>
                    <a:pt x="778473" y="2764477"/>
                    <a:pt x="781894" y="2774865"/>
                  </a:cubicBezTo>
                  <a:cubicBezTo>
                    <a:pt x="785821" y="2786773"/>
                    <a:pt x="782400" y="2795514"/>
                    <a:pt x="775813" y="2805268"/>
                  </a:cubicBezTo>
                  <a:cubicBezTo>
                    <a:pt x="773913" y="2808182"/>
                    <a:pt x="772899" y="2811856"/>
                    <a:pt x="770492" y="2814389"/>
                  </a:cubicBezTo>
                  <a:cubicBezTo>
                    <a:pt x="766945" y="2817937"/>
                    <a:pt x="761371" y="2818443"/>
                    <a:pt x="756811" y="2819837"/>
                  </a:cubicBezTo>
                  <a:cubicBezTo>
                    <a:pt x="751743" y="2821230"/>
                    <a:pt x="748957" y="2824271"/>
                    <a:pt x="745030" y="2827565"/>
                  </a:cubicBezTo>
                  <a:cubicBezTo>
                    <a:pt x="741228" y="2830732"/>
                    <a:pt x="736288" y="2832885"/>
                    <a:pt x="731601" y="2834405"/>
                  </a:cubicBezTo>
                  <a:cubicBezTo>
                    <a:pt x="722607" y="2837319"/>
                    <a:pt x="712979" y="2837066"/>
                    <a:pt x="706011" y="2844540"/>
                  </a:cubicBezTo>
                  <a:cubicBezTo>
                    <a:pt x="699931" y="2851127"/>
                    <a:pt x="693849" y="2856701"/>
                    <a:pt x="686755" y="2862275"/>
                  </a:cubicBezTo>
                  <a:cubicBezTo>
                    <a:pt x="676874" y="2870130"/>
                    <a:pt x="665726" y="2876591"/>
                    <a:pt x="655338" y="2883811"/>
                  </a:cubicBezTo>
                  <a:cubicBezTo>
                    <a:pt x="645203" y="2890906"/>
                    <a:pt x="633929" y="2895719"/>
                    <a:pt x="624048" y="2903067"/>
                  </a:cubicBezTo>
                  <a:cubicBezTo>
                    <a:pt x="612266" y="2911808"/>
                    <a:pt x="599724" y="2919916"/>
                    <a:pt x="588070" y="2928784"/>
                  </a:cubicBezTo>
                  <a:cubicBezTo>
                    <a:pt x="582242" y="2933218"/>
                    <a:pt x="577428" y="2938918"/>
                    <a:pt x="570841" y="2942212"/>
                  </a:cubicBezTo>
                  <a:cubicBezTo>
                    <a:pt x="563367" y="2946012"/>
                    <a:pt x="555385" y="2948926"/>
                    <a:pt x="547911" y="2952727"/>
                  </a:cubicBezTo>
                  <a:cubicBezTo>
                    <a:pt x="540184" y="2956527"/>
                    <a:pt x="532076" y="2959567"/>
                    <a:pt x="524855" y="2964508"/>
                  </a:cubicBezTo>
                  <a:cubicBezTo>
                    <a:pt x="517761" y="2969449"/>
                    <a:pt x="512567" y="2972869"/>
                    <a:pt x="503952" y="2974389"/>
                  </a:cubicBezTo>
                  <a:cubicBezTo>
                    <a:pt x="493184" y="2976290"/>
                    <a:pt x="481530" y="2978570"/>
                    <a:pt x="470762" y="2975910"/>
                  </a:cubicBezTo>
                  <a:cubicBezTo>
                    <a:pt x="459487" y="2973123"/>
                    <a:pt x="449479" y="2965902"/>
                    <a:pt x="437951" y="2962988"/>
                  </a:cubicBezTo>
                  <a:cubicBezTo>
                    <a:pt x="431870" y="2961468"/>
                    <a:pt x="426043" y="2959314"/>
                    <a:pt x="420849" y="2955767"/>
                  </a:cubicBezTo>
                  <a:cubicBezTo>
                    <a:pt x="411728" y="2949686"/>
                    <a:pt x="409067" y="2938032"/>
                    <a:pt x="399439" y="2932204"/>
                  </a:cubicBezTo>
                  <a:cubicBezTo>
                    <a:pt x="390572" y="2926884"/>
                    <a:pt x="380817" y="2931571"/>
                    <a:pt x="371823" y="2934231"/>
                  </a:cubicBezTo>
                  <a:cubicBezTo>
                    <a:pt x="361308" y="2937398"/>
                    <a:pt x="353327" y="2949306"/>
                    <a:pt x="342052" y="2948039"/>
                  </a:cubicBezTo>
                  <a:cubicBezTo>
                    <a:pt x="317983" y="2945379"/>
                    <a:pt x="319883" y="2916749"/>
                    <a:pt x="312408" y="2899647"/>
                  </a:cubicBezTo>
                  <a:cubicBezTo>
                    <a:pt x="311268" y="2897113"/>
                    <a:pt x="309621" y="2894579"/>
                    <a:pt x="307721" y="2892172"/>
                  </a:cubicBezTo>
                  <a:cubicBezTo>
                    <a:pt x="307214" y="2891539"/>
                    <a:pt x="306708" y="2891032"/>
                    <a:pt x="306201" y="2890526"/>
                  </a:cubicBezTo>
                  <a:cubicBezTo>
                    <a:pt x="305694" y="2889892"/>
                    <a:pt x="305061" y="2889385"/>
                    <a:pt x="304554" y="2888752"/>
                  </a:cubicBezTo>
                  <a:cubicBezTo>
                    <a:pt x="304174" y="2888372"/>
                    <a:pt x="303794" y="2887992"/>
                    <a:pt x="303287" y="2887612"/>
                  </a:cubicBezTo>
                  <a:cubicBezTo>
                    <a:pt x="303034" y="2887485"/>
                    <a:pt x="302907" y="2887232"/>
                    <a:pt x="302781" y="2887105"/>
                  </a:cubicBezTo>
                  <a:cubicBezTo>
                    <a:pt x="302147" y="2886598"/>
                    <a:pt x="301514" y="2886092"/>
                    <a:pt x="300880" y="2885585"/>
                  </a:cubicBezTo>
                  <a:cubicBezTo>
                    <a:pt x="300880" y="2885585"/>
                    <a:pt x="337238" y="2833392"/>
                    <a:pt x="357001" y="2820470"/>
                  </a:cubicBezTo>
                  <a:cubicBezTo>
                    <a:pt x="376763" y="2807675"/>
                    <a:pt x="410714" y="2804001"/>
                    <a:pt x="413755" y="2781832"/>
                  </a:cubicBezTo>
                  <a:cubicBezTo>
                    <a:pt x="416668" y="2759789"/>
                    <a:pt x="409827" y="2748894"/>
                    <a:pt x="434151" y="2740533"/>
                  </a:cubicBezTo>
                  <a:cubicBezTo>
                    <a:pt x="458600" y="2732299"/>
                    <a:pt x="495465" y="2722038"/>
                    <a:pt x="477729" y="2693661"/>
                  </a:cubicBezTo>
                  <a:cubicBezTo>
                    <a:pt x="459867" y="2665284"/>
                    <a:pt x="446058" y="2640581"/>
                    <a:pt x="454546" y="2623732"/>
                  </a:cubicBezTo>
                  <a:cubicBezTo>
                    <a:pt x="463161" y="2606883"/>
                    <a:pt x="478616" y="2564318"/>
                    <a:pt x="464808" y="2533028"/>
                  </a:cubicBezTo>
                  <a:cubicBezTo>
                    <a:pt x="450999" y="2501610"/>
                    <a:pt x="441118" y="2475641"/>
                    <a:pt x="442005" y="2461832"/>
                  </a:cubicBezTo>
                  <a:cubicBezTo>
                    <a:pt x="443018" y="2447897"/>
                    <a:pt x="431110" y="2410019"/>
                    <a:pt x="406407" y="2400771"/>
                  </a:cubicBezTo>
                  <a:cubicBezTo>
                    <a:pt x="381704" y="2391523"/>
                    <a:pt x="344966" y="2350605"/>
                    <a:pt x="335465" y="2351238"/>
                  </a:cubicBezTo>
                  <a:cubicBezTo>
                    <a:pt x="325837" y="2351872"/>
                    <a:pt x="306074" y="2406725"/>
                    <a:pt x="276051" y="2395070"/>
                  </a:cubicBezTo>
                  <a:cubicBezTo>
                    <a:pt x="246027" y="2383542"/>
                    <a:pt x="211949" y="2346044"/>
                    <a:pt x="207515" y="2312347"/>
                  </a:cubicBezTo>
                  <a:cubicBezTo>
                    <a:pt x="216890" y="2303986"/>
                    <a:pt x="226898" y="2296638"/>
                    <a:pt x="233105" y="2290557"/>
                  </a:cubicBezTo>
                  <a:cubicBezTo>
                    <a:pt x="251221" y="2272695"/>
                    <a:pt x="251601" y="2269148"/>
                    <a:pt x="269717" y="2263827"/>
                  </a:cubicBezTo>
                  <a:cubicBezTo>
                    <a:pt x="287832" y="2258507"/>
                    <a:pt x="296446" y="2244318"/>
                    <a:pt x="305694" y="2230510"/>
                  </a:cubicBezTo>
                  <a:cubicBezTo>
                    <a:pt x="314942" y="2216702"/>
                    <a:pt x="297460" y="2201499"/>
                    <a:pt x="290112" y="2195165"/>
                  </a:cubicBezTo>
                  <a:cubicBezTo>
                    <a:pt x="282892" y="2188958"/>
                    <a:pt x="273897" y="2173376"/>
                    <a:pt x="264396" y="2159568"/>
                  </a:cubicBezTo>
                  <a:cubicBezTo>
                    <a:pt x="254895" y="2145759"/>
                    <a:pt x="236652" y="2133724"/>
                    <a:pt x="222464" y="2132964"/>
                  </a:cubicBezTo>
                  <a:cubicBezTo>
                    <a:pt x="208402" y="2132204"/>
                    <a:pt x="223731" y="2104967"/>
                    <a:pt x="231839" y="2085205"/>
                  </a:cubicBezTo>
                  <a:cubicBezTo>
                    <a:pt x="239566" y="2066329"/>
                    <a:pt x="231332" y="2059742"/>
                    <a:pt x="230572" y="2059235"/>
                  </a:cubicBezTo>
                  <a:cubicBezTo>
                    <a:pt x="244507" y="2054294"/>
                    <a:pt x="262242" y="2046693"/>
                    <a:pt x="248814" y="2036685"/>
                  </a:cubicBezTo>
                  <a:cubicBezTo>
                    <a:pt x="230952" y="2023511"/>
                    <a:pt x="223731" y="2002355"/>
                    <a:pt x="248180" y="1993107"/>
                  </a:cubicBezTo>
                  <a:cubicBezTo>
                    <a:pt x="272630" y="1983859"/>
                    <a:pt x="299613" y="1981198"/>
                    <a:pt x="302907" y="1961436"/>
                  </a:cubicBezTo>
                  <a:cubicBezTo>
                    <a:pt x="306201" y="1941673"/>
                    <a:pt x="303541" y="1946994"/>
                    <a:pt x="316716" y="1935086"/>
                  </a:cubicBezTo>
                  <a:cubicBezTo>
                    <a:pt x="329891" y="1923178"/>
                    <a:pt x="347119" y="1903416"/>
                    <a:pt x="320643" y="1892141"/>
                  </a:cubicBezTo>
                  <a:cubicBezTo>
                    <a:pt x="294293" y="1880866"/>
                    <a:pt x="206502" y="1839314"/>
                    <a:pt x="223604" y="1781927"/>
                  </a:cubicBezTo>
                  <a:cubicBezTo>
                    <a:pt x="240833" y="1724540"/>
                    <a:pt x="263256" y="1686282"/>
                    <a:pt x="283652" y="1688942"/>
                  </a:cubicBezTo>
                  <a:cubicBezTo>
                    <a:pt x="304174" y="1691602"/>
                    <a:pt x="318616" y="1705157"/>
                    <a:pt x="320010" y="1688815"/>
                  </a:cubicBezTo>
                  <a:cubicBezTo>
                    <a:pt x="321276" y="1672473"/>
                    <a:pt x="320643" y="1621674"/>
                    <a:pt x="307468" y="1627501"/>
                  </a:cubicBezTo>
                  <a:cubicBezTo>
                    <a:pt x="294293" y="1633455"/>
                    <a:pt x="236146" y="1648024"/>
                    <a:pt x="231585" y="1607739"/>
                  </a:cubicBezTo>
                  <a:cubicBezTo>
                    <a:pt x="227025" y="1567454"/>
                    <a:pt x="250081" y="1517287"/>
                    <a:pt x="169637" y="1507406"/>
                  </a:cubicBezTo>
                  <a:cubicBezTo>
                    <a:pt x="89067" y="1497525"/>
                    <a:pt x="-13799" y="1488277"/>
                    <a:pt x="7990" y="1443431"/>
                  </a:cubicBezTo>
                  <a:cubicBezTo>
                    <a:pt x="29780" y="1398586"/>
                    <a:pt x="37634" y="1400613"/>
                    <a:pt x="31807" y="1372109"/>
                  </a:cubicBezTo>
                  <a:cubicBezTo>
                    <a:pt x="26866" y="1348800"/>
                    <a:pt x="389" y="1299647"/>
                    <a:pt x="9" y="1281658"/>
                  </a:cubicBezTo>
                  <a:cubicBezTo>
                    <a:pt x="-117" y="1277730"/>
                    <a:pt x="1023" y="1275324"/>
                    <a:pt x="4063" y="1275070"/>
                  </a:cubicBezTo>
                  <a:cubicBezTo>
                    <a:pt x="20532" y="1273803"/>
                    <a:pt x="56890" y="1250621"/>
                    <a:pt x="85267" y="1255308"/>
                  </a:cubicBezTo>
                  <a:cubicBezTo>
                    <a:pt x="113644" y="1259869"/>
                    <a:pt x="130746" y="1265823"/>
                    <a:pt x="137460" y="1240739"/>
                  </a:cubicBezTo>
                  <a:cubicBezTo>
                    <a:pt x="144047" y="1215656"/>
                    <a:pt x="149368" y="1181959"/>
                    <a:pt x="119598" y="1173344"/>
                  </a:cubicBezTo>
                  <a:cubicBezTo>
                    <a:pt x="89954" y="1164857"/>
                    <a:pt x="58917" y="1143067"/>
                    <a:pt x="60944" y="1125838"/>
                  </a:cubicBezTo>
                  <a:cubicBezTo>
                    <a:pt x="62084" y="1115577"/>
                    <a:pt x="65884" y="1093154"/>
                    <a:pt x="72345" y="1074532"/>
                  </a:cubicBezTo>
                  <a:cubicBezTo>
                    <a:pt x="72345" y="1074405"/>
                    <a:pt x="72345" y="1074405"/>
                    <a:pt x="72472" y="1074278"/>
                  </a:cubicBezTo>
                  <a:cubicBezTo>
                    <a:pt x="76779" y="1061864"/>
                    <a:pt x="82480" y="1051223"/>
                    <a:pt x="89321" y="1047295"/>
                  </a:cubicBezTo>
                  <a:cubicBezTo>
                    <a:pt x="106549" y="1037414"/>
                    <a:pt x="135560" y="1024239"/>
                    <a:pt x="138220" y="1010304"/>
                  </a:cubicBezTo>
                  <a:cubicBezTo>
                    <a:pt x="140880" y="996496"/>
                    <a:pt x="162036" y="979900"/>
                    <a:pt x="162036" y="971286"/>
                  </a:cubicBezTo>
                  <a:cubicBezTo>
                    <a:pt x="162036" y="962798"/>
                    <a:pt x="150128" y="956084"/>
                    <a:pt x="168624" y="946203"/>
                  </a:cubicBezTo>
                  <a:cubicBezTo>
                    <a:pt x="187120" y="936321"/>
                    <a:pt x="212836" y="898697"/>
                    <a:pt x="199027" y="883495"/>
                  </a:cubicBezTo>
                  <a:cubicBezTo>
                    <a:pt x="185219" y="868293"/>
                    <a:pt x="166090" y="849164"/>
                    <a:pt x="172678" y="833328"/>
                  </a:cubicBezTo>
                  <a:cubicBezTo>
                    <a:pt x="179265" y="817493"/>
                    <a:pt x="179899" y="802291"/>
                    <a:pt x="197127" y="796971"/>
                  </a:cubicBezTo>
                  <a:cubicBezTo>
                    <a:pt x="214230" y="791650"/>
                    <a:pt x="265789" y="783162"/>
                    <a:pt x="259835" y="765933"/>
                  </a:cubicBezTo>
                  <a:cubicBezTo>
                    <a:pt x="253881" y="748831"/>
                    <a:pt x="247927" y="725648"/>
                    <a:pt x="257175" y="715134"/>
                  </a:cubicBezTo>
                  <a:cubicBezTo>
                    <a:pt x="266423" y="704619"/>
                    <a:pt x="296066" y="645838"/>
                    <a:pt x="267056" y="641278"/>
                  </a:cubicBezTo>
                  <a:cubicBezTo>
                    <a:pt x="238046" y="636717"/>
                    <a:pt x="183192" y="647865"/>
                    <a:pt x="173311" y="609607"/>
                  </a:cubicBezTo>
                  <a:cubicBezTo>
                    <a:pt x="163430" y="571349"/>
                    <a:pt x="200421" y="533091"/>
                    <a:pt x="195734" y="511935"/>
                  </a:cubicBezTo>
                  <a:cubicBezTo>
                    <a:pt x="191047" y="490906"/>
                    <a:pt x="196367" y="461135"/>
                    <a:pt x="174578" y="449861"/>
                  </a:cubicBezTo>
                  <a:cubicBezTo>
                    <a:pt x="152788" y="438586"/>
                    <a:pt x="130999" y="419457"/>
                    <a:pt x="133660" y="396401"/>
                  </a:cubicBezTo>
                  <a:cubicBezTo>
                    <a:pt x="136320" y="373344"/>
                    <a:pt x="157349" y="356876"/>
                    <a:pt x="148861" y="336353"/>
                  </a:cubicBezTo>
                  <a:cubicBezTo>
                    <a:pt x="140247" y="315830"/>
                    <a:pt x="129099" y="302655"/>
                    <a:pt x="141640" y="288214"/>
                  </a:cubicBezTo>
                  <a:cubicBezTo>
                    <a:pt x="154182" y="273772"/>
                    <a:pt x="173945" y="251982"/>
                    <a:pt x="164697" y="236147"/>
                  </a:cubicBezTo>
                  <a:cubicBezTo>
                    <a:pt x="155449" y="220312"/>
                    <a:pt x="111237" y="183321"/>
                    <a:pt x="121751" y="160264"/>
                  </a:cubicBezTo>
                  <a:cubicBezTo>
                    <a:pt x="132266" y="137208"/>
                    <a:pt x="149495" y="123906"/>
                    <a:pt x="143541" y="108198"/>
                  </a:cubicBezTo>
                  <a:cubicBezTo>
                    <a:pt x="137587" y="92362"/>
                    <a:pt x="106549" y="32315"/>
                    <a:pt x="128339" y="35609"/>
                  </a:cubicBezTo>
                  <a:cubicBezTo>
                    <a:pt x="150128" y="38902"/>
                    <a:pt x="186993" y="58032"/>
                    <a:pt x="181166" y="42196"/>
                  </a:cubicBezTo>
                  <a:cubicBezTo>
                    <a:pt x="175212" y="26361"/>
                    <a:pt x="166344" y="-622"/>
                    <a:pt x="213723" y="11"/>
                  </a:cubicBezTo>
                  <a:cubicBezTo>
                    <a:pt x="213850" y="3051"/>
                    <a:pt x="214610" y="6092"/>
                    <a:pt x="216383" y="8752"/>
                  </a:cubicBezTo>
                  <a:cubicBezTo>
                    <a:pt x="218410" y="11919"/>
                    <a:pt x="221577" y="13693"/>
                    <a:pt x="223731" y="16860"/>
                  </a:cubicBezTo>
                  <a:cubicBezTo>
                    <a:pt x="226138" y="20533"/>
                    <a:pt x="228165" y="25474"/>
                    <a:pt x="229685" y="29655"/>
                  </a:cubicBezTo>
                  <a:cubicBezTo>
                    <a:pt x="232852" y="38522"/>
                    <a:pt x="232472" y="47137"/>
                    <a:pt x="228545" y="55751"/>
                  </a:cubicBezTo>
                  <a:cubicBezTo>
                    <a:pt x="225631" y="62212"/>
                    <a:pt x="222211" y="68546"/>
                    <a:pt x="223858" y="75894"/>
                  </a:cubicBezTo>
                  <a:cubicBezTo>
                    <a:pt x="225378" y="83368"/>
                    <a:pt x="231079" y="89575"/>
                    <a:pt x="235259" y="95656"/>
                  </a:cubicBezTo>
                  <a:cubicBezTo>
                    <a:pt x="243366" y="107311"/>
                    <a:pt x="248180" y="120233"/>
                    <a:pt x="255148" y="132394"/>
                  </a:cubicBezTo>
                  <a:cubicBezTo>
                    <a:pt x="261735" y="143796"/>
                    <a:pt x="274151" y="150763"/>
                    <a:pt x="277951" y="163811"/>
                  </a:cubicBezTo>
                  <a:cubicBezTo>
                    <a:pt x="281245" y="174833"/>
                    <a:pt x="276177" y="218538"/>
                    <a:pt x="293786" y="217778"/>
                  </a:cubicBezTo>
                  <a:cubicBezTo>
                    <a:pt x="303287" y="217398"/>
                    <a:pt x="312789" y="206377"/>
                    <a:pt x="318743" y="200169"/>
                  </a:cubicBezTo>
                  <a:cubicBezTo>
                    <a:pt x="325457" y="193202"/>
                    <a:pt x="331918" y="185981"/>
                    <a:pt x="338125" y="178507"/>
                  </a:cubicBezTo>
                  <a:cubicBezTo>
                    <a:pt x="350286" y="163811"/>
                    <a:pt x="356494" y="147723"/>
                    <a:pt x="360041" y="128974"/>
                  </a:cubicBezTo>
                  <a:cubicBezTo>
                    <a:pt x="363462" y="110478"/>
                    <a:pt x="370683" y="92109"/>
                    <a:pt x="388038" y="82355"/>
                  </a:cubicBezTo>
                  <a:cubicBezTo>
                    <a:pt x="396146" y="77794"/>
                    <a:pt x="405393" y="75514"/>
                    <a:pt x="414261" y="78934"/>
                  </a:cubicBezTo>
                  <a:cubicBezTo>
                    <a:pt x="429210" y="84888"/>
                    <a:pt x="437571" y="101104"/>
                    <a:pt x="444158" y="114785"/>
                  </a:cubicBezTo>
                  <a:cubicBezTo>
                    <a:pt x="452519" y="132141"/>
                    <a:pt x="460374" y="149623"/>
                    <a:pt x="468481" y="166978"/>
                  </a:cubicBezTo>
                  <a:cubicBezTo>
                    <a:pt x="471395" y="173186"/>
                    <a:pt x="473422" y="177620"/>
                    <a:pt x="471902" y="184587"/>
                  </a:cubicBezTo>
                  <a:cubicBezTo>
                    <a:pt x="467595" y="203463"/>
                    <a:pt x="454039" y="217145"/>
                    <a:pt x="444412" y="233107"/>
                  </a:cubicBezTo>
                  <a:cubicBezTo>
                    <a:pt x="438964" y="242228"/>
                    <a:pt x="430477" y="263890"/>
                    <a:pt x="442765" y="271365"/>
                  </a:cubicBezTo>
                  <a:cubicBezTo>
                    <a:pt x="453913" y="278206"/>
                    <a:pt x="474055" y="268324"/>
                    <a:pt x="483810" y="262877"/>
                  </a:cubicBezTo>
                  <a:cubicBezTo>
                    <a:pt x="494831" y="256670"/>
                    <a:pt x="503319" y="250082"/>
                    <a:pt x="516114" y="247675"/>
                  </a:cubicBezTo>
                  <a:cubicBezTo>
                    <a:pt x="526629" y="245775"/>
                    <a:pt x="534990" y="240961"/>
                    <a:pt x="544871" y="237414"/>
                  </a:cubicBezTo>
                  <a:cubicBezTo>
                    <a:pt x="566407" y="229560"/>
                    <a:pt x="592250" y="228800"/>
                    <a:pt x="614800" y="230573"/>
                  </a:cubicBezTo>
                  <a:cubicBezTo>
                    <a:pt x="630889" y="231840"/>
                    <a:pt x="643557" y="240454"/>
                    <a:pt x="658885" y="243875"/>
                  </a:cubicBezTo>
                  <a:cubicBezTo>
                    <a:pt x="671173" y="246662"/>
                    <a:pt x="683969" y="243495"/>
                    <a:pt x="696256" y="242608"/>
                  </a:cubicBezTo>
                  <a:cubicBezTo>
                    <a:pt x="710825" y="241468"/>
                    <a:pt x="725140" y="241721"/>
                    <a:pt x="739835" y="239694"/>
                  </a:cubicBezTo>
                  <a:cubicBezTo>
                    <a:pt x="750856" y="238174"/>
                    <a:pt x="763018" y="239188"/>
                    <a:pt x="773659" y="235640"/>
                  </a:cubicBezTo>
                  <a:cubicBezTo>
                    <a:pt x="776066" y="234880"/>
                    <a:pt x="778220" y="233740"/>
                    <a:pt x="780247" y="232473"/>
                  </a:cubicBezTo>
                  <a:cubicBezTo>
                    <a:pt x="770873" y="252236"/>
                    <a:pt x="741989" y="307216"/>
                    <a:pt x="702590" y="326852"/>
                  </a:cubicBezTo>
                  <a:cubicBezTo>
                    <a:pt x="654071" y="350922"/>
                    <a:pt x="575908" y="379678"/>
                    <a:pt x="563367" y="396527"/>
                  </a:cubicBezTo>
                  <a:cubicBezTo>
                    <a:pt x="550825" y="413376"/>
                    <a:pt x="519788" y="458855"/>
                    <a:pt x="520801" y="487992"/>
                  </a:cubicBezTo>
                  <a:cubicBezTo>
                    <a:pt x="521815" y="517002"/>
                    <a:pt x="515861" y="517002"/>
                    <a:pt x="508893" y="525997"/>
                  </a:cubicBezTo>
                  <a:cubicBezTo>
                    <a:pt x="501925" y="534864"/>
                    <a:pt x="490017" y="564888"/>
                    <a:pt x="505979" y="578063"/>
                  </a:cubicBezTo>
                  <a:cubicBezTo>
                    <a:pt x="521815" y="591238"/>
                    <a:pt x="546898" y="614421"/>
                    <a:pt x="533343" y="627596"/>
                  </a:cubicBezTo>
                  <a:cubicBezTo>
                    <a:pt x="519788" y="640771"/>
                    <a:pt x="493818" y="690304"/>
                    <a:pt x="516874" y="705506"/>
                  </a:cubicBezTo>
                  <a:cubicBezTo>
                    <a:pt x="539930" y="720708"/>
                    <a:pt x="561720" y="710826"/>
                    <a:pt x="576922" y="728942"/>
                  </a:cubicBezTo>
                  <a:cubicBezTo>
                    <a:pt x="592124" y="747058"/>
                    <a:pt x="618727" y="769480"/>
                    <a:pt x="639249" y="774168"/>
                  </a:cubicBezTo>
                  <a:cubicBezTo>
                    <a:pt x="659645" y="778728"/>
                    <a:pt x="757064" y="797857"/>
                    <a:pt x="744522" y="861579"/>
                  </a:cubicBezTo>
                  <a:cubicBezTo>
                    <a:pt x="731981" y="925300"/>
                    <a:pt x="708545" y="973819"/>
                    <a:pt x="713232" y="994215"/>
                  </a:cubicBezTo>
                  <a:cubicBezTo>
                    <a:pt x="717919" y="1014738"/>
                    <a:pt x="736668" y="1079726"/>
                    <a:pt x="689162" y="1077065"/>
                  </a:cubicBezTo>
                  <a:cubicBezTo>
                    <a:pt x="641656" y="1074405"/>
                    <a:pt x="604665" y="1069845"/>
                    <a:pt x="577048" y="1079346"/>
                  </a:cubicBezTo>
                  <a:cubicBezTo>
                    <a:pt x="549305" y="1088974"/>
                    <a:pt x="511680" y="1108483"/>
                    <a:pt x="524602" y="1143701"/>
                  </a:cubicBezTo>
                  <a:cubicBezTo>
                    <a:pt x="537523" y="1179045"/>
                    <a:pt x="572108" y="1209069"/>
                    <a:pt x="559946" y="1227818"/>
                  </a:cubicBezTo>
                  <a:cubicBezTo>
                    <a:pt x="547785" y="1246567"/>
                    <a:pt x="539804" y="1290906"/>
                    <a:pt x="545758" y="1322449"/>
                  </a:cubicBezTo>
                  <a:cubicBezTo>
                    <a:pt x="551712" y="1354120"/>
                    <a:pt x="583636" y="1446218"/>
                    <a:pt x="626201" y="1444571"/>
                  </a:cubicBezTo>
                  <a:cubicBezTo>
                    <a:pt x="668766" y="1442925"/>
                    <a:pt x="733755" y="1399093"/>
                    <a:pt x="742369" y="1380217"/>
                  </a:cubicBezTo>
                  <a:cubicBezTo>
                    <a:pt x="750983" y="1361468"/>
                    <a:pt x="753517" y="1331317"/>
                    <a:pt x="763525" y="1330684"/>
                  </a:cubicBezTo>
                  <a:cubicBezTo>
                    <a:pt x="773406" y="1330050"/>
                    <a:pt x="808371" y="1329417"/>
                    <a:pt x="806091" y="1345252"/>
                  </a:cubicBezTo>
                  <a:cubicBezTo>
                    <a:pt x="803810" y="1361088"/>
                    <a:pt x="800517" y="1376670"/>
                    <a:pt x="810018" y="1379583"/>
                  </a:cubicBezTo>
                  <a:cubicBezTo>
                    <a:pt x="819645" y="1382497"/>
                    <a:pt x="853597" y="1390478"/>
                    <a:pt x="865504" y="1387818"/>
                  </a:cubicBezTo>
                  <a:cubicBezTo>
                    <a:pt x="877412" y="1385157"/>
                    <a:pt x="934800" y="1393392"/>
                    <a:pt x="945948" y="1409861"/>
                  </a:cubicBezTo>
                  <a:cubicBezTo>
                    <a:pt x="957223" y="1426329"/>
                    <a:pt x="971664" y="1463067"/>
                    <a:pt x="951522" y="1481563"/>
                  </a:cubicBezTo>
                  <a:cubicBezTo>
                    <a:pt x="931379" y="1500058"/>
                    <a:pt x="914277" y="1530715"/>
                    <a:pt x="918584" y="1542624"/>
                  </a:cubicBezTo>
                  <a:cubicBezTo>
                    <a:pt x="922892" y="1554532"/>
                    <a:pt x="934040" y="1573028"/>
                    <a:pt x="928845" y="1583542"/>
                  </a:cubicBezTo>
                  <a:cubicBezTo>
                    <a:pt x="923525" y="1594057"/>
                    <a:pt x="928845" y="1626361"/>
                    <a:pt x="946962" y="1638649"/>
                  </a:cubicBezTo>
                  <a:cubicBezTo>
                    <a:pt x="965077" y="1650937"/>
                    <a:pt x="993454" y="1672980"/>
                    <a:pt x="1002449" y="1666013"/>
                  </a:cubicBezTo>
                  <a:cubicBezTo>
                    <a:pt x="1011316" y="1659045"/>
                    <a:pt x="1017650" y="1633075"/>
                    <a:pt x="1035765" y="1645237"/>
                  </a:cubicBezTo>
                  <a:cubicBezTo>
                    <a:pt x="1053882" y="1657398"/>
                    <a:pt x="1056922" y="1667279"/>
                    <a:pt x="1075037" y="1667279"/>
                  </a:cubicBezTo>
                  <a:cubicBezTo>
                    <a:pt x="1093153" y="1667279"/>
                    <a:pt x="1118869" y="1676780"/>
                    <a:pt x="1113296" y="1661705"/>
                  </a:cubicBezTo>
                  <a:cubicBezTo>
                    <a:pt x="1107722" y="1646503"/>
                    <a:pt x="1108735" y="1625094"/>
                    <a:pt x="1123557" y="1627121"/>
                  </a:cubicBezTo>
                  <a:cubicBezTo>
                    <a:pt x="1138379" y="1629148"/>
                    <a:pt x="1169669" y="1628768"/>
                    <a:pt x="1185251" y="1628134"/>
                  </a:cubicBezTo>
                  <a:cubicBezTo>
                    <a:pt x="1200833" y="1627501"/>
                    <a:pt x="1222242" y="1625474"/>
                    <a:pt x="1232757" y="1628768"/>
                  </a:cubicBezTo>
                  <a:cubicBezTo>
                    <a:pt x="1243271" y="1632061"/>
                    <a:pt x="1264428" y="1642703"/>
                    <a:pt x="1282543" y="1630161"/>
                  </a:cubicBezTo>
                  <a:cubicBezTo>
                    <a:pt x="1300659" y="1617620"/>
                    <a:pt x="1305346" y="1597857"/>
                    <a:pt x="1332456" y="1593550"/>
                  </a:cubicBezTo>
                  <a:cubicBezTo>
                    <a:pt x="1359440" y="1589243"/>
                    <a:pt x="1377302" y="1598871"/>
                    <a:pt x="1384269" y="1602798"/>
                  </a:cubicBezTo>
                  <a:cubicBezTo>
                    <a:pt x="1391236" y="1606725"/>
                    <a:pt x="1400485" y="1618633"/>
                    <a:pt x="1418980" y="1619647"/>
                  </a:cubicBezTo>
                  <a:cubicBezTo>
                    <a:pt x="1437476" y="1620660"/>
                    <a:pt x="1491569" y="1622940"/>
                    <a:pt x="1499803" y="1630541"/>
                  </a:cubicBezTo>
                  <a:cubicBezTo>
                    <a:pt x="1508038" y="1638142"/>
                    <a:pt x="1512346" y="1647390"/>
                    <a:pt x="1525520" y="1643716"/>
                  </a:cubicBezTo>
                  <a:cubicBezTo>
                    <a:pt x="1538695" y="1640169"/>
                    <a:pt x="1563398" y="1624587"/>
                    <a:pt x="1572646" y="1637129"/>
                  </a:cubicBezTo>
                  <a:cubicBezTo>
                    <a:pt x="1581894" y="1649670"/>
                    <a:pt x="1586201" y="1671460"/>
                    <a:pt x="1574926" y="1680961"/>
                  </a:cubicBezTo>
                  <a:cubicBezTo>
                    <a:pt x="1563905" y="1690335"/>
                    <a:pt x="1556558" y="1715672"/>
                    <a:pt x="1588862" y="1739362"/>
                  </a:cubicBezTo>
                  <a:cubicBezTo>
                    <a:pt x="1586074" y="1741262"/>
                    <a:pt x="1583541" y="1742782"/>
                    <a:pt x="1581260" y="1744682"/>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5" name="Полилиния: фигура 714">
              <a:extLst>
                <a:ext uri="{FF2B5EF4-FFF2-40B4-BE49-F238E27FC236}">
                  <a16:creationId xmlns:a16="http://schemas.microsoft.com/office/drawing/2014/main" id="{8B8A7EFB-6A94-4CD6-852D-8C320494D2F4}"/>
                </a:ext>
              </a:extLst>
            </p:cNvPr>
            <p:cNvSpPr/>
            <p:nvPr/>
          </p:nvSpPr>
          <p:spPr>
            <a:xfrm>
              <a:off x="6786852" y="3411063"/>
              <a:ext cx="1477669" cy="1985451"/>
            </a:xfrm>
            <a:custGeom>
              <a:avLst/>
              <a:gdLst>
                <a:gd name="connsiteX0" fmla="*/ 1448354 w 1477669"/>
                <a:gd name="connsiteY0" fmla="*/ 1031107 h 1985451"/>
                <a:gd name="connsiteX1" fmla="*/ 1368163 w 1477669"/>
                <a:gd name="connsiteY1" fmla="*/ 1022493 h 1985451"/>
                <a:gd name="connsiteX2" fmla="*/ 1364617 w 1477669"/>
                <a:gd name="connsiteY2" fmla="*/ 1075953 h 1985451"/>
                <a:gd name="connsiteX3" fmla="*/ 1345361 w 1477669"/>
                <a:gd name="connsiteY3" fmla="*/ 1115224 h 1985451"/>
                <a:gd name="connsiteX4" fmla="*/ 1359296 w 1477669"/>
                <a:gd name="connsiteY4" fmla="*/ 1129413 h 1985451"/>
                <a:gd name="connsiteX5" fmla="*/ 1375765 w 1477669"/>
                <a:gd name="connsiteY5" fmla="*/ 1155763 h 1985451"/>
                <a:gd name="connsiteX6" fmla="*/ 1350301 w 1477669"/>
                <a:gd name="connsiteY6" fmla="*/ 1176159 h 1985451"/>
                <a:gd name="connsiteX7" fmla="*/ 1351695 w 1477669"/>
                <a:gd name="connsiteY7" fmla="*/ 1216444 h 1985451"/>
                <a:gd name="connsiteX8" fmla="*/ 1381085 w 1477669"/>
                <a:gd name="connsiteY8" fmla="*/ 1272184 h 1985451"/>
                <a:gd name="connsiteX9" fmla="*/ 1366264 w 1477669"/>
                <a:gd name="connsiteY9" fmla="*/ 1309809 h 1985451"/>
                <a:gd name="connsiteX10" fmla="*/ 1372598 w 1477669"/>
                <a:gd name="connsiteY10" fmla="*/ 1365296 h 1985451"/>
                <a:gd name="connsiteX11" fmla="*/ 1344474 w 1477669"/>
                <a:gd name="connsiteY11" fmla="*/ 1402287 h 1985451"/>
                <a:gd name="connsiteX12" fmla="*/ 1328638 w 1477669"/>
                <a:gd name="connsiteY12" fmla="*/ 1434591 h 1985451"/>
                <a:gd name="connsiteX13" fmla="*/ 1338520 w 1477669"/>
                <a:gd name="connsiteY13" fmla="*/ 1460941 h 1985451"/>
                <a:gd name="connsiteX14" fmla="*/ 1247815 w 1477669"/>
                <a:gd name="connsiteY14" fmla="*/ 1512754 h 1985451"/>
                <a:gd name="connsiteX15" fmla="*/ 1246802 w 1477669"/>
                <a:gd name="connsiteY15" fmla="*/ 1552406 h 1985451"/>
                <a:gd name="connsiteX16" fmla="*/ 1244141 w 1477669"/>
                <a:gd name="connsiteY16" fmla="*/ 1591044 h 1985451"/>
                <a:gd name="connsiteX17" fmla="*/ 1251109 w 1477669"/>
                <a:gd name="connsiteY17" fmla="*/ 1652485 h 1985451"/>
                <a:gd name="connsiteX18" fmla="*/ 1320784 w 1477669"/>
                <a:gd name="connsiteY18" fmla="*/ 1693023 h 1985451"/>
                <a:gd name="connsiteX19" fmla="*/ 1329652 w 1477669"/>
                <a:gd name="connsiteY19" fmla="*/ 1727987 h 1985451"/>
                <a:gd name="connsiteX20" fmla="*/ 1293421 w 1477669"/>
                <a:gd name="connsiteY20" fmla="*/ 1773593 h 1985451"/>
                <a:gd name="connsiteX21" fmla="*/ 1268338 w 1477669"/>
                <a:gd name="connsiteY21" fmla="*/ 1806911 h 1985451"/>
                <a:gd name="connsiteX22" fmla="*/ 1296715 w 1477669"/>
                <a:gd name="connsiteY22" fmla="*/ 1823379 h 1985451"/>
                <a:gd name="connsiteX23" fmla="*/ 1329652 w 1477669"/>
                <a:gd name="connsiteY23" fmla="*/ 1881780 h 1985451"/>
                <a:gd name="connsiteX24" fmla="*/ 1293421 w 1477669"/>
                <a:gd name="connsiteY24" fmla="*/ 1919405 h 1985451"/>
                <a:gd name="connsiteX25" fmla="*/ 1285186 w 1477669"/>
                <a:gd name="connsiteY25" fmla="*/ 1974892 h 1985451"/>
                <a:gd name="connsiteX26" fmla="*/ 1229447 w 1477669"/>
                <a:gd name="connsiteY26" fmla="*/ 1975525 h 1985451"/>
                <a:gd name="connsiteX27" fmla="*/ 1208290 w 1477669"/>
                <a:gd name="connsiteY27" fmla="*/ 1951076 h 1985451"/>
                <a:gd name="connsiteX28" fmla="*/ 1174973 w 1477669"/>
                <a:gd name="connsiteY28" fmla="*/ 1947148 h 1985451"/>
                <a:gd name="connsiteX29" fmla="*/ 1145962 w 1477669"/>
                <a:gd name="connsiteY29" fmla="*/ 1889001 h 1985451"/>
                <a:gd name="connsiteX30" fmla="*/ 1112012 w 1477669"/>
                <a:gd name="connsiteY30" fmla="*/ 1893308 h 1985451"/>
                <a:gd name="connsiteX31" fmla="*/ 1090729 w 1477669"/>
                <a:gd name="connsiteY31" fmla="*/ 1902556 h 1985451"/>
                <a:gd name="connsiteX32" fmla="*/ 1090729 w 1477669"/>
                <a:gd name="connsiteY32" fmla="*/ 1902556 h 1985451"/>
                <a:gd name="connsiteX33" fmla="*/ 1076794 w 1477669"/>
                <a:gd name="connsiteY33" fmla="*/ 1844155 h 1985451"/>
                <a:gd name="connsiteX34" fmla="*/ 1074513 w 1477669"/>
                <a:gd name="connsiteY34" fmla="*/ 1800323 h 1985451"/>
                <a:gd name="connsiteX35" fmla="*/ 1027388 w 1477669"/>
                <a:gd name="connsiteY35" fmla="*/ 1806911 h 1985451"/>
                <a:gd name="connsiteX36" fmla="*/ 1001671 w 1477669"/>
                <a:gd name="connsiteY36" fmla="*/ 1793736 h 1985451"/>
                <a:gd name="connsiteX37" fmla="*/ 920847 w 1477669"/>
                <a:gd name="connsiteY37" fmla="*/ 1782841 h 1985451"/>
                <a:gd name="connsiteX38" fmla="*/ 886137 w 1477669"/>
                <a:gd name="connsiteY38" fmla="*/ 1765992 h 1985451"/>
                <a:gd name="connsiteX39" fmla="*/ 834324 w 1477669"/>
                <a:gd name="connsiteY39" fmla="*/ 1756745 h 1985451"/>
                <a:gd name="connsiteX40" fmla="*/ 784411 w 1477669"/>
                <a:gd name="connsiteY40" fmla="*/ 1793356 h 1985451"/>
                <a:gd name="connsiteX41" fmla="*/ 734625 w 1477669"/>
                <a:gd name="connsiteY41" fmla="*/ 1791962 h 1985451"/>
                <a:gd name="connsiteX42" fmla="*/ 687119 w 1477669"/>
                <a:gd name="connsiteY42" fmla="*/ 1791329 h 1985451"/>
                <a:gd name="connsiteX43" fmla="*/ 625424 w 1477669"/>
                <a:gd name="connsiteY43" fmla="*/ 1790315 h 1985451"/>
                <a:gd name="connsiteX44" fmla="*/ 615163 w 1477669"/>
                <a:gd name="connsiteY44" fmla="*/ 1824900 h 1985451"/>
                <a:gd name="connsiteX45" fmla="*/ 576905 w 1477669"/>
                <a:gd name="connsiteY45" fmla="*/ 1830474 h 1985451"/>
                <a:gd name="connsiteX46" fmla="*/ 537633 w 1477669"/>
                <a:gd name="connsiteY46" fmla="*/ 1808431 h 1985451"/>
                <a:gd name="connsiteX47" fmla="*/ 504316 w 1477669"/>
                <a:gd name="connsiteY47" fmla="*/ 1829207 h 1985451"/>
                <a:gd name="connsiteX48" fmla="*/ 448829 w 1477669"/>
                <a:gd name="connsiteY48" fmla="*/ 1801844 h 1985451"/>
                <a:gd name="connsiteX49" fmla="*/ 430713 w 1477669"/>
                <a:gd name="connsiteY49" fmla="*/ 1746737 h 1985451"/>
                <a:gd name="connsiteX50" fmla="*/ 420452 w 1477669"/>
                <a:gd name="connsiteY50" fmla="*/ 1705818 h 1985451"/>
                <a:gd name="connsiteX51" fmla="*/ 453389 w 1477669"/>
                <a:gd name="connsiteY51" fmla="*/ 1644757 h 1985451"/>
                <a:gd name="connsiteX52" fmla="*/ 447815 w 1477669"/>
                <a:gd name="connsiteY52" fmla="*/ 1573055 h 1985451"/>
                <a:gd name="connsiteX53" fmla="*/ 367372 w 1477669"/>
                <a:gd name="connsiteY53" fmla="*/ 1551012 h 1985451"/>
                <a:gd name="connsiteX54" fmla="*/ 311885 w 1477669"/>
                <a:gd name="connsiteY54" fmla="*/ 1542778 h 1985451"/>
                <a:gd name="connsiteX55" fmla="*/ 307958 w 1477669"/>
                <a:gd name="connsiteY55" fmla="*/ 1508447 h 1985451"/>
                <a:gd name="connsiteX56" fmla="*/ 265392 w 1477669"/>
                <a:gd name="connsiteY56" fmla="*/ 1493878 h 1985451"/>
                <a:gd name="connsiteX57" fmla="*/ 244236 w 1477669"/>
                <a:gd name="connsiteY57" fmla="*/ 1543411 h 1985451"/>
                <a:gd name="connsiteX58" fmla="*/ 128068 w 1477669"/>
                <a:gd name="connsiteY58" fmla="*/ 1607766 h 1985451"/>
                <a:gd name="connsiteX59" fmla="*/ 47625 w 1477669"/>
                <a:gd name="connsiteY59" fmla="*/ 1485644 h 1985451"/>
                <a:gd name="connsiteX60" fmla="*/ 61814 w 1477669"/>
                <a:gd name="connsiteY60" fmla="*/ 1391012 h 1985451"/>
                <a:gd name="connsiteX61" fmla="*/ 26469 w 1477669"/>
                <a:gd name="connsiteY61" fmla="*/ 1306895 h 1985451"/>
                <a:gd name="connsiteX62" fmla="*/ 78916 w 1477669"/>
                <a:gd name="connsiteY62" fmla="*/ 1242540 h 1985451"/>
                <a:gd name="connsiteX63" fmla="*/ 191030 w 1477669"/>
                <a:gd name="connsiteY63" fmla="*/ 1240260 h 1985451"/>
                <a:gd name="connsiteX64" fmla="*/ 215100 w 1477669"/>
                <a:gd name="connsiteY64" fmla="*/ 1157410 h 1985451"/>
                <a:gd name="connsiteX65" fmla="*/ 246390 w 1477669"/>
                <a:gd name="connsiteY65" fmla="*/ 1024773 h 1985451"/>
                <a:gd name="connsiteX66" fmla="*/ 141117 w 1477669"/>
                <a:gd name="connsiteY66" fmla="*/ 937362 h 1985451"/>
                <a:gd name="connsiteX67" fmla="*/ 78789 w 1477669"/>
                <a:gd name="connsiteY67" fmla="*/ 892137 h 1985451"/>
                <a:gd name="connsiteX68" fmla="*/ 18742 w 1477669"/>
                <a:gd name="connsiteY68" fmla="*/ 868700 h 1985451"/>
                <a:gd name="connsiteX69" fmla="*/ 35210 w 1477669"/>
                <a:gd name="connsiteY69" fmla="*/ 790791 h 1985451"/>
                <a:gd name="connsiteX70" fmla="*/ 7847 w 1477669"/>
                <a:gd name="connsiteY70" fmla="*/ 741258 h 1985451"/>
                <a:gd name="connsiteX71" fmla="*/ 10761 w 1477669"/>
                <a:gd name="connsiteY71" fmla="*/ 689191 h 1985451"/>
                <a:gd name="connsiteX72" fmla="*/ 22669 w 1477669"/>
                <a:gd name="connsiteY72" fmla="*/ 651186 h 1985451"/>
                <a:gd name="connsiteX73" fmla="*/ 65234 w 1477669"/>
                <a:gd name="connsiteY73" fmla="*/ 559721 h 1985451"/>
                <a:gd name="connsiteX74" fmla="*/ 204458 w 1477669"/>
                <a:gd name="connsiteY74" fmla="*/ 490046 h 1985451"/>
                <a:gd name="connsiteX75" fmla="*/ 282114 w 1477669"/>
                <a:gd name="connsiteY75" fmla="*/ 395668 h 1985451"/>
                <a:gd name="connsiteX76" fmla="*/ 300863 w 1477669"/>
                <a:gd name="connsiteY76" fmla="*/ 374132 h 1985451"/>
                <a:gd name="connsiteX77" fmla="*/ 325947 w 1477669"/>
                <a:gd name="connsiteY77" fmla="*/ 348289 h 1985451"/>
                <a:gd name="connsiteX78" fmla="*/ 359898 w 1477669"/>
                <a:gd name="connsiteY78" fmla="*/ 314084 h 1985451"/>
                <a:gd name="connsiteX79" fmla="*/ 398662 w 1477669"/>
                <a:gd name="connsiteY79" fmla="*/ 277600 h 1985451"/>
                <a:gd name="connsiteX80" fmla="*/ 463270 w 1477669"/>
                <a:gd name="connsiteY80" fmla="*/ 263791 h 1985451"/>
                <a:gd name="connsiteX81" fmla="*/ 489874 w 1477669"/>
                <a:gd name="connsiteY81" fmla="*/ 255684 h 1985451"/>
                <a:gd name="connsiteX82" fmla="*/ 498488 w 1477669"/>
                <a:gd name="connsiteY82" fmla="*/ 233261 h 1985451"/>
                <a:gd name="connsiteX83" fmla="*/ 527498 w 1477669"/>
                <a:gd name="connsiteY83" fmla="*/ 189935 h 1985451"/>
                <a:gd name="connsiteX84" fmla="*/ 522938 w 1477669"/>
                <a:gd name="connsiteY84" fmla="*/ 168779 h 1985451"/>
                <a:gd name="connsiteX85" fmla="*/ 531933 w 1477669"/>
                <a:gd name="connsiteY85" fmla="*/ 138122 h 1985451"/>
                <a:gd name="connsiteX86" fmla="*/ 592360 w 1477669"/>
                <a:gd name="connsiteY86" fmla="*/ 88843 h 1985451"/>
                <a:gd name="connsiteX87" fmla="*/ 620863 w 1477669"/>
                <a:gd name="connsiteY87" fmla="*/ 73894 h 1985451"/>
                <a:gd name="connsiteX88" fmla="*/ 643920 w 1477669"/>
                <a:gd name="connsiteY88" fmla="*/ 61353 h 1985451"/>
                <a:gd name="connsiteX89" fmla="*/ 697126 w 1477669"/>
                <a:gd name="connsiteY89" fmla="*/ 40197 h 1985451"/>
                <a:gd name="connsiteX90" fmla="*/ 720689 w 1477669"/>
                <a:gd name="connsiteY90" fmla="*/ 39690 h 1985451"/>
                <a:gd name="connsiteX91" fmla="*/ 748433 w 1477669"/>
                <a:gd name="connsiteY91" fmla="*/ 37283 h 1985451"/>
                <a:gd name="connsiteX92" fmla="*/ 778077 w 1477669"/>
                <a:gd name="connsiteY92" fmla="*/ 33229 h 1985451"/>
                <a:gd name="connsiteX93" fmla="*/ 800879 w 1477669"/>
                <a:gd name="connsiteY93" fmla="*/ 14860 h 1985451"/>
                <a:gd name="connsiteX94" fmla="*/ 831030 w 1477669"/>
                <a:gd name="connsiteY94" fmla="*/ 3079 h 1985451"/>
                <a:gd name="connsiteX95" fmla="*/ 853453 w 1477669"/>
                <a:gd name="connsiteY95" fmla="*/ 1052 h 1985451"/>
                <a:gd name="connsiteX96" fmla="*/ 889811 w 1477669"/>
                <a:gd name="connsiteY96" fmla="*/ 24361 h 1985451"/>
                <a:gd name="connsiteX97" fmla="*/ 881957 w 1477669"/>
                <a:gd name="connsiteY97" fmla="*/ 51978 h 1985451"/>
                <a:gd name="connsiteX98" fmla="*/ 875748 w 1477669"/>
                <a:gd name="connsiteY98" fmla="*/ 72881 h 1985451"/>
                <a:gd name="connsiteX99" fmla="*/ 903112 w 1477669"/>
                <a:gd name="connsiteY99" fmla="*/ 76301 h 1985451"/>
                <a:gd name="connsiteX100" fmla="*/ 930856 w 1477669"/>
                <a:gd name="connsiteY100" fmla="*/ 71361 h 1985451"/>
                <a:gd name="connsiteX101" fmla="*/ 987230 w 1477669"/>
                <a:gd name="connsiteY101" fmla="*/ 79468 h 1985451"/>
                <a:gd name="connsiteX102" fmla="*/ 1031821 w 1477669"/>
                <a:gd name="connsiteY102" fmla="*/ 113039 h 1985451"/>
                <a:gd name="connsiteX103" fmla="*/ 1055511 w 1477669"/>
                <a:gd name="connsiteY103" fmla="*/ 117346 h 1985451"/>
                <a:gd name="connsiteX104" fmla="*/ 1079075 w 1477669"/>
                <a:gd name="connsiteY104" fmla="*/ 116333 h 1985451"/>
                <a:gd name="connsiteX105" fmla="*/ 1095036 w 1477669"/>
                <a:gd name="connsiteY105" fmla="*/ 111392 h 1985451"/>
                <a:gd name="connsiteX106" fmla="*/ 1126454 w 1477669"/>
                <a:gd name="connsiteY106" fmla="*/ 99104 h 1985451"/>
                <a:gd name="connsiteX107" fmla="*/ 1143809 w 1477669"/>
                <a:gd name="connsiteY107" fmla="*/ 80228 h 1985451"/>
                <a:gd name="connsiteX108" fmla="*/ 1198156 w 1477669"/>
                <a:gd name="connsiteY108" fmla="*/ 89476 h 1985451"/>
                <a:gd name="connsiteX109" fmla="*/ 1213738 w 1477669"/>
                <a:gd name="connsiteY109" fmla="*/ 67940 h 1985451"/>
                <a:gd name="connsiteX110" fmla="*/ 1227166 w 1477669"/>
                <a:gd name="connsiteY110" fmla="*/ 65153 h 1985451"/>
                <a:gd name="connsiteX111" fmla="*/ 1265678 w 1477669"/>
                <a:gd name="connsiteY111" fmla="*/ 138376 h 1985451"/>
                <a:gd name="connsiteX112" fmla="*/ 1295701 w 1477669"/>
                <a:gd name="connsiteY112" fmla="*/ 276586 h 1985451"/>
                <a:gd name="connsiteX113" fmla="*/ 1315210 w 1477669"/>
                <a:gd name="connsiteY113" fmla="*/ 474591 h 1985451"/>
                <a:gd name="connsiteX114" fmla="*/ 1275558 w 1477669"/>
                <a:gd name="connsiteY114" fmla="*/ 496634 h 1985451"/>
                <a:gd name="connsiteX115" fmla="*/ 1241608 w 1477669"/>
                <a:gd name="connsiteY115" fmla="*/ 505881 h 1985451"/>
                <a:gd name="connsiteX116" fmla="*/ 1246548 w 1477669"/>
                <a:gd name="connsiteY116" fmla="*/ 526658 h 1985451"/>
                <a:gd name="connsiteX117" fmla="*/ 1284174 w 1477669"/>
                <a:gd name="connsiteY117" fmla="*/ 564915 h 1985451"/>
                <a:gd name="connsiteX118" fmla="*/ 1274672 w 1477669"/>
                <a:gd name="connsiteY118" fmla="*/ 604821 h 1985451"/>
                <a:gd name="connsiteX119" fmla="*/ 1279233 w 1477669"/>
                <a:gd name="connsiteY119" fmla="*/ 657900 h 1985451"/>
                <a:gd name="connsiteX120" fmla="*/ 1315844 w 1477669"/>
                <a:gd name="connsiteY120" fmla="*/ 694892 h 1985451"/>
                <a:gd name="connsiteX121" fmla="*/ 1333326 w 1477669"/>
                <a:gd name="connsiteY121" fmla="*/ 733150 h 1985451"/>
                <a:gd name="connsiteX122" fmla="*/ 1358789 w 1477669"/>
                <a:gd name="connsiteY122" fmla="*/ 765200 h 1985451"/>
                <a:gd name="connsiteX123" fmla="*/ 1344221 w 1477669"/>
                <a:gd name="connsiteY123" fmla="*/ 797125 h 1985451"/>
                <a:gd name="connsiteX124" fmla="*/ 1324458 w 1477669"/>
                <a:gd name="connsiteY124" fmla="*/ 830062 h 1985451"/>
                <a:gd name="connsiteX125" fmla="*/ 1305329 w 1477669"/>
                <a:gd name="connsiteY125" fmla="*/ 851598 h 1985451"/>
                <a:gd name="connsiteX126" fmla="*/ 1318504 w 1477669"/>
                <a:gd name="connsiteY126" fmla="*/ 883522 h 1985451"/>
                <a:gd name="connsiteX127" fmla="*/ 1302035 w 1477669"/>
                <a:gd name="connsiteY127" fmla="*/ 901258 h 1985451"/>
                <a:gd name="connsiteX128" fmla="*/ 1289240 w 1477669"/>
                <a:gd name="connsiteY128" fmla="*/ 938249 h 1985451"/>
                <a:gd name="connsiteX129" fmla="*/ 1319897 w 1477669"/>
                <a:gd name="connsiteY129" fmla="*/ 961685 h 1985451"/>
                <a:gd name="connsiteX130" fmla="*/ 1342701 w 1477669"/>
                <a:gd name="connsiteY130" fmla="*/ 949144 h 1985451"/>
                <a:gd name="connsiteX131" fmla="*/ 1366517 w 1477669"/>
                <a:gd name="connsiteY131" fmla="*/ 963079 h 1985451"/>
                <a:gd name="connsiteX132" fmla="*/ 1402115 w 1477669"/>
                <a:gd name="connsiteY132" fmla="*/ 967386 h 1985451"/>
                <a:gd name="connsiteX133" fmla="*/ 1454561 w 1477669"/>
                <a:gd name="connsiteY133" fmla="*/ 980307 h 1985451"/>
                <a:gd name="connsiteX134" fmla="*/ 1472297 w 1477669"/>
                <a:gd name="connsiteY134" fmla="*/ 991836 h 1985451"/>
                <a:gd name="connsiteX135" fmla="*/ 1448354 w 1477669"/>
                <a:gd name="connsiteY135" fmla="*/ 1031107 h 198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77669" h="1985451">
                  <a:moveTo>
                    <a:pt x="1448354" y="1031107"/>
                  </a:moveTo>
                  <a:cubicBezTo>
                    <a:pt x="1432899" y="1041622"/>
                    <a:pt x="1385393" y="1029080"/>
                    <a:pt x="1368163" y="1022493"/>
                  </a:cubicBezTo>
                  <a:cubicBezTo>
                    <a:pt x="1351061" y="1015905"/>
                    <a:pt x="1362210" y="1066071"/>
                    <a:pt x="1364617" y="1075953"/>
                  </a:cubicBezTo>
                  <a:cubicBezTo>
                    <a:pt x="1366897" y="1085834"/>
                    <a:pt x="1353722" y="1103696"/>
                    <a:pt x="1345361" y="1115224"/>
                  </a:cubicBezTo>
                  <a:cubicBezTo>
                    <a:pt x="1337127" y="1126752"/>
                    <a:pt x="1350048" y="1128779"/>
                    <a:pt x="1359296" y="1129413"/>
                  </a:cubicBezTo>
                  <a:cubicBezTo>
                    <a:pt x="1368544" y="1130046"/>
                    <a:pt x="1372471" y="1139674"/>
                    <a:pt x="1375765" y="1155763"/>
                  </a:cubicBezTo>
                  <a:cubicBezTo>
                    <a:pt x="1379059" y="1171851"/>
                    <a:pt x="1365250" y="1171218"/>
                    <a:pt x="1350301" y="1176159"/>
                  </a:cubicBezTo>
                  <a:cubicBezTo>
                    <a:pt x="1335480" y="1181099"/>
                    <a:pt x="1350301" y="1204789"/>
                    <a:pt x="1351695" y="1216444"/>
                  </a:cubicBezTo>
                  <a:cubicBezTo>
                    <a:pt x="1352962" y="1227972"/>
                    <a:pt x="1375131" y="1261036"/>
                    <a:pt x="1381085" y="1272184"/>
                  </a:cubicBezTo>
                  <a:cubicBezTo>
                    <a:pt x="1387040" y="1283459"/>
                    <a:pt x="1372851" y="1293340"/>
                    <a:pt x="1366264" y="1309809"/>
                  </a:cubicBezTo>
                  <a:cubicBezTo>
                    <a:pt x="1359676" y="1326277"/>
                    <a:pt x="1364617" y="1348447"/>
                    <a:pt x="1372598" y="1365296"/>
                  </a:cubicBezTo>
                  <a:cubicBezTo>
                    <a:pt x="1380579" y="1382144"/>
                    <a:pt x="1356382" y="1395320"/>
                    <a:pt x="1344474" y="1402287"/>
                  </a:cubicBezTo>
                  <a:cubicBezTo>
                    <a:pt x="1332566" y="1409255"/>
                    <a:pt x="1328005" y="1425343"/>
                    <a:pt x="1328638" y="1434591"/>
                  </a:cubicBezTo>
                  <a:cubicBezTo>
                    <a:pt x="1329272" y="1443839"/>
                    <a:pt x="1340167" y="1446879"/>
                    <a:pt x="1338520" y="1460941"/>
                  </a:cubicBezTo>
                  <a:cubicBezTo>
                    <a:pt x="1336873" y="1475129"/>
                    <a:pt x="1259977" y="1504140"/>
                    <a:pt x="1247815" y="1512754"/>
                  </a:cubicBezTo>
                  <a:cubicBezTo>
                    <a:pt x="1235527" y="1521368"/>
                    <a:pt x="1239201" y="1538217"/>
                    <a:pt x="1246802" y="1552406"/>
                  </a:cubicBezTo>
                  <a:cubicBezTo>
                    <a:pt x="1254403" y="1566594"/>
                    <a:pt x="1246169" y="1568621"/>
                    <a:pt x="1244141" y="1591044"/>
                  </a:cubicBezTo>
                  <a:cubicBezTo>
                    <a:pt x="1242115" y="1613467"/>
                    <a:pt x="1239201" y="1626008"/>
                    <a:pt x="1251109" y="1652485"/>
                  </a:cubicBezTo>
                  <a:cubicBezTo>
                    <a:pt x="1263017" y="1678961"/>
                    <a:pt x="1305202" y="1693783"/>
                    <a:pt x="1320784" y="1693023"/>
                  </a:cubicBezTo>
                  <a:cubicBezTo>
                    <a:pt x="1336240" y="1692390"/>
                    <a:pt x="1331679" y="1709872"/>
                    <a:pt x="1329652" y="1727987"/>
                  </a:cubicBezTo>
                  <a:cubicBezTo>
                    <a:pt x="1327626" y="1746103"/>
                    <a:pt x="1302922" y="1767893"/>
                    <a:pt x="1293421" y="1773593"/>
                  </a:cubicBezTo>
                  <a:cubicBezTo>
                    <a:pt x="1283793" y="1779167"/>
                    <a:pt x="1268718" y="1795003"/>
                    <a:pt x="1268338" y="1806911"/>
                  </a:cubicBezTo>
                  <a:cubicBezTo>
                    <a:pt x="1268085" y="1818819"/>
                    <a:pt x="1281259" y="1818439"/>
                    <a:pt x="1296715" y="1823379"/>
                  </a:cubicBezTo>
                  <a:cubicBezTo>
                    <a:pt x="1312297" y="1828320"/>
                    <a:pt x="1329652" y="1858724"/>
                    <a:pt x="1329652" y="1881780"/>
                  </a:cubicBezTo>
                  <a:cubicBezTo>
                    <a:pt x="1329652" y="1904837"/>
                    <a:pt x="1314830" y="1907244"/>
                    <a:pt x="1293421" y="1919405"/>
                  </a:cubicBezTo>
                  <a:cubicBezTo>
                    <a:pt x="1272012" y="1931566"/>
                    <a:pt x="1284174" y="1951709"/>
                    <a:pt x="1285186" y="1974892"/>
                  </a:cubicBezTo>
                  <a:cubicBezTo>
                    <a:pt x="1286200" y="1997948"/>
                    <a:pt x="1244648" y="1976159"/>
                    <a:pt x="1229447" y="1975525"/>
                  </a:cubicBezTo>
                  <a:cubicBezTo>
                    <a:pt x="1214245" y="1974892"/>
                    <a:pt x="1208924" y="1963617"/>
                    <a:pt x="1208290" y="1951076"/>
                  </a:cubicBezTo>
                  <a:cubicBezTo>
                    <a:pt x="1207657" y="1938534"/>
                    <a:pt x="1194736" y="1945121"/>
                    <a:pt x="1174973" y="1947148"/>
                  </a:cubicBezTo>
                  <a:cubicBezTo>
                    <a:pt x="1155210" y="1949175"/>
                    <a:pt x="1155210" y="1910791"/>
                    <a:pt x="1145962" y="1889001"/>
                  </a:cubicBezTo>
                  <a:cubicBezTo>
                    <a:pt x="1136715" y="1867212"/>
                    <a:pt x="1116572" y="1887734"/>
                    <a:pt x="1112012" y="1893308"/>
                  </a:cubicBezTo>
                  <a:cubicBezTo>
                    <a:pt x="1108464" y="1897616"/>
                    <a:pt x="1099217" y="1898502"/>
                    <a:pt x="1090729" y="1902556"/>
                  </a:cubicBezTo>
                  <a:lnTo>
                    <a:pt x="1090729" y="1902556"/>
                  </a:lnTo>
                  <a:cubicBezTo>
                    <a:pt x="1058425" y="1878866"/>
                    <a:pt x="1065646" y="1853530"/>
                    <a:pt x="1076794" y="1844155"/>
                  </a:cubicBezTo>
                  <a:cubicBezTo>
                    <a:pt x="1087942" y="1834528"/>
                    <a:pt x="1083762" y="1812738"/>
                    <a:pt x="1074513" y="1800323"/>
                  </a:cubicBezTo>
                  <a:cubicBezTo>
                    <a:pt x="1065266" y="1787782"/>
                    <a:pt x="1040563" y="1803237"/>
                    <a:pt x="1027388" y="1806911"/>
                  </a:cubicBezTo>
                  <a:cubicBezTo>
                    <a:pt x="1014213" y="1810585"/>
                    <a:pt x="1009906" y="1801337"/>
                    <a:pt x="1001671" y="1793736"/>
                  </a:cubicBezTo>
                  <a:cubicBezTo>
                    <a:pt x="993437" y="1786135"/>
                    <a:pt x="939343" y="1783855"/>
                    <a:pt x="920847" y="1782841"/>
                  </a:cubicBezTo>
                  <a:cubicBezTo>
                    <a:pt x="902352" y="1781828"/>
                    <a:pt x="893104" y="1769919"/>
                    <a:pt x="886137" y="1765992"/>
                  </a:cubicBezTo>
                  <a:cubicBezTo>
                    <a:pt x="879169" y="1762065"/>
                    <a:pt x="861433" y="1752437"/>
                    <a:pt x="834324" y="1756745"/>
                  </a:cubicBezTo>
                  <a:cubicBezTo>
                    <a:pt x="807214" y="1761052"/>
                    <a:pt x="802653" y="1780814"/>
                    <a:pt x="784411" y="1793356"/>
                  </a:cubicBezTo>
                  <a:cubicBezTo>
                    <a:pt x="766295" y="1805898"/>
                    <a:pt x="745139" y="1795383"/>
                    <a:pt x="734625" y="1791962"/>
                  </a:cubicBezTo>
                  <a:cubicBezTo>
                    <a:pt x="724110" y="1788668"/>
                    <a:pt x="702574" y="1790695"/>
                    <a:pt x="687119" y="1791329"/>
                  </a:cubicBezTo>
                  <a:cubicBezTo>
                    <a:pt x="671536" y="1791962"/>
                    <a:pt x="640246" y="1792342"/>
                    <a:pt x="625424" y="1790315"/>
                  </a:cubicBezTo>
                  <a:cubicBezTo>
                    <a:pt x="610602" y="1788288"/>
                    <a:pt x="609589" y="1809698"/>
                    <a:pt x="615163" y="1824900"/>
                  </a:cubicBezTo>
                  <a:cubicBezTo>
                    <a:pt x="620737" y="1840102"/>
                    <a:pt x="595020" y="1830474"/>
                    <a:pt x="576905" y="1830474"/>
                  </a:cubicBezTo>
                  <a:cubicBezTo>
                    <a:pt x="558663" y="1830474"/>
                    <a:pt x="555749" y="1820592"/>
                    <a:pt x="537633" y="1808431"/>
                  </a:cubicBezTo>
                  <a:cubicBezTo>
                    <a:pt x="519517" y="1796270"/>
                    <a:pt x="513183" y="1822239"/>
                    <a:pt x="504316" y="1829207"/>
                  </a:cubicBezTo>
                  <a:cubicBezTo>
                    <a:pt x="495448" y="1836174"/>
                    <a:pt x="467071" y="1814005"/>
                    <a:pt x="448829" y="1801844"/>
                  </a:cubicBezTo>
                  <a:cubicBezTo>
                    <a:pt x="430713" y="1789682"/>
                    <a:pt x="425392" y="1757251"/>
                    <a:pt x="430713" y="1746737"/>
                  </a:cubicBezTo>
                  <a:cubicBezTo>
                    <a:pt x="436034" y="1736222"/>
                    <a:pt x="424759" y="1717726"/>
                    <a:pt x="420452" y="1705818"/>
                  </a:cubicBezTo>
                  <a:cubicBezTo>
                    <a:pt x="416145" y="1693910"/>
                    <a:pt x="433373" y="1663253"/>
                    <a:pt x="453389" y="1644757"/>
                  </a:cubicBezTo>
                  <a:cubicBezTo>
                    <a:pt x="473532" y="1626261"/>
                    <a:pt x="458963" y="1589650"/>
                    <a:pt x="447815" y="1573055"/>
                  </a:cubicBezTo>
                  <a:cubicBezTo>
                    <a:pt x="436540" y="1556586"/>
                    <a:pt x="379154" y="1548352"/>
                    <a:pt x="367372" y="1551012"/>
                  </a:cubicBezTo>
                  <a:cubicBezTo>
                    <a:pt x="355464" y="1553673"/>
                    <a:pt x="321513" y="1545818"/>
                    <a:pt x="311885" y="1542778"/>
                  </a:cubicBezTo>
                  <a:cubicBezTo>
                    <a:pt x="302257" y="1539864"/>
                    <a:pt x="305677" y="1524282"/>
                    <a:pt x="307958" y="1508447"/>
                  </a:cubicBezTo>
                  <a:cubicBezTo>
                    <a:pt x="310238" y="1492612"/>
                    <a:pt x="275274" y="1493245"/>
                    <a:pt x="265392" y="1493878"/>
                  </a:cubicBezTo>
                  <a:cubicBezTo>
                    <a:pt x="255511" y="1494512"/>
                    <a:pt x="252851" y="1524535"/>
                    <a:pt x="244236" y="1543411"/>
                  </a:cubicBezTo>
                  <a:cubicBezTo>
                    <a:pt x="235622" y="1562160"/>
                    <a:pt x="170634" y="1606119"/>
                    <a:pt x="128068" y="1607766"/>
                  </a:cubicBezTo>
                  <a:cubicBezTo>
                    <a:pt x="85503" y="1609413"/>
                    <a:pt x="53579" y="1517441"/>
                    <a:pt x="47625" y="1485644"/>
                  </a:cubicBezTo>
                  <a:cubicBezTo>
                    <a:pt x="41671" y="1453974"/>
                    <a:pt x="49652" y="1409761"/>
                    <a:pt x="61814" y="1391012"/>
                  </a:cubicBezTo>
                  <a:cubicBezTo>
                    <a:pt x="74102" y="1372263"/>
                    <a:pt x="39391" y="1342240"/>
                    <a:pt x="26469" y="1306895"/>
                  </a:cubicBezTo>
                  <a:cubicBezTo>
                    <a:pt x="13548" y="1271677"/>
                    <a:pt x="51172" y="1252168"/>
                    <a:pt x="78916" y="1242540"/>
                  </a:cubicBezTo>
                  <a:cubicBezTo>
                    <a:pt x="106659" y="1233039"/>
                    <a:pt x="143524" y="1237600"/>
                    <a:pt x="191030" y="1240260"/>
                  </a:cubicBezTo>
                  <a:cubicBezTo>
                    <a:pt x="238536" y="1242920"/>
                    <a:pt x="219787" y="1177932"/>
                    <a:pt x="215100" y="1157410"/>
                  </a:cubicBezTo>
                  <a:cubicBezTo>
                    <a:pt x="210539" y="1137014"/>
                    <a:pt x="233848" y="1088494"/>
                    <a:pt x="246390" y="1024773"/>
                  </a:cubicBezTo>
                  <a:cubicBezTo>
                    <a:pt x="258931" y="961178"/>
                    <a:pt x="161640" y="942050"/>
                    <a:pt x="141117" y="937362"/>
                  </a:cubicBezTo>
                  <a:cubicBezTo>
                    <a:pt x="120594" y="932675"/>
                    <a:pt x="93991" y="910252"/>
                    <a:pt x="78789" y="892137"/>
                  </a:cubicBezTo>
                  <a:cubicBezTo>
                    <a:pt x="63587" y="874021"/>
                    <a:pt x="41798" y="883902"/>
                    <a:pt x="18742" y="868700"/>
                  </a:cubicBezTo>
                  <a:cubicBezTo>
                    <a:pt x="-4315" y="853498"/>
                    <a:pt x="21655" y="803965"/>
                    <a:pt x="35210" y="790791"/>
                  </a:cubicBezTo>
                  <a:cubicBezTo>
                    <a:pt x="48765" y="777616"/>
                    <a:pt x="23682" y="754559"/>
                    <a:pt x="7847" y="741258"/>
                  </a:cubicBezTo>
                  <a:cubicBezTo>
                    <a:pt x="-7988" y="728083"/>
                    <a:pt x="3920" y="698059"/>
                    <a:pt x="10761" y="689191"/>
                  </a:cubicBezTo>
                  <a:cubicBezTo>
                    <a:pt x="17728" y="680323"/>
                    <a:pt x="23682" y="680323"/>
                    <a:pt x="22669" y="651186"/>
                  </a:cubicBezTo>
                  <a:cubicBezTo>
                    <a:pt x="21655" y="622176"/>
                    <a:pt x="52693" y="576570"/>
                    <a:pt x="65234" y="559721"/>
                  </a:cubicBezTo>
                  <a:cubicBezTo>
                    <a:pt x="77775" y="542873"/>
                    <a:pt x="155939" y="514242"/>
                    <a:pt x="204458" y="490046"/>
                  </a:cubicBezTo>
                  <a:cubicBezTo>
                    <a:pt x="243983" y="470410"/>
                    <a:pt x="272740" y="415303"/>
                    <a:pt x="282114" y="395668"/>
                  </a:cubicBezTo>
                  <a:cubicBezTo>
                    <a:pt x="290095" y="390474"/>
                    <a:pt x="295163" y="381859"/>
                    <a:pt x="300863" y="374132"/>
                  </a:cubicBezTo>
                  <a:cubicBezTo>
                    <a:pt x="308084" y="364250"/>
                    <a:pt x="316192" y="355763"/>
                    <a:pt x="325947" y="348289"/>
                  </a:cubicBezTo>
                  <a:cubicBezTo>
                    <a:pt x="339502" y="337774"/>
                    <a:pt x="351283" y="329033"/>
                    <a:pt x="359898" y="314084"/>
                  </a:cubicBezTo>
                  <a:cubicBezTo>
                    <a:pt x="368639" y="298756"/>
                    <a:pt x="381814" y="284061"/>
                    <a:pt x="398662" y="277600"/>
                  </a:cubicBezTo>
                  <a:cubicBezTo>
                    <a:pt x="418425" y="270125"/>
                    <a:pt x="442114" y="263791"/>
                    <a:pt x="463270" y="263791"/>
                  </a:cubicBezTo>
                  <a:cubicBezTo>
                    <a:pt x="472519" y="263791"/>
                    <a:pt x="483667" y="263665"/>
                    <a:pt x="489874" y="255684"/>
                  </a:cubicBezTo>
                  <a:cubicBezTo>
                    <a:pt x="494941" y="249350"/>
                    <a:pt x="495575" y="240608"/>
                    <a:pt x="498488" y="233261"/>
                  </a:cubicBezTo>
                  <a:cubicBezTo>
                    <a:pt x="505329" y="215399"/>
                    <a:pt x="530032" y="211725"/>
                    <a:pt x="527498" y="189935"/>
                  </a:cubicBezTo>
                  <a:cubicBezTo>
                    <a:pt x="526612" y="182715"/>
                    <a:pt x="523825" y="176000"/>
                    <a:pt x="522938" y="168779"/>
                  </a:cubicBezTo>
                  <a:cubicBezTo>
                    <a:pt x="521545" y="158138"/>
                    <a:pt x="526738" y="147117"/>
                    <a:pt x="531933" y="138122"/>
                  </a:cubicBezTo>
                  <a:cubicBezTo>
                    <a:pt x="544601" y="116206"/>
                    <a:pt x="569303" y="98597"/>
                    <a:pt x="592360" y="88843"/>
                  </a:cubicBezTo>
                  <a:cubicBezTo>
                    <a:pt x="602241" y="84662"/>
                    <a:pt x="611743" y="79468"/>
                    <a:pt x="620863" y="73894"/>
                  </a:cubicBezTo>
                  <a:cubicBezTo>
                    <a:pt x="628465" y="69207"/>
                    <a:pt x="635179" y="63633"/>
                    <a:pt x="643920" y="61353"/>
                  </a:cubicBezTo>
                  <a:cubicBezTo>
                    <a:pt x="662542" y="56412"/>
                    <a:pt x="677491" y="43110"/>
                    <a:pt x="697126" y="40197"/>
                  </a:cubicBezTo>
                  <a:cubicBezTo>
                    <a:pt x="704981" y="39056"/>
                    <a:pt x="712835" y="40450"/>
                    <a:pt x="720689" y="39690"/>
                  </a:cubicBezTo>
                  <a:cubicBezTo>
                    <a:pt x="729938" y="38930"/>
                    <a:pt x="739058" y="37663"/>
                    <a:pt x="748433" y="37283"/>
                  </a:cubicBezTo>
                  <a:cubicBezTo>
                    <a:pt x="758441" y="37030"/>
                    <a:pt x="768702" y="37410"/>
                    <a:pt x="778077" y="33229"/>
                  </a:cubicBezTo>
                  <a:cubicBezTo>
                    <a:pt x="787578" y="29049"/>
                    <a:pt x="793025" y="21068"/>
                    <a:pt x="800879" y="14860"/>
                  </a:cubicBezTo>
                  <a:cubicBezTo>
                    <a:pt x="809367" y="8146"/>
                    <a:pt x="820896" y="6246"/>
                    <a:pt x="831030" y="3079"/>
                  </a:cubicBezTo>
                  <a:cubicBezTo>
                    <a:pt x="839011" y="545"/>
                    <a:pt x="845218" y="-1228"/>
                    <a:pt x="853453" y="1052"/>
                  </a:cubicBezTo>
                  <a:cubicBezTo>
                    <a:pt x="864474" y="3966"/>
                    <a:pt x="885884" y="12200"/>
                    <a:pt x="889811" y="24361"/>
                  </a:cubicBezTo>
                  <a:cubicBezTo>
                    <a:pt x="892471" y="32722"/>
                    <a:pt x="885503" y="44757"/>
                    <a:pt x="881957" y="51978"/>
                  </a:cubicBezTo>
                  <a:cubicBezTo>
                    <a:pt x="879296" y="57425"/>
                    <a:pt x="871569" y="66673"/>
                    <a:pt x="875748" y="72881"/>
                  </a:cubicBezTo>
                  <a:cubicBezTo>
                    <a:pt x="880943" y="80608"/>
                    <a:pt x="895765" y="77821"/>
                    <a:pt x="903112" y="76301"/>
                  </a:cubicBezTo>
                  <a:cubicBezTo>
                    <a:pt x="912360" y="74401"/>
                    <a:pt x="921481" y="72627"/>
                    <a:pt x="930856" y="71361"/>
                  </a:cubicBezTo>
                  <a:cubicBezTo>
                    <a:pt x="950111" y="68827"/>
                    <a:pt x="969747" y="70220"/>
                    <a:pt x="987230" y="79468"/>
                  </a:cubicBezTo>
                  <a:cubicBezTo>
                    <a:pt x="1003571" y="87956"/>
                    <a:pt x="1015986" y="103285"/>
                    <a:pt x="1031821" y="113039"/>
                  </a:cubicBezTo>
                  <a:cubicBezTo>
                    <a:pt x="1039550" y="117853"/>
                    <a:pt x="1046644" y="117093"/>
                    <a:pt x="1055511" y="117346"/>
                  </a:cubicBezTo>
                  <a:cubicBezTo>
                    <a:pt x="1063365" y="117600"/>
                    <a:pt x="1071220" y="117600"/>
                    <a:pt x="1079075" y="116333"/>
                  </a:cubicBezTo>
                  <a:cubicBezTo>
                    <a:pt x="1084775" y="115446"/>
                    <a:pt x="1089462" y="112659"/>
                    <a:pt x="1095036" y="111392"/>
                  </a:cubicBezTo>
                  <a:cubicBezTo>
                    <a:pt x="1106438" y="108859"/>
                    <a:pt x="1119359" y="110759"/>
                    <a:pt x="1126454" y="99104"/>
                  </a:cubicBezTo>
                  <a:cubicBezTo>
                    <a:pt x="1131268" y="91250"/>
                    <a:pt x="1133041" y="81749"/>
                    <a:pt x="1143809" y="80228"/>
                  </a:cubicBezTo>
                  <a:cubicBezTo>
                    <a:pt x="1164585" y="77441"/>
                    <a:pt x="1183207" y="119247"/>
                    <a:pt x="1198156" y="89476"/>
                  </a:cubicBezTo>
                  <a:cubicBezTo>
                    <a:pt x="1202463" y="80862"/>
                    <a:pt x="1203603" y="71487"/>
                    <a:pt x="1213738" y="67940"/>
                  </a:cubicBezTo>
                  <a:cubicBezTo>
                    <a:pt x="1217918" y="66547"/>
                    <a:pt x="1222478" y="65660"/>
                    <a:pt x="1227166" y="65153"/>
                  </a:cubicBezTo>
                  <a:cubicBezTo>
                    <a:pt x="1210697" y="88969"/>
                    <a:pt x="1233374" y="103411"/>
                    <a:pt x="1265678" y="138376"/>
                  </a:cubicBezTo>
                  <a:cubicBezTo>
                    <a:pt x="1297981" y="173340"/>
                    <a:pt x="1297348" y="257457"/>
                    <a:pt x="1295701" y="276586"/>
                  </a:cubicBezTo>
                  <a:cubicBezTo>
                    <a:pt x="1294054" y="295715"/>
                    <a:pt x="1316477" y="454448"/>
                    <a:pt x="1315210" y="474591"/>
                  </a:cubicBezTo>
                  <a:cubicBezTo>
                    <a:pt x="1313817" y="494734"/>
                    <a:pt x="1287467" y="498027"/>
                    <a:pt x="1275558" y="496634"/>
                  </a:cubicBezTo>
                  <a:cubicBezTo>
                    <a:pt x="1263650" y="495367"/>
                    <a:pt x="1252503" y="498661"/>
                    <a:pt x="1241608" y="505881"/>
                  </a:cubicBezTo>
                  <a:cubicBezTo>
                    <a:pt x="1230713" y="513102"/>
                    <a:pt x="1240595" y="523744"/>
                    <a:pt x="1246548" y="526658"/>
                  </a:cubicBezTo>
                  <a:cubicBezTo>
                    <a:pt x="1252503" y="529571"/>
                    <a:pt x="1274672" y="550474"/>
                    <a:pt x="1284174" y="564915"/>
                  </a:cubicBezTo>
                  <a:cubicBezTo>
                    <a:pt x="1293801" y="579484"/>
                    <a:pt x="1283920" y="598867"/>
                    <a:pt x="1274672" y="604821"/>
                  </a:cubicBezTo>
                  <a:cubicBezTo>
                    <a:pt x="1265424" y="610774"/>
                    <a:pt x="1270365" y="642445"/>
                    <a:pt x="1279233" y="657900"/>
                  </a:cubicBezTo>
                  <a:cubicBezTo>
                    <a:pt x="1288101" y="673482"/>
                    <a:pt x="1304949" y="685264"/>
                    <a:pt x="1315844" y="694892"/>
                  </a:cubicBezTo>
                  <a:cubicBezTo>
                    <a:pt x="1326739" y="704393"/>
                    <a:pt x="1331426" y="720608"/>
                    <a:pt x="1333326" y="733150"/>
                  </a:cubicBezTo>
                  <a:cubicBezTo>
                    <a:pt x="1335353" y="745692"/>
                    <a:pt x="1351442" y="757600"/>
                    <a:pt x="1358789" y="765200"/>
                  </a:cubicBezTo>
                  <a:cubicBezTo>
                    <a:pt x="1366010" y="772802"/>
                    <a:pt x="1357142" y="785597"/>
                    <a:pt x="1344221" y="797125"/>
                  </a:cubicBezTo>
                  <a:cubicBezTo>
                    <a:pt x="1331299" y="808653"/>
                    <a:pt x="1330285" y="818914"/>
                    <a:pt x="1324458" y="830062"/>
                  </a:cubicBezTo>
                  <a:cubicBezTo>
                    <a:pt x="1318504" y="841337"/>
                    <a:pt x="1318251" y="845264"/>
                    <a:pt x="1305329" y="851598"/>
                  </a:cubicBezTo>
                  <a:cubicBezTo>
                    <a:pt x="1292407" y="857805"/>
                    <a:pt x="1308876" y="876048"/>
                    <a:pt x="1318504" y="883522"/>
                  </a:cubicBezTo>
                  <a:cubicBezTo>
                    <a:pt x="1328132" y="891123"/>
                    <a:pt x="1311283" y="896444"/>
                    <a:pt x="1302035" y="901258"/>
                  </a:cubicBezTo>
                  <a:cubicBezTo>
                    <a:pt x="1292788" y="906198"/>
                    <a:pt x="1287593" y="919753"/>
                    <a:pt x="1289240" y="938249"/>
                  </a:cubicBezTo>
                  <a:cubicBezTo>
                    <a:pt x="1290887" y="956618"/>
                    <a:pt x="1307103" y="956111"/>
                    <a:pt x="1319897" y="961685"/>
                  </a:cubicBezTo>
                  <a:cubicBezTo>
                    <a:pt x="1332819" y="967259"/>
                    <a:pt x="1331806" y="958771"/>
                    <a:pt x="1342701" y="949144"/>
                  </a:cubicBezTo>
                  <a:cubicBezTo>
                    <a:pt x="1353595" y="939643"/>
                    <a:pt x="1356889" y="950411"/>
                    <a:pt x="1366517" y="963079"/>
                  </a:cubicBezTo>
                  <a:cubicBezTo>
                    <a:pt x="1376144" y="975620"/>
                    <a:pt x="1388306" y="968653"/>
                    <a:pt x="1402115" y="967386"/>
                  </a:cubicBezTo>
                  <a:cubicBezTo>
                    <a:pt x="1412123" y="966499"/>
                    <a:pt x="1435939" y="971440"/>
                    <a:pt x="1454561" y="980307"/>
                  </a:cubicBezTo>
                  <a:cubicBezTo>
                    <a:pt x="1461529" y="983601"/>
                    <a:pt x="1467863" y="987528"/>
                    <a:pt x="1472297" y="991836"/>
                  </a:cubicBezTo>
                  <a:cubicBezTo>
                    <a:pt x="1488639" y="1008304"/>
                    <a:pt x="1463936" y="1020592"/>
                    <a:pt x="1448354" y="1031107"/>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nvGrpSpPr>
            <p:cNvPr id="716" name="Рисунок 388">
              <a:extLst>
                <a:ext uri="{FF2B5EF4-FFF2-40B4-BE49-F238E27FC236}">
                  <a16:creationId xmlns:a16="http://schemas.microsoft.com/office/drawing/2014/main" id="{1DA397FD-DC6E-439E-BB40-D0F80476817D}"/>
                </a:ext>
              </a:extLst>
            </p:cNvPr>
            <p:cNvGrpSpPr/>
            <p:nvPr/>
          </p:nvGrpSpPr>
          <p:grpSpPr>
            <a:xfrm>
              <a:off x="7192823" y="4380244"/>
              <a:ext cx="2142166" cy="2320324"/>
              <a:chOff x="7192823" y="4380244"/>
              <a:chExt cx="2142166" cy="2320324"/>
            </a:xfrm>
            <a:solidFill>
              <a:srgbClr val="E3E8EC"/>
            </a:solidFill>
          </p:grpSpPr>
          <p:sp>
            <p:nvSpPr>
              <p:cNvPr id="717" name="Полилиния: фигура 716">
                <a:extLst>
                  <a:ext uri="{FF2B5EF4-FFF2-40B4-BE49-F238E27FC236}">
                    <a16:creationId xmlns:a16="http://schemas.microsoft.com/office/drawing/2014/main" id="{491F978E-B3DF-4F0B-ABE0-B9D5B89AAAF5}"/>
                  </a:ext>
                </a:extLst>
              </p:cNvPr>
              <p:cNvSpPr/>
              <p:nvPr/>
            </p:nvSpPr>
            <p:spPr>
              <a:xfrm>
                <a:off x="8368795" y="6306333"/>
                <a:ext cx="54345" cy="46859"/>
              </a:xfrm>
              <a:custGeom>
                <a:avLst/>
                <a:gdLst>
                  <a:gd name="connsiteX0" fmla="*/ 2468 w 54345"/>
                  <a:gd name="connsiteY0" fmla="*/ 44309 h 46859"/>
                  <a:gd name="connsiteX1" fmla="*/ 38446 w 54345"/>
                  <a:gd name="connsiteY1" fmla="*/ 3771 h 46859"/>
                  <a:gd name="connsiteX2" fmla="*/ 52128 w 54345"/>
                  <a:gd name="connsiteY2" fmla="*/ 1364 h 46859"/>
                  <a:gd name="connsiteX3" fmla="*/ 45667 w 54345"/>
                  <a:gd name="connsiteY3" fmla="*/ 21126 h 46859"/>
                  <a:gd name="connsiteX4" fmla="*/ 2468 w 54345"/>
                  <a:gd name="connsiteY4" fmla="*/ 44309 h 4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46859">
                    <a:moveTo>
                      <a:pt x="2468" y="44309"/>
                    </a:moveTo>
                    <a:cubicBezTo>
                      <a:pt x="-10453" y="33794"/>
                      <a:pt x="31225" y="8331"/>
                      <a:pt x="38446" y="3771"/>
                    </a:cubicBezTo>
                    <a:cubicBezTo>
                      <a:pt x="41993" y="1490"/>
                      <a:pt x="48074" y="-1930"/>
                      <a:pt x="52128" y="1364"/>
                    </a:cubicBezTo>
                    <a:cubicBezTo>
                      <a:pt x="58715" y="6558"/>
                      <a:pt x="48834" y="16946"/>
                      <a:pt x="45667" y="21126"/>
                    </a:cubicBezTo>
                    <a:cubicBezTo>
                      <a:pt x="38699" y="29994"/>
                      <a:pt x="15389" y="54824"/>
                      <a:pt x="2468" y="44309"/>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18" name="Полилиния: фигура 717">
                <a:extLst>
                  <a:ext uri="{FF2B5EF4-FFF2-40B4-BE49-F238E27FC236}">
                    <a16:creationId xmlns:a16="http://schemas.microsoft.com/office/drawing/2014/main" id="{C4D38EFB-4012-4AE9-A8DF-F451DE516DAB}"/>
                  </a:ext>
                </a:extLst>
              </p:cNvPr>
              <p:cNvSpPr/>
              <p:nvPr/>
            </p:nvSpPr>
            <p:spPr>
              <a:xfrm>
                <a:off x="7192823" y="4380244"/>
                <a:ext cx="2142166" cy="2320324"/>
              </a:xfrm>
              <a:custGeom>
                <a:avLst/>
                <a:gdLst>
                  <a:gd name="connsiteX0" fmla="*/ 2140214 w 2142166"/>
                  <a:gd name="connsiteY0" fmla="*/ 863193 h 2320324"/>
                  <a:gd name="connsiteX1" fmla="*/ 2106136 w 2142166"/>
                  <a:gd name="connsiteY1" fmla="*/ 878649 h 2320324"/>
                  <a:gd name="connsiteX2" fmla="*/ 2061290 w 2142166"/>
                  <a:gd name="connsiteY2" fmla="*/ 853692 h 2320324"/>
                  <a:gd name="connsiteX3" fmla="*/ 2010997 w 2142166"/>
                  <a:gd name="connsiteY3" fmla="*/ 885996 h 2320324"/>
                  <a:gd name="connsiteX4" fmla="*/ 2019865 w 2142166"/>
                  <a:gd name="connsiteY4" fmla="*/ 940850 h 2320324"/>
                  <a:gd name="connsiteX5" fmla="*/ 2005043 w 2142166"/>
                  <a:gd name="connsiteY5" fmla="*/ 984175 h 2320324"/>
                  <a:gd name="connsiteX6" fmla="*/ 2017585 w 2142166"/>
                  <a:gd name="connsiteY6" fmla="*/ 1011792 h 2320324"/>
                  <a:gd name="connsiteX7" fmla="*/ 2021512 w 2142166"/>
                  <a:gd name="connsiteY7" fmla="*/ 1041309 h 2320324"/>
                  <a:gd name="connsiteX8" fmla="*/ 2036587 w 2142166"/>
                  <a:gd name="connsiteY8" fmla="*/ 1055371 h 2320324"/>
                  <a:gd name="connsiteX9" fmla="*/ 2060403 w 2142166"/>
                  <a:gd name="connsiteY9" fmla="*/ 1073486 h 2320324"/>
                  <a:gd name="connsiteX10" fmla="*/ 1979200 w 2142166"/>
                  <a:gd name="connsiteY10" fmla="*/ 1152916 h 2320324"/>
                  <a:gd name="connsiteX11" fmla="*/ 1930680 w 2142166"/>
                  <a:gd name="connsiteY11" fmla="*/ 1166725 h 2320324"/>
                  <a:gd name="connsiteX12" fmla="*/ 1908764 w 2142166"/>
                  <a:gd name="connsiteY12" fmla="*/ 1184840 h 2320324"/>
                  <a:gd name="connsiteX13" fmla="*/ 1959944 w 2142166"/>
                  <a:gd name="connsiteY13" fmla="*/ 1114911 h 2320324"/>
                  <a:gd name="connsiteX14" fmla="*/ 1906484 w 2142166"/>
                  <a:gd name="connsiteY14" fmla="*/ 1081594 h 2320324"/>
                  <a:gd name="connsiteX15" fmla="*/ 1883428 w 2142166"/>
                  <a:gd name="connsiteY15" fmla="*/ 1130113 h 2320324"/>
                  <a:gd name="connsiteX16" fmla="*/ 1829715 w 2142166"/>
                  <a:gd name="connsiteY16" fmla="*/ 1142021 h 2320324"/>
                  <a:gd name="connsiteX17" fmla="*/ 1835922 w 2142166"/>
                  <a:gd name="connsiteY17" fmla="*/ 1183573 h 2320324"/>
                  <a:gd name="connsiteX18" fmla="*/ 1820087 w 2142166"/>
                  <a:gd name="connsiteY18" fmla="*/ 1221198 h 2320324"/>
                  <a:gd name="connsiteX19" fmla="*/ 1797663 w 2142166"/>
                  <a:gd name="connsiteY19" fmla="*/ 1230699 h 2320324"/>
                  <a:gd name="connsiteX20" fmla="*/ 1758392 w 2142166"/>
                  <a:gd name="connsiteY20" fmla="*/ 1266677 h 2320324"/>
                  <a:gd name="connsiteX21" fmla="*/ 1721148 w 2142166"/>
                  <a:gd name="connsiteY21" fmla="*/ 1263763 h 2320324"/>
                  <a:gd name="connsiteX22" fmla="*/ 1683270 w 2142166"/>
                  <a:gd name="connsiteY22" fmla="*/ 1252235 h 2320324"/>
                  <a:gd name="connsiteX23" fmla="*/ 1653626 w 2142166"/>
                  <a:gd name="connsiteY23" fmla="*/ 1266044 h 2320324"/>
                  <a:gd name="connsiteX24" fmla="*/ 1616254 w 2142166"/>
                  <a:gd name="connsiteY24" fmla="*/ 1220818 h 2320324"/>
                  <a:gd name="connsiteX25" fmla="*/ 1591552 w 2142166"/>
                  <a:gd name="connsiteY25" fmla="*/ 1241594 h 2320324"/>
                  <a:gd name="connsiteX26" fmla="*/ 1546072 w 2142166"/>
                  <a:gd name="connsiteY26" fmla="*/ 1216257 h 2320324"/>
                  <a:gd name="connsiteX27" fmla="*/ 1508194 w 2142166"/>
                  <a:gd name="connsiteY27" fmla="*/ 1245648 h 2320324"/>
                  <a:gd name="connsiteX28" fmla="*/ 1475510 w 2142166"/>
                  <a:gd name="connsiteY28" fmla="*/ 1278332 h 2320324"/>
                  <a:gd name="connsiteX29" fmla="*/ 1411535 w 2142166"/>
                  <a:gd name="connsiteY29" fmla="*/ 1269084 h 2320324"/>
                  <a:gd name="connsiteX30" fmla="*/ 1358709 w 2142166"/>
                  <a:gd name="connsiteY30" fmla="*/ 1304048 h 2320324"/>
                  <a:gd name="connsiteX31" fmla="*/ 1317410 w 2142166"/>
                  <a:gd name="connsiteY31" fmla="*/ 1312916 h 2320324"/>
                  <a:gd name="connsiteX32" fmla="*/ 1266991 w 2142166"/>
                  <a:gd name="connsiteY32" fmla="*/ 1359155 h 2320324"/>
                  <a:gd name="connsiteX33" fmla="*/ 1323364 w 2142166"/>
                  <a:gd name="connsiteY33" fmla="*/ 1421483 h 2320324"/>
                  <a:gd name="connsiteX34" fmla="*/ 1303602 w 2142166"/>
                  <a:gd name="connsiteY34" fmla="*/ 1462021 h 2320324"/>
                  <a:gd name="connsiteX35" fmla="*/ 1329825 w 2142166"/>
                  <a:gd name="connsiteY35" fmla="*/ 1656352 h 2320324"/>
                  <a:gd name="connsiteX36" fmla="*/ 1216571 w 2142166"/>
                  <a:gd name="connsiteY36" fmla="*/ 1891349 h 2320324"/>
                  <a:gd name="connsiteX37" fmla="*/ 1160831 w 2142166"/>
                  <a:gd name="connsiteY37" fmla="*/ 1962037 h 2320324"/>
                  <a:gd name="connsiteX38" fmla="*/ 1150189 w 2142166"/>
                  <a:gd name="connsiteY38" fmla="*/ 2002322 h 2320324"/>
                  <a:gd name="connsiteX39" fmla="*/ 1129034 w 2142166"/>
                  <a:gd name="connsiteY39" fmla="*/ 2041341 h 2320324"/>
                  <a:gd name="connsiteX40" fmla="*/ 1059358 w 2142166"/>
                  <a:gd name="connsiteY40" fmla="*/ 2091254 h 2320324"/>
                  <a:gd name="connsiteX41" fmla="*/ 1004631 w 2142166"/>
                  <a:gd name="connsiteY41" fmla="*/ 2170810 h 2320324"/>
                  <a:gd name="connsiteX42" fmla="*/ 967006 w 2142166"/>
                  <a:gd name="connsiteY42" fmla="*/ 2173724 h 2320324"/>
                  <a:gd name="connsiteX43" fmla="*/ 934576 w 2142166"/>
                  <a:gd name="connsiteY43" fmla="*/ 2160549 h 2320324"/>
                  <a:gd name="connsiteX44" fmla="*/ 930142 w 2142166"/>
                  <a:gd name="connsiteY44" fmla="*/ 2198934 h 2320324"/>
                  <a:gd name="connsiteX45" fmla="*/ 863760 w 2142166"/>
                  <a:gd name="connsiteY45" fmla="*/ 2217302 h 2320324"/>
                  <a:gd name="connsiteX46" fmla="*/ 875288 w 2142166"/>
                  <a:gd name="connsiteY46" fmla="*/ 2253280 h 2320324"/>
                  <a:gd name="connsiteX47" fmla="*/ 935210 w 2142166"/>
                  <a:gd name="connsiteY47" fmla="*/ 2263161 h 2320324"/>
                  <a:gd name="connsiteX48" fmla="*/ 904552 w 2142166"/>
                  <a:gd name="connsiteY48" fmla="*/ 2291665 h 2320324"/>
                  <a:gd name="connsiteX49" fmla="*/ 866927 w 2142166"/>
                  <a:gd name="connsiteY49" fmla="*/ 2317762 h 2320324"/>
                  <a:gd name="connsiteX50" fmla="*/ 841211 w 2142166"/>
                  <a:gd name="connsiteY50" fmla="*/ 2275577 h 2320324"/>
                  <a:gd name="connsiteX51" fmla="*/ 793958 w 2142166"/>
                  <a:gd name="connsiteY51" fmla="*/ 2267342 h 2320324"/>
                  <a:gd name="connsiteX52" fmla="*/ 781796 w 2142166"/>
                  <a:gd name="connsiteY52" fmla="*/ 2231364 h 2320324"/>
                  <a:gd name="connsiteX53" fmla="*/ 736951 w 2142166"/>
                  <a:gd name="connsiteY53" fmla="*/ 2194753 h 2320324"/>
                  <a:gd name="connsiteX54" fmla="*/ 715795 w 2142166"/>
                  <a:gd name="connsiteY54" fmla="*/ 2155481 h 2320324"/>
                  <a:gd name="connsiteX55" fmla="*/ 647513 w 2142166"/>
                  <a:gd name="connsiteY55" fmla="*/ 2134326 h 2320324"/>
                  <a:gd name="connsiteX56" fmla="*/ 596713 w 2142166"/>
                  <a:gd name="connsiteY56" fmla="*/ 2085553 h 2320324"/>
                  <a:gd name="connsiteX57" fmla="*/ 543887 w 2142166"/>
                  <a:gd name="connsiteY57" fmla="*/ 2035007 h 2320324"/>
                  <a:gd name="connsiteX58" fmla="*/ 489793 w 2142166"/>
                  <a:gd name="connsiteY58" fmla="*/ 1970018 h 2320324"/>
                  <a:gd name="connsiteX59" fmla="*/ 461036 w 2142166"/>
                  <a:gd name="connsiteY59" fmla="*/ 1942022 h 2320324"/>
                  <a:gd name="connsiteX60" fmla="*/ 413151 w 2142166"/>
                  <a:gd name="connsiteY60" fmla="*/ 1985854 h 2320324"/>
                  <a:gd name="connsiteX61" fmla="*/ 360450 w 2142166"/>
                  <a:gd name="connsiteY61" fmla="*/ 2023225 h 2320324"/>
                  <a:gd name="connsiteX62" fmla="*/ 355003 w 2142166"/>
                  <a:gd name="connsiteY62" fmla="*/ 2016257 h 2320324"/>
                  <a:gd name="connsiteX63" fmla="*/ 352850 w 2142166"/>
                  <a:gd name="connsiteY63" fmla="*/ 2014864 h 2320324"/>
                  <a:gd name="connsiteX64" fmla="*/ 346009 w 2142166"/>
                  <a:gd name="connsiteY64" fmla="*/ 2009923 h 2320324"/>
                  <a:gd name="connsiteX65" fmla="*/ 344235 w 2142166"/>
                  <a:gd name="connsiteY65" fmla="*/ 2007770 h 2320324"/>
                  <a:gd name="connsiteX66" fmla="*/ 340055 w 2142166"/>
                  <a:gd name="connsiteY66" fmla="*/ 1973439 h 2320324"/>
                  <a:gd name="connsiteX67" fmla="*/ 310285 w 2142166"/>
                  <a:gd name="connsiteY67" fmla="*/ 1972932 h 2320324"/>
                  <a:gd name="connsiteX68" fmla="*/ 277727 w 2142166"/>
                  <a:gd name="connsiteY68" fmla="*/ 1993201 h 2320324"/>
                  <a:gd name="connsiteX69" fmla="*/ 256064 w 2142166"/>
                  <a:gd name="connsiteY69" fmla="*/ 1986741 h 2320324"/>
                  <a:gd name="connsiteX70" fmla="*/ 249984 w 2142166"/>
                  <a:gd name="connsiteY70" fmla="*/ 1976859 h 2320324"/>
                  <a:gd name="connsiteX71" fmla="*/ 242383 w 2142166"/>
                  <a:gd name="connsiteY71" fmla="*/ 1964951 h 2320324"/>
                  <a:gd name="connsiteX72" fmla="*/ 236049 w 2142166"/>
                  <a:gd name="connsiteY72" fmla="*/ 1951776 h 2320324"/>
                  <a:gd name="connsiteX73" fmla="*/ 224774 w 2142166"/>
                  <a:gd name="connsiteY73" fmla="*/ 1940501 h 2320324"/>
                  <a:gd name="connsiteX74" fmla="*/ 209825 w 2142166"/>
                  <a:gd name="connsiteY74" fmla="*/ 1928593 h 2320324"/>
                  <a:gd name="connsiteX75" fmla="*/ 193736 w 2142166"/>
                  <a:gd name="connsiteY75" fmla="*/ 1922132 h 2320324"/>
                  <a:gd name="connsiteX76" fmla="*/ 168273 w 2142166"/>
                  <a:gd name="connsiteY76" fmla="*/ 1912884 h 2320324"/>
                  <a:gd name="connsiteX77" fmla="*/ 134703 w 2142166"/>
                  <a:gd name="connsiteY77" fmla="*/ 1883748 h 2320324"/>
                  <a:gd name="connsiteX78" fmla="*/ 100878 w 2142166"/>
                  <a:gd name="connsiteY78" fmla="*/ 1883621 h 2320324"/>
                  <a:gd name="connsiteX79" fmla="*/ 99358 w 2142166"/>
                  <a:gd name="connsiteY79" fmla="*/ 1885141 h 2320324"/>
                  <a:gd name="connsiteX80" fmla="*/ 95431 w 2142166"/>
                  <a:gd name="connsiteY80" fmla="*/ 1890969 h 2320324"/>
                  <a:gd name="connsiteX81" fmla="*/ 94544 w 2142166"/>
                  <a:gd name="connsiteY81" fmla="*/ 1892742 h 2320324"/>
                  <a:gd name="connsiteX82" fmla="*/ 91884 w 2142166"/>
                  <a:gd name="connsiteY82" fmla="*/ 1899583 h 2320324"/>
                  <a:gd name="connsiteX83" fmla="*/ 62367 w 2142166"/>
                  <a:gd name="connsiteY83" fmla="*/ 1870699 h 2320324"/>
                  <a:gd name="connsiteX84" fmla="*/ 32343 w 2142166"/>
                  <a:gd name="connsiteY84" fmla="*/ 1817619 h 2320324"/>
                  <a:gd name="connsiteX85" fmla="*/ 419 w 2142166"/>
                  <a:gd name="connsiteY85" fmla="*/ 1756938 h 2320324"/>
                  <a:gd name="connsiteX86" fmla="*/ 51599 w 2142166"/>
                  <a:gd name="connsiteY86" fmla="*/ 1724254 h 2320324"/>
                  <a:gd name="connsiteX87" fmla="*/ 104425 w 2142166"/>
                  <a:gd name="connsiteY87" fmla="*/ 1697904 h 2320324"/>
                  <a:gd name="connsiteX88" fmla="*/ 115574 w 2142166"/>
                  <a:gd name="connsiteY88" fmla="*/ 1605173 h 2320324"/>
                  <a:gd name="connsiteX89" fmla="*/ 141037 w 2142166"/>
                  <a:gd name="connsiteY89" fmla="*/ 1576543 h 2320324"/>
                  <a:gd name="connsiteX90" fmla="*/ 151931 w 2142166"/>
                  <a:gd name="connsiteY90" fmla="*/ 1519789 h 2320324"/>
                  <a:gd name="connsiteX91" fmla="*/ 196143 w 2142166"/>
                  <a:gd name="connsiteY91" fmla="*/ 1458474 h 2320324"/>
                  <a:gd name="connsiteX92" fmla="*/ 226167 w 2142166"/>
                  <a:gd name="connsiteY92" fmla="*/ 1426804 h 2320324"/>
                  <a:gd name="connsiteX93" fmla="*/ 238075 w 2142166"/>
                  <a:gd name="connsiteY93" fmla="*/ 1396146 h 2320324"/>
                  <a:gd name="connsiteX94" fmla="*/ 227181 w 2142166"/>
                  <a:gd name="connsiteY94" fmla="*/ 1352188 h 2320324"/>
                  <a:gd name="connsiteX95" fmla="*/ 208052 w 2142166"/>
                  <a:gd name="connsiteY95" fmla="*/ 1327485 h 2320324"/>
                  <a:gd name="connsiteX96" fmla="*/ 203111 w 2142166"/>
                  <a:gd name="connsiteY96" fmla="*/ 1306075 h 2320324"/>
                  <a:gd name="connsiteX97" fmla="*/ 191836 w 2142166"/>
                  <a:gd name="connsiteY97" fmla="*/ 1289227 h 2320324"/>
                  <a:gd name="connsiteX98" fmla="*/ 239089 w 2142166"/>
                  <a:gd name="connsiteY98" fmla="*/ 1216638 h 2320324"/>
                  <a:gd name="connsiteX99" fmla="*/ 262905 w 2142166"/>
                  <a:gd name="connsiteY99" fmla="*/ 1171792 h 2320324"/>
                  <a:gd name="connsiteX100" fmla="*/ 325233 w 2142166"/>
                  <a:gd name="connsiteY100" fmla="*/ 1177113 h 2320324"/>
                  <a:gd name="connsiteX101" fmla="*/ 361844 w 2142166"/>
                  <a:gd name="connsiteY101" fmla="*/ 1197255 h 2320324"/>
                  <a:gd name="connsiteX102" fmla="*/ 400736 w 2142166"/>
                  <a:gd name="connsiteY102" fmla="*/ 1165965 h 2320324"/>
                  <a:gd name="connsiteX103" fmla="*/ 420498 w 2142166"/>
                  <a:gd name="connsiteY103" fmla="*/ 1125680 h 2320324"/>
                  <a:gd name="connsiteX104" fmla="*/ 472692 w 2142166"/>
                  <a:gd name="connsiteY104" fmla="*/ 1149749 h 2320324"/>
                  <a:gd name="connsiteX105" fmla="*/ 523871 w 2142166"/>
                  <a:gd name="connsiteY105" fmla="*/ 1232220 h 2320324"/>
                  <a:gd name="connsiteX106" fmla="*/ 545280 w 2142166"/>
                  <a:gd name="connsiteY106" fmla="*/ 1220691 h 2320324"/>
                  <a:gd name="connsiteX107" fmla="*/ 531725 w 2142166"/>
                  <a:gd name="connsiteY107" fmla="*/ 1125680 h 2320324"/>
                  <a:gd name="connsiteX108" fmla="*/ 557822 w 2142166"/>
                  <a:gd name="connsiteY108" fmla="*/ 1098696 h 2320324"/>
                  <a:gd name="connsiteX109" fmla="*/ 591139 w 2142166"/>
                  <a:gd name="connsiteY109" fmla="*/ 1095022 h 2320324"/>
                  <a:gd name="connsiteX110" fmla="*/ 596713 w 2142166"/>
                  <a:gd name="connsiteY110" fmla="*/ 1046883 h 2320324"/>
                  <a:gd name="connsiteX111" fmla="*/ 645866 w 2142166"/>
                  <a:gd name="connsiteY111" fmla="*/ 1027754 h 2320324"/>
                  <a:gd name="connsiteX112" fmla="*/ 674243 w 2142166"/>
                  <a:gd name="connsiteY112" fmla="*/ 994816 h 2320324"/>
                  <a:gd name="connsiteX113" fmla="*/ 676904 w 2142166"/>
                  <a:gd name="connsiteY113" fmla="*/ 939076 h 2320324"/>
                  <a:gd name="connsiteX114" fmla="*/ 684378 w 2142166"/>
                  <a:gd name="connsiteY114" fmla="*/ 934389 h 2320324"/>
                  <a:gd name="connsiteX115" fmla="*/ 684378 w 2142166"/>
                  <a:gd name="connsiteY115" fmla="*/ 934389 h 2320324"/>
                  <a:gd name="connsiteX116" fmla="*/ 705660 w 2142166"/>
                  <a:gd name="connsiteY116" fmla="*/ 925141 h 2320324"/>
                  <a:gd name="connsiteX117" fmla="*/ 739612 w 2142166"/>
                  <a:gd name="connsiteY117" fmla="*/ 920834 h 2320324"/>
                  <a:gd name="connsiteX118" fmla="*/ 768622 w 2142166"/>
                  <a:gd name="connsiteY118" fmla="*/ 978981 h 2320324"/>
                  <a:gd name="connsiteX119" fmla="*/ 801939 w 2142166"/>
                  <a:gd name="connsiteY119" fmla="*/ 982908 h 2320324"/>
                  <a:gd name="connsiteX120" fmla="*/ 823095 w 2142166"/>
                  <a:gd name="connsiteY120" fmla="*/ 1007358 h 2320324"/>
                  <a:gd name="connsiteX121" fmla="*/ 878836 w 2142166"/>
                  <a:gd name="connsiteY121" fmla="*/ 1006724 h 2320324"/>
                  <a:gd name="connsiteX122" fmla="*/ 887070 w 2142166"/>
                  <a:gd name="connsiteY122" fmla="*/ 951237 h 2320324"/>
                  <a:gd name="connsiteX123" fmla="*/ 923301 w 2142166"/>
                  <a:gd name="connsiteY123" fmla="*/ 913613 h 2320324"/>
                  <a:gd name="connsiteX124" fmla="*/ 890363 w 2142166"/>
                  <a:gd name="connsiteY124" fmla="*/ 855212 h 2320324"/>
                  <a:gd name="connsiteX125" fmla="*/ 861987 w 2142166"/>
                  <a:gd name="connsiteY125" fmla="*/ 838743 h 2320324"/>
                  <a:gd name="connsiteX126" fmla="*/ 887070 w 2142166"/>
                  <a:gd name="connsiteY126" fmla="*/ 805426 h 2320324"/>
                  <a:gd name="connsiteX127" fmla="*/ 923301 w 2142166"/>
                  <a:gd name="connsiteY127" fmla="*/ 759820 h 2320324"/>
                  <a:gd name="connsiteX128" fmla="*/ 914433 w 2142166"/>
                  <a:gd name="connsiteY128" fmla="*/ 724856 h 2320324"/>
                  <a:gd name="connsiteX129" fmla="*/ 844758 w 2142166"/>
                  <a:gd name="connsiteY129" fmla="*/ 684318 h 2320324"/>
                  <a:gd name="connsiteX130" fmla="*/ 837791 w 2142166"/>
                  <a:gd name="connsiteY130" fmla="*/ 622877 h 2320324"/>
                  <a:gd name="connsiteX131" fmla="*/ 840450 w 2142166"/>
                  <a:gd name="connsiteY131" fmla="*/ 584238 h 2320324"/>
                  <a:gd name="connsiteX132" fmla="*/ 841464 w 2142166"/>
                  <a:gd name="connsiteY132" fmla="*/ 544587 h 2320324"/>
                  <a:gd name="connsiteX133" fmla="*/ 932169 w 2142166"/>
                  <a:gd name="connsiteY133" fmla="*/ 492773 h 2320324"/>
                  <a:gd name="connsiteX134" fmla="*/ 922288 w 2142166"/>
                  <a:gd name="connsiteY134" fmla="*/ 466424 h 2320324"/>
                  <a:gd name="connsiteX135" fmla="*/ 938123 w 2142166"/>
                  <a:gd name="connsiteY135" fmla="*/ 434120 h 2320324"/>
                  <a:gd name="connsiteX136" fmla="*/ 966246 w 2142166"/>
                  <a:gd name="connsiteY136" fmla="*/ 397128 h 2320324"/>
                  <a:gd name="connsiteX137" fmla="*/ 959912 w 2142166"/>
                  <a:gd name="connsiteY137" fmla="*/ 341641 h 2320324"/>
                  <a:gd name="connsiteX138" fmla="*/ 974734 w 2142166"/>
                  <a:gd name="connsiteY138" fmla="*/ 304017 h 2320324"/>
                  <a:gd name="connsiteX139" fmla="*/ 945344 w 2142166"/>
                  <a:gd name="connsiteY139" fmla="*/ 248276 h 2320324"/>
                  <a:gd name="connsiteX140" fmla="*/ 943951 w 2142166"/>
                  <a:gd name="connsiteY140" fmla="*/ 207991 h 2320324"/>
                  <a:gd name="connsiteX141" fmla="*/ 969413 w 2142166"/>
                  <a:gd name="connsiteY141" fmla="*/ 187595 h 2320324"/>
                  <a:gd name="connsiteX142" fmla="*/ 952945 w 2142166"/>
                  <a:gd name="connsiteY142" fmla="*/ 161246 h 2320324"/>
                  <a:gd name="connsiteX143" fmla="*/ 939010 w 2142166"/>
                  <a:gd name="connsiteY143" fmla="*/ 147057 h 2320324"/>
                  <a:gd name="connsiteX144" fmla="*/ 958265 w 2142166"/>
                  <a:gd name="connsiteY144" fmla="*/ 107786 h 2320324"/>
                  <a:gd name="connsiteX145" fmla="*/ 961813 w 2142166"/>
                  <a:gd name="connsiteY145" fmla="*/ 54326 h 2320324"/>
                  <a:gd name="connsiteX146" fmla="*/ 1042003 w 2142166"/>
                  <a:gd name="connsiteY146" fmla="*/ 62940 h 2320324"/>
                  <a:gd name="connsiteX147" fmla="*/ 1065819 w 2142166"/>
                  <a:gd name="connsiteY147" fmla="*/ 24302 h 2320324"/>
                  <a:gd name="connsiteX148" fmla="*/ 1048083 w 2142166"/>
                  <a:gd name="connsiteY148" fmla="*/ 12774 h 2320324"/>
                  <a:gd name="connsiteX149" fmla="*/ 1090269 w 2142166"/>
                  <a:gd name="connsiteY149" fmla="*/ 5046 h 2320324"/>
                  <a:gd name="connsiteX150" fmla="*/ 1102430 w 2142166"/>
                  <a:gd name="connsiteY150" fmla="*/ 36210 h 2320324"/>
                  <a:gd name="connsiteX151" fmla="*/ 1123206 w 2142166"/>
                  <a:gd name="connsiteY151" fmla="*/ 76748 h 2320324"/>
                  <a:gd name="connsiteX152" fmla="*/ 1076967 w 2142166"/>
                  <a:gd name="connsiteY152" fmla="*/ 76748 h 2320324"/>
                  <a:gd name="connsiteX153" fmla="*/ 1080641 w 2142166"/>
                  <a:gd name="connsiteY153" fmla="*/ 130715 h 2320324"/>
                  <a:gd name="connsiteX154" fmla="*/ 1146262 w 2142166"/>
                  <a:gd name="connsiteY154" fmla="*/ 126788 h 2320324"/>
                  <a:gd name="connsiteX155" fmla="*/ 1184394 w 2142166"/>
                  <a:gd name="connsiteY155" fmla="*/ 190889 h 2320324"/>
                  <a:gd name="connsiteX156" fmla="*/ 1198836 w 2142166"/>
                  <a:gd name="connsiteY156" fmla="*/ 236241 h 2320324"/>
                  <a:gd name="connsiteX157" fmla="*/ 1194149 w 2142166"/>
                  <a:gd name="connsiteY157" fmla="*/ 296796 h 2320324"/>
                  <a:gd name="connsiteX158" fmla="*/ 1238740 w 2142166"/>
                  <a:gd name="connsiteY158" fmla="*/ 358110 h 2320324"/>
                  <a:gd name="connsiteX159" fmla="*/ 1230632 w 2142166"/>
                  <a:gd name="connsiteY159" fmla="*/ 410303 h 2320324"/>
                  <a:gd name="connsiteX160" fmla="*/ 1229112 w 2142166"/>
                  <a:gd name="connsiteY160" fmla="*/ 450082 h 2320324"/>
                  <a:gd name="connsiteX161" fmla="*/ 1289540 w 2142166"/>
                  <a:gd name="connsiteY161" fmla="*/ 512156 h 2320324"/>
                  <a:gd name="connsiteX162" fmla="*/ 1331599 w 2142166"/>
                  <a:gd name="connsiteY162" fmla="*/ 555988 h 2320324"/>
                  <a:gd name="connsiteX163" fmla="*/ 1316777 w 2142166"/>
                  <a:gd name="connsiteY163" fmla="*/ 621610 h 2320324"/>
                  <a:gd name="connsiteX164" fmla="*/ 1294987 w 2142166"/>
                  <a:gd name="connsiteY164" fmla="*/ 648593 h 2320324"/>
                  <a:gd name="connsiteX165" fmla="*/ 1284853 w 2142166"/>
                  <a:gd name="connsiteY165" fmla="*/ 682291 h 2320324"/>
                  <a:gd name="connsiteX166" fmla="*/ 1273198 w 2142166"/>
                  <a:gd name="connsiteY166" fmla="*/ 744112 h 2320324"/>
                  <a:gd name="connsiteX167" fmla="*/ 1283333 w 2142166"/>
                  <a:gd name="connsiteY167" fmla="*/ 791364 h 2320324"/>
                  <a:gd name="connsiteX168" fmla="*/ 1284347 w 2142166"/>
                  <a:gd name="connsiteY168" fmla="*/ 854325 h 2320324"/>
                  <a:gd name="connsiteX169" fmla="*/ 1330839 w 2142166"/>
                  <a:gd name="connsiteY169" fmla="*/ 902971 h 2320324"/>
                  <a:gd name="connsiteX170" fmla="*/ 1392913 w 2142166"/>
                  <a:gd name="connsiteY170" fmla="*/ 850018 h 2320324"/>
                  <a:gd name="connsiteX171" fmla="*/ 1438899 w 2142166"/>
                  <a:gd name="connsiteY171" fmla="*/ 844064 h 2320324"/>
                  <a:gd name="connsiteX172" fmla="*/ 1467656 w 2142166"/>
                  <a:gd name="connsiteY172" fmla="*/ 832409 h 2320324"/>
                  <a:gd name="connsiteX173" fmla="*/ 1496413 w 2142166"/>
                  <a:gd name="connsiteY173" fmla="*/ 820121 h 2320324"/>
                  <a:gd name="connsiteX174" fmla="*/ 1524156 w 2142166"/>
                  <a:gd name="connsiteY174" fmla="*/ 801752 h 2320324"/>
                  <a:gd name="connsiteX175" fmla="*/ 1538978 w 2142166"/>
                  <a:gd name="connsiteY175" fmla="*/ 836717 h 2320324"/>
                  <a:gd name="connsiteX176" fmla="*/ 1552027 w 2142166"/>
                  <a:gd name="connsiteY176" fmla="*/ 847104 h 2320324"/>
                  <a:gd name="connsiteX177" fmla="*/ 1560641 w 2142166"/>
                  <a:gd name="connsiteY177" fmla="*/ 890177 h 2320324"/>
                  <a:gd name="connsiteX178" fmla="*/ 1582684 w 2142166"/>
                  <a:gd name="connsiteY178" fmla="*/ 856352 h 2320324"/>
                  <a:gd name="connsiteX179" fmla="*/ 1611567 w 2142166"/>
                  <a:gd name="connsiteY179" fmla="*/ 811760 h 2320324"/>
                  <a:gd name="connsiteX180" fmla="*/ 1637537 w 2142166"/>
                  <a:gd name="connsiteY180" fmla="*/ 740184 h 2320324"/>
                  <a:gd name="connsiteX181" fmla="*/ 1693150 w 2142166"/>
                  <a:gd name="connsiteY181" fmla="*/ 691412 h 2320324"/>
                  <a:gd name="connsiteX182" fmla="*/ 1691124 w 2142166"/>
                  <a:gd name="connsiteY182" fmla="*/ 628324 h 2320324"/>
                  <a:gd name="connsiteX183" fmla="*/ 1708733 w 2142166"/>
                  <a:gd name="connsiteY183" fmla="*/ 591459 h 2320324"/>
                  <a:gd name="connsiteX184" fmla="*/ 1747371 w 2142166"/>
                  <a:gd name="connsiteY184" fmla="*/ 548641 h 2320324"/>
                  <a:gd name="connsiteX185" fmla="*/ 1902684 w 2142166"/>
                  <a:gd name="connsiteY185" fmla="*/ 622370 h 2320324"/>
                  <a:gd name="connsiteX186" fmla="*/ 1925740 w 2142166"/>
                  <a:gd name="connsiteY186" fmla="*/ 692298 h 2320324"/>
                  <a:gd name="connsiteX187" fmla="*/ 1969318 w 2142166"/>
                  <a:gd name="connsiteY187" fmla="*/ 682417 h 2320324"/>
                  <a:gd name="connsiteX188" fmla="*/ 1987181 w 2142166"/>
                  <a:gd name="connsiteY188" fmla="*/ 672536 h 2320324"/>
                  <a:gd name="connsiteX189" fmla="*/ 2007323 w 2142166"/>
                  <a:gd name="connsiteY189" fmla="*/ 679124 h 2320324"/>
                  <a:gd name="connsiteX190" fmla="*/ 2029113 w 2142166"/>
                  <a:gd name="connsiteY190" fmla="*/ 647833 h 2320324"/>
                  <a:gd name="connsiteX191" fmla="*/ 2066104 w 2142166"/>
                  <a:gd name="connsiteY191" fmla="*/ 693059 h 2320324"/>
                  <a:gd name="connsiteX192" fmla="*/ 2064710 w 2142166"/>
                  <a:gd name="connsiteY192" fmla="*/ 729037 h 2320324"/>
                  <a:gd name="connsiteX193" fmla="*/ 2101322 w 2142166"/>
                  <a:gd name="connsiteY193" fmla="*/ 760707 h 2320324"/>
                  <a:gd name="connsiteX194" fmla="*/ 2114243 w 2142166"/>
                  <a:gd name="connsiteY194" fmla="*/ 801879 h 2320324"/>
                  <a:gd name="connsiteX195" fmla="*/ 2140214 w 2142166"/>
                  <a:gd name="connsiteY195" fmla="*/ 863193 h 232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42166" h="2320324">
                    <a:moveTo>
                      <a:pt x="2140214" y="863193"/>
                    </a:moveTo>
                    <a:cubicBezTo>
                      <a:pt x="2128812" y="866360"/>
                      <a:pt x="2118804" y="880676"/>
                      <a:pt x="2106136" y="878649"/>
                    </a:cubicBezTo>
                    <a:cubicBezTo>
                      <a:pt x="2088020" y="875608"/>
                      <a:pt x="2082319" y="851538"/>
                      <a:pt x="2061290" y="853692"/>
                    </a:cubicBezTo>
                    <a:cubicBezTo>
                      <a:pt x="2045202" y="855339"/>
                      <a:pt x="2015684" y="868767"/>
                      <a:pt x="2010997" y="885996"/>
                    </a:cubicBezTo>
                    <a:cubicBezTo>
                      <a:pt x="2005803" y="904872"/>
                      <a:pt x="2026199" y="921341"/>
                      <a:pt x="2019865" y="940850"/>
                    </a:cubicBezTo>
                    <a:cubicBezTo>
                      <a:pt x="2014671" y="956938"/>
                      <a:pt x="1996302" y="965679"/>
                      <a:pt x="2005043" y="984175"/>
                    </a:cubicBezTo>
                    <a:cubicBezTo>
                      <a:pt x="2009477" y="993423"/>
                      <a:pt x="2014924" y="1001657"/>
                      <a:pt x="2017585" y="1011792"/>
                    </a:cubicBezTo>
                    <a:cubicBezTo>
                      <a:pt x="2020118" y="1021420"/>
                      <a:pt x="2019105" y="1031681"/>
                      <a:pt x="2021512" y="1041309"/>
                    </a:cubicBezTo>
                    <a:cubicBezTo>
                      <a:pt x="2023539" y="1049543"/>
                      <a:pt x="2029239" y="1052330"/>
                      <a:pt x="2036587" y="1055371"/>
                    </a:cubicBezTo>
                    <a:cubicBezTo>
                      <a:pt x="2046214" y="1059424"/>
                      <a:pt x="2055336" y="1063858"/>
                      <a:pt x="2060403" y="1073486"/>
                    </a:cubicBezTo>
                    <a:cubicBezTo>
                      <a:pt x="2083713" y="1117825"/>
                      <a:pt x="2006310" y="1141515"/>
                      <a:pt x="1979200" y="1152916"/>
                    </a:cubicBezTo>
                    <a:cubicBezTo>
                      <a:pt x="1963364" y="1159504"/>
                      <a:pt x="1947023" y="1162164"/>
                      <a:pt x="1930680" y="1166725"/>
                    </a:cubicBezTo>
                    <a:cubicBezTo>
                      <a:pt x="1920166" y="1169638"/>
                      <a:pt x="1910665" y="1174326"/>
                      <a:pt x="1908764" y="1184840"/>
                    </a:cubicBezTo>
                    <a:cubicBezTo>
                      <a:pt x="1909778" y="1154943"/>
                      <a:pt x="1942082" y="1128720"/>
                      <a:pt x="1959944" y="1114911"/>
                    </a:cubicBezTo>
                    <a:cubicBezTo>
                      <a:pt x="1977680" y="1101103"/>
                      <a:pt x="1925233" y="1081594"/>
                      <a:pt x="1906484" y="1081594"/>
                    </a:cubicBezTo>
                    <a:cubicBezTo>
                      <a:pt x="1887735" y="1081594"/>
                      <a:pt x="1884441" y="1116558"/>
                      <a:pt x="1883428" y="1130113"/>
                    </a:cubicBezTo>
                    <a:cubicBezTo>
                      <a:pt x="1882414" y="1143668"/>
                      <a:pt x="1844157" y="1141388"/>
                      <a:pt x="1829715" y="1142021"/>
                    </a:cubicBezTo>
                    <a:cubicBezTo>
                      <a:pt x="1815146" y="1142655"/>
                      <a:pt x="1830094" y="1173312"/>
                      <a:pt x="1835922" y="1183573"/>
                    </a:cubicBezTo>
                    <a:cubicBezTo>
                      <a:pt x="1841876" y="1193835"/>
                      <a:pt x="1826294" y="1211317"/>
                      <a:pt x="1820087" y="1221198"/>
                    </a:cubicBezTo>
                    <a:cubicBezTo>
                      <a:pt x="1813879" y="1231079"/>
                      <a:pt x="1808559" y="1231713"/>
                      <a:pt x="1797663" y="1230699"/>
                    </a:cubicBezTo>
                    <a:cubicBezTo>
                      <a:pt x="1786769" y="1229686"/>
                      <a:pt x="1773594" y="1254389"/>
                      <a:pt x="1758392" y="1266677"/>
                    </a:cubicBezTo>
                    <a:cubicBezTo>
                      <a:pt x="1743190" y="1278839"/>
                      <a:pt x="1733309" y="1268324"/>
                      <a:pt x="1721148" y="1263763"/>
                    </a:cubicBezTo>
                    <a:cubicBezTo>
                      <a:pt x="1708986" y="1259076"/>
                      <a:pt x="1695051" y="1253882"/>
                      <a:pt x="1683270" y="1252235"/>
                    </a:cubicBezTo>
                    <a:cubicBezTo>
                      <a:pt x="1671361" y="1250588"/>
                      <a:pt x="1665407" y="1267057"/>
                      <a:pt x="1653626" y="1266044"/>
                    </a:cubicBezTo>
                    <a:cubicBezTo>
                      <a:pt x="1641717" y="1265030"/>
                      <a:pt x="1625882" y="1235387"/>
                      <a:pt x="1616254" y="1220818"/>
                    </a:cubicBezTo>
                    <a:cubicBezTo>
                      <a:pt x="1606627" y="1206376"/>
                      <a:pt x="1599785" y="1226772"/>
                      <a:pt x="1591552" y="1241594"/>
                    </a:cubicBezTo>
                    <a:cubicBezTo>
                      <a:pt x="1583317" y="1256416"/>
                      <a:pt x="1562541" y="1225125"/>
                      <a:pt x="1546072" y="1216257"/>
                    </a:cubicBezTo>
                    <a:cubicBezTo>
                      <a:pt x="1529604" y="1207390"/>
                      <a:pt x="1512755" y="1229433"/>
                      <a:pt x="1508194" y="1245648"/>
                    </a:cubicBezTo>
                    <a:cubicBezTo>
                      <a:pt x="1503507" y="1261863"/>
                      <a:pt x="1488685" y="1271998"/>
                      <a:pt x="1475510" y="1278332"/>
                    </a:cubicBezTo>
                    <a:cubicBezTo>
                      <a:pt x="1462335" y="1284666"/>
                      <a:pt x="1429018" y="1268071"/>
                      <a:pt x="1411535" y="1269084"/>
                    </a:cubicBezTo>
                    <a:cubicBezTo>
                      <a:pt x="1394053" y="1270098"/>
                      <a:pt x="1374924" y="1289860"/>
                      <a:pt x="1358709" y="1304048"/>
                    </a:cubicBezTo>
                    <a:cubicBezTo>
                      <a:pt x="1342493" y="1318237"/>
                      <a:pt x="1334893" y="1312663"/>
                      <a:pt x="1317410" y="1312916"/>
                    </a:cubicBezTo>
                    <a:cubicBezTo>
                      <a:pt x="1299928" y="1313296"/>
                      <a:pt x="1274845" y="1330399"/>
                      <a:pt x="1266991" y="1359155"/>
                    </a:cubicBezTo>
                    <a:cubicBezTo>
                      <a:pt x="1259136" y="1387786"/>
                      <a:pt x="1300688" y="1406281"/>
                      <a:pt x="1323364" y="1421483"/>
                    </a:cubicBezTo>
                    <a:cubicBezTo>
                      <a:pt x="1346168" y="1436685"/>
                      <a:pt x="1328305" y="1435292"/>
                      <a:pt x="1303602" y="1462021"/>
                    </a:cubicBezTo>
                    <a:cubicBezTo>
                      <a:pt x="1279025" y="1488625"/>
                      <a:pt x="1329319" y="1654325"/>
                      <a:pt x="1329825" y="1656352"/>
                    </a:cubicBezTo>
                    <a:cubicBezTo>
                      <a:pt x="1312976" y="1743637"/>
                      <a:pt x="1277505" y="1825474"/>
                      <a:pt x="1216571" y="1891349"/>
                    </a:cubicBezTo>
                    <a:cubicBezTo>
                      <a:pt x="1197062" y="1912504"/>
                      <a:pt x="1174006" y="1936194"/>
                      <a:pt x="1160831" y="1962037"/>
                    </a:cubicBezTo>
                    <a:cubicBezTo>
                      <a:pt x="1154750" y="1973819"/>
                      <a:pt x="1154497" y="1989654"/>
                      <a:pt x="1150189" y="2002322"/>
                    </a:cubicBezTo>
                    <a:cubicBezTo>
                      <a:pt x="1145502" y="2016384"/>
                      <a:pt x="1138788" y="2029939"/>
                      <a:pt x="1129034" y="2041341"/>
                    </a:cubicBezTo>
                    <a:cubicBezTo>
                      <a:pt x="1109778" y="2063636"/>
                      <a:pt x="1080134" y="2070984"/>
                      <a:pt x="1059358" y="2091254"/>
                    </a:cubicBezTo>
                    <a:cubicBezTo>
                      <a:pt x="1036429" y="2113549"/>
                      <a:pt x="1030728" y="2152314"/>
                      <a:pt x="1004631" y="2170810"/>
                    </a:cubicBezTo>
                    <a:cubicBezTo>
                      <a:pt x="993103" y="2178918"/>
                      <a:pt x="979801" y="2178031"/>
                      <a:pt x="967006" y="2173724"/>
                    </a:cubicBezTo>
                    <a:cubicBezTo>
                      <a:pt x="957759" y="2170683"/>
                      <a:pt x="944457" y="2160169"/>
                      <a:pt x="934576" y="2160549"/>
                    </a:cubicBezTo>
                    <a:cubicBezTo>
                      <a:pt x="919881" y="2160929"/>
                      <a:pt x="934829" y="2189053"/>
                      <a:pt x="930142" y="2198934"/>
                    </a:cubicBezTo>
                    <a:cubicBezTo>
                      <a:pt x="921654" y="2217049"/>
                      <a:pt x="880102" y="2210842"/>
                      <a:pt x="863760" y="2217302"/>
                    </a:cubicBezTo>
                    <a:cubicBezTo>
                      <a:pt x="835003" y="2228704"/>
                      <a:pt x="855906" y="2246946"/>
                      <a:pt x="875288" y="2253280"/>
                    </a:cubicBezTo>
                    <a:cubicBezTo>
                      <a:pt x="893911" y="2259361"/>
                      <a:pt x="914813" y="2263035"/>
                      <a:pt x="935210" y="2263161"/>
                    </a:cubicBezTo>
                    <a:cubicBezTo>
                      <a:pt x="936603" y="2286471"/>
                      <a:pt x="913420" y="2293312"/>
                      <a:pt x="904552" y="2291665"/>
                    </a:cubicBezTo>
                    <a:cubicBezTo>
                      <a:pt x="895684" y="2290018"/>
                      <a:pt x="883776" y="2305220"/>
                      <a:pt x="866927" y="2317762"/>
                    </a:cubicBezTo>
                    <a:cubicBezTo>
                      <a:pt x="850078" y="2330303"/>
                      <a:pt x="844885" y="2293692"/>
                      <a:pt x="841211" y="2275577"/>
                    </a:cubicBezTo>
                    <a:cubicBezTo>
                      <a:pt x="837537" y="2257461"/>
                      <a:pt x="810554" y="2265695"/>
                      <a:pt x="793958" y="2267342"/>
                    </a:cubicBezTo>
                    <a:cubicBezTo>
                      <a:pt x="777490" y="2268989"/>
                      <a:pt x="780530" y="2261388"/>
                      <a:pt x="781796" y="2231364"/>
                    </a:cubicBezTo>
                    <a:cubicBezTo>
                      <a:pt x="783064" y="2201341"/>
                      <a:pt x="750760" y="2198427"/>
                      <a:pt x="736951" y="2194753"/>
                    </a:cubicBezTo>
                    <a:cubicBezTo>
                      <a:pt x="723142" y="2191079"/>
                      <a:pt x="721749" y="2179551"/>
                      <a:pt x="715795" y="2155481"/>
                    </a:cubicBezTo>
                    <a:cubicBezTo>
                      <a:pt x="709841" y="2131412"/>
                      <a:pt x="666262" y="2132679"/>
                      <a:pt x="647513" y="2134326"/>
                    </a:cubicBezTo>
                    <a:cubicBezTo>
                      <a:pt x="628638" y="2135973"/>
                      <a:pt x="605961" y="2106329"/>
                      <a:pt x="596713" y="2085553"/>
                    </a:cubicBezTo>
                    <a:cubicBezTo>
                      <a:pt x="587466" y="2064777"/>
                      <a:pt x="570363" y="2052869"/>
                      <a:pt x="543887" y="2035007"/>
                    </a:cubicBezTo>
                    <a:cubicBezTo>
                      <a:pt x="517537" y="2017271"/>
                      <a:pt x="495367" y="1990414"/>
                      <a:pt x="489793" y="1970018"/>
                    </a:cubicBezTo>
                    <a:cubicBezTo>
                      <a:pt x="484219" y="1949496"/>
                      <a:pt x="477252" y="1945949"/>
                      <a:pt x="461036" y="1942022"/>
                    </a:cubicBezTo>
                    <a:cubicBezTo>
                      <a:pt x="444821" y="1938094"/>
                      <a:pt x="426073" y="1970018"/>
                      <a:pt x="413151" y="1985854"/>
                    </a:cubicBezTo>
                    <a:cubicBezTo>
                      <a:pt x="400229" y="2001689"/>
                      <a:pt x="360450" y="2023225"/>
                      <a:pt x="360450" y="2023225"/>
                    </a:cubicBezTo>
                    <a:cubicBezTo>
                      <a:pt x="360450" y="2020438"/>
                      <a:pt x="358044" y="2018284"/>
                      <a:pt x="355003" y="2016257"/>
                    </a:cubicBezTo>
                    <a:cubicBezTo>
                      <a:pt x="354370" y="2015751"/>
                      <a:pt x="353610" y="2015370"/>
                      <a:pt x="352850" y="2014864"/>
                    </a:cubicBezTo>
                    <a:cubicBezTo>
                      <a:pt x="350443" y="2013344"/>
                      <a:pt x="347909" y="2011823"/>
                      <a:pt x="346009" y="2009923"/>
                    </a:cubicBezTo>
                    <a:cubicBezTo>
                      <a:pt x="345376" y="2009290"/>
                      <a:pt x="344742" y="2008530"/>
                      <a:pt x="344235" y="2007770"/>
                    </a:cubicBezTo>
                    <a:cubicBezTo>
                      <a:pt x="338155" y="1997508"/>
                      <a:pt x="351456" y="1981420"/>
                      <a:pt x="340055" y="1973439"/>
                    </a:cubicBezTo>
                    <a:cubicBezTo>
                      <a:pt x="332200" y="1967865"/>
                      <a:pt x="318645" y="1969511"/>
                      <a:pt x="310285" y="1972932"/>
                    </a:cubicBezTo>
                    <a:cubicBezTo>
                      <a:pt x="298376" y="1977619"/>
                      <a:pt x="290015" y="1989908"/>
                      <a:pt x="277727" y="1993201"/>
                    </a:cubicBezTo>
                    <a:cubicBezTo>
                      <a:pt x="269746" y="1995355"/>
                      <a:pt x="261511" y="1992948"/>
                      <a:pt x="256064" y="1986741"/>
                    </a:cubicBezTo>
                    <a:cubicBezTo>
                      <a:pt x="253531" y="1983700"/>
                      <a:pt x="252137" y="1980026"/>
                      <a:pt x="249984" y="1976859"/>
                    </a:cubicBezTo>
                    <a:cubicBezTo>
                      <a:pt x="247323" y="1972932"/>
                      <a:pt x="244663" y="1969258"/>
                      <a:pt x="242383" y="1964951"/>
                    </a:cubicBezTo>
                    <a:cubicBezTo>
                      <a:pt x="240229" y="1960644"/>
                      <a:pt x="238835" y="1955830"/>
                      <a:pt x="236049" y="1951776"/>
                    </a:cubicBezTo>
                    <a:cubicBezTo>
                      <a:pt x="233008" y="1947342"/>
                      <a:pt x="228828" y="1943922"/>
                      <a:pt x="224774" y="1940501"/>
                    </a:cubicBezTo>
                    <a:cubicBezTo>
                      <a:pt x="220087" y="1936574"/>
                      <a:pt x="216160" y="1930240"/>
                      <a:pt x="209825" y="1928593"/>
                    </a:cubicBezTo>
                    <a:cubicBezTo>
                      <a:pt x="204125" y="1927073"/>
                      <a:pt x="199057" y="1924666"/>
                      <a:pt x="193736" y="1922132"/>
                    </a:cubicBezTo>
                    <a:cubicBezTo>
                      <a:pt x="185376" y="1918205"/>
                      <a:pt x="176381" y="1917065"/>
                      <a:pt x="168273" y="1912884"/>
                    </a:cubicBezTo>
                    <a:cubicBezTo>
                      <a:pt x="154845" y="1905917"/>
                      <a:pt x="145090" y="1894389"/>
                      <a:pt x="134703" y="1883748"/>
                    </a:cubicBezTo>
                    <a:cubicBezTo>
                      <a:pt x="124061" y="1872853"/>
                      <a:pt x="112153" y="1873486"/>
                      <a:pt x="100878" y="1883621"/>
                    </a:cubicBezTo>
                    <a:cubicBezTo>
                      <a:pt x="100372" y="1884128"/>
                      <a:pt x="99865" y="1884508"/>
                      <a:pt x="99358" y="1885141"/>
                    </a:cubicBezTo>
                    <a:cubicBezTo>
                      <a:pt x="97838" y="1886788"/>
                      <a:pt x="96571" y="1888815"/>
                      <a:pt x="95431" y="1890969"/>
                    </a:cubicBezTo>
                    <a:cubicBezTo>
                      <a:pt x="95051" y="1891602"/>
                      <a:pt x="94797" y="1892235"/>
                      <a:pt x="94544" y="1892742"/>
                    </a:cubicBezTo>
                    <a:cubicBezTo>
                      <a:pt x="93531" y="1894896"/>
                      <a:pt x="92771" y="1897303"/>
                      <a:pt x="91884" y="1899583"/>
                    </a:cubicBezTo>
                    <a:cubicBezTo>
                      <a:pt x="91884" y="1899583"/>
                      <a:pt x="70348" y="1888435"/>
                      <a:pt x="62367" y="1870699"/>
                    </a:cubicBezTo>
                    <a:cubicBezTo>
                      <a:pt x="54386" y="1852964"/>
                      <a:pt x="41844" y="1831174"/>
                      <a:pt x="32343" y="1817619"/>
                    </a:cubicBezTo>
                    <a:cubicBezTo>
                      <a:pt x="22842" y="1804064"/>
                      <a:pt x="-3635" y="1785569"/>
                      <a:pt x="419" y="1756938"/>
                    </a:cubicBezTo>
                    <a:cubicBezTo>
                      <a:pt x="4346" y="1728181"/>
                      <a:pt x="40324" y="1724634"/>
                      <a:pt x="51599" y="1724254"/>
                    </a:cubicBezTo>
                    <a:cubicBezTo>
                      <a:pt x="62873" y="1723874"/>
                      <a:pt x="97204" y="1731475"/>
                      <a:pt x="104425" y="1697904"/>
                    </a:cubicBezTo>
                    <a:cubicBezTo>
                      <a:pt x="111646" y="1664207"/>
                      <a:pt x="105059" y="1612774"/>
                      <a:pt x="115574" y="1605173"/>
                    </a:cubicBezTo>
                    <a:cubicBezTo>
                      <a:pt x="126088" y="1597572"/>
                      <a:pt x="141670" y="1594658"/>
                      <a:pt x="141037" y="1576543"/>
                    </a:cubicBezTo>
                    <a:cubicBezTo>
                      <a:pt x="140403" y="1558427"/>
                      <a:pt x="142050" y="1539931"/>
                      <a:pt x="151931" y="1519789"/>
                    </a:cubicBezTo>
                    <a:cubicBezTo>
                      <a:pt x="161812" y="1499646"/>
                      <a:pt x="185882" y="1467596"/>
                      <a:pt x="196143" y="1458474"/>
                    </a:cubicBezTo>
                    <a:cubicBezTo>
                      <a:pt x="206405" y="1449226"/>
                      <a:pt x="216286" y="1431745"/>
                      <a:pt x="226167" y="1426804"/>
                    </a:cubicBezTo>
                    <a:cubicBezTo>
                      <a:pt x="236049" y="1421863"/>
                      <a:pt x="237062" y="1407041"/>
                      <a:pt x="238075" y="1396146"/>
                    </a:cubicBezTo>
                    <a:cubicBezTo>
                      <a:pt x="239089" y="1385252"/>
                      <a:pt x="242383" y="1355481"/>
                      <a:pt x="227181" y="1352188"/>
                    </a:cubicBezTo>
                    <a:cubicBezTo>
                      <a:pt x="211979" y="1348894"/>
                      <a:pt x="202731" y="1332045"/>
                      <a:pt x="208052" y="1327485"/>
                    </a:cubicBezTo>
                    <a:cubicBezTo>
                      <a:pt x="213372" y="1322924"/>
                      <a:pt x="213626" y="1309369"/>
                      <a:pt x="203111" y="1306075"/>
                    </a:cubicBezTo>
                    <a:cubicBezTo>
                      <a:pt x="192470" y="1302781"/>
                      <a:pt x="181701" y="1302148"/>
                      <a:pt x="191836" y="1289227"/>
                    </a:cubicBezTo>
                    <a:cubicBezTo>
                      <a:pt x="202097" y="1276305"/>
                      <a:pt x="234402" y="1234753"/>
                      <a:pt x="239089" y="1216638"/>
                    </a:cubicBezTo>
                    <a:cubicBezTo>
                      <a:pt x="243776" y="1198522"/>
                      <a:pt x="248970" y="1173439"/>
                      <a:pt x="262905" y="1171792"/>
                    </a:cubicBezTo>
                    <a:cubicBezTo>
                      <a:pt x="276713" y="1170145"/>
                      <a:pt x="319026" y="1167865"/>
                      <a:pt x="325233" y="1177113"/>
                    </a:cubicBezTo>
                    <a:cubicBezTo>
                      <a:pt x="331440" y="1186360"/>
                      <a:pt x="343348" y="1200295"/>
                      <a:pt x="361844" y="1197255"/>
                    </a:cubicBezTo>
                    <a:cubicBezTo>
                      <a:pt x="380340" y="1194341"/>
                      <a:pt x="395162" y="1179773"/>
                      <a:pt x="400736" y="1165965"/>
                    </a:cubicBezTo>
                    <a:cubicBezTo>
                      <a:pt x="406310" y="1152156"/>
                      <a:pt x="404410" y="1125680"/>
                      <a:pt x="420498" y="1125680"/>
                    </a:cubicBezTo>
                    <a:cubicBezTo>
                      <a:pt x="436713" y="1125680"/>
                      <a:pt x="464077" y="1127960"/>
                      <a:pt x="472692" y="1149749"/>
                    </a:cubicBezTo>
                    <a:cubicBezTo>
                      <a:pt x="481306" y="1171539"/>
                      <a:pt x="509302" y="1229306"/>
                      <a:pt x="523871" y="1232220"/>
                    </a:cubicBezTo>
                    <a:cubicBezTo>
                      <a:pt x="538313" y="1235260"/>
                      <a:pt x="546294" y="1235893"/>
                      <a:pt x="545280" y="1220691"/>
                    </a:cubicBezTo>
                    <a:cubicBezTo>
                      <a:pt x="544267" y="1205489"/>
                      <a:pt x="522857" y="1137588"/>
                      <a:pt x="531725" y="1125680"/>
                    </a:cubicBezTo>
                    <a:cubicBezTo>
                      <a:pt x="540593" y="1113771"/>
                      <a:pt x="543254" y="1094389"/>
                      <a:pt x="557822" y="1098696"/>
                    </a:cubicBezTo>
                    <a:cubicBezTo>
                      <a:pt x="572391" y="1103003"/>
                      <a:pt x="597474" y="1113898"/>
                      <a:pt x="591139" y="1095022"/>
                    </a:cubicBezTo>
                    <a:cubicBezTo>
                      <a:pt x="584805" y="1076273"/>
                      <a:pt x="581511" y="1054484"/>
                      <a:pt x="596713" y="1046883"/>
                    </a:cubicBezTo>
                    <a:cubicBezTo>
                      <a:pt x="611916" y="1039282"/>
                      <a:pt x="630031" y="1039282"/>
                      <a:pt x="645866" y="1027754"/>
                    </a:cubicBezTo>
                    <a:cubicBezTo>
                      <a:pt x="661702" y="1016226"/>
                      <a:pt x="677283" y="1015592"/>
                      <a:pt x="674243" y="994816"/>
                    </a:cubicBezTo>
                    <a:cubicBezTo>
                      <a:pt x="671203" y="974041"/>
                      <a:pt x="667276" y="947310"/>
                      <a:pt x="676904" y="939076"/>
                    </a:cubicBezTo>
                    <a:cubicBezTo>
                      <a:pt x="679184" y="937176"/>
                      <a:pt x="681718" y="935656"/>
                      <a:pt x="684378" y="934389"/>
                    </a:cubicBezTo>
                    <a:lnTo>
                      <a:pt x="684378" y="934389"/>
                    </a:lnTo>
                    <a:cubicBezTo>
                      <a:pt x="692866" y="930462"/>
                      <a:pt x="702113" y="929448"/>
                      <a:pt x="705660" y="925141"/>
                    </a:cubicBezTo>
                    <a:cubicBezTo>
                      <a:pt x="710348" y="919567"/>
                      <a:pt x="730363" y="899044"/>
                      <a:pt x="739612" y="920834"/>
                    </a:cubicBezTo>
                    <a:cubicBezTo>
                      <a:pt x="748859" y="942623"/>
                      <a:pt x="748859" y="980881"/>
                      <a:pt x="768622" y="978981"/>
                    </a:cubicBezTo>
                    <a:cubicBezTo>
                      <a:pt x="788384" y="976954"/>
                      <a:pt x="801306" y="970367"/>
                      <a:pt x="801939" y="982908"/>
                    </a:cubicBezTo>
                    <a:cubicBezTo>
                      <a:pt x="802573" y="995450"/>
                      <a:pt x="807893" y="1006598"/>
                      <a:pt x="823095" y="1007358"/>
                    </a:cubicBezTo>
                    <a:cubicBezTo>
                      <a:pt x="838297" y="1007991"/>
                      <a:pt x="879849" y="1029781"/>
                      <a:pt x="878836" y="1006724"/>
                    </a:cubicBezTo>
                    <a:cubicBezTo>
                      <a:pt x="877822" y="983668"/>
                      <a:pt x="865660" y="963526"/>
                      <a:pt x="887070" y="951237"/>
                    </a:cubicBezTo>
                    <a:cubicBezTo>
                      <a:pt x="908479" y="939076"/>
                      <a:pt x="923301" y="936669"/>
                      <a:pt x="923301" y="913613"/>
                    </a:cubicBezTo>
                    <a:cubicBezTo>
                      <a:pt x="923301" y="890557"/>
                      <a:pt x="905819" y="860153"/>
                      <a:pt x="890363" y="855212"/>
                    </a:cubicBezTo>
                    <a:cubicBezTo>
                      <a:pt x="874782" y="850272"/>
                      <a:pt x="861607" y="850652"/>
                      <a:pt x="861987" y="838743"/>
                    </a:cubicBezTo>
                    <a:cubicBezTo>
                      <a:pt x="862367" y="826836"/>
                      <a:pt x="877568" y="811000"/>
                      <a:pt x="887070" y="805426"/>
                    </a:cubicBezTo>
                    <a:cubicBezTo>
                      <a:pt x="896571" y="799852"/>
                      <a:pt x="921401" y="778063"/>
                      <a:pt x="923301" y="759820"/>
                    </a:cubicBezTo>
                    <a:cubicBezTo>
                      <a:pt x="925328" y="741578"/>
                      <a:pt x="929888" y="724223"/>
                      <a:pt x="914433" y="724856"/>
                    </a:cubicBezTo>
                    <a:cubicBezTo>
                      <a:pt x="898978" y="725616"/>
                      <a:pt x="856666" y="710668"/>
                      <a:pt x="844758" y="684318"/>
                    </a:cubicBezTo>
                    <a:cubicBezTo>
                      <a:pt x="832850" y="657968"/>
                      <a:pt x="835890" y="645426"/>
                      <a:pt x="837791" y="622877"/>
                    </a:cubicBezTo>
                    <a:cubicBezTo>
                      <a:pt x="839817" y="600454"/>
                      <a:pt x="848052" y="598553"/>
                      <a:pt x="840450" y="584238"/>
                    </a:cubicBezTo>
                    <a:cubicBezTo>
                      <a:pt x="832850" y="570050"/>
                      <a:pt x="829176" y="553201"/>
                      <a:pt x="841464" y="544587"/>
                    </a:cubicBezTo>
                    <a:cubicBezTo>
                      <a:pt x="853626" y="535972"/>
                      <a:pt x="930522" y="506962"/>
                      <a:pt x="932169" y="492773"/>
                    </a:cubicBezTo>
                    <a:cubicBezTo>
                      <a:pt x="933815" y="478585"/>
                      <a:pt x="922921" y="475672"/>
                      <a:pt x="922288" y="466424"/>
                    </a:cubicBezTo>
                    <a:cubicBezTo>
                      <a:pt x="921654" y="457176"/>
                      <a:pt x="926215" y="441087"/>
                      <a:pt x="938123" y="434120"/>
                    </a:cubicBezTo>
                    <a:cubicBezTo>
                      <a:pt x="950031" y="427152"/>
                      <a:pt x="974100" y="413977"/>
                      <a:pt x="966246" y="397128"/>
                    </a:cubicBezTo>
                    <a:cubicBezTo>
                      <a:pt x="958392" y="380280"/>
                      <a:pt x="953452" y="358237"/>
                      <a:pt x="959912" y="341641"/>
                    </a:cubicBezTo>
                    <a:cubicBezTo>
                      <a:pt x="966500" y="325173"/>
                      <a:pt x="980688" y="315292"/>
                      <a:pt x="974734" y="304017"/>
                    </a:cubicBezTo>
                    <a:cubicBezTo>
                      <a:pt x="968780" y="292869"/>
                      <a:pt x="946737" y="259805"/>
                      <a:pt x="945344" y="248276"/>
                    </a:cubicBezTo>
                    <a:cubicBezTo>
                      <a:pt x="943951" y="236748"/>
                      <a:pt x="929128" y="212932"/>
                      <a:pt x="943951" y="207991"/>
                    </a:cubicBezTo>
                    <a:cubicBezTo>
                      <a:pt x="958772" y="203051"/>
                      <a:pt x="972707" y="203684"/>
                      <a:pt x="969413" y="187595"/>
                    </a:cubicBezTo>
                    <a:cubicBezTo>
                      <a:pt x="966120" y="171380"/>
                      <a:pt x="962192" y="161879"/>
                      <a:pt x="952945" y="161246"/>
                    </a:cubicBezTo>
                    <a:cubicBezTo>
                      <a:pt x="943697" y="160612"/>
                      <a:pt x="930775" y="158585"/>
                      <a:pt x="939010" y="147057"/>
                    </a:cubicBezTo>
                    <a:cubicBezTo>
                      <a:pt x="947244" y="135529"/>
                      <a:pt x="960546" y="117667"/>
                      <a:pt x="958265" y="107786"/>
                    </a:cubicBezTo>
                    <a:cubicBezTo>
                      <a:pt x="955858" y="97904"/>
                      <a:pt x="944711" y="47738"/>
                      <a:pt x="961813" y="54326"/>
                    </a:cubicBezTo>
                    <a:cubicBezTo>
                      <a:pt x="979041" y="60913"/>
                      <a:pt x="1026547" y="73455"/>
                      <a:pt x="1042003" y="62940"/>
                    </a:cubicBezTo>
                    <a:cubicBezTo>
                      <a:pt x="1057585" y="52425"/>
                      <a:pt x="1082288" y="40137"/>
                      <a:pt x="1065819" y="24302"/>
                    </a:cubicBezTo>
                    <a:cubicBezTo>
                      <a:pt x="1061258" y="19995"/>
                      <a:pt x="1055051" y="16068"/>
                      <a:pt x="1048083" y="12774"/>
                    </a:cubicBezTo>
                    <a:cubicBezTo>
                      <a:pt x="1048083" y="12774"/>
                      <a:pt x="1086342" y="-9776"/>
                      <a:pt x="1090269" y="5046"/>
                    </a:cubicBezTo>
                    <a:cubicBezTo>
                      <a:pt x="1094196" y="19868"/>
                      <a:pt x="1094702" y="27089"/>
                      <a:pt x="1102430" y="36210"/>
                    </a:cubicBezTo>
                    <a:cubicBezTo>
                      <a:pt x="1110158" y="45331"/>
                      <a:pt x="1137015" y="72314"/>
                      <a:pt x="1123206" y="76748"/>
                    </a:cubicBezTo>
                    <a:cubicBezTo>
                      <a:pt x="1109398" y="81182"/>
                      <a:pt x="1077727" y="65094"/>
                      <a:pt x="1076967" y="76748"/>
                    </a:cubicBezTo>
                    <a:cubicBezTo>
                      <a:pt x="1076206" y="88276"/>
                      <a:pt x="1065819" y="132995"/>
                      <a:pt x="1080641" y="130715"/>
                    </a:cubicBezTo>
                    <a:cubicBezTo>
                      <a:pt x="1095462" y="128561"/>
                      <a:pt x="1137015" y="108672"/>
                      <a:pt x="1146262" y="126788"/>
                    </a:cubicBezTo>
                    <a:cubicBezTo>
                      <a:pt x="1155383" y="144903"/>
                      <a:pt x="1177173" y="181515"/>
                      <a:pt x="1184394" y="190889"/>
                    </a:cubicBezTo>
                    <a:cubicBezTo>
                      <a:pt x="1191615" y="200264"/>
                      <a:pt x="1199722" y="217619"/>
                      <a:pt x="1198836" y="236241"/>
                    </a:cubicBezTo>
                    <a:cubicBezTo>
                      <a:pt x="1197822" y="254737"/>
                      <a:pt x="1185281" y="282987"/>
                      <a:pt x="1194149" y="296796"/>
                    </a:cubicBezTo>
                    <a:cubicBezTo>
                      <a:pt x="1203016" y="310604"/>
                      <a:pt x="1238740" y="342781"/>
                      <a:pt x="1238740" y="358110"/>
                    </a:cubicBezTo>
                    <a:cubicBezTo>
                      <a:pt x="1238740" y="373439"/>
                      <a:pt x="1238740" y="394975"/>
                      <a:pt x="1230632" y="410303"/>
                    </a:cubicBezTo>
                    <a:cubicBezTo>
                      <a:pt x="1222399" y="425632"/>
                      <a:pt x="1217711" y="436020"/>
                      <a:pt x="1229112" y="450082"/>
                    </a:cubicBezTo>
                    <a:cubicBezTo>
                      <a:pt x="1240514" y="464144"/>
                      <a:pt x="1279785" y="503288"/>
                      <a:pt x="1289540" y="512156"/>
                    </a:cubicBezTo>
                    <a:cubicBezTo>
                      <a:pt x="1299168" y="521024"/>
                      <a:pt x="1337300" y="534199"/>
                      <a:pt x="1331599" y="555988"/>
                    </a:cubicBezTo>
                    <a:cubicBezTo>
                      <a:pt x="1325898" y="577778"/>
                      <a:pt x="1324124" y="616416"/>
                      <a:pt x="1316777" y="621610"/>
                    </a:cubicBezTo>
                    <a:cubicBezTo>
                      <a:pt x="1309303" y="626804"/>
                      <a:pt x="1296001" y="639472"/>
                      <a:pt x="1294987" y="648593"/>
                    </a:cubicBezTo>
                    <a:cubicBezTo>
                      <a:pt x="1294101" y="657841"/>
                      <a:pt x="1285359" y="665442"/>
                      <a:pt x="1284853" y="682291"/>
                    </a:cubicBezTo>
                    <a:cubicBezTo>
                      <a:pt x="1284347" y="699139"/>
                      <a:pt x="1271298" y="731570"/>
                      <a:pt x="1273198" y="744112"/>
                    </a:cubicBezTo>
                    <a:cubicBezTo>
                      <a:pt x="1275225" y="756780"/>
                      <a:pt x="1286373" y="769322"/>
                      <a:pt x="1283333" y="791364"/>
                    </a:cubicBezTo>
                    <a:cubicBezTo>
                      <a:pt x="1280419" y="813407"/>
                      <a:pt x="1277886" y="842797"/>
                      <a:pt x="1284347" y="854325"/>
                    </a:cubicBezTo>
                    <a:cubicBezTo>
                      <a:pt x="1290807" y="865854"/>
                      <a:pt x="1307656" y="903225"/>
                      <a:pt x="1330839" y="902971"/>
                    </a:cubicBezTo>
                    <a:cubicBezTo>
                      <a:pt x="1354022" y="902718"/>
                      <a:pt x="1379358" y="848245"/>
                      <a:pt x="1392913" y="850018"/>
                    </a:cubicBezTo>
                    <a:cubicBezTo>
                      <a:pt x="1406468" y="851792"/>
                      <a:pt x="1419390" y="855212"/>
                      <a:pt x="1438899" y="844064"/>
                    </a:cubicBezTo>
                    <a:cubicBezTo>
                      <a:pt x="1458408" y="833043"/>
                      <a:pt x="1456254" y="833043"/>
                      <a:pt x="1467656" y="832409"/>
                    </a:cubicBezTo>
                    <a:cubicBezTo>
                      <a:pt x="1479057" y="831903"/>
                      <a:pt x="1488432" y="829749"/>
                      <a:pt x="1496413" y="820121"/>
                    </a:cubicBezTo>
                    <a:cubicBezTo>
                      <a:pt x="1504394" y="810493"/>
                      <a:pt x="1517442" y="782497"/>
                      <a:pt x="1524156" y="801752"/>
                    </a:cubicBezTo>
                    <a:cubicBezTo>
                      <a:pt x="1530870" y="821135"/>
                      <a:pt x="1534291" y="841150"/>
                      <a:pt x="1538978" y="836717"/>
                    </a:cubicBezTo>
                    <a:cubicBezTo>
                      <a:pt x="1543665" y="832283"/>
                      <a:pt x="1549873" y="828229"/>
                      <a:pt x="1552027" y="847104"/>
                    </a:cubicBezTo>
                    <a:cubicBezTo>
                      <a:pt x="1554180" y="865854"/>
                      <a:pt x="1549366" y="895117"/>
                      <a:pt x="1560641" y="890177"/>
                    </a:cubicBezTo>
                    <a:cubicBezTo>
                      <a:pt x="1572042" y="885236"/>
                      <a:pt x="1573943" y="858253"/>
                      <a:pt x="1582684" y="856352"/>
                    </a:cubicBezTo>
                    <a:cubicBezTo>
                      <a:pt x="1591298" y="854325"/>
                      <a:pt x="1608147" y="842417"/>
                      <a:pt x="1611567" y="811760"/>
                    </a:cubicBezTo>
                    <a:cubicBezTo>
                      <a:pt x="1614988" y="781103"/>
                      <a:pt x="1621955" y="749939"/>
                      <a:pt x="1637537" y="740184"/>
                    </a:cubicBezTo>
                    <a:cubicBezTo>
                      <a:pt x="1653119" y="730557"/>
                      <a:pt x="1692771" y="713961"/>
                      <a:pt x="1693150" y="691412"/>
                    </a:cubicBezTo>
                    <a:cubicBezTo>
                      <a:pt x="1693658" y="668862"/>
                      <a:pt x="1679342" y="645933"/>
                      <a:pt x="1691124" y="628324"/>
                    </a:cubicBezTo>
                    <a:cubicBezTo>
                      <a:pt x="1703032" y="610715"/>
                      <a:pt x="1707719" y="606535"/>
                      <a:pt x="1708733" y="591459"/>
                    </a:cubicBezTo>
                    <a:cubicBezTo>
                      <a:pt x="1709746" y="576384"/>
                      <a:pt x="1715700" y="546740"/>
                      <a:pt x="1747371" y="548641"/>
                    </a:cubicBezTo>
                    <a:cubicBezTo>
                      <a:pt x="1779042" y="550668"/>
                      <a:pt x="1890142" y="557382"/>
                      <a:pt x="1902684" y="622370"/>
                    </a:cubicBezTo>
                    <a:cubicBezTo>
                      <a:pt x="1915225" y="687358"/>
                      <a:pt x="1905597" y="691032"/>
                      <a:pt x="1925740" y="692298"/>
                    </a:cubicBezTo>
                    <a:cubicBezTo>
                      <a:pt x="1945882" y="693565"/>
                      <a:pt x="1960451" y="693565"/>
                      <a:pt x="1969318" y="682417"/>
                    </a:cubicBezTo>
                    <a:cubicBezTo>
                      <a:pt x="1978186" y="671143"/>
                      <a:pt x="1980466" y="666582"/>
                      <a:pt x="1987181" y="672536"/>
                    </a:cubicBezTo>
                    <a:cubicBezTo>
                      <a:pt x="1993769" y="678490"/>
                      <a:pt x="2002002" y="691665"/>
                      <a:pt x="2007323" y="679124"/>
                    </a:cubicBezTo>
                    <a:cubicBezTo>
                      <a:pt x="2012644" y="666582"/>
                      <a:pt x="2016571" y="640232"/>
                      <a:pt x="2029113" y="647833"/>
                    </a:cubicBezTo>
                    <a:cubicBezTo>
                      <a:pt x="2041654" y="655434"/>
                      <a:pt x="2070031" y="675830"/>
                      <a:pt x="2066104" y="693059"/>
                    </a:cubicBezTo>
                    <a:cubicBezTo>
                      <a:pt x="2062177" y="710288"/>
                      <a:pt x="2057870" y="724476"/>
                      <a:pt x="2064710" y="729037"/>
                    </a:cubicBezTo>
                    <a:cubicBezTo>
                      <a:pt x="2071678" y="733597"/>
                      <a:pt x="2100055" y="735624"/>
                      <a:pt x="2101322" y="760707"/>
                    </a:cubicBezTo>
                    <a:cubicBezTo>
                      <a:pt x="2102715" y="785790"/>
                      <a:pt x="2105249" y="794024"/>
                      <a:pt x="2114243" y="801879"/>
                    </a:cubicBezTo>
                    <a:cubicBezTo>
                      <a:pt x="2123365" y="808973"/>
                      <a:pt x="2149461" y="818601"/>
                      <a:pt x="2140214" y="863193"/>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nvGrpSpPr>
            <p:cNvPr id="719" name="Рисунок 388">
              <a:extLst>
                <a:ext uri="{FF2B5EF4-FFF2-40B4-BE49-F238E27FC236}">
                  <a16:creationId xmlns:a16="http://schemas.microsoft.com/office/drawing/2014/main" id="{1DA397FD-DC6E-439E-BB40-D0F80476817D}"/>
                </a:ext>
              </a:extLst>
            </p:cNvPr>
            <p:cNvGrpSpPr/>
            <p:nvPr/>
          </p:nvGrpSpPr>
          <p:grpSpPr>
            <a:xfrm>
              <a:off x="10846085" y="2322265"/>
              <a:ext cx="1245292" cy="1583404"/>
              <a:chOff x="10846085" y="2322265"/>
              <a:chExt cx="1245292" cy="1583404"/>
            </a:xfrm>
            <a:solidFill>
              <a:srgbClr val="E3E8EC"/>
            </a:solidFill>
          </p:grpSpPr>
          <p:sp>
            <p:nvSpPr>
              <p:cNvPr id="720" name="Полилиния: фигура 719">
                <a:extLst>
                  <a:ext uri="{FF2B5EF4-FFF2-40B4-BE49-F238E27FC236}">
                    <a16:creationId xmlns:a16="http://schemas.microsoft.com/office/drawing/2014/main" id="{D867DBFD-1E61-47AE-B832-9E88853EE328}"/>
                  </a:ext>
                </a:extLst>
              </p:cNvPr>
              <p:cNvSpPr/>
              <p:nvPr/>
            </p:nvSpPr>
            <p:spPr>
              <a:xfrm>
                <a:off x="10846085" y="2322265"/>
                <a:ext cx="1245292" cy="1583404"/>
              </a:xfrm>
              <a:custGeom>
                <a:avLst/>
                <a:gdLst>
                  <a:gd name="connsiteX0" fmla="*/ 1235581 w 1245292"/>
                  <a:gd name="connsiteY0" fmla="*/ 593381 h 1583404"/>
                  <a:gd name="connsiteX1" fmla="*/ 1209485 w 1245292"/>
                  <a:gd name="connsiteY1" fmla="*/ 614917 h 1583404"/>
                  <a:gd name="connsiteX2" fmla="*/ 1201124 w 1245292"/>
                  <a:gd name="connsiteY2" fmla="*/ 585907 h 1583404"/>
                  <a:gd name="connsiteX3" fmla="*/ 1157925 w 1245292"/>
                  <a:gd name="connsiteY3" fmla="*/ 593381 h 1583404"/>
                  <a:gd name="connsiteX4" fmla="*/ 1138036 w 1245292"/>
                  <a:gd name="connsiteY4" fmla="*/ 574378 h 1583404"/>
                  <a:gd name="connsiteX5" fmla="*/ 1119920 w 1245292"/>
                  <a:gd name="connsiteY5" fmla="*/ 550562 h 1583404"/>
                  <a:gd name="connsiteX6" fmla="*/ 1110799 w 1245292"/>
                  <a:gd name="connsiteY6" fmla="*/ 518512 h 1583404"/>
                  <a:gd name="connsiteX7" fmla="*/ 1081662 w 1245292"/>
                  <a:gd name="connsiteY7" fmla="*/ 505970 h 1583404"/>
                  <a:gd name="connsiteX8" fmla="*/ 1065827 w 1245292"/>
                  <a:gd name="connsiteY8" fmla="*/ 477086 h 1583404"/>
                  <a:gd name="connsiteX9" fmla="*/ 1057086 w 1245292"/>
                  <a:gd name="connsiteY9" fmla="*/ 500523 h 1583404"/>
                  <a:gd name="connsiteX10" fmla="*/ 1034409 w 1245292"/>
                  <a:gd name="connsiteY10" fmla="*/ 545622 h 1583404"/>
                  <a:gd name="connsiteX11" fmla="*/ 1001725 w 1245292"/>
                  <a:gd name="connsiteY11" fmla="*/ 540681 h 1583404"/>
                  <a:gd name="connsiteX12" fmla="*/ 990070 w 1245292"/>
                  <a:gd name="connsiteY12" fmla="*/ 567031 h 1583404"/>
                  <a:gd name="connsiteX13" fmla="*/ 983103 w 1245292"/>
                  <a:gd name="connsiteY13" fmla="*/ 600475 h 1583404"/>
                  <a:gd name="connsiteX14" fmla="*/ 944592 w 1245292"/>
                  <a:gd name="connsiteY14" fmla="*/ 641267 h 1583404"/>
                  <a:gd name="connsiteX15" fmla="*/ 929136 w 1245292"/>
                  <a:gd name="connsiteY15" fmla="*/ 708155 h 1583404"/>
                  <a:gd name="connsiteX16" fmla="*/ 911781 w 1245292"/>
                  <a:gd name="connsiteY16" fmla="*/ 734505 h 1583404"/>
                  <a:gd name="connsiteX17" fmla="*/ 928883 w 1245292"/>
                  <a:gd name="connsiteY17" fmla="*/ 758828 h 1583404"/>
                  <a:gd name="connsiteX18" fmla="*/ 948265 w 1245292"/>
                  <a:gd name="connsiteY18" fmla="*/ 784291 h 1583404"/>
                  <a:gd name="connsiteX19" fmla="*/ 948899 w 1245292"/>
                  <a:gd name="connsiteY19" fmla="*/ 824070 h 1583404"/>
                  <a:gd name="connsiteX20" fmla="*/ 962834 w 1245292"/>
                  <a:gd name="connsiteY20" fmla="*/ 855614 h 1583404"/>
                  <a:gd name="connsiteX21" fmla="*/ 971701 w 1245292"/>
                  <a:gd name="connsiteY21" fmla="*/ 894759 h 1583404"/>
                  <a:gd name="connsiteX22" fmla="*/ 975502 w 1245292"/>
                  <a:gd name="connsiteY22" fmla="*/ 977989 h 1583404"/>
                  <a:gd name="connsiteX23" fmla="*/ 989310 w 1245292"/>
                  <a:gd name="connsiteY23" fmla="*/ 1054632 h 1583404"/>
                  <a:gd name="connsiteX24" fmla="*/ 1005906 w 1245292"/>
                  <a:gd name="connsiteY24" fmla="*/ 1078575 h 1583404"/>
                  <a:gd name="connsiteX25" fmla="*/ 1010213 w 1245292"/>
                  <a:gd name="connsiteY25" fmla="*/ 1115059 h 1583404"/>
                  <a:gd name="connsiteX26" fmla="*/ 1046825 w 1245292"/>
                  <a:gd name="connsiteY26" fmla="*/ 1146350 h 1583404"/>
                  <a:gd name="connsiteX27" fmla="*/ 1064940 w 1245292"/>
                  <a:gd name="connsiteY27" fmla="*/ 1119493 h 1583404"/>
                  <a:gd name="connsiteX28" fmla="*/ 1122454 w 1245292"/>
                  <a:gd name="connsiteY28" fmla="*/ 1119873 h 1583404"/>
                  <a:gd name="connsiteX29" fmla="*/ 1135249 w 1245292"/>
                  <a:gd name="connsiteY29" fmla="*/ 1148377 h 1583404"/>
                  <a:gd name="connsiteX30" fmla="*/ 1099524 w 1245292"/>
                  <a:gd name="connsiteY30" fmla="*/ 1170800 h 1583404"/>
                  <a:gd name="connsiteX31" fmla="*/ 1089009 w 1245292"/>
                  <a:gd name="connsiteY31" fmla="*/ 1185495 h 1583404"/>
                  <a:gd name="connsiteX32" fmla="*/ 1089009 w 1245292"/>
                  <a:gd name="connsiteY32" fmla="*/ 1202217 h 1583404"/>
                  <a:gd name="connsiteX33" fmla="*/ 1069754 w 1245292"/>
                  <a:gd name="connsiteY33" fmla="*/ 1206778 h 1583404"/>
                  <a:gd name="connsiteX34" fmla="*/ 1032636 w 1245292"/>
                  <a:gd name="connsiteY34" fmla="*/ 1267585 h 1583404"/>
                  <a:gd name="connsiteX35" fmla="*/ 1021361 w 1245292"/>
                  <a:gd name="connsiteY35" fmla="*/ 1312431 h 1583404"/>
                  <a:gd name="connsiteX36" fmla="*/ 999572 w 1245292"/>
                  <a:gd name="connsiteY36" fmla="*/ 1300269 h 1583404"/>
                  <a:gd name="connsiteX37" fmla="*/ 985637 w 1245292"/>
                  <a:gd name="connsiteY37" fmla="*/ 1313444 h 1583404"/>
                  <a:gd name="connsiteX38" fmla="*/ 970308 w 1245292"/>
                  <a:gd name="connsiteY38" fmla="*/ 1378559 h 1583404"/>
                  <a:gd name="connsiteX39" fmla="*/ 900379 w 1245292"/>
                  <a:gd name="connsiteY39" fmla="*/ 1362344 h 1583404"/>
                  <a:gd name="connsiteX40" fmla="*/ 938131 w 1245292"/>
                  <a:gd name="connsiteY40" fmla="*/ 1336500 h 1583404"/>
                  <a:gd name="connsiteX41" fmla="*/ 956880 w 1245292"/>
                  <a:gd name="connsiteY41" fmla="*/ 1300523 h 1583404"/>
                  <a:gd name="connsiteX42" fmla="*/ 926856 w 1245292"/>
                  <a:gd name="connsiteY42" fmla="*/ 1294822 h 1583404"/>
                  <a:gd name="connsiteX43" fmla="*/ 889232 w 1245292"/>
                  <a:gd name="connsiteY43" fmla="*/ 1322945 h 1583404"/>
                  <a:gd name="connsiteX44" fmla="*/ 850720 w 1245292"/>
                  <a:gd name="connsiteY44" fmla="*/ 1307110 h 1583404"/>
                  <a:gd name="connsiteX45" fmla="*/ 834251 w 1245292"/>
                  <a:gd name="connsiteY45" fmla="*/ 1344481 h 1583404"/>
                  <a:gd name="connsiteX46" fmla="*/ 812208 w 1245292"/>
                  <a:gd name="connsiteY46" fmla="*/ 1353983 h 1583404"/>
                  <a:gd name="connsiteX47" fmla="*/ 778637 w 1245292"/>
                  <a:gd name="connsiteY47" fmla="*/ 1367031 h 1583404"/>
                  <a:gd name="connsiteX48" fmla="*/ 732272 w 1245292"/>
                  <a:gd name="connsiteY48" fmla="*/ 1375265 h 1583404"/>
                  <a:gd name="connsiteX49" fmla="*/ 709469 w 1245292"/>
                  <a:gd name="connsiteY49" fmla="*/ 1416564 h 1583404"/>
                  <a:gd name="connsiteX50" fmla="*/ 704782 w 1245292"/>
                  <a:gd name="connsiteY50" fmla="*/ 1433793 h 1583404"/>
                  <a:gd name="connsiteX51" fmla="*/ 714156 w 1245292"/>
                  <a:gd name="connsiteY51" fmla="*/ 1446841 h 1583404"/>
                  <a:gd name="connsiteX52" fmla="*/ 706555 w 1245292"/>
                  <a:gd name="connsiteY52" fmla="*/ 1477245 h 1583404"/>
                  <a:gd name="connsiteX53" fmla="*/ 742660 w 1245292"/>
                  <a:gd name="connsiteY53" fmla="*/ 1488393 h 1583404"/>
                  <a:gd name="connsiteX54" fmla="*/ 724670 w 1245292"/>
                  <a:gd name="connsiteY54" fmla="*/ 1512589 h 1583404"/>
                  <a:gd name="connsiteX55" fmla="*/ 690973 w 1245292"/>
                  <a:gd name="connsiteY55" fmla="*/ 1520823 h 1583404"/>
                  <a:gd name="connsiteX56" fmla="*/ 660063 w 1245292"/>
                  <a:gd name="connsiteY56" fmla="*/ 1538433 h 1583404"/>
                  <a:gd name="connsiteX57" fmla="*/ 644734 w 1245292"/>
                  <a:gd name="connsiteY57" fmla="*/ 1550720 h 1583404"/>
                  <a:gd name="connsiteX58" fmla="*/ 637387 w 1245292"/>
                  <a:gd name="connsiteY58" fmla="*/ 1575170 h 1583404"/>
                  <a:gd name="connsiteX59" fmla="*/ 620538 w 1245292"/>
                  <a:gd name="connsiteY59" fmla="*/ 1576944 h 1583404"/>
                  <a:gd name="connsiteX60" fmla="*/ 588994 w 1245292"/>
                  <a:gd name="connsiteY60" fmla="*/ 1581631 h 1583404"/>
                  <a:gd name="connsiteX61" fmla="*/ 583420 w 1245292"/>
                  <a:gd name="connsiteY61" fmla="*/ 1583405 h 1583404"/>
                  <a:gd name="connsiteX62" fmla="*/ 579366 w 1245292"/>
                  <a:gd name="connsiteY62" fmla="*/ 1576564 h 1583404"/>
                  <a:gd name="connsiteX63" fmla="*/ 561757 w 1245292"/>
                  <a:gd name="connsiteY63" fmla="*/ 1535392 h 1583404"/>
                  <a:gd name="connsiteX64" fmla="*/ 492968 w 1245292"/>
                  <a:gd name="connsiteY64" fmla="*/ 1509042 h 1583404"/>
                  <a:gd name="connsiteX65" fmla="*/ 449010 w 1245292"/>
                  <a:gd name="connsiteY65" fmla="*/ 1511956 h 1583404"/>
                  <a:gd name="connsiteX66" fmla="*/ 420886 w 1245292"/>
                  <a:gd name="connsiteY66" fmla="*/ 1521077 h 1583404"/>
                  <a:gd name="connsiteX67" fmla="*/ 396056 w 1245292"/>
                  <a:gd name="connsiteY67" fmla="*/ 1529945 h 1583404"/>
                  <a:gd name="connsiteX68" fmla="*/ 376801 w 1245292"/>
                  <a:gd name="connsiteY68" fmla="*/ 1480539 h 1583404"/>
                  <a:gd name="connsiteX69" fmla="*/ 385288 w 1245292"/>
                  <a:gd name="connsiteY69" fmla="*/ 1426952 h 1583404"/>
                  <a:gd name="connsiteX70" fmla="*/ 379587 w 1245292"/>
                  <a:gd name="connsiteY70" fmla="*/ 1379953 h 1583404"/>
                  <a:gd name="connsiteX71" fmla="*/ 366540 w 1245292"/>
                  <a:gd name="connsiteY71" fmla="*/ 1336627 h 1583404"/>
                  <a:gd name="connsiteX72" fmla="*/ 281282 w 1245292"/>
                  <a:gd name="connsiteY72" fmla="*/ 1280887 h 1583404"/>
                  <a:gd name="connsiteX73" fmla="*/ 223135 w 1245292"/>
                  <a:gd name="connsiteY73" fmla="*/ 1272526 h 1583404"/>
                  <a:gd name="connsiteX74" fmla="*/ 184497 w 1245292"/>
                  <a:gd name="connsiteY74" fmla="*/ 1293175 h 1583404"/>
                  <a:gd name="connsiteX75" fmla="*/ 167901 w 1245292"/>
                  <a:gd name="connsiteY75" fmla="*/ 1317498 h 1583404"/>
                  <a:gd name="connsiteX76" fmla="*/ 126982 w 1245292"/>
                  <a:gd name="connsiteY76" fmla="*/ 1333460 h 1583404"/>
                  <a:gd name="connsiteX77" fmla="*/ 126982 w 1245292"/>
                  <a:gd name="connsiteY77" fmla="*/ 1333460 h 1583404"/>
                  <a:gd name="connsiteX78" fmla="*/ 124069 w 1245292"/>
                  <a:gd name="connsiteY78" fmla="*/ 1320032 h 1583404"/>
                  <a:gd name="connsiteX79" fmla="*/ 141045 w 1245292"/>
                  <a:gd name="connsiteY79" fmla="*/ 1275820 h 1583404"/>
                  <a:gd name="connsiteX80" fmla="*/ 125462 w 1245292"/>
                  <a:gd name="connsiteY80" fmla="*/ 1243262 h 1583404"/>
                  <a:gd name="connsiteX81" fmla="*/ 112667 w 1245292"/>
                  <a:gd name="connsiteY81" fmla="*/ 1225400 h 1583404"/>
                  <a:gd name="connsiteX82" fmla="*/ 94679 w 1245292"/>
                  <a:gd name="connsiteY82" fmla="*/ 1207791 h 1583404"/>
                  <a:gd name="connsiteX83" fmla="*/ 89611 w 1245292"/>
                  <a:gd name="connsiteY83" fmla="*/ 1186255 h 1583404"/>
                  <a:gd name="connsiteX84" fmla="*/ 65035 w 1245292"/>
                  <a:gd name="connsiteY84" fmla="*/ 1145210 h 1583404"/>
                  <a:gd name="connsiteX85" fmla="*/ 50846 w 1245292"/>
                  <a:gd name="connsiteY85" fmla="*/ 1116453 h 1583404"/>
                  <a:gd name="connsiteX86" fmla="*/ 59587 w 1245292"/>
                  <a:gd name="connsiteY86" fmla="*/ 1086809 h 1583404"/>
                  <a:gd name="connsiteX87" fmla="*/ 22469 w 1245292"/>
                  <a:gd name="connsiteY87" fmla="*/ 1046778 h 1583404"/>
                  <a:gd name="connsiteX88" fmla="*/ 19556 w 1245292"/>
                  <a:gd name="connsiteY88" fmla="*/ 1012447 h 1583404"/>
                  <a:gd name="connsiteX89" fmla="*/ 7267 w 1245292"/>
                  <a:gd name="connsiteY89" fmla="*/ 986857 h 1583404"/>
                  <a:gd name="connsiteX90" fmla="*/ 20570 w 1245292"/>
                  <a:gd name="connsiteY90" fmla="*/ 945178 h 1583404"/>
                  <a:gd name="connsiteX91" fmla="*/ 54394 w 1245292"/>
                  <a:gd name="connsiteY91" fmla="*/ 944418 h 1583404"/>
                  <a:gd name="connsiteX92" fmla="*/ 65542 w 1245292"/>
                  <a:gd name="connsiteY92" fmla="*/ 917815 h 1583404"/>
                  <a:gd name="connsiteX93" fmla="*/ 108234 w 1245292"/>
                  <a:gd name="connsiteY93" fmla="*/ 927696 h 1583404"/>
                  <a:gd name="connsiteX94" fmla="*/ 112667 w 1245292"/>
                  <a:gd name="connsiteY94" fmla="*/ 873603 h 1583404"/>
                  <a:gd name="connsiteX95" fmla="*/ 87078 w 1245292"/>
                  <a:gd name="connsiteY95" fmla="*/ 824323 h 1583404"/>
                  <a:gd name="connsiteX96" fmla="*/ 152699 w 1245292"/>
                  <a:gd name="connsiteY96" fmla="*/ 808361 h 1583404"/>
                  <a:gd name="connsiteX97" fmla="*/ 184116 w 1245292"/>
                  <a:gd name="connsiteY97" fmla="*/ 753634 h 1583404"/>
                  <a:gd name="connsiteX98" fmla="*/ 222121 w 1245292"/>
                  <a:gd name="connsiteY98" fmla="*/ 765162 h 1583404"/>
                  <a:gd name="connsiteX99" fmla="*/ 236310 w 1245292"/>
                  <a:gd name="connsiteY99" fmla="*/ 738432 h 1583404"/>
                  <a:gd name="connsiteX100" fmla="*/ 266333 w 1245292"/>
                  <a:gd name="connsiteY100" fmla="*/ 707268 h 1583404"/>
                  <a:gd name="connsiteX101" fmla="*/ 292557 w 1245292"/>
                  <a:gd name="connsiteY101" fmla="*/ 663436 h 1583404"/>
                  <a:gd name="connsiteX102" fmla="*/ 294204 w 1245292"/>
                  <a:gd name="connsiteY102" fmla="*/ 598448 h 1583404"/>
                  <a:gd name="connsiteX103" fmla="*/ 232382 w 1245292"/>
                  <a:gd name="connsiteY103" fmla="*/ 472146 h 1583404"/>
                  <a:gd name="connsiteX104" fmla="*/ 251131 w 1245292"/>
                  <a:gd name="connsiteY104" fmla="*/ 434268 h 1583404"/>
                  <a:gd name="connsiteX105" fmla="*/ 230483 w 1245292"/>
                  <a:gd name="connsiteY105" fmla="*/ 419446 h 1583404"/>
                  <a:gd name="connsiteX106" fmla="*/ 198432 w 1245292"/>
                  <a:gd name="connsiteY106" fmla="*/ 383595 h 1583404"/>
                  <a:gd name="connsiteX107" fmla="*/ 229849 w 1245292"/>
                  <a:gd name="connsiteY107" fmla="*/ 371686 h 1583404"/>
                  <a:gd name="connsiteX108" fmla="*/ 221994 w 1245292"/>
                  <a:gd name="connsiteY108" fmla="*/ 345463 h 1583404"/>
                  <a:gd name="connsiteX109" fmla="*/ 224275 w 1245292"/>
                  <a:gd name="connsiteY109" fmla="*/ 274014 h 1583404"/>
                  <a:gd name="connsiteX110" fmla="*/ 283182 w 1245292"/>
                  <a:gd name="connsiteY110" fmla="*/ 245257 h 1583404"/>
                  <a:gd name="connsiteX111" fmla="*/ 311559 w 1245292"/>
                  <a:gd name="connsiteY111" fmla="*/ 199398 h 1583404"/>
                  <a:gd name="connsiteX112" fmla="*/ 362359 w 1245292"/>
                  <a:gd name="connsiteY112" fmla="*/ 163167 h 1583404"/>
                  <a:gd name="connsiteX113" fmla="*/ 371606 w 1245292"/>
                  <a:gd name="connsiteY113" fmla="*/ 84497 h 1583404"/>
                  <a:gd name="connsiteX114" fmla="*/ 374773 w 1245292"/>
                  <a:gd name="connsiteY114" fmla="*/ 79050 h 1583404"/>
                  <a:gd name="connsiteX115" fmla="*/ 429121 w 1245292"/>
                  <a:gd name="connsiteY115" fmla="*/ 69802 h 1583404"/>
                  <a:gd name="connsiteX116" fmla="*/ 471813 w 1245292"/>
                  <a:gd name="connsiteY116" fmla="*/ 123515 h 1583404"/>
                  <a:gd name="connsiteX117" fmla="*/ 550229 w 1245292"/>
                  <a:gd name="connsiteY117" fmla="*/ 98812 h 1583404"/>
                  <a:gd name="connsiteX118" fmla="*/ 627252 w 1245292"/>
                  <a:gd name="connsiteY118" fmla="*/ 86904 h 1583404"/>
                  <a:gd name="connsiteX119" fmla="*/ 651702 w 1245292"/>
                  <a:gd name="connsiteY119" fmla="*/ 60174 h 1583404"/>
                  <a:gd name="connsiteX120" fmla="*/ 687679 w 1245292"/>
                  <a:gd name="connsiteY120" fmla="*/ 45732 h 1583404"/>
                  <a:gd name="connsiteX121" fmla="*/ 759762 w 1245292"/>
                  <a:gd name="connsiteY121" fmla="*/ 26350 h 1583404"/>
                  <a:gd name="connsiteX122" fmla="*/ 814868 w 1245292"/>
                  <a:gd name="connsiteY122" fmla="*/ 0 h 1583404"/>
                  <a:gd name="connsiteX123" fmla="*/ 820316 w 1245292"/>
                  <a:gd name="connsiteY123" fmla="*/ 380 h 1583404"/>
                  <a:gd name="connsiteX124" fmla="*/ 867948 w 1245292"/>
                  <a:gd name="connsiteY124" fmla="*/ 45479 h 1583404"/>
                  <a:gd name="connsiteX125" fmla="*/ 864528 w 1245292"/>
                  <a:gd name="connsiteY125" fmla="*/ 74996 h 1583404"/>
                  <a:gd name="connsiteX126" fmla="*/ 898226 w 1245292"/>
                  <a:gd name="connsiteY126" fmla="*/ 91085 h 1583404"/>
                  <a:gd name="connsiteX127" fmla="*/ 956246 w 1245292"/>
                  <a:gd name="connsiteY127" fmla="*/ 117181 h 1583404"/>
                  <a:gd name="connsiteX128" fmla="*/ 978162 w 1245292"/>
                  <a:gd name="connsiteY128" fmla="*/ 143658 h 1583404"/>
                  <a:gd name="connsiteX129" fmla="*/ 1011733 w 1245292"/>
                  <a:gd name="connsiteY129" fmla="*/ 160760 h 1583404"/>
                  <a:gd name="connsiteX130" fmla="*/ 999825 w 1245292"/>
                  <a:gd name="connsiteY130" fmla="*/ 228155 h 1583404"/>
                  <a:gd name="connsiteX131" fmla="*/ 1088249 w 1245292"/>
                  <a:gd name="connsiteY131" fmla="*/ 225748 h 1583404"/>
                  <a:gd name="connsiteX132" fmla="*/ 1118146 w 1245292"/>
                  <a:gd name="connsiteY132" fmla="*/ 287189 h 1583404"/>
                  <a:gd name="connsiteX133" fmla="*/ 1165399 w 1245292"/>
                  <a:gd name="connsiteY133" fmla="*/ 321394 h 1583404"/>
                  <a:gd name="connsiteX134" fmla="*/ 1182628 w 1245292"/>
                  <a:gd name="connsiteY134" fmla="*/ 351797 h 1583404"/>
                  <a:gd name="connsiteX135" fmla="*/ 1202137 w 1245292"/>
                  <a:gd name="connsiteY135" fmla="*/ 359905 h 1583404"/>
                  <a:gd name="connsiteX136" fmla="*/ 1202771 w 1245292"/>
                  <a:gd name="connsiteY136" fmla="*/ 370420 h 1583404"/>
                  <a:gd name="connsiteX137" fmla="*/ 1208471 w 1245292"/>
                  <a:gd name="connsiteY137" fmla="*/ 474553 h 1583404"/>
                  <a:gd name="connsiteX138" fmla="*/ 1240776 w 1245292"/>
                  <a:gd name="connsiteY138" fmla="*/ 541568 h 1583404"/>
                  <a:gd name="connsiteX139" fmla="*/ 1235581 w 1245292"/>
                  <a:gd name="connsiteY139" fmla="*/ 593381 h 15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45292" h="1583404">
                    <a:moveTo>
                      <a:pt x="1235581" y="593381"/>
                    </a:moveTo>
                    <a:cubicBezTo>
                      <a:pt x="1231781" y="603895"/>
                      <a:pt x="1226207" y="635820"/>
                      <a:pt x="1209485" y="614917"/>
                    </a:cubicBezTo>
                    <a:cubicBezTo>
                      <a:pt x="1202771" y="606556"/>
                      <a:pt x="1208218" y="594394"/>
                      <a:pt x="1201124" y="585907"/>
                    </a:cubicBezTo>
                    <a:cubicBezTo>
                      <a:pt x="1181488" y="562344"/>
                      <a:pt x="1178194" y="620111"/>
                      <a:pt x="1157925" y="593381"/>
                    </a:cubicBezTo>
                    <a:cubicBezTo>
                      <a:pt x="1150197" y="583246"/>
                      <a:pt x="1150324" y="578939"/>
                      <a:pt x="1138036" y="574378"/>
                    </a:cubicBezTo>
                    <a:cubicBezTo>
                      <a:pt x="1125240" y="569691"/>
                      <a:pt x="1120680" y="564497"/>
                      <a:pt x="1119920" y="550562"/>
                    </a:cubicBezTo>
                    <a:cubicBezTo>
                      <a:pt x="1119287" y="539034"/>
                      <a:pt x="1121187" y="526619"/>
                      <a:pt x="1110799" y="518512"/>
                    </a:cubicBezTo>
                    <a:cubicBezTo>
                      <a:pt x="1102185" y="511797"/>
                      <a:pt x="1089643" y="514078"/>
                      <a:pt x="1081662" y="505970"/>
                    </a:cubicBezTo>
                    <a:cubicBezTo>
                      <a:pt x="1075835" y="500016"/>
                      <a:pt x="1074441" y="479113"/>
                      <a:pt x="1065827" y="477086"/>
                    </a:cubicBezTo>
                    <a:cubicBezTo>
                      <a:pt x="1054552" y="474426"/>
                      <a:pt x="1056199" y="494442"/>
                      <a:pt x="1057086" y="500523"/>
                    </a:cubicBezTo>
                    <a:cubicBezTo>
                      <a:pt x="1060126" y="521932"/>
                      <a:pt x="1071021" y="561204"/>
                      <a:pt x="1034409" y="545622"/>
                    </a:cubicBezTo>
                    <a:cubicBezTo>
                      <a:pt x="1023008" y="540808"/>
                      <a:pt x="1014014" y="533333"/>
                      <a:pt x="1001725" y="540681"/>
                    </a:cubicBezTo>
                    <a:cubicBezTo>
                      <a:pt x="990578" y="547395"/>
                      <a:pt x="991211" y="555883"/>
                      <a:pt x="990070" y="567031"/>
                    </a:cubicBezTo>
                    <a:cubicBezTo>
                      <a:pt x="988931" y="578559"/>
                      <a:pt x="983990" y="588947"/>
                      <a:pt x="983103" y="600475"/>
                    </a:cubicBezTo>
                    <a:cubicBezTo>
                      <a:pt x="981329" y="623531"/>
                      <a:pt x="955233" y="624418"/>
                      <a:pt x="944592" y="641267"/>
                    </a:cubicBezTo>
                    <a:cubicBezTo>
                      <a:pt x="931543" y="662169"/>
                      <a:pt x="942438" y="688266"/>
                      <a:pt x="929136" y="708155"/>
                    </a:cubicBezTo>
                    <a:cubicBezTo>
                      <a:pt x="923689" y="716390"/>
                      <a:pt x="911781" y="723611"/>
                      <a:pt x="911781" y="734505"/>
                    </a:cubicBezTo>
                    <a:cubicBezTo>
                      <a:pt x="911781" y="744640"/>
                      <a:pt x="922296" y="752621"/>
                      <a:pt x="928883" y="758828"/>
                    </a:cubicBezTo>
                    <a:cubicBezTo>
                      <a:pt x="936738" y="766303"/>
                      <a:pt x="944718" y="773650"/>
                      <a:pt x="948265" y="784291"/>
                    </a:cubicBezTo>
                    <a:cubicBezTo>
                      <a:pt x="952699" y="797466"/>
                      <a:pt x="948519" y="810641"/>
                      <a:pt x="948899" y="824070"/>
                    </a:cubicBezTo>
                    <a:cubicBezTo>
                      <a:pt x="949279" y="837751"/>
                      <a:pt x="955613" y="844846"/>
                      <a:pt x="962834" y="855614"/>
                    </a:cubicBezTo>
                    <a:cubicBezTo>
                      <a:pt x="971068" y="867775"/>
                      <a:pt x="971955" y="880443"/>
                      <a:pt x="971701" y="894759"/>
                    </a:cubicBezTo>
                    <a:cubicBezTo>
                      <a:pt x="971195" y="923136"/>
                      <a:pt x="971575" y="949865"/>
                      <a:pt x="975502" y="977989"/>
                    </a:cubicBezTo>
                    <a:cubicBezTo>
                      <a:pt x="978922" y="1002059"/>
                      <a:pt x="976262" y="1033476"/>
                      <a:pt x="989310" y="1054632"/>
                    </a:cubicBezTo>
                    <a:cubicBezTo>
                      <a:pt x="994631" y="1063120"/>
                      <a:pt x="1002359" y="1068820"/>
                      <a:pt x="1005906" y="1078575"/>
                    </a:cubicBezTo>
                    <a:cubicBezTo>
                      <a:pt x="1009960" y="1090230"/>
                      <a:pt x="1008440" y="1103025"/>
                      <a:pt x="1010213" y="1115059"/>
                    </a:cubicBezTo>
                    <a:cubicBezTo>
                      <a:pt x="1013507" y="1137862"/>
                      <a:pt x="1020854" y="1156358"/>
                      <a:pt x="1046825" y="1146350"/>
                    </a:cubicBezTo>
                    <a:cubicBezTo>
                      <a:pt x="1061646" y="1140649"/>
                      <a:pt x="1059999" y="1132162"/>
                      <a:pt x="1064940" y="1119493"/>
                    </a:cubicBezTo>
                    <a:cubicBezTo>
                      <a:pt x="1073681" y="1097831"/>
                      <a:pt x="1109659" y="1110625"/>
                      <a:pt x="1122454" y="1119873"/>
                    </a:cubicBezTo>
                    <a:cubicBezTo>
                      <a:pt x="1135122" y="1128868"/>
                      <a:pt x="1152098" y="1131908"/>
                      <a:pt x="1135249" y="1148377"/>
                    </a:cubicBezTo>
                    <a:cubicBezTo>
                      <a:pt x="1124101" y="1159272"/>
                      <a:pt x="1112446" y="1163452"/>
                      <a:pt x="1099524" y="1170800"/>
                    </a:cubicBezTo>
                    <a:cubicBezTo>
                      <a:pt x="1093063" y="1174474"/>
                      <a:pt x="1087997" y="1178274"/>
                      <a:pt x="1089009" y="1185495"/>
                    </a:cubicBezTo>
                    <a:cubicBezTo>
                      <a:pt x="1090277" y="1194109"/>
                      <a:pt x="1099524" y="1195376"/>
                      <a:pt x="1089009" y="1202217"/>
                    </a:cubicBezTo>
                    <a:cubicBezTo>
                      <a:pt x="1084703" y="1205004"/>
                      <a:pt x="1074948" y="1204751"/>
                      <a:pt x="1069754" y="1206778"/>
                    </a:cubicBezTo>
                    <a:cubicBezTo>
                      <a:pt x="1042264" y="1217419"/>
                      <a:pt x="1027188" y="1238701"/>
                      <a:pt x="1032636" y="1267585"/>
                    </a:cubicBezTo>
                    <a:cubicBezTo>
                      <a:pt x="1034917" y="1279367"/>
                      <a:pt x="1034917" y="1306223"/>
                      <a:pt x="1021361" y="1312431"/>
                    </a:cubicBezTo>
                    <a:cubicBezTo>
                      <a:pt x="1010847" y="1317371"/>
                      <a:pt x="1006033" y="1305210"/>
                      <a:pt x="999572" y="1300269"/>
                    </a:cubicBezTo>
                    <a:cubicBezTo>
                      <a:pt x="987411" y="1290895"/>
                      <a:pt x="983357" y="1301663"/>
                      <a:pt x="985637" y="1313444"/>
                    </a:cubicBezTo>
                    <a:cubicBezTo>
                      <a:pt x="989691" y="1335234"/>
                      <a:pt x="996531" y="1367538"/>
                      <a:pt x="970308" y="1378559"/>
                    </a:cubicBezTo>
                    <a:cubicBezTo>
                      <a:pt x="956880" y="1384133"/>
                      <a:pt x="883024" y="1394901"/>
                      <a:pt x="900379" y="1362344"/>
                    </a:cubicBezTo>
                    <a:cubicBezTo>
                      <a:pt x="907600" y="1348662"/>
                      <a:pt x="926856" y="1345748"/>
                      <a:pt x="938131" y="1336500"/>
                    </a:cubicBezTo>
                    <a:cubicBezTo>
                      <a:pt x="946239" y="1329660"/>
                      <a:pt x="958273" y="1312051"/>
                      <a:pt x="956880" y="1300523"/>
                    </a:cubicBezTo>
                    <a:cubicBezTo>
                      <a:pt x="955233" y="1286587"/>
                      <a:pt x="935724" y="1288994"/>
                      <a:pt x="926856" y="1294822"/>
                    </a:cubicBezTo>
                    <a:cubicBezTo>
                      <a:pt x="913934" y="1303310"/>
                      <a:pt x="907727" y="1324212"/>
                      <a:pt x="889232" y="1322945"/>
                    </a:cubicBezTo>
                    <a:cubicBezTo>
                      <a:pt x="874156" y="1321932"/>
                      <a:pt x="867062" y="1302930"/>
                      <a:pt x="850720" y="1307110"/>
                    </a:cubicBezTo>
                    <a:cubicBezTo>
                      <a:pt x="832477" y="1311797"/>
                      <a:pt x="834505" y="1329913"/>
                      <a:pt x="834251" y="1344481"/>
                    </a:cubicBezTo>
                    <a:cubicBezTo>
                      <a:pt x="833998" y="1364751"/>
                      <a:pt x="826397" y="1364244"/>
                      <a:pt x="812208" y="1353983"/>
                    </a:cubicBezTo>
                    <a:cubicBezTo>
                      <a:pt x="794853" y="1341314"/>
                      <a:pt x="791939" y="1357150"/>
                      <a:pt x="778637" y="1367031"/>
                    </a:cubicBezTo>
                    <a:cubicBezTo>
                      <a:pt x="764449" y="1377546"/>
                      <a:pt x="746840" y="1366144"/>
                      <a:pt x="732272" y="1375265"/>
                    </a:cubicBezTo>
                    <a:cubicBezTo>
                      <a:pt x="719350" y="1383373"/>
                      <a:pt x="715550" y="1403389"/>
                      <a:pt x="709469" y="1416564"/>
                    </a:cubicBezTo>
                    <a:cubicBezTo>
                      <a:pt x="706935" y="1422011"/>
                      <a:pt x="703388" y="1427585"/>
                      <a:pt x="704782" y="1433793"/>
                    </a:cubicBezTo>
                    <a:cubicBezTo>
                      <a:pt x="706048" y="1439620"/>
                      <a:pt x="712002" y="1441774"/>
                      <a:pt x="714156" y="1446841"/>
                    </a:cubicBezTo>
                    <a:cubicBezTo>
                      <a:pt x="719096" y="1458242"/>
                      <a:pt x="701488" y="1468123"/>
                      <a:pt x="706555" y="1477245"/>
                    </a:cubicBezTo>
                    <a:cubicBezTo>
                      <a:pt x="710736" y="1484846"/>
                      <a:pt x="734679" y="1483326"/>
                      <a:pt x="742660" y="1488393"/>
                    </a:cubicBezTo>
                    <a:cubicBezTo>
                      <a:pt x="737339" y="1496880"/>
                      <a:pt x="730625" y="1504355"/>
                      <a:pt x="724670" y="1512589"/>
                    </a:cubicBezTo>
                    <a:cubicBezTo>
                      <a:pt x="716056" y="1524371"/>
                      <a:pt x="704021" y="1524751"/>
                      <a:pt x="690973" y="1520823"/>
                    </a:cubicBezTo>
                    <a:cubicBezTo>
                      <a:pt x="673364" y="1515376"/>
                      <a:pt x="671338" y="1525384"/>
                      <a:pt x="660063" y="1538433"/>
                    </a:cubicBezTo>
                    <a:cubicBezTo>
                      <a:pt x="655629" y="1543626"/>
                      <a:pt x="648028" y="1545147"/>
                      <a:pt x="644734" y="1550720"/>
                    </a:cubicBezTo>
                    <a:cubicBezTo>
                      <a:pt x="640427" y="1558195"/>
                      <a:pt x="645621" y="1568836"/>
                      <a:pt x="637387" y="1575170"/>
                    </a:cubicBezTo>
                    <a:cubicBezTo>
                      <a:pt x="632700" y="1578717"/>
                      <a:pt x="625858" y="1576944"/>
                      <a:pt x="620538" y="1576944"/>
                    </a:cubicBezTo>
                    <a:cubicBezTo>
                      <a:pt x="609516" y="1576944"/>
                      <a:pt x="599762" y="1579478"/>
                      <a:pt x="588994" y="1581631"/>
                    </a:cubicBezTo>
                    <a:cubicBezTo>
                      <a:pt x="587220" y="1582011"/>
                      <a:pt x="585320" y="1582518"/>
                      <a:pt x="583420" y="1583405"/>
                    </a:cubicBezTo>
                    <a:cubicBezTo>
                      <a:pt x="581900" y="1581378"/>
                      <a:pt x="580633" y="1579097"/>
                      <a:pt x="579366" y="1576564"/>
                    </a:cubicBezTo>
                    <a:cubicBezTo>
                      <a:pt x="572905" y="1562882"/>
                      <a:pt x="569738" y="1548567"/>
                      <a:pt x="561757" y="1535392"/>
                    </a:cubicBezTo>
                    <a:cubicBezTo>
                      <a:pt x="546809" y="1510689"/>
                      <a:pt x="519571" y="1508915"/>
                      <a:pt x="492968" y="1509042"/>
                    </a:cubicBezTo>
                    <a:cubicBezTo>
                      <a:pt x="478274" y="1509168"/>
                      <a:pt x="463705" y="1510942"/>
                      <a:pt x="449010" y="1511956"/>
                    </a:cubicBezTo>
                    <a:cubicBezTo>
                      <a:pt x="437735" y="1512842"/>
                      <a:pt x="430260" y="1514363"/>
                      <a:pt x="420886" y="1521077"/>
                    </a:cubicBezTo>
                    <a:cubicBezTo>
                      <a:pt x="413159" y="1526651"/>
                      <a:pt x="406444" y="1533999"/>
                      <a:pt x="396056" y="1529945"/>
                    </a:cubicBezTo>
                    <a:cubicBezTo>
                      <a:pt x="379461" y="1523357"/>
                      <a:pt x="378194" y="1495487"/>
                      <a:pt x="376801" y="1480539"/>
                    </a:cubicBezTo>
                    <a:cubicBezTo>
                      <a:pt x="375027" y="1461916"/>
                      <a:pt x="383262" y="1445067"/>
                      <a:pt x="385288" y="1426952"/>
                    </a:cubicBezTo>
                    <a:cubicBezTo>
                      <a:pt x="387062" y="1410736"/>
                      <a:pt x="382375" y="1395915"/>
                      <a:pt x="379587" y="1379953"/>
                    </a:cubicBezTo>
                    <a:cubicBezTo>
                      <a:pt x="377307" y="1366397"/>
                      <a:pt x="374900" y="1347902"/>
                      <a:pt x="366540" y="1336627"/>
                    </a:cubicBezTo>
                    <a:cubicBezTo>
                      <a:pt x="347917" y="1311164"/>
                      <a:pt x="312699" y="1285701"/>
                      <a:pt x="281282" y="1280887"/>
                    </a:cubicBezTo>
                    <a:cubicBezTo>
                      <a:pt x="262279" y="1277973"/>
                      <a:pt x="242517" y="1273159"/>
                      <a:pt x="223135" y="1272526"/>
                    </a:cubicBezTo>
                    <a:cubicBezTo>
                      <a:pt x="202865" y="1271892"/>
                      <a:pt x="188804" y="1271386"/>
                      <a:pt x="184497" y="1293175"/>
                    </a:cubicBezTo>
                    <a:cubicBezTo>
                      <a:pt x="182217" y="1304957"/>
                      <a:pt x="176262" y="1309390"/>
                      <a:pt x="167901" y="1317498"/>
                    </a:cubicBezTo>
                    <a:cubicBezTo>
                      <a:pt x="161060" y="1323959"/>
                      <a:pt x="136484" y="1339034"/>
                      <a:pt x="126982" y="1333460"/>
                    </a:cubicBezTo>
                    <a:lnTo>
                      <a:pt x="126982" y="1333460"/>
                    </a:lnTo>
                    <a:cubicBezTo>
                      <a:pt x="123942" y="1331687"/>
                      <a:pt x="122422" y="1327506"/>
                      <a:pt x="124069" y="1320032"/>
                    </a:cubicBezTo>
                    <a:cubicBezTo>
                      <a:pt x="127363" y="1303690"/>
                      <a:pt x="142818" y="1292922"/>
                      <a:pt x="141045" y="1275820"/>
                    </a:cubicBezTo>
                    <a:cubicBezTo>
                      <a:pt x="139904" y="1263785"/>
                      <a:pt x="130783" y="1253270"/>
                      <a:pt x="125462" y="1243262"/>
                    </a:cubicBezTo>
                    <a:cubicBezTo>
                      <a:pt x="121916" y="1236548"/>
                      <a:pt x="117862" y="1231101"/>
                      <a:pt x="112667" y="1225400"/>
                    </a:cubicBezTo>
                    <a:cubicBezTo>
                      <a:pt x="107727" y="1219826"/>
                      <a:pt x="98226" y="1214125"/>
                      <a:pt x="94679" y="1207791"/>
                    </a:cubicBezTo>
                    <a:cubicBezTo>
                      <a:pt x="91512" y="1201964"/>
                      <a:pt x="92272" y="1192842"/>
                      <a:pt x="89611" y="1186255"/>
                    </a:cubicBezTo>
                    <a:cubicBezTo>
                      <a:pt x="83784" y="1171307"/>
                      <a:pt x="72382" y="1159272"/>
                      <a:pt x="65035" y="1145210"/>
                    </a:cubicBezTo>
                    <a:cubicBezTo>
                      <a:pt x="60347" y="1136342"/>
                      <a:pt x="52874" y="1126461"/>
                      <a:pt x="50846" y="1116453"/>
                    </a:cubicBezTo>
                    <a:cubicBezTo>
                      <a:pt x="48439" y="1103785"/>
                      <a:pt x="57688" y="1098084"/>
                      <a:pt x="59587" y="1086809"/>
                    </a:cubicBezTo>
                    <a:cubicBezTo>
                      <a:pt x="63641" y="1064133"/>
                      <a:pt x="24876" y="1069707"/>
                      <a:pt x="22469" y="1046778"/>
                    </a:cubicBezTo>
                    <a:cubicBezTo>
                      <a:pt x="21203" y="1034996"/>
                      <a:pt x="23483" y="1024101"/>
                      <a:pt x="19556" y="1012447"/>
                    </a:cubicBezTo>
                    <a:cubicBezTo>
                      <a:pt x="16516" y="1003452"/>
                      <a:pt x="11068" y="995471"/>
                      <a:pt x="7267" y="986857"/>
                    </a:cubicBezTo>
                    <a:cubicBezTo>
                      <a:pt x="-1473" y="966841"/>
                      <a:pt x="-7427" y="946192"/>
                      <a:pt x="20570" y="945178"/>
                    </a:cubicBezTo>
                    <a:cubicBezTo>
                      <a:pt x="30704" y="944798"/>
                      <a:pt x="44892" y="949232"/>
                      <a:pt x="54394" y="944418"/>
                    </a:cubicBezTo>
                    <a:cubicBezTo>
                      <a:pt x="64528" y="939351"/>
                      <a:pt x="63768" y="927443"/>
                      <a:pt x="65542" y="917815"/>
                    </a:cubicBezTo>
                    <a:cubicBezTo>
                      <a:pt x="71495" y="886777"/>
                      <a:pt x="90372" y="929216"/>
                      <a:pt x="108234" y="927696"/>
                    </a:cubicBezTo>
                    <a:cubicBezTo>
                      <a:pt x="131670" y="925669"/>
                      <a:pt x="122422" y="885004"/>
                      <a:pt x="112667" y="873603"/>
                    </a:cubicBezTo>
                    <a:cubicBezTo>
                      <a:pt x="99239" y="857894"/>
                      <a:pt x="74283" y="851180"/>
                      <a:pt x="87078" y="824323"/>
                    </a:cubicBezTo>
                    <a:cubicBezTo>
                      <a:pt x="97466" y="802534"/>
                      <a:pt x="133317" y="816595"/>
                      <a:pt x="152699" y="808361"/>
                    </a:cubicBezTo>
                    <a:cubicBezTo>
                      <a:pt x="154220" y="785178"/>
                      <a:pt x="148772" y="749707"/>
                      <a:pt x="184116" y="753634"/>
                    </a:cubicBezTo>
                    <a:cubicBezTo>
                      <a:pt x="197038" y="755028"/>
                      <a:pt x="209326" y="765036"/>
                      <a:pt x="222121" y="765162"/>
                    </a:cubicBezTo>
                    <a:cubicBezTo>
                      <a:pt x="240490" y="765289"/>
                      <a:pt x="234283" y="750847"/>
                      <a:pt x="236310" y="738432"/>
                    </a:cubicBezTo>
                    <a:cubicBezTo>
                      <a:pt x="238717" y="724497"/>
                      <a:pt x="256579" y="715883"/>
                      <a:pt x="266333" y="707268"/>
                    </a:cubicBezTo>
                    <a:cubicBezTo>
                      <a:pt x="279382" y="695614"/>
                      <a:pt x="285462" y="679018"/>
                      <a:pt x="292557" y="663436"/>
                    </a:cubicBezTo>
                    <a:cubicBezTo>
                      <a:pt x="303705" y="639113"/>
                      <a:pt x="313460" y="621504"/>
                      <a:pt x="294204" y="598448"/>
                    </a:cubicBezTo>
                    <a:cubicBezTo>
                      <a:pt x="265954" y="564624"/>
                      <a:pt x="209199" y="520792"/>
                      <a:pt x="232382" y="472146"/>
                    </a:cubicBezTo>
                    <a:cubicBezTo>
                      <a:pt x="237577" y="461251"/>
                      <a:pt x="250752" y="446683"/>
                      <a:pt x="251131" y="434268"/>
                    </a:cubicBezTo>
                    <a:cubicBezTo>
                      <a:pt x="251385" y="421979"/>
                      <a:pt x="240617" y="421219"/>
                      <a:pt x="230483" y="419446"/>
                    </a:cubicBezTo>
                    <a:cubicBezTo>
                      <a:pt x="214140" y="416532"/>
                      <a:pt x="162201" y="403357"/>
                      <a:pt x="198432" y="383595"/>
                    </a:cubicBezTo>
                    <a:cubicBezTo>
                      <a:pt x="205906" y="379414"/>
                      <a:pt x="224909" y="378781"/>
                      <a:pt x="229849" y="371686"/>
                    </a:cubicBezTo>
                    <a:cubicBezTo>
                      <a:pt x="235296" y="363959"/>
                      <a:pt x="225415" y="352431"/>
                      <a:pt x="221994" y="345463"/>
                    </a:cubicBezTo>
                    <a:cubicBezTo>
                      <a:pt x="208946" y="319493"/>
                      <a:pt x="210213" y="298971"/>
                      <a:pt x="224275" y="274014"/>
                    </a:cubicBezTo>
                    <a:cubicBezTo>
                      <a:pt x="238843" y="247791"/>
                      <a:pt x="255945" y="248804"/>
                      <a:pt x="283182" y="245257"/>
                    </a:cubicBezTo>
                    <a:cubicBezTo>
                      <a:pt x="312446" y="241457"/>
                      <a:pt x="295850" y="215740"/>
                      <a:pt x="311559" y="199398"/>
                    </a:cubicBezTo>
                    <a:cubicBezTo>
                      <a:pt x="328914" y="181283"/>
                      <a:pt x="357038" y="195218"/>
                      <a:pt x="362359" y="163167"/>
                    </a:cubicBezTo>
                    <a:cubicBezTo>
                      <a:pt x="366666" y="136944"/>
                      <a:pt x="359065" y="109327"/>
                      <a:pt x="371606" y="84497"/>
                    </a:cubicBezTo>
                    <a:cubicBezTo>
                      <a:pt x="372620" y="82597"/>
                      <a:pt x="373634" y="80823"/>
                      <a:pt x="374773" y="79050"/>
                    </a:cubicBezTo>
                    <a:cubicBezTo>
                      <a:pt x="387062" y="60934"/>
                      <a:pt x="411258" y="52447"/>
                      <a:pt x="429121" y="69802"/>
                    </a:cubicBezTo>
                    <a:cubicBezTo>
                      <a:pt x="447236" y="87284"/>
                      <a:pt x="442676" y="117181"/>
                      <a:pt x="471813" y="123515"/>
                    </a:cubicBezTo>
                    <a:cubicBezTo>
                      <a:pt x="503230" y="130356"/>
                      <a:pt x="523246" y="108060"/>
                      <a:pt x="550229" y="98812"/>
                    </a:cubicBezTo>
                    <a:cubicBezTo>
                      <a:pt x="575058" y="90198"/>
                      <a:pt x="605209" y="103880"/>
                      <a:pt x="627252" y="86904"/>
                    </a:cubicBezTo>
                    <a:cubicBezTo>
                      <a:pt x="636880" y="79557"/>
                      <a:pt x="642454" y="68029"/>
                      <a:pt x="651702" y="60174"/>
                    </a:cubicBezTo>
                    <a:cubicBezTo>
                      <a:pt x="662089" y="51306"/>
                      <a:pt x="674378" y="47633"/>
                      <a:pt x="687679" y="45732"/>
                    </a:cubicBezTo>
                    <a:cubicBezTo>
                      <a:pt x="714156" y="41932"/>
                      <a:pt x="736072" y="40032"/>
                      <a:pt x="759762" y="26350"/>
                    </a:cubicBezTo>
                    <a:cubicBezTo>
                      <a:pt x="776611" y="16595"/>
                      <a:pt x="794473" y="380"/>
                      <a:pt x="814868" y="0"/>
                    </a:cubicBezTo>
                    <a:cubicBezTo>
                      <a:pt x="816642" y="0"/>
                      <a:pt x="818416" y="127"/>
                      <a:pt x="820316" y="380"/>
                    </a:cubicBezTo>
                    <a:cubicBezTo>
                      <a:pt x="840205" y="2914"/>
                      <a:pt x="875550" y="20903"/>
                      <a:pt x="867948" y="45479"/>
                    </a:cubicBezTo>
                    <a:cubicBezTo>
                      <a:pt x="864655" y="56120"/>
                      <a:pt x="856547" y="63468"/>
                      <a:pt x="864528" y="74996"/>
                    </a:cubicBezTo>
                    <a:cubicBezTo>
                      <a:pt x="871496" y="85004"/>
                      <a:pt x="887331" y="88044"/>
                      <a:pt x="898226" y="91085"/>
                    </a:cubicBezTo>
                    <a:cubicBezTo>
                      <a:pt x="919635" y="97165"/>
                      <a:pt x="941804" y="98179"/>
                      <a:pt x="956246" y="117181"/>
                    </a:cubicBezTo>
                    <a:cubicBezTo>
                      <a:pt x="963467" y="126682"/>
                      <a:pt x="967901" y="136944"/>
                      <a:pt x="978162" y="143658"/>
                    </a:cubicBezTo>
                    <a:cubicBezTo>
                      <a:pt x="988424" y="150372"/>
                      <a:pt x="1003246" y="151512"/>
                      <a:pt x="1011733" y="160760"/>
                    </a:cubicBezTo>
                    <a:cubicBezTo>
                      <a:pt x="1032889" y="183563"/>
                      <a:pt x="985637" y="208139"/>
                      <a:pt x="999825" y="228155"/>
                    </a:cubicBezTo>
                    <a:cubicBezTo>
                      <a:pt x="1016294" y="251338"/>
                      <a:pt x="1066460" y="220174"/>
                      <a:pt x="1088249" y="225748"/>
                    </a:cubicBezTo>
                    <a:cubicBezTo>
                      <a:pt x="1113079" y="232209"/>
                      <a:pt x="1106238" y="269960"/>
                      <a:pt x="1118146" y="287189"/>
                    </a:cubicBezTo>
                    <a:cubicBezTo>
                      <a:pt x="1130815" y="305558"/>
                      <a:pt x="1157038" y="298844"/>
                      <a:pt x="1165399" y="321394"/>
                    </a:cubicBezTo>
                    <a:cubicBezTo>
                      <a:pt x="1169833" y="333302"/>
                      <a:pt x="1171226" y="344070"/>
                      <a:pt x="1182628" y="351797"/>
                    </a:cubicBezTo>
                    <a:cubicBezTo>
                      <a:pt x="1188456" y="355851"/>
                      <a:pt x="1195296" y="357878"/>
                      <a:pt x="1202137" y="359905"/>
                    </a:cubicBezTo>
                    <a:cubicBezTo>
                      <a:pt x="1202264" y="363959"/>
                      <a:pt x="1202517" y="367633"/>
                      <a:pt x="1202771" y="370420"/>
                    </a:cubicBezTo>
                    <a:cubicBezTo>
                      <a:pt x="1206318" y="405131"/>
                      <a:pt x="1208471" y="439715"/>
                      <a:pt x="1208471" y="474553"/>
                    </a:cubicBezTo>
                    <a:cubicBezTo>
                      <a:pt x="1208471" y="501663"/>
                      <a:pt x="1226207" y="520285"/>
                      <a:pt x="1240776" y="541568"/>
                    </a:cubicBezTo>
                    <a:cubicBezTo>
                      <a:pt x="1251037" y="557530"/>
                      <a:pt x="1241409" y="577419"/>
                      <a:pt x="1235581" y="593381"/>
                    </a:cubicBezTo>
                    <a:close/>
                  </a:path>
                </a:pathLst>
              </a:custGeom>
              <a:solidFill>
                <a:srgbClr val="E3E8EC"/>
              </a:solidFill>
              <a:ln w="12666" cap="flat">
                <a:solidFill>
                  <a:srgbClr val="FFFFFF"/>
                </a:solidFill>
                <a:prstDash val="solid"/>
                <a:miter/>
              </a:ln>
            </p:spPr>
            <p:txBody>
              <a:bodyPr rtlCol="0" anchor="ctr"/>
              <a:lstStyle/>
              <a:p>
                <a:endParaRPr lang="ru-RU" sz="1587"/>
              </a:p>
            </p:txBody>
          </p:sp>
          <p:sp>
            <p:nvSpPr>
              <p:cNvPr id="721" name="Полилиния: фигура 720">
                <a:extLst>
                  <a:ext uri="{FF2B5EF4-FFF2-40B4-BE49-F238E27FC236}">
                    <a16:creationId xmlns:a16="http://schemas.microsoft.com/office/drawing/2014/main" id="{FB275663-B50C-4860-8221-8FBB384BC08F}"/>
                  </a:ext>
                </a:extLst>
              </p:cNvPr>
              <p:cNvSpPr/>
              <p:nvPr/>
            </p:nvSpPr>
            <p:spPr>
              <a:xfrm>
                <a:off x="11703392" y="3728946"/>
                <a:ext cx="25716" cy="26732"/>
              </a:xfrm>
              <a:custGeom>
                <a:avLst/>
                <a:gdLst>
                  <a:gd name="connsiteX0" fmla="*/ 25716 w 25716"/>
                  <a:gd name="connsiteY0" fmla="*/ 13304 h 26732"/>
                  <a:gd name="connsiteX1" fmla="*/ 12795 w 25716"/>
                  <a:gd name="connsiteY1" fmla="*/ 26732 h 26732"/>
                  <a:gd name="connsiteX2" fmla="*/ 0 w 25716"/>
                  <a:gd name="connsiteY2" fmla="*/ 13304 h 26732"/>
                  <a:gd name="connsiteX3" fmla="*/ 12795 w 25716"/>
                  <a:gd name="connsiteY3" fmla="*/ 2 h 26732"/>
                  <a:gd name="connsiteX4" fmla="*/ 25716 w 25716"/>
                  <a:gd name="connsiteY4" fmla="*/ 13304 h 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6" h="26732">
                    <a:moveTo>
                      <a:pt x="25716" y="13304"/>
                    </a:moveTo>
                    <a:cubicBezTo>
                      <a:pt x="25716" y="20651"/>
                      <a:pt x="20016" y="26732"/>
                      <a:pt x="12795" y="26732"/>
                    </a:cubicBezTo>
                    <a:cubicBezTo>
                      <a:pt x="5701" y="26732"/>
                      <a:pt x="0" y="20778"/>
                      <a:pt x="0" y="13304"/>
                    </a:cubicBezTo>
                    <a:cubicBezTo>
                      <a:pt x="0" y="5956"/>
                      <a:pt x="5701" y="2"/>
                      <a:pt x="12795" y="2"/>
                    </a:cubicBezTo>
                    <a:cubicBezTo>
                      <a:pt x="19889" y="-124"/>
                      <a:pt x="25716" y="5830"/>
                      <a:pt x="25716" y="13304"/>
                    </a:cubicBezTo>
                    <a:close/>
                  </a:path>
                </a:pathLst>
              </a:custGeom>
              <a:solidFill>
                <a:srgbClr val="E3E8EC"/>
              </a:solidFill>
              <a:ln w="12666" cap="flat">
                <a:solidFill>
                  <a:srgbClr val="FFFFFF"/>
                </a:solidFill>
                <a:prstDash val="solid"/>
                <a:miter/>
              </a:ln>
            </p:spPr>
            <p:txBody>
              <a:bodyPr rtlCol="0" anchor="ctr"/>
              <a:lstStyle/>
              <a:p>
                <a:endParaRPr lang="ru-RU" sz="1587"/>
              </a:p>
            </p:txBody>
          </p:sp>
        </p:grpSp>
      </p:grpSp>
    </p:spTree>
    <p:extLst>
      <p:ext uri="{BB962C8B-B14F-4D97-AF65-F5344CB8AC3E}">
        <p14:creationId xmlns:p14="http://schemas.microsoft.com/office/powerpoint/2010/main" val="169606141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тарифы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12" name="Прямоугольник: скругленные углы 11">
            <a:extLst>
              <a:ext uri="{FF2B5EF4-FFF2-40B4-BE49-F238E27FC236}">
                <a16:creationId xmlns:a16="http://schemas.microsoft.com/office/drawing/2014/main" id="{14F38DA2-E643-4B7E-B7C7-873CDD759A92}"/>
              </a:ext>
            </a:extLst>
          </p:cNvPr>
          <p:cNvSpPr/>
          <p:nvPr userDrawn="1"/>
        </p:nvSpPr>
        <p:spPr>
          <a:xfrm>
            <a:off x="417035" y="1699092"/>
            <a:ext cx="5560011" cy="4255435"/>
          </a:xfrm>
          <a:prstGeom prst="roundRect">
            <a:avLst>
              <a:gd name="adj" fmla="val 2842"/>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13" name="Полилиния: фигура 12">
            <a:extLst>
              <a:ext uri="{FF2B5EF4-FFF2-40B4-BE49-F238E27FC236}">
                <a16:creationId xmlns:a16="http://schemas.microsoft.com/office/drawing/2014/main" id="{BFC58B2B-2E38-45D4-A0F5-B577C34E9C86}"/>
              </a:ext>
            </a:extLst>
          </p:cNvPr>
          <p:cNvSpPr/>
          <p:nvPr userDrawn="1"/>
        </p:nvSpPr>
        <p:spPr>
          <a:xfrm>
            <a:off x="417035" y="1699094"/>
            <a:ext cx="5560011" cy="526677"/>
          </a:xfrm>
          <a:custGeom>
            <a:avLst/>
            <a:gdLst>
              <a:gd name="connsiteX0" fmla="*/ 137065 w 6307137"/>
              <a:gd name="connsiteY0" fmla="*/ 0 h 596901"/>
              <a:gd name="connsiteX1" fmla="*/ 6170072 w 6307137"/>
              <a:gd name="connsiteY1" fmla="*/ 0 h 596901"/>
              <a:gd name="connsiteX2" fmla="*/ 6307137 w 6307137"/>
              <a:gd name="connsiteY2" fmla="*/ 137065 h 596901"/>
              <a:gd name="connsiteX3" fmla="*/ 6307137 w 6307137"/>
              <a:gd name="connsiteY3" fmla="*/ 596901 h 596901"/>
              <a:gd name="connsiteX4" fmla="*/ 0 w 6307137"/>
              <a:gd name="connsiteY4" fmla="*/ 596901 h 596901"/>
              <a:gd name="connsiteX5" fmla="*/ 0 w 6307137"/>
              <a:gd name="connsiteY5" fmla="*/ 137065 h 596901"/>
              <a:gd name="connsiteX6" fmla="*/ 137065 w 6307137"/>
              <a:gd name="connsiteY6" fmla="*/ 0 h 5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137" h="596901">
                <a:moveTo>
                  <a:pt x="137065" y="0"/>
                </a:moveTo>
                <a:lnTo>
                  <a:pt x="6170072" y="0"/>
                </a:lnTo>
                <a:cubicBezTo>
                  <a:pt x="6245771" y="0"/>
                  <a:pt x="6307137" y="61366"/>
                  <a:pt x="6307137" y="137065"/>
                </a:cubicBezTo>
                <a:lnTo>
                  <a:pt x="6307137" y="596901"/>
                </a:lnTo>
                <a:lnTo>
                  <a:pt x="0" y="596901"/>
                </a:lnTo>
                <a:lnTo>
                  <a:pt x="0" y="137065"/>
                </a:lnTo>
                <a:cubicBezTo>
                  <a:pt x="0" y="61366"/>
                  <a:pt x="61366" y="0"/>
                  <a:pt x="13706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14" name="Текст 14">
            <a:extLst>
              <a:ext uri="{FF2B5EF4-FFF2-40B4-BE49-F238E27FC236}">
                <a16:creationId xmlns:a16="http://schemas.microsoft.com/office/drawing/2014/main" id="{78A23032-B92E-4297-B016-48D82304BB5D}"/>
              </a:ext>
            </a:extLst>
          </p:cNvPr>
          <p:cNvSpPr>
            <a:spLocks noGrp="1"/>
          </p:cNvSpPr>
          <p:nvPr>
            <p:ph type="body" sz="quarter" idx="30" hasCustomPrompt="1"/>
          </p:nvPr>
        </p:nvSpPr>
        <p:spPr>
          <a:xfrm>
            <a:off x="584969" y="1814087"/>
            <a:ext cx="5257119" cy="339195"/>
          </a:xfrm>
          <a:prstGeom prst="rect">
            <a:avLst/>
          </a:prstGeom>
        </p:spPr>
        <p:txBody>
          <a:bodyPr lIns="0" tIns="0" rIns="0" bIns="0"/>
          <a:lstStyle>
            <a:lvl1pPr>
              <a:lnSpc>
                <a:spcPct val="100000"/>
              </a:lnSpc>
              <a:spcBef>
                <a:spcPts val="0"/>
              </a:spcBef>
              <a:defRPr sz="2204"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Название дополнительной функции</a:t>
            </a:r>
          </a:p>
        </p:txBody>
      </p:sp>
      <p:sp>
        <p:nvSpPr>
          <p:cNvPr id="16" name="Текст 14">
            <a:extLst>
              <a:ext uri="{FF2B5EF4-FFF2-40B4-BE49-F238E27FC236}">
                <a16:creationId xmlns:a16="http://schemas.microsoft.com/office/drawing/2014/main" id="{CC902B0E-9C46-438A-B990-28980D679D73}"/>
              </a:ext>
            </a:extLst>
          </p:cNvPr>
          <p:cNvSpPr>
            <a:spLocks noGrp="1"/>
          </p:cNvSpPr>
          <p:nvPr>
            <p:ph type="body" sz="quarter" idx="34" hasCustomPrompt="1"/>
          </p:nvPr>
        </p:nvSpPr>
        <p:spPr>
          <a:xfrm>
            <a:off x="584969" y="5117982"/>
            <a:ext cx="5257119"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17" name="Текст 14">
            <a:extLst>
              <a:ext uri="{FF2B5EF4-FFF2-40B4-BE49-F238E27FC236}">
                <a16:creationId xmlns:a16="http://schemas.microsoft.com/office/drawing/2014/main" id="{823B24D1-8FA8-48DE-A523-A7EF21B12D6F}"/>
              </a:ext>
            </a:extLst>
          </p:cNvPr>
          <p:cNvSpPr>
            <a:spLocks noGrp="1"/>
          </p:cNvSpPr>
          <p:nvPr>
            <p:ph type="body" sz="quarter" idx="35" hasCustomPrompt="1"/>
          </p:nvPr>
        </p:nvSpPr>
        <p:spPr>
          <a:xfrm>
            <a:off x="584969" y="5562737"/>
            <a:ext cx="5257119"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19" name="Текст 14">
            <a:extLst>
              <a:ext uri="{FF2B5EF4-FFF2-40B4-BE49-F238E27FC236}">
                <a16:creationId xmlns:a16="http://schemas.microsoft.com/office/drawing/2014/main" id="{EF6487A9-D90D-45FA-8580-A8ECCDA822E6}"/>
              </a:ext>
            </a:extLst>
          </p:cNvPr>
          <p:cNvSpPr>
            <a:spLocks noGrp="1"/>
          </p:cNvSpPr>
          <p:nvPr>
            <p:ph type="body" sz="quarter" idx="37" hasCustomPrompt="1"/>
          </p:nvPr>
        </p:nvSpPr>
        <p:spPr>
          <a:xfrm>
            <a:off x="584969" y="2703596"/>
            <a:ext cx="5257119" cy="859210"/>
          </a:xfrm>
          <a:prstGeom prst="rect">
            <a:avLst/>
          </a:prstGeom>
        </p:spPr>
        <p:txBody>
          <a:bodyPr lIns="0" tIns="0" rIns="0" bIns="0"/>
          <a:lstStyle>
            <a:lvl1pPr marL="156731" indent="-156731">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20" name="Текст 14">
            <a:extLst>
              <a:ext uri="{FF2B5EF4-FFF2-40B4-BE49-F238E27FC236}">
                <a16:creationId xmlns:a16="http://schemas.microsoft.com/office/drawing/2014/main" id="{6F572EC0-3D1E-48EE-AD08-1971356B0BE5}"/>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04447933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тарифы_2">
    <p:spTree>
      <p:nvGrpSpPr>
        <p:cNvPr id="1" name=""/>
        <p:cNvGrpSpPr/>
        <p:nvPr/>
      </p:nvGrpSpPr>
      <p:grpSpPr>
        <a:xfrm>
          <a:off x="0" y="0"/>
          <a:ext cx="0" cy="0"/>
          <a:chOff x="0" y="0"/>
          <a:chExt cx="0" cy="0"/>
        </a:xfrm>
      </p:grpSpPr>
      <p:sp>
        <p:nvSpPr>
          <p:cNvPr id="41" name="Заголовок 1">
            <a:extLst>
              <a:ext uri="{FF2B5EF4-FFF2-40B4-BE49-F238E27FC236}">
                <a16:creationId xmlns:a16="http://schemas.microsoft.com/office/drawing/2014/main" id="{07C137D2-5C83-4133-A6D0-FCD403F068F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60" name="Прямоугольник: скругленные углы 59">
            <a:extLst>
              <a:ext uri="{FF2B5EF4-FFF2-40B4-BE49-F238E27FC236}">
                <a16:creationId xmlns:a16="http://schemas.microsoft.com/office/drawing/2014/main" id="{9156BE3F-EFAA-42D2-976A-B494DF71C4EE}"/>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1" name="Полилиния: фигура 60">
            <a:extLst>
              <a:ext uri="{FF2B5EF4-FFF2-40B4-BE49-F238E27FC236}">
                <a16:creationId xmlns:a16="http://schemas.microsoft.com/office/drawing/2014/main" id="{E8631BE6-264F-4F99-B0BC-BCE2902DCF48}"/>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2" name="Текст 14">
            <a:extLst>
              <a:ext uri="{FF2B5EF4-FFF2-40B4-BE49-F238E27FC236}">
                <a16:creationId xmlns:a16="http://schemas.microsoft.com/office/drawing/2014/main" id="{EBF8EA7A-BCED-4EA9-B0BB-4F47FCF73264}"/>
              </a:ext>
            </a:extLst>
          </p:cNvPr>
          <p:cNvSpPr>
            <a:spLocks noGrp="1"/>
          </p:cNvSpPr>
          <p:nvPr>
            <p:ph type="body" sz="quarter" idx="27" hasCustomPrompt="1"/>
          </p:nvPr>
        </p:nvSpPr>
        <p:spPr>
          <a:xfrm>
            <a:off x="584969" y="2706398"/>
            <a:ext cx="2371507" cy="859210"/>
          </a:xfrm>
          <a:prstGeom prst="rect">
            <a:avLst/>
          </a:prstGeom>
        </p:spPr>
        <p:txBody>
          <a:bodyPr lIns="0" tIns="0" rIns="0" bIns="0"/>
          <a:lstStyle>
            <a:lvl1pPr marL="156731" indent="-156731">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3" name="Текст 14">
            <a:extLst>
              <a:ext uri="{FF2B5EF4-FFF2-40B4-BE49-F238E27FC236}">
                <a16:creationId xmlns:a16="http://schemas.microsoft.com/office/drawing/2014/main" id="{F2B96B88-71F8-49A4-ADBD-906773B80629}"/>
              </a:ext>
            </a:extLst>
          </p:cNvPr>
          <p:cNvSpPr>
            <a:spLocks noGrp="1"/>
          </p:cNvSpPr>
          <p:nvPr>
            <p:ph type="body" sz="quarter" idx="34" hasCustomPrompt="1"/>
          </p:nvPr>
        </p:nvSpPr>
        <p:spPr>
          <a:xfrm>
            <a:off x="584970"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4" name="Текст 14">
            <a:extLst>
              <a:ext uri="{FF2B5EF4-FFF2-40B4-BE49-F238E27FC236}">
                <a16:creationId xmlns:a16="http://schemas.microsoft.com/office/drawing/2014/main" id="{38383EB3-4633-494A-91AD-DBC62A648417}"/>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5" name="Текст 14">
            <a:extLst>
              <a:ext uri="{FF2B5EF4-FFF2-40B4-BE49-F238E27FC236}">
                <a16:creationId xmlns:a16="http://schemas.microsoft.com/office/drawing/2014/main" id="{9B45BC26-E6F2-4C45-864B-1292DC871E64}"/>
              </a:ext>
            </a:extLst>
          </p:cNvPr>
          <p:cNvSpPr>
            <a:spLocks noGrp="1"/>
          </p:cNvSpPr>
          <p:nvPr>
            <p:ph type="body" sz="quarter" idx="30" hasCustomPrompt="1"/>
          </p:nvPr>
        </p:nvSpPr>
        <p:spPr>
          <a:xfrm>
            <a:off x="584968"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6" name="Прямоугольник: скругленные углы 65">
            <a:extLst>
              <a:ext uri="{FF2B5EF4-FFF2-40B4-BE49-F238E27FC236}">
                <a16:creationId xmlns:a16="http://schemas.microsoft.com/office/drawing/2014/main" id="{41FDBCCF-B207-46B3-AA00-F5865D0C8D8C}"/>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Полилиния: фигура 66">
            <a:extLst>
              <a:ext uri="{FF2B5EF4-FFF2-40B4-BE49-F238E27FC236}">
                <a16:creationId xmlns:a16="http://schemas.microsoft.com/office/drawing/2014/main" id="{559DFDE8-C0C2-43CF-B7DD-1CAABE488BFE}"/>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8" name="Текст 14">
            <a:extLst>
              <a:ext uri="{FF2B5EF4-FFF2-40B4-BE49-F238E27FC236}">
                <a16:creationId xmlns:a16="http://schemas.microsoft.com/office/drawing/2014/main" id="{D5B0DE75-947F-466F-8E61-9EDC6297630E}"/>
              </a:ext>
            </a:extLst>
          </p:cNvPr>
          <p:cNvSpPr>
            <a:spLocks noGrp="1"/>
          </p:cNvSpPr>
          <p:nvPr>
            <p:ph type="body" sz="quarter" idx="37" hasCustomPrompt="1"/>
          </p:nvPr>
        </p:nvSpPr>
        <p:spPr>
          <a:xfrm>
            <a:off x="3486027" y="2706398"/>
            <a:ext cx="2371507" cy="859210"/>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9" name="Текст 14">
            <a:extLst>
              <a:ext uri="{FF2B5EF4-FFF2-40B4-BE49-F238E27FC236}">
                <a16:creationId xmlns:a16="http://schemas.microsoft.com/office/drawing/2014/main" id="{462CAB99-D7A1-4C93-B921-0B11D27E858C}"/>
              </a:ext>
            </a:extLst>
          </p:cNvPr>
          <p:cNvSpPr>
            <a:spLocks noGrp="1"/>
          </p:cNvSpPr>
          <p:nvPr>
            <p:ph type="body" sz="quarter" idx="39" hasCustomPrompt="1"/>
          </p:nvPr>
        </p:nvSpPr>
        <p:spPr>
          <a:xfrm>
            <a:off x="3486028"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0" name="Текст 14">
            <a:extLst>
              <a:ext uri="{FF2B5EF4-FFF2-40B4-BE49-F238E27FC236}">
                <a16:creationId xmlns:a16="http://schemas.microsoft.com/office/drawing/2014/main" id="{4B383A62-BC7E-4005-B731-45CFBCAB21D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B8F37A52-304D-4E6F-9529-2D3ABB91778E}"/>
              </a:ext>
            </a:extLst>
          </p:cNvPr>
          <p:cNvSpPr>
            <a:spLocks noGrp="1"/>
          </p:cNvSpPr>
          <p:nvPr>
            <p:ph type="body" sz="quarter" idx="41" hasCustomPrompt="1"/>
          </p:nvPr>
        </p:nvSpPr>
        <p:spPr>
          <a:xfrm>
            <a:off x="3486026"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20" name="Текст 14">
            <a:extLst>
              <a:ext uri="{FF2B5EF4-FFF2-40B4-BE49-F238E27FC236}">
                <a16:creationId xmlns:a16="http://schemas.microsoft.com/office/drawing/2014/main" id="{F16FB159-232F-4042-B2D5-919350C7B8E4}"/>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113477118"/>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тарифы_3">
    <p:spTree>
      <p:nvGrpSpPr>
        <p:cNvPr id="1" name=""/>
        <p:cNvGrpSpPr/>
        <p:nvPr/>
      </p:nvGrpSpPr>
      <p:grpSpPr>
        <a:xfrm>
          <a:off x="0" y="0"/>
          <a:ext cx="0" cy="0"/>
          <a:chOff x="0" y="0"/>
          <a:chExt cx="0" cy="0"/>
        </a:xfrm>
      </p:grpSpPr>
      <p:sp>
        <p:nvSpPr>
          <p:cNvPr id="60" name="Заголовок 1">
            <a:extLst>
              <a:ext uri="{FF2B5EF4-FFF2-40B4-BE49-F238E27FC236}">
                <a16:creationId xmlns:a16="http://schemas.microsoft.com/office/drawing/2014/main" id="{284BC825-AC08-491E-B6A4-BE1D4DCE4A2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61" name="Прямоугольник: скругленные углы 60">
            <a:extLst>
              <a:ext uri="{FF2B5EF4-FFF2-40B4-BE49-F238E27FC236}">
                <a16:creationId xmlns:a16="http://schemas.microsoft.com/office/drawing/2014/main" id="{A1F58EA0-5C77-427E-BE3C-D1F06C43407E}"/>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2" name="Полилиния: фигура 61">
            <a:extLst>
              <a:ext uri="{FF2B5EF4-FFF2-40B4-BE49-F238E27FC236}">
                <a16:creationId xmlns:a16="http://schemas.microsoft.com/office/drawing/2014/main" id="{4BCC6E90-B4ED-46DD-9A0D-B45DED7245E3}"/>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3" name="Текст 14">
            <a:extLst>
              <a:ext uri="{FF2B5EF4-FFF2-40B4-BE49-F238E27FC236}">
                <a16:creationId xmlns:a16="http://schemas.microsoft.com/office/drawing/2014/main" id="{B9799268-6564-41F7-BE95-5A710427C9E5}"/>
              </a:ext>
            </a:extLst>
          </p:cNvPr>
          <p:cNvSpPr>
            <a:spLocks noGrp="1"/>
          </p:cNvSpPr>
          <p:nvPr>
            <p:ph type="body" sz="quarter" idx="27" hasCustomPrompt="1"/>
          </p:nvPr>
        </p:nvSpPr>
        <p:spPr>
          <a:xfrm>
            <a:off x="584969" y="2706398"/>
            <a:ext cx="2371507" cy="859210"/>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4" name="Текст 14">
            <a:extLst>
              <a:ext uri="{FF2B5EF4-FFF2-40B4-BE49-F238E27FC236}">
                <a16:creationId xmlns:a16="http://schemas.microsoft.com/office/drawing/2014/main" id="{2A4C38DD-DCE6-49CB-BDEC-96A00F727772}"/>
              </a:ext>
            </a:extLst>
          </p:cNvPr>
          <p:cNvSpPr>
            <a:spLocks noGrp="1"/>
          </p:cNvSpPr>
          <p:nvPr>
            <p:ph type="body" sz="quarter" idx="34" hasCustomPrompt="1"/>
          </p:nvPr>
        </p:nvSpPr>
        <p:spPr>
          <a:xfrm>
            <a:off x="584970"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F31FC1D2-DED2-4073-BF73-31DCA7DAD15E}"/>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23F9994D-3864-4DE0-AB2C-801CD13123D2}"/>
              </a:ext>
            </a:extLst>
          </p:cNvPr>
          <p:cNvSpPr>
            <a:spLocks noGrp="1"/>
          </p:cNvSpPr>
          <p:nvPr>
            <p:ph type="body" sz="quarter" idx="30" hasCustomPrompt="1"/>
          </p:nvPr>
        </p:nvSpPr>
        <p:spPr>
          <a:xfrm>
            <a:off x="584968"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7" name="Прямоугольник: скругленные углы 66">
            <a:extLst>
              <a:ext uri="{FF2B5EF4-FFF2-40B4-BE49-F238E27FC236}">
                <a16:creationId xmlns:a16="http://schemas.microsoft.com/office/drawing/2014/main" id="{C38EC820-DE98-40DE-82E1-A3E5C78C44BC}"/>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8" name="Полилиния: фигура 67">
            <a:extLst>
              <a:ext uri="{FF2B5EF4-FFF2-40B4-BE49-F238E27FC236}">
                <a16:creationId xmlns:a16="http://schemas.microsoft.com/office/drawing/2014/main" id="{D4724109-F38D-4B7C-A361-4D76940B1177}"/>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9" name="Текст 14">
            <a:extLst>
              <a:ext uri="{FF2B5EF4-FFF2-40B4-BE49-F238E27FC236}">
                <a16:creationId xmlns:a16="http://schemas.microsoft.com/office/drawing/2014/main" id="{D98BDEF5-59B6-4251-86D9-4A8DF2380211}"/>
              </a:ext>
            </a:extLst>
          </p:cNvPr>
          <p:cNvSpPr>
            <a:spLocks noGrp="1"/>
          </p:cNvSpPr>
          <p:nvPr>
            <p:ph type="body" sz="quarter" idx="37" hasCustomPrompt="1"/>
          </p:nvPr>
        </p:nvSpPr>
        <p:spPr>
          <a:xfrm>
            <a:off x="3486027" y="2706398"/>
            <a:ext cx="2371507" cy="859210"/>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0" name="Текст 14">
            <a:extLst>
              <a:ext uri="{FF2B5EF4-FFF2-40B4-BE49-F238E27FC236}">
                <a16:creationId xmlns:a16="http://schemas.microsoft.com/office/drawing/2014/main" id="{AAFD0E76-F5AC-46E9-874B-9FF5837BD48C}"/>
              </a:ext>
            </a:extLst>
          </p:cNvPr>
          <p:cNvSpPr>
            <a:spLocks noGrp="1"/>
          </p:cNvSpPr>
          <p:nvPr>
            <p:ph type="body" sz="quarter" idx="39" hasCustomPrompt="1"/>
          </p:nvPr>
        </p:nvSpPr>
        <p:spPr>
          <a:xfrm>
            <a:off x="3486028"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1" name="Текст 14">
            <a:extLst>
              <a:ext uri="{FF2B5EF4-FFF2-40B4-BE49-F238E27FC236}">
                <a16:creationId xmlns:a16="http://schemas.microsoft.com/office/drawing/2014/main" id="{47238161-ABB3-4135-9D20-D3361A20D6E4}"/>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2" name="Текст 14">
            <a:extLst>
              <a:ext uri="{FF2B5EF4-FFF2-40B4-BE49-F238E27FC236}">
                <a16:creationId xmlns:a16="http://schemas.microsoft.com/office/drawing/2014/main" id="{04331AF8-4D00-4E85-9621-7C9D5BB3B2F3}"/>
              </a:ext>
            </a:extLst>
          </p:cNvPr>
          <p:cNvSpPr>
            <a:spLocks noGrp="1"/>
          </p:cNvSpPr>
          <p:nvPr>
            <p:ph type="body" sz="quarter" idx="41" hasCustomPrompt="1"/>
          </p:nvPr>
        </p:nvSpPr>
        <p:spPr>
          <a:xfrm>
            <a:off x="3486026"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73" name="Прямоугольник: скругленные углы 72">
            <a:extLst>
              <a:ext uri="{FF2B5EF4-FFF2-40B4-BE49-F238E27FC236}">
                <a16:creationId xmlns:a16="http://schemas.microsoft.com/office/drawing/2014/main" id="{8AFC3582-6ADE-45BF-BF93-69F79C29ACC5}"/>
              </a:ext>
            </a:extLst>
          </p:cNvPr>
          <p:cNvSpPr/>
          <p:nvPr userDrawn="1"/>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Полилиния: фигура 73">
            <a:extLst>
              <a:ext uri="{FF2B5EF4-FFF2-40B4-BE49-F238E27FC236}">
                <a16:creationId xmlns:a16="http://schemas.microsoft.com/office/drawing/2014/main" id="{1D7A412A-D335-4905-A341-48EA081229E5}"/>
              </a:ext>
            </a:extLst>
          </p:cNvPr>
          <p:cNvSpPr/>
          <p:nvPr userDrawn="1"/>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75" name="Текст 14">
            <a:extLst>
              <a:ext uri="{FF2B5EF4-FFF2-40B4-BE49-F238E27FC236}">
                <a16:creationId xmlns:a16="http://schemas.microsoft.com/office/drawing/2014/main" id="{4556A8C8-D105-4718-8EA5-4CF0FD4BB129}"/>
              </a:ext>
            </a:extLst>
          </p:cNvPr>
          <p:cNvSpPr>
            <a:spLocks noGrp="1"/>
          </p:cNvSpPr>
          <p:nvPr>
            <p:ph type="body" sz="quarter" idx="42" hasCustomPrompt="1"/>
          </p:nvPr>
        </p:nvSpPr>
        <p:spPr>
          <a:xfrm>
            <a:off x="6370292" y="2706398"/>
            <a:ext cx="2371507" cy="859210"/>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6" name="Текст 14">
            <a:extLst>
              <a:ext uri="{FF2B5EF4-FFF2-40B4-BE49-F238E27FC236}">
                <a16:creationId xmlns:a16="http://schemas.microsoft.com/office/drawing/2014/main" id="{E3A65BE1-29E8-4962-BF6F-094F3B5B19F3}"/>
              </a:ext>
            </a:extLst>
          </p:cNvPr>
          <p:cNvSpPr>
            <a:spLocks noGrp="1"/>
          </p:cNvSpPr>
          <p:nvPr>
            <p:ph type="body" sz="quarter" idx="44" hasCustomPrompt="1"/>
          </p:nvPr>
        </p:nvSpPr>
        <p:spPr>
          <a:xfrm>
            <a:off x="6370293"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77" name="Текст 14">
            <a:extLst>
              <a:ext uri="{FF2B5EF4-FFF2-40B4-BE49-F238E27FC236}">
                <a16:creationId xmlns:a16="http://schemas.microsoft.com/office/drawing/2014/main" id="{F256B842-BEE7-4053-8D9E-D0C703B3B083}"/>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78" name="Текст 14">
            <a:extLst>
              <a:ext uri="{FF2B5EF4-FFF2-40B4-BE49-F238E27FC236}">
                <a16:creationId xmlns:a16="http://schemas.microsoft.com/office/drawing/2014/main" id="{C2B42A58-41DA-4E08-8CF7-21B9DC13CB6B}"/>
              </a:ext>
            </a:extLst>
          </p:cNvPr>
          <p:cNvSpPr>
            <a:spLocks noGrp="1"/>
          </p:cNvSpPr>
          <p:nvPr>
            <p:ph type="body" sz="quarter" idx="46" hasCustomPrompt="1"/>
          </p:nvPr>
        </p:nvSpPr>
        <p:spPr>
          <a:xfrm>
            <a:off x="6370291"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27" name="Текст 14">
            <a:extLst>
              <a:ext uri="{FF2B5EF4-FFF2-40B4-BE49-F238E27FC236}">
                <a16:creationId xmlns:a16="http://schemas.microsoft.com/office/drawing/2014/main" id="{556C9375-9F5F-4445-905D-A7C2051D3C1C}"/>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152340649"/>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тарифы_4">
    <p:spTree>
      <p:nvGrpSpPr>
        <p:cNvPr id="1" name=""/>
        <p:cNvGrpSpPr/>
        <p:nvPr/>
      </p:nvGrpSpPr>
      <p:grpSpPr>
        <a:xfrm>
          <a:off x="0" y="0"/>
          <a:ext cx="0" cy="0"/>
          <a:chOff x="0" y="0"/>
          <a:chExt cx="0" cy="0"/>
        </a:xfrm>
      </p:grpSpPr>
      <p:sp>
        <p:nvSpPr>
          <p:cNvPr id="46" name="Прямоугольник: скругленные углы 45">
            <a:extLst>
              <a:ext uri="{FF2B5EF4-FFF2-40B4-BE49-F238E27FC236}">
                <a16:creationId xmlns:a16="http://schemas.microsoft.com/office/drawing/2014/main" id="{1D7C0FE8-7943-4B29-8425-D682F58FB615}"/>
              </a:ext>
            </a:extLst>
          </p:cNvPr>
          <p:cNvSpPr/>
          <p:nvPr userDrawn="1"/>
        </p:nvSpPr>
        <p:spPr>
          <a:xfrm>
            <a:off x="41703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7" name="Полилиния: фигура 46">
            <a:extLst>
              <a:ext uri="{FF2B5EF4-FFF2-40B4-BE49-F238E27FC236}">
                <a16:creationId xmlns:a16="http://schemas.microsoft.com/office/drawing/2014/main" id="{DDA68D61-9864-4960-8216-7C904C80F0C4}"/>
              </a:ext>
            </a:extLst>
          </p:cNvPr>
          <p:cNvSpPr/>
          <p:nvPr userDrawn="1"/>
        </p:nvSpPr>
        <p:spPr>
          <a:xfrm>
            <a:off x="417036"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48" name="Текст 14">
            <a:extLst>
              <a:ext uri="{FF2B5EF4-FFF2-40B4-BE49-F238E27FC236}">
                <a16:creationId xmlns:a16="http://schemas.microsoft.com/office/drawing/2014/main" id="{BB170B94-1C11-4334-BC8B-2CF57810C45D}"/>
              </a:ext>
            </a:extLst>
          </p:cNvPr>
          <p:cNvSpPr>
            <a:spLocks noGrp="1"/>
          </p:cNvSpPr>
          <p:nvPr>
            <p:ph type="body" sz="quarter" idx="27" hasCustomPrompt="1"/>
          </p:nvPr>
        </p:nvSpPr>
        <p:spPr>
          <a:xfrm>
            <a:off x="584969" y="2706398"/>
            <a:ext cx="2371507" cy="859210"/>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49" name="Текст 14">
            <a:extLst>
              <a:ext uri="{FF2B5EF4-FFF2-40B4-BE49-F238E27FC236}">
                <a16:creationId xmlns:a16="http://schemas.microsoft.com/office/drawing/2014/main" id="{AD030E49-367D-499B-8FB3-D07CCB02D4C5}"/>
              </a:ext>
            </a:extLst>
          </p:cNvPr>
          <p:cNvSpPr>
            <a:spLocks noGrp="1"/>
          </p:cNvSpPr>
          <p:nvPr>
            <p:ph type="body" sz="quarter" idx="34" hasCustomPrompt="1"/>
          </p:nvPr>
        </p:nvSpPr>
        <p:spPr>
          <a:xfrm>
            <a:off x="584970"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50" name="Текст 14">
            <a:extLst>
              <a:ext uri="{FF2B5EF4-FFF2-40B4-BE49-F238E27FC236}">
                <a16:creationId xmlns:a16="http://schemas.microsoft.com/office/drawing/2014/main" id="{0DD56B67-704C-4D40-8638-452527A50286}"/>
              </a:ext>
            </a:extLst>
          </p:cNvPr>
          <p:cNvSpPr>
            <a:spLocks noGrp="1"/>
          </p:cNvSpPr>
          <p:nvPr>
            <p:ph type="body" sz="quarter" idx="35" hasCustomPrompt="1"/>
          </p:nvPr>
        </p:nvSpPr>
        <p:spPr>
          <a:xfrm>
            <a:off x="58497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51" name="Текст 14">
            <a:extLst>
              <a:ext uri="{FF2B5EF4-FFF2-40B4-BE49-F238E27FC236}">
                <a16:creationId xmlns:a16="http://schemas.microsoft.com/office/drawing/2014/main" id="{9D63A61F-F91C-43C7-8952-98FC125D2C58}"/>
              </a:ext>
            </a:extLst>
          </p:cNvPr>
          <p:cNvSpPr>
            <a:spLocks noGrp="1"/>
          </p:cNvSpPr>
          <p:nvPr>
            <p:ph type="body" sz="quarter" idx="30" hasCustomPrompt="1"/>
          </p:nvPr>
        </p:nvSpPr>
        <p:spPr>
          <a:xfrm>
            <a:off x="584968"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52" name="Прямоугольник: скругленные углы 51">
            <a:extLst>
              <a:ext uri="{FF2B5EF4-FFF2-40B4-BE49-F238E27FC236}">
                <a16:creationId xmlns:a16="http://schemas.microsoft.com/office/drawing/2014/main" id="{45967680-1774-4468-9768-51E0F48F97B6}"/>
              </a:ext>
            </a:extLst>
          </p:cNvPr>
          <p:cNvSpPr/>
          <p:nvPr userDrawn="1"/>
        </p:nvSpPr>
        <p:spPr>
          <a:xfrm>
            <a:off x="3318094"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Полилиния: фигура 52">
            <a:extLst>
              <a:ext uri="{FF2B5EF4-FFF2-40B4-BE49-F238E27FC236}">
                <a16:creationId xmlns:a16="http://schemas.microsoft.com/office/drawing/2014/main" id="{3B4E180B-3396-4431-B1FE-CABC17857CFA}"/>
              </a:ext>
            </a:extLst>
          </p:cNvPr>
          <p:cNvSpPr/>
          <p:nvPr userDrawn="1"/>
        </p:nvSpPr>
        <p:spPr>
          <a:xfrm>
            <a:off x="3318094"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54" name="Текст 14">
            <a:extLst>
              <a:ext uri="{FF2B5EF4-FFF2-40B4-BE49-F238E27FC236}">
                <a16:creationId xmlns:a16="http://schemas.microsoft.com/office/drawing/2014/main" id="{94CE0AB0-8FAF-4109-AFC7-56C2D7C8482C}"/>
              </a:ext>
            </a:extLst>
          </p:cNvPr>
          <p:cNvSpPr>
            <a:spLocks noGrp="1"/>
          </p:cNvSpPr>
          <p:nvPr>
            <p:ph type="body" sz="quarter" idx="37" hasCustomPrompt="1"/>
          </p:nvPr>
        </p:nvSpPr>
        <p:spPr>
          <a:xfrm>
            <a:off x="3486027" y="2706398"/>
            <a:ext cx="2371507" cy="859210"/>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55" name="Текст 14">
            <a:extLst>
              <a:ext uri="{FF2B5EF4-FFF2-40B4-BE49-F238E27FC236}">
                <a16:creationId xmlns:a16="http://schemas.microsoft.com/office/drawing/2014/main" id="{0FE8F097-0F07-4A8A-9557-46658BEE5211}"/>
              </a:ext>
            </a:extLst>
          </p:cNvPr>
          <p:cNvSpPr>
            <a:spLocks noGrp="1"/>
          </p:cNvSpPr>
          <p:nvPr>
            <p:ph type="body" sz="quarter" idx="39" hasCustomPrompt="1"/>
          </p:nvPr>
        </p:nvSpPr>
        <p:spPr>
          <a:xfrm>
            <a:off x="3486028"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56" name="Текст 14">
            <a:extLst>
              <a:ext uri="{FF2B5EF4-FFF2-40B4-BE49-F238E27FC236}">
                <a16:creationId xmlns:a16="http://schemas.microsoft.com/office/drawing/2014/main" id="{54929266-CEC8-400A-B16D-16989DCA1C8F}"/>
              </a:ext>
            </a:extLst>
          </p:cNvPr>
          <p:cNvSpPr>
            <a:spLocks noGrp="1"/>
          </p:cNvSpPr>
          <p:nvPr>
            <p:ph type="body" sz="quarter" idx="40" hasCustomPrompt="1"/>
          </p:nvPr>
        </p:nvSpPr>
        <p:spPr>
          <a:xfrm>
            <a:off x="3486028"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57" name="Текст 14">
            <a:extLst>
              <a:ext uri="{FF2B5EF4-FFF2-40B4-BE49-F238E27FC236}">
                <a16:creationId xmlns:a16="http://schemas.microsoft.com/office/drawing/2014/main" id="{D1A871F3-C7B5-41D8-8D7C-0A686253B186}"/>
              </a:ext>
            </a:extLst>
          </p:cNvPr>
          <p:cNvSpPr>
            <a:spLocks noGrp="1"/>
          </p:cNvSpPr>
          <p:nvPr>
            <p:ph type="body" sz="quarter" idx="41" hasCustomPrompt="1"/>
          </p:nvPr>
        </p:nvSpPr>
        <p:spPr>
          <a:xfrm>
            <a:off x="3486026"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58" name="Прямоугольник: скругленные углы 57">
            <a:extLst>
              <a:ext uri="{FF2B5EF4-FFF2-40B4-BE49-F238E27FC236}">
                <a16:creationId xmlns:a16="http://schemas.microsoft.com/office/drawing/2014/main" id="{40C9B3D2-2CC1-4381-BB06-677868ACD9BC}"/>
              </a:ext>
            </a:extLst>
          </p:cNvPr>
          <p:cNvSpPr/>
          <p:nvPr userDrawn="1"/>
        </p:nvSpPr>
        <p:spPr>
          <a:xfrm>
            <a:off x="6202359"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Полилиния: фигура 58">
            <a:extLst>
              <a:ext uri="{FF2B5EF4-FFF2-40B4-BE49-F238E27FC236}">
                <a16:creationId xmlns:a16="http://schemas.microsoft.com/office/drawing/2014/main" id="{816A0F2C-53BB-47CD-AAE6-A80C646A15DB}"/>
              </a:ext>
            </a:extLst>
          </p:cNvPr>
          <p:cNvSpPr/>
          <p:nvPr userDrawn="1"/>
        </p:nvSpPr>
        <p:spPr>
          <a:xfrm>
            <a:off x="6202359"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0" name="Текст 14">
            <a:extLst>
              <a:ext uri="{FF2B5EF4-FFF2-40B4-BE49-F238E27FC236}">
                <a16:creationId xmlns:a16="http://schemas.microsoft.com/office/drawing/2014/main" id="{34C848A3-7437-4367-8A1B-2D494B2838DC}"/>
              </a:ext>
            </a:extLst>
          </p:cNvPr>
          <p:cNvSpPr>
            <a:spLocks noGrp="1"/>
          </p:cNvSpPr>
          <p:nvPr>
            <p:ph type="body" sz="quarter" idx="42" hasCustomPrompt="1"/>
          </p:nvPr>
        </p:nvSpPr>
        <p:spPr>
          <a:xfrm>
            <a:off x="6370292" y="2706398"/>
            <a:ext cx="2371507" cy="859210"/>
          </a:xfrm>
          <a:prstGeom prst="rect">
            <a:avLst/>
          </a:prstGeom>
        </p:spPr>
        <p:txBody>
          <a:bodyPr lIns="0" tIns="0" rIns="0" bIns="0"/>
          <a:lstStyle>
            <a:lvl1pPr marL="160929" indent="-1609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1" name="Текст 14">
            <a:extLst>
              <a:ext uri="{FF2B5EF4-FFF2-40B4-BE49-F238E27FC236}">
                <a16:creationId xmlns:a16="http://schemas.microsoft.com/office/drawing/2014/main" id="{B1E00368-7F17-4729-A2F6-F881EBA34605}"/>
              </a:ext>
            </a:extLst>
          </p:cNvPr>
          <p:cNvSpPr>
            <a:spLocks noGrp="1"/>
          </p:cNvSpPr>
          <p:nvPr>
            <p:ph type="body" sz="quarter" idx="44" hasCustomPrompt="1"/>
          </p:nvPr>
        </p:nvSpPr>
        <p:spPr>
          <a:xfrm>
            <a:off x="6370293"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2" name="Текст 14">
            <a:extLst>
              <a:ext uri="{FF2B5EF4-FFF2-40B4-BE49-F238E27FC236}">
                <a16:creationId xmlns:a16="http://schemas.microsoft.com/office/drawing/2014/main" id="{68105B92-612B-4EE5-8295-78835BC3347B}"/>
              </a:ext>
            </a:extLst>
          </p:cNvPr>
          <p:cNvSpPr>
            <a:spLocks noGrp="1"/>
          </p:cNvSpPr>
          <p:nvPr>
            <p:ph type="body" sz="quarter" idx="45" hasCustomPrompt="1"/>
          </p:nvPr>
        </p:nvSpPr>
        <p:spPr>
          <a:xfrm>
            <a:off x="6370293"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3" name="Текст 14">
            <a:extLst>
              <a:ext uri="{FF2B5EF4-FFF2-40B4-BE49-F238E27FC236}">
                <a16:creationId xmlns:a16="http://schemas.microsoft.com/office/drawing/2014/main" id="{C6A2037C-FCF2-4179-8E70-A898948EDE2D}"/>
              </a:ext>
            </a:extLst>
          </p:cNvPr>
          <p:cNvSpPr>
            <a:spLocks noGrp="1"/>
          </p:cNvSpPr>
          <p:nvPr>
            <p:ph type="body" sz="quarter" idx="46" hasCustomPrompt="1"/>
          </p:nvPr>
        </p:nvSpPr>
        <p:spPr>
          <a:xfrm>
            <a:off x="6370291"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4" name="Прямоугольник: скругленные углы 63">
            <a:extLst>
              <a:ext uri="{FF2B5EF4-FFF2-40B4-BE49-F238E27FC236}">
                <a16:creationId xmlns:a16="http://schemas.microsoft.com/office/drawing/2014/main" id="{37FB5E9D-A00B-4E5D-8346-181093A29082}"/>
              </a:ext>
            </a:extLst>
          </p:cNvPr>
          <p:cNvSpPr/>
          <p:nvPr userDrawn="1"/>
        </p:nvSpPr>
        <p:spPr>
          <a:xfrm>
            <a:off x="9104816" y="1701894"/>
            <a:ext cx="2671549"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5" name="Полилиния: фигура 64">
            <a:extLst>
              <a:ext uri="{FF2B5EF4-FFF2-40B4-BE49-F238E27FC236}">
                <a16:creationId xmlns:a16="http://schemas.microsoft.com/office/drawing/2014/main" id="{AA0F665C-5AC7-4BF1-AA5A-D2ADD8D5C48D}"/>
              </a:ext>
            </a:extLst>
          </p:cNvPr>
          <p:cNvSpPr/>
          <p:nvPr userDrawn="1"/>
        </p:nvSpPr>
        <p:spPr>
          <a:xfrm>
            <a:off x="9104815" y="1701894"/>
            <a:ext cx="2671549"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a:p>
        </p:txBody>
      </p:sp>
      <p:sp>
        <p:nvSpPr>
          <p:cNvPr id="66" name="Текст 14">
            <a:extLst>
              <a:ext uri="{FF2B5EF4-FFF2-40B4-BE49-F238E27FC236}">
                <a16:creationId xmlns:a16="http://schemas.microsoft.com/office/drawing/2014/main" id="{48D554E7-58DB-487B-B890-29E929DA3FB7}"/>
              </a:ext>
            </a:extLst>
          </p:cNvPr>
          <p:cNvSpPr>
            <a:spLocks noGrp="1"/>
          </p:cNvSpPr>
          <p:nvPr>
            <p:ph type="body" sz="quarter" idx="47" hasCustomPrompt="1"/>
          </p:nvPr>
        </p:nvSpPr>
        <p:spPr>
          <a:xfrm>
            <a:off x="9272749" y="2706398"/>
            <a:ext cx="2373466" cy="859210"/>
          </a:xfrm>
          <a:prstGeom prst="rect">
            <a:avLst/>
          </a:prstGeom>
        </p:spPr>
        <p:txBody>
          <a:bodyPr lIns="0" tIns="0" rIns="0" bIns="0"/>
          <a:lstStyle>
            <a:lvl1pPr marL="159529" indent="-159529">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7" name="Текст 14">
            <a:extLst>
              <a:ext uri="{FF2B5EF4-FFF2-40B4-BE49-F238E27FC236}">
                <a16:creationId xmlns:a16="http://schemas.microsoft.com/office/drawing/2014/main" id="{38DD4F7D-0B1D-4990-8537-F3A0A7A29429}"/>
              </a:ext>
            </a:extLst>
          </p:cNvPr>
          <p:cNvSpPr>
            <a:spLocks noGrp="1"/>
          </p:cNvSpPr>
          <p:nvPr>
            <p:ph type="body" sz="quarter" idx="49" hasCustomPrompt="1"/>
          </p:nvPr>
        </p:nvSpPr>
        <p:spPr>
          <a:xfrm>
            <a:off x="9272750" y="5120784"/>
            <a:ext cx="2371506" cy="501997"/>
          </a:xfrm>
          <a:prstGeom prst="rect">
            <a:avLst/>
          </a:prstGeom>
        </p:spPr>
        <p:txBody>
          <a:bodyPr lIns="0" tIns="0" rIns="0" bIns="0"/>
          <a:lstStyle>
            <a:lvl1pPr>
              <a:lnSpc>
                <a:spcPct val="100000"/>
              </a:lnSpc>
              <a:spcBef>
                <a:spcPts val="0"/>
              </a:spcBef>
              <a:defRPr sz="3262" b="0">
                <a:solidFill>
                  <a:schemeClr val="tx1"/>
                </a:solidFill>
                <a:latin typeface="+mj-lt"/>
                <a:ea typeface="Rostelecom Basis" panose="020B0503040504020204" pitchFamily="34" charset="-52"/>
              </a:defRPr>
            </a:lvl1pPr>
          </a:lstStyle>
          <a:p>
            <a:pPr lvl="0"/>
            <a:r>
              <a:rPr lang="ru-RU" dirty="0"/>
              <a:t>000 ₽</a:t>
            </a:r>
          </a:p>
        </p:txBody>
      </p:sp>
      <p:sp>
        <p:nvSpPr>
          <p:cNvPr id="68" name="Текст 14">
            <a:extLst>
              <a:ext uri="{FF2B5EF4-FFF2-40B4-BE49-F238E27FC236}">
                <a16:creationId xmlns:a16="http://schemas.microsoft.com/office/drawing/2014/main" id="{B744FD16-138D-4011-8535-884F01243225}"/>
              </a:ext>
            </a:extLst>
          </p:cNvPr>
          <p:cNvSpPr>
            <a:spLocks noGrp="1"/>
          </p:cNvSpPr>
          <p:nvPr>
            <p:ph type="body" sz="quarter" idx="50" hasCustomPrompt="1"/>
          </p:nvPr>
        </p:nvSpPr>
        <p:spPr>
          <a:xfrm>
            <a:off x="9272750" y="5565539"/>
            <a:ext cx="2371506" cy="220340"/>
          </a:xfrm>
          <a:prstGeom prst="rect">
            <a:avLst/>
          </a:prstGeom>
        </p:spPr>
        <p:txBody>
          <a:bodyPr lIns="0" tIns="0" rIns="0" bIns="0"/>
          <a:lstStyle>
            <a:lvl1pPr>
              <a:lnSpc>
                <a:spcPct val="100000"/>
              </a:lnSpc>
              <a:spcBef>
                <a:spcPts val="0"/>
              </a:spcBef>
              <a:defRPr sz="1410" b="0">
                <a:solidFill>
                  <a:srgbClr val="979799"/>
                </a:solidFill>
                <a:latin typeface="+mj-lt"/>
                <a:ea typeface="Rostelecom Basis" panose="020B0503040504020204" pitchFamily="34" charset="-52"/>
              </a:defRPr>
            </a:lvl1pPr>
          </a:lstStyle>
          <a:p>
            <a:pPr lvl="0"/>
            <a:r>
              <a:rPr lang="ru-RU" dirty="0"/>
              <a:t>в месяц*</a:t>
            </a:r>
          </a:p>
        </p:txBody>
      </p:sp>
      <p:sp>
        <p:nvSpPr>
          <p:cNvPr id="69" name="Текст 14">
            <a:extLst>
              <a:ext uri="{FF2B5EF4-FFF2-40B4-BE49-F238E27FC236}">
                <a16:creationId xmlns:a16="http://schemas.microsoft.com/office/drawing/2014/main" id="{D26DD25B-08AB-44E9-A6BA-AEEC9627AA85}"/>
              </a:ext>
            </a:extLst>
          </p:cNvPr>
          <p:cNvSpPr>
            <a:spLocks noGrp="1"/>
          </p:cNvSpPr>
          <p:nvPr>
            <p:ph type="body" sz="quarter" idx="51" hasCustomPrompt="1"/>
          </p:nvPr>
        </p:nvSpPr>
        <p:spPr>
          <a:xfrm>
            <a:off x="9272748" y="1919968"/>
            <a:ext cx="2371508" cy="487313"/>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71" name="Заголовок 1">
            <a:extLst>
              <a:ext uri="{FF2B5EF4-FFF2-40B4-BE49-F238E27FC236}">
                <a16:creationId xmlns:a16="http://schemas.microsoft.com/office/drawing/2014/main" id="{C03CDE2B-91FC-4AB6-91D9-22C4B7121524}"/>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Основной заголовок</a:t>
            </a:r>
            <a:br>
              <a:rPr lang="ru-RU" dirty="0"/>
            </a:br>
            <a:r>
              <a:rPr lang="ru-RU" dirty="0"/>
              <a:t>набранный в две строчки</a:t>
            </a:r>
          </a:p>
        </p:txBody>
      </p:sp>
      <p:sp>
        <p:nvSpPr>
          <p:cNvPr id="33" name="Текст 14">
            <a:extLst>
              <a:ext uri="{FF2B5EF4-FFF2-40B4-BE49-F238E27FC236}">
                <a16:creationId xmlns:a16="http://schemas.microsoft.com/office/drawing/2014/main" id="{8A4C2F4D-C0D1-4DC2-AB7F-A544E85B79D7}"/>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137109599"/>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79"/>
            <a:ext cx="3215933" cy="284822"/>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33" name="Прямоугольник: скругленные углы 32">
            <a:extLst>
              <a:ext uri="{FF2B5EF4-FFF2-40B4-BE49-F238E27FC236}">
                <a16:creationId xmlns:a16="http://schemas.microsoft.com/office/drawing/2014/main" id="{3F131EDA-860E-4277-81AF-5DB35EF62DC0}"/>
              </a:ext>
            </a:extLst>
          </p:cNvPr>
          <p:cNvSpPr/>
          <p:nvPr userDrawn="1"/>
        </p:nvSpPr>
        <p:spPr>
          <a:xfrm>
            <a:off x="417036" y="1916205"/>
            <a:ext cx="2671549" cy="336127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5" name="Текст 14">
            <a:extLst>
              <a:ext uri="{FF2B5EF4-FFF2-40B4-BE49-F238E27FC236}">
                <a16:creationId xmlns:a16="http://schemas.microsoft.com/office/drawing/2014/main" id="{3152549D-18EA-4DB5-9048-D4AE7F91521A}"/>
              </a:ext>
            </a:extLst>
          </p:cNvPr>
          <p:cNvSpPr>
            <a:spLocks noGrp="1"/>
          </p:cNvSpPr>
          <p:nvPr>
            <p:ph type="body" sz="quarter" idx="27" hasCustomPrompt="1"/>
          </p:nvPr>
        </p:nvSpPr>
        <p:spPr>
          <a:xfrm>
            <a:off x="584969" y="2824226"/>
            <a:ext cx="2400602"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36" name="Текст 14">
            <a:extLst>
              <a:ext uri="{FF2B5EF4-FFF2-40B4-BE49-F238E27FC236}">
                <a16:creationId xmlns:a16="http://schemas.microsoft.com/office/drawing/2014/main" id="{948F19D4-0A5D-47C5-93A1-D8ECD621B348}"/>
              </a:ext>
            </a:extLst>
          </p:cNvPr>
          <p:cNvSpPr>
            <a:spLocks noGrp="1"/>
          </p:cNvSpPr>
          <p:nvPr>
            <p:ph type="body" sz="quarter" idx="34" hasCustomPrompt="1"/>
          </p:nvPr>
        </p:nvSpPr>
        <p:spPr>
          <a:xfrm>
            <a:off x="584970" y="4456069"/>
            <a:ext cx="2400602"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37" name="Текст 14">
            <a:extLst>
              <a:ext uri="{FF2B5EF4-FFF2-40B4-BE49-F238E27FC236}">
                <a16:creationId xmlns:a16="http://schemas.microsoft.com/office/drawing/2014/main" id="{CFBF99DB-AAF5-4A89-B179-1425E20BCF2B}"/>
              </a:ext>
            </a:extLst>
          </p:cNvPr>
          <p:cNvSpPr>
            <a:spLocks noGrp="1"/>
          </p:cNvSpPr>
          <p:nvPr>
            <p:ph type="body" sz="quarter" idx="35" hasCustomPrompt="1"/>
          </p:nvPr>
        </p:nvSpPr>
        <p:spPr>
          <a:xfrm>
            <a:off x="584970" y="4754926"/>
            <a:ext cx="2400602"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8" name="Полилиния: фигура 37">
            <a:extLst>
              <a:ext uri="{FF2B5EF4-FFF2-40B4-BE49-F238E27FC236}">
                <a16:creationId xmlns:a16="http://schemas.microsoft.com/office/drawing/2014/main" id="{02CC86E1-F62B-4B06-92EA-E8051F62CFD6}"/>
              </a:ext>
            </a:extLst>
          </p:cNvPr>
          <p:cNvSpPr/>
          <p:nvPr userDrawn="1"/>
        </p:nvSpPr>
        <p:spPr>
          <a:xfrm>
            <a:off x="417036" y="1916205"/>
            <a:ext cx="2671549" cy="577105"/>
          </a:xfrm>
          <a:custGeom>
            <a:avLst/>
            <a:gdLst>
              <a:gd name="connsiteX0" fmla="*/ 133616 w 3030538"/>
              <a:gd name="connsiteY0" fmla="*/ 0 h 654052"/>
              <a:gd name="connsiteX1" fmla="*/ 2896922 w 3030538"/>
              <a:gd name="connsiteY1" fmla="*/ 0 h 654052"/>
              <a:gd name="connsiteX2" fmla="*/ 3030538 w 3030538"/>
              <a:gd name="connsiteY2" fmla="*/ 133616 h 654052"/>
              <a:gd name="connsiteX3" fmla="*/ 3030538 w 3030538"/>
              <a:gd name="connsiteY3" fmla="*/ 654052 h 654052"/>
              <a:gd name="connsiteX4" fmla="*/ 0 w 3030538"/>
              <a:gd name="connsiteY4" fmla="*/ 654052 h 654052"/>
              <a:gd name="connsiteX5" fmla="*/ 0 w 3030538"/>
              <a:gd name="connsiteY5" fmla="*/ 133616 h 654052"/>
              <a:gd name="connsiteX6" fmla="*/ 133616 w 3030538"/>
              <a:gd name="connsiteY6" fmla="*/ 0 h 65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54052">
                <a:moveTo>
                  <a:pt x="133616" y="0"/>
                </a:moveTo>
                <a:lnTo>
                  <a:pt x="2896922" y="0"/>
                </a:lnTo>
                <a:cubicBezTo>
                  <a:pt x="2970716" y="0"/>
                  <a:pt x="3030538" y="59822"/>
                  <a:pt x="3030538" y="133616"/>
                </a:cubicBezTo>
                <a:lnTo>
                  <a:pt x="3030538" y="654052"/>
                </a:lnTo>
                <a:lnTo>
                  <a:pt x="0" y="654052"/>
                </a:lnTo>
                <a:lnTo>
                  <a:pt x="0" y="133616"/>
                </a:lnTo>
                <a:cubicBezTo>
                  <a:pt x="0" y="59822"/>
                  <a:pt x="59822" y="0"/>
                  <a:pt x="133616"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39" name="Текст 14">
            <a:extLst>
              <a:ext uri="{FF2B5EF4-FFF2-40B4-BE49-F238E27FC236}">
                <a16:creationId xmlns:a16="http://schemas.microsoft.com/office/drawing/2014/main" id="{4C482ED2-33C1-461B-8CD5-D5128E5CF411}"/>
              </a:ext>
            </a:extLst>
          </p:cNvPr>
          <p:cNvSpPr>
            <a:spLocks noGrp="1"/>
          </p:cNvSpPr>
          <p:nvPr>
            <p:ph type="body" sz="quarter" idx="30" hasCustomPrompt="1"/>
          </p:nvPr>
        </p:nvSpPr>
        <p:spPr>
          <a:xfrm>
            <a:off x="584969" y="2080648"/>
            <a:ext cx="2400603" cy="271293"/>
          </a:xfrm>
          <a:prstGeom prst="rect">
            <a:avLst/>
          </a:prstGeom>
        </p:spPr>
        <p:txBody>
          <a:bodyPr lIns="0" tIns="0" rIns="0" bIns="0"/>
          <a:lstStyle>
            <a:lvl1pPr>
              <a:lnSpc>
                <a:spcPct val="100000"/>
              </a:lnSpc>
              <a:spcBef>
                <a:spcPts val="0"/>
              </a:spcBef>
              <a:defRPr sz="1763" b="0">
                <a:solidFill>
                  <a:schemeClr val="tx1"/>
                </a:solidFill>
                <a:latin typeface="Rostelecom Basis Medium" panose="020B0603030604040103" pitchFamily="34" charset="0"/>
                <a:ea typeface="Rostelecom Basis" panose="020B0503040504020204" pitchFamily="34" charset="-52"/>
              </a:defRPr>
            </a:lvl1pPr>
          </a:lstStyle>
          <a:p>
            <a:pPr lvl="0"/>
            <a:r>
              <a:rPr lang="ru-RU" dirty="0"/>
              <a:t>Заголовок</a:t>
            </a:r>
          </a:p>
        </p:txBody>
      </p:sp>
      <p:sp>
        <p:nvSpPr>
          <p:cNvPr id="40" name="Текст 14">
            <a:extLst>
              <a:ext uri="{FF2B5EF4-FFF2-40B4-BE49-F238E27FC236}">
                <a16:creationId xmlns:a16="http://schemas.microsoft.com/office/drawing/2014/main" id="{59150BBF-A9DB-419E-A8D7-C69D1E17AFDC}"/>
              </a:ext>
            </a:extLst>
          </p:cNvPr>
          <p:cNvSpPr>
            <a:spLocks noGrp="1"/>
          </p:cNvSpPr>
          <p:nvPr>
            <p:ph type="body" sz="quarter" idx="37" hasCustomPrompt="1"/>
          </p:nvPr>
        </p:nvSpPr>
        <p:spPr>
          <a:xfrm>
            <a:off x="584969" y="3462556"/>
            <a:ext cx="2400602" cy="961802"/>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pPr lvl="0"/>
            <a:endParaRPr lang="ru-RU" dirty="0"/>
          </a:p>
        </p:txBody>
      </p:sp>
      <p:sp>
        <p:nvSpPr>
          <p:cNvPr id="41" name="Текст 14">
            <a:extLst>
              <a:ext uri="{FF2B5EF4-FFF2-40B4-BE49-F238E27FC236}">
                <a16:creationId xmlns:a16="http://schemas.microsoft.com/office/drawing/2014/main" id="{72F8D434-AC30-4E87-B39E-2D2837A4EE68}"/>
              </a:ext>
            </a:extLst>
          </p:cNvPr>
          <p:cNvSpPr>
            <a:spLocks noGrp="1"/>
          </p:cNvSpPr>
          <p:nvPr>
            <p:ph type="body" sz="quarter" idx="38" hasCustomPrompt="1"/>
          </p:nvPr>
        </p:nvSpPr>
        <p:spPr>
          <a:xfrm>
            <a:off x="4516875" y="1879485"/>
            <a:ext cx="1842644"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42" name="Текст 14">
            <a:extLst>
              <a:ext uri="{FF2B5EF4-FFF2-40B4-BE49-F238E27FC236}">
                <a16:creationId xmlns:a16="http://schemas.microsoft.com/office/drawing/2014/main" id="{DC041F8C-3CC3-4D7D-9AF4-7C9B7D8F1C35}"/>
              </a:ext>
            </a:extLst>
          </p:cNvPr>
          <p:cNvSpPr>
            <a:spLocks noGrp="1"/>
          </p:cNvSpPr>
          <p:nvPr>
            <p:ph type="body" sz="quarter" idx="39" hasCustomPrompt="1"/>
          </p:nvPr>
        </p:nvSpPr>
        <p:spPr>
          <a:xfrm>
            <a:off x="4516875" y="2125592"/>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3" name="Текст 14">
            <a:extLst>
              <a:ext uri="{FF2B5EF4-FFF2-40B4-BE49-F238E27FC236}">
                <a16:creationId xmlns:a16="http://schemas.microsoft.com/office/drawing/2014/main" id="{E8F222CD-877A-47D7-9582-05AFCB4A45DD}"/>
              </a:ext>
            </a:extLst>
          </p:cNvPr>
          <p:cNvSpPr>
            <a:spLocks noGrp="1"/>
          </p:cNvSpPr>
          <p:nvPr>
            <p:ph type="body" sz="quarter" idx="40" hasCustomPrompt="1"/>
          </p:nvPr>
        </p:nvSpPr>
        <p:spPr>
          <a:xfrm>
            <a:off x="4516875" y="2449108"/>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44" name="Текст 14">
            <a:extLst>
              <a:ext uri="{FF2B5EF4-FFF2-40B4-BE49-F238E27FC236}">
                <a16:creationId xmlns:a16="http://schemas.microsoft.com/office/drawing/2014/main" id="{127CA6BA-3AFE-4242-9B82-47DA69476E70}"/>
              </a:ext>
            </a:extLst>
          </p:cNvPr>
          <p:cNvSpPr>
            <a:spLocks noGrp="1"/>
          </p:cNvSpPr>
          <p:nvPr>
            <p:ph type="body" sz="quarter" idx="41" hasCustomPrompt="1"/>
          </p:nvPr>
        </p:nvSpPr>
        <p:spPr>
          <a:xfrm>
            <a:off x="4518343" y="2657525"/>
            <a:ext cx="761494"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45" name="Текст 14">
            <a:extLst>
              <a:ext uri="{FF2B5EF4-FFF2-40B4-BE49-F238E27FC236}">
                <a16:creationId xmlns:a16="http://schemas.microsoft.com/office/drawing/2014/main" id="{BD9FA710-C2EC-4913-82B1-471039484E09}"/>
              </a:ext>
            </a:extLst>
          </p:cNvPr>
          <p:cNvSpPr>
            <a:spLocks noGrp="1"/>
          </p:cNvSpPr>
          <p:nvPr>
            <p:ph type="body" sz="quarter" idx="42" hasCustomPrompt="1"/>
          </p:nvPr>
        </p:nvSpPr>
        <p:spPr>
          <a:xfrm>
            <a:off x="4516875" y="3153010"/>
            <a:ext cx="1842644"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46" name="Текст 14">
            <a:extLst>
              <a:ext uri="{FF2B5EF4-FFF2-40B4-BE49-F238E27FC236}">
                <a16:creationId xmlns:a16="http://schemas.microsoft.com/office/drawing/2014/main" id="{317E4219-CCC2-4217-81DE-9597872739E2}"/>
              </a:ext>
            </a:extLst>
          </p:cNvPr>
          <p:cNvSpPr>
            <a:spLocks noGrp="1"/>
          </p:cNvSpPr>
          <p:nvPr>
            <p:ph type="body" sz="quarter" idx="43" hasCustomPrompt="1"/>
          </p:nvPr>
        </p:nvSpPr>
        <p:spPr>
          <a:xfrm>
            <a:off x="4516875" y="339911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7" name="Текст 14">
            <a:extLst>
              <a:ext uri="{FF2B5EF4-FFF2-40B4-BE49-F238E27FC236}">
                <a16:creationId xmlns:a16="http://schemas.microsoft.com/office/drawing/2014/main" id="{94041AC4-D76B-496F-BAA3-A527601EAEA5}"/>
              </a:ext>
            </a:extLst>
          </p:cNvPr>
          <p:cNvSpPr>
            <a:spLocks noGrp="1"/>
          </p:cNvSpPr>
          <p:nvPr>
            <p:ph type="body" sz="quarter" idx="44" hasCustomPrompt="1"/>
          </p:nvPr>
        </p:nvSpPr>
        <p:spPr>
          <a:xfrm>
            <a:off x="4516875" y="372263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48" name="Текст 14">
            <a:extLst>
              <a:ext uri="{FF2B5EF4-FFF2-40B4-BE49-F238E27FC236}">
                <a16:creationId xmlns:a16="http://schemas.microsoft.com/office/drawing/2014/main" id="{BB618265-3C93-452C-B613-58DB77143127}"/>
              </a:ext>
            </a:extLst>
          </p:cNvPr>
          <p:cNvSpPr>
            <a:spLocks noGrp="1"/>
          </p:cNvSpPr>
          <p:nvPr>
            <p:ph type="body" sz="quarter" idx="45" hasCustomPrompt="1"/>
          </p:nvPr>
        </p:nvSpPr>
        <p:spPr>
          <a:xfrm>
            <a:off x="4518343" y="3971391"/>
            <a:ext cx="761494"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49" name="Текст 14">
            <a:extLst>
              <a:ext uri="{FF2B5EF4-FFF2-40B4-BE49-F238E27FC236}">
                <a16:creationId xmlns:a16="http://schemas.microsoft.com/office/drawing/2014/main" id="{B2094C6F-651E-4EEF-8C52-A5CF4757E849}"/>
              </a:ext>
            </a:extLst>
          </p:cNvPr>
          <p:cNvSpPr>
            <a:spLocks noGrp="1"/>
          </p:cNvSpPr>
          <p:nvPr>
            <p:ph type="body" sz="quarter" idx="46" hasCustomPrompt="1"/>
          </p:nvPr>
        </p:nvSpPr>
        <p:spPr>
          <a:xfrm>
            <a:off x="4516875" y="4490744"/>
            <a:ext cx="1842644"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50" name="Текст 14">
            <a:extLst>
              <a:ext uri="{FF2B5EF4-FFF2-40B4-BE49-F238E27FC236}">
                <a16:creationId xmlns:a16="http://schemas.microsoft.com/office/drawing/2014/main" id="{E7785C78-E291-4A36-9952-81A5F6136BFB}"/>
              </a:ext>
            </a:extLst>
          </p:cNvPr>
          <p:cNvSpPr>
            <a:spLocks noGrp="1"/>
          </p:cNvSpPr>
          <p:nvPr>
            <p:ph type="body" sz="quarter" idx="47" hasCustomPrompt="1"/>
          </p:nvPr>
        </p:nvSpPr>
        <p:spPr>
          <a:xfrm>
            <a:off x="4516875" y="4736851"/>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51" name="Текст 14">
            <a:extLst>
              <a:ext uri="{FF2B5EF4-FFF2-40B4-BE49-F238E27FC236}">
                <a16:creationId xmlns:a16="http://schemas.microsoft.com/office/drawing/2014/main" id="{E4969F8D-B4F6-4369-9DCD-ADC9B45E78E1}"/>
              </a:ext>
            </a:extLst>
          </p:cNvPr>
          <p:cNvSpPr>
            <a:spLocks noGrp="1"/>
          </p:cNvSpPr>
          <p:nvPr>
            <p:ph type="body" sz="quarter" idx="48" hasCustomPrompt="1"/>
          </p:nvPr>
        </p:nvSpPr>
        <p:spPr>
          <a:xfrm>
            <a:off x="4516875" y="5060367"/>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52" name="Текст 14">
            <a:extLst>
              <a:ext uri="{FF2B5EF4-FFF2-40B4-BE49-F238E27FC236}">
                <a16:creationId xmlns:a16="http://schemas.microsoft.com/office/drawing/2014/main" id="{27D31CD0-3F0F-47B1-85F1-2BB62298CEBD}"/>
              </a:ext>
            </a:extLst>
          </p:cNvPr>
          <p:cNvSpPr>
            <a:spLocks noGrp="1"/>
          </p:cNvSpPr>
          <p:nvPr>
            <p:ph type="body" sz="quarter" idx="49" hasCustomPrompt="1"/>
          </p:nvPr>
        </p:nvSpPr>
        <p:spPr>
          <a:xfrm>
            <a:off x="4518343" y="5268784"/>
            <a:ext cx="761494"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54" name="Текст 14">
            <a:extLst>
              <a:ext uri="{FF2B5EF4-FFF2-40B4-BE49-F238E27FC236}">
                <a16:creationId xmlns:a16="http://schemas.microsoft.com/office/drawing/2014/main" id="{16AD4C6E-718E-4BDC-8910-00D3F0439045}"/>
              </a:ext>
            </a:extLst>
          </p:cNvPr>
          <p:cNvSpPr>
            <a:spLocks noGrp="1"/>
          </p:cNvSpPr>
          <p:nvPr>
            <p:ph type="body" sz="quarter" idx="50" hasCustomPrompt="1"/>
          </p:nvPr>
        </p:nvSpPr>
        <p:spPr>
          <a:xfrm>
            <a:off x="7870652" y="1879485"/>
            <a:ext cx="1842644" cy="48731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55" name="Текст 14">
            <a:extLst>
              <a:ext uri="{FF2B5EF4-FFF2-40B4-BE49-F238E27FC236}">
                <a16:creationId xmlns:a16="http://schemas.microsoft.com/office/drawing/2014/main" id="{ACEAA25D-A976-4BD1-A463-E8646659E311}"/>
              </a:ext>
            </a:extLst>
          </p:cNvPr>
          <p:cNvSpPr>
            <a:spLocks noGrp="1"/>
          </p:cNvSpPr>
          <p:nvPr>
            <p:ph type="body" sz="quarter" idx="51" hasCustomPrompt="1"/>
          </p:nvPr>
        </p:nvSpPr>
        <p:spPr>
          <a:xfrm>
            <a:off x="7870652" y="2125592"/>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0" name="Текст 14">
            <a:extLst>
              <a:ext uri="{FF2B5EF4-FFF2-40B4-BE49-F238E27FC236}">
                <a16:creationId xmlns:a16="http://schemas.microsoft.com/office/drawing/2014/main" id="{2FDC08D3-0CF5-43E5-985D-0539808B8192}"/>
              </a:ext>
            </a:extLst>
          </p:cNvPr>
          <p:cNvSpPr>
            <a:spLocks noGrp="1"/>
          </p:cNvSpPr>
          <p:nvPr>
            <p:ph type="body" sz="quarter" idx="52" hasCustomPrompt="1"/>
          </p:nvPr>
        </p:nvSpPr>
        <p:spPr>
          <a:xfrm>
            <a:off x="7870652" y="2449108"/>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4E13E040-98DA-42E6-95CC-C70DE10ECA2B}"/>
              </a:ext>
            </a:extLst>
          </p:cNvPr>
          <p:cNvSpPr>
            <a:spLocks noGrp="1"/>
          </p:cNvSpPr>
          <p:nvPr>
            <p:ph type="body" sz="quarter" idx="53" hasCustomPrompt="1"/>
          </p:nvPr>
        </p:nvSpPr>
        <p:spPr>
          <a:xfrm>
            <a:off x="7872120" y="2657525"/>
            <a:ext cx="761494"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F698B7AB-6710-4AB4-B862-C4573C056A83}"/>
              </a:ext>
            </a:extLst>
          </p:cNvPr>
          <p:cNvSpPr>
            <a:spLocks noGrp="1"/>
          </p:cNvSpPr>
          <p:nvPr>
            <p:ph type="body" sz="quarter" idx="54" hasCustomPrompt="1"/>
          </p:nvPr>
        </p:nvSpPr>
        <p:spPr>
          <a:xfrm>
            <a:off x="7870652" y="3153011"/>
            <a:ext cx="1842644" cy="48731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67" name="Текст 14">
            <a:extLst>
              <a:ext uri="{FF2B5EF4-FFF2-40B4-BE49-F238E27FC236}">
                <a16:creationId xmlns:a16="http://schemas.microsoft.com/office/drawing/2014/main" id="{BDDA8F15-C125-49D3-8FFB-A510E5EAE022}"/>
              </a:ext>
            </a:extLst>
          </p:cNvPr>
          <p:cNvSpPr>
            <a:spLocks noGrp="1"/>
          </p:cNvSpPr>
          <p:nvPr>
            <p:ph type="body" sz="quarter" idx="55" hasCustomPrompt="1"/>
          </p:nvPr>
        </p:nvSpPr>
        <p:spPr>
          <a:xfrm>
            <a:off x="7870652" y="339911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8" name="Текст 14">
            <a:extLst>
              <a:ext uri="{FF2B5EF4-FFF2-40B4-BE49-F238E27FC236}">
                <a16:creationId xmlns:a16="http://schemas.microsoft.com/office/drawing/2014/main" id="{D4E0B163-4B26-443B-B068-4000C3CA2F6F}"/>
              </a:ext>
            </a:extLst>
          </p:cNvPr>
          <p:cNvSpPr>
            <a:spLocks noGrp="1"/>
          </p:cNvSpPr>
          <p:nvPr>
            <p:ph type="body" sz="quarter" idx="56" hasCustomPrompt="1"/>
          </p:nvPr>
        </p:nvSpPr>
        <p:spPr>
          <a:xfrm>
            <a:off x="7870652" y="372263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69" name="Текст 14">
            <a:extLst>
              <a:ext uri="{FF2B5EF4-FFF2-40B4-BE49-F238E27FC236}">
                <a16:creationId xmlns:a16="http://schemas.microsoft.com/office/drawing/2014/main" id="{ED03B61A-A6B5-4CA2-AEAD-80161668E4CE}"/>
              </a:ext>
            </a:extLst>
          </p:cNvPr>
          <p:cNvSpPr>
            <a:spLocks noGrp="1"/>
          </p:cNvSpPr>
          <p:nvPr>
            <p:ph type="body" sz="quarter" idx="57" hasCustomPrompt="1"/>
          </p:nvPr>
        </p:nvSpPr>
        <p:spPr>
          <a:xfrm>
            <a:off x="7872120" y="3931050"/>
            <a:ext cx="761494"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879325390"/>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3">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79"/>
            <a:ext cx="3215933" cy="284822"/>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71293"/>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84721"/>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71293"/>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84721"/>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71293"/>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84721"/>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8315" y="1452009"/>
            <a:ext cx="1683560"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8315" y="1698116"/>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8314" y="2021632"/>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79782" y="2230049"/>
            <a:ext cx="695751"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8315" y="2725534"/>
            <a:ext cx="1683560"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8315" y="2971642"/>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8314" y="329515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79782" y="3543915"/>
            <a:ext cx="695751"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8315" y="4063268"/>
            <a:ext cx="1683560"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8315" y="430937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8314" y="463289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79782" y="4841308"/>
            <a:ext cx="695751"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75174" y="1454803"/>
            <a:ext cx="1675589" cy="48731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75174" y="1700909"/>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75173" y="2024425"/>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6641" y="2232842"/>
            <a:ext cx="692457"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75174" y="2728328"/>
            <a:ext cx="1675589" cy="48731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75174" y="2974435"/>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75173" y="3297951"/>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6641" y="3506368"/>
            <a:ext cx="692457"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Tree>
    <p:extLst>
      <p:ext uri="{BB962C8B-B14F-4D97-AF65-F5344CB8AC3E}">
        <p14:creationId xmlns:p14="http://schemas.microsoft.com/office/powerpoint/2010/main" val="63437485"/>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4">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4" y="419100"/>
            <a:ext cx="3859203" cy="532000"/>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6" y="555379"/>
            <a:ext cx="3215933" cy="284822"/>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4"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8" y="2109319"/>
            <a:ext cx="2400602"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4"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29" y="2885868"/>
            <a:ext cx="940606"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4" y="318725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7" y="1428050"/>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7" y="1623812"/>
            <a:ext cx="2400603" cy="271293"/>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8" y="2408359"/>
            <a:ext cx="2400602" cy="384721"/>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7" y="3703823"/>
            <a:ext cx="2671549" cy="2117202"/>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7" y="1428049"/>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7" y="370382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70" y="2109319"/>
            <a:ext cx="2400602"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1" y="2885868"/>
            <a:ext cx="940606"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6" y="318725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0" y="1623812"/>
            <a:ext cx="2400603" cy="271293"/>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70" y="2408359"/>
            <a:ext cx="2400602" cy="384721"/>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70" y="4354105"/>
            <a:ext cx="2400602"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1" y="5130654"/>
            <a:ext cx="940607"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6" y="5432039"/>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0" y="3868598"/>
            <a:ext cx="2400603" cy="271293"/>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70" y="4653145"/>
            <a:ext cx="2400602" cy="384721"/>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6" y="1452009"/>
            <a:ext cx="1683560"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6" y="1698116"/>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5" y="2021632"/>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82" y="2230049"/>
            <a:ext cx="695751"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6" y="2725534"/>
            <a:ext cx="1683560"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6" y="2971642"/>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5" y="329515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82" y="3543915"/>
            <a:ext cx="695751"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6" y="4063268"/>
            <a:ext cx="1683560"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6" y="4309375"/>
            <a:ext cx="1683560"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5" y="463289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82" y="4841308"/>
            <a:ext cx="695751"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8178" y="1454803"/>
            <a:ext cx="1675589" cy="48731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8178" y="1700909"/>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8177" y="2024425"/>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69645" y="2232842"/>
            <a:ext cx="692457"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8178" y="2728328"/>
            <a:ext cx="1675589" cy="48731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4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8178" y="2974435"/>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8177" y="3297951"/>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69645" y="3506368"/>
            <a:ext cx="692457" cy="189924"/>
          </a:xfrm>
          <a:prstGeom prst="rect">
            <a:avLst/>
          </a:prstGeom>
        </p:spPr>
        <p:txBody>
          <a:bodyPr lIns="0" tIns="0" rIns="0" bIns="0"/>
          <a:lstStyle>
            <a:lvl1pPr>
              <a:lnSpc>
                <a:spcPct val="100000"/>
              </a:lnSpc>
              <a:spcBef>
                <a:spcPts val="0"/>
              </a:spcBef>
              <a:defRPr sz="1234" b="0">
                <a:solidFill>
                  <a:srgbClr val="979799"/>
                </a:solidFill>
                <a:latin typeface="+mn-lt"/>
                <a:ea typeface="Rostelecom Basis" panose="020B0503040504020204" pitchFamily="34" charset="-52"/>
              </a:defRPr>
            </a:lvl1pPr>
          </a:lstStyle>
          <a:p>
            <a:pPr lvl="0"/>
            <a:r>
              <a:rPr lang="ru-RU" dirty="0"/>
              <a:t>в месяц</a:t>
            </a:r>
          </a:p>
        </p:txBody>
      </p:sp>
      <p:sp>
        <p:nvSpPr>
          <p:cNvPr id="52" name="Прямоугольник: скругленные углы 51">
            <a:extLst>
              <a:ext uri="{FF2B5EF4-FFF2-40B4-BE49-F238E27FC236}">
                <a16:creationId xmlns:a16="http://schemas.microsoft.com/office/drawing/2014/main" id="{C3525499-95E7-4576-903F-B3C8897BAC8C}"/>
              </a:ext>
            </a:extLst>
          </p:cNvPr>
          <p:cNvSpPr/>
          <p:nvPr userDrawn="1"/>
        </p:nvSpPr>
        <p:spPr>
          <a:xfrm>
            <a:off x="3318094" y="3702783"/>
            <a:ext cx="2671549" cy="2148190"/>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3" name="Текст 14">
            <a:extLst>
              <a:ext uri="{FF2B5EF4-FFF2-40B4-BE49-F238E27FC236}">
                <a16:creationId xmlns:a16="http://schemas.microsoft.com/office/drawing/2014/main" id="{F0759445-35AF-4E97-B441-83F45C245873}"/>
              </a:ext>
            </a:extLst>
          </p:cNvPr>
          <p:cNvSpPr>
            <a:spLocks noGrp="1"/>
          </p:cNvSpPr>
          <p:nvPr>
            <p:ph type="body" sz="quarter" idx="91" hasCustomPrompt="1"/>
          </p:nvPr>
        </p:nvSpPr>
        <p:spPr>
          <a:xfrm>
            <a:off x="3486028" y="4384052"/>
            <a:ext cx="2400602" cy="243656"/>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0"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4" name="Полилиния: фигура 53">
            <a:extLst>
              <a:ext uri="{FF2B5EF4-FFF2-40B4-BE49-F238E27FC236}">
                <a16:creationId xmlns:a16="http://schemas.microsoft.com/office/drawing/2014/main" id="{E0BC4EB7-1C64-4805-9F78-AECEA11A7F09}"/>
              </a:ext>
            </a:extLst>
          </p:cNvPr>
          <p:cNvSpPr/>
          <p:nvPr userDrawn="1"/>
        </p:nvSpPr>
        <p:spPr>
          <a:xfrm>
            <a:off x="3318094" y="3702783"/>
            <a:ext cx="2671549" cy="593582"/>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a:solidFill>
                <a:schemeClr val="accent2"/>
              </a:solidFill>
            </a:endParaRPr>
          </a:p>
        </p:txBody>
      </p:sp>
      <p:sp>
        <p:nvSpPr>
          <p:cNvPr id="55" name="Текст 14">
            <a:extLst>
              <a:ext uri="{FF2B5EF4-FFF2-40B4-BE49-F238E27FC236}">
                <a16:creationId xmlns:a16="http://schemas.microsoft.com/office/drawing/2014/main" id="{EBBA21F0-581A-4594-B64C-1C39939231B6}"/>
              </a:ext>
            </a:extLst>
          </p:cNvPr>
          <p:cNvSpPr>
            <a:spLocks noGrp="1"/>
          </p:cNvSpPr>
          <p:nvPr>
            <p:ph type="body" sz="quarter" idx="92" hasCustomPrompt="1"/>
          </p:nvPr>
        </p:nvSpPr>
        <p:spPr>
          <a:xfrm>
            <a:off x="3486029" y="5160601"/>
            <a:ext cx="940606"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60" name="Текст 14">
            <a:extLst>
              <a:ext uri="{FF2B5EF4-FFF2-40B4-BE49-F238E27FC236}">
                <a16:creationId xmlns:a16="http://schemas.microsoft.com/office/drawing/2014/main" id="{295F16C7-DE62-4BE2-8A53-6A3E1B2662CF}"/>
              </a:ext>
            </a:extLst>
          </p:cNvPr>
          <p:cNvSpPr>
            <a:spLocks noGrp="1"/>
          </p:cNvSpPr>
          <p:nvPr>
            <p:ph type="body" sz="quarter" idx="93" hasCustomPrompt="1"/>
          </p:nvPr>
        </p:nvSpPr>
        <p:spPr>
          <a:xfrm>
            <a:off x="3487884" y="5461986"/>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61" name="Текст 14">
            <a:extLst>
              <a:ext uri="{FF2B5EF4-FFF2-40B4-BE49-F238E27FC236}">
                <a16:creationId xmlns:a16="http://schemas.microsoft.com/office/drawing/2014/main" id="{BB792D77-CA37-4857-88A5-079D0306A3BA}"/>
              </a:ext>
            </a:extLst>
          </p:cNvPr>
          <p:cNvSpPr>
            <a:spLocks noGrp="1"/>
          </p:cNvSpPr>
          <p:nvPr>
            <p:ph type="body" sz="quarter" idx="94" hasCustomPrompt="1"/>
          </p:nvPr>
        </p:nvSpPr>
        <p:spPr>
          <a:xfrm>
            <a:off x="3486027" y="3898545"/>
            <a:ext cx="2400603" cy="271293"/>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62" name="Текст 14">
            <a:extLst>
              <a:ext uri="{FF2B5EF4-FFF2-40B4-BE49-F238E27FC236}">
                <a16:creationId xmlns:a16="http://schemas.microsoft.com/office/drawing/2014/main" id="{76A059CA-EE36-4EA1-97FF-6F3ADAB51AC5}"/>
              </a:ext>
            </a:extLst>
          </p:cNvPr>
          <p:cNvSpPr>
            <a:spLocks noGrp="1"/>
          </p:cNvSpPr>
          <p:nvPr>
            <p:ph type="body" sz="quarter" idx="95" hasCustomPrompt="1"/>
          </p:nvPr>
        </p:nvSpPr>
        <p:spPr>
          <a:xfrm>
            <a:off x="3486028" y="4683092"/>
            <a:ext cx="2400602" cy="384721"/>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4"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4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Tree>
    <p:extLst>
      <p:ext uri="{BB962C8B-B14F-4D97-AF65-F5344CB8AC3E}">
        <p14:creationId xmlns:p14="http://schemas.microsoft.com/office/powerpoint/2010/main" val="6002458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11356052" cy="532000"/>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и буллитами</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7" y="1967667"/>
            <a:ext cx="4304787" cy="3061539"/>
          </a:xfrm>
          <a:prstGeom prst="rect">
            <a:avLst/>
          </a:prstGeom>
        </p:spPr>
        <p:txBody>
          <a:bodyPr lIns="0" tIns="0" rIns="0" bIns="0"/>
          <a:lstStyle>
            <a:lvl1pPr marL="159525" indent="-159525">
              <a:lnSpc>
                <a:spcPts val="1587"/>
              </a:lnSpc>
              <a:spcBef>
                <a:spcPts val="0"/>
              </a:spcBef>
              <a:spcAft>
                <a:spcPts val="2645"/>
              </a:spcAft>
              <a:buClr>
                <a:schemeClr val="tx1"/>
              </a:buClr>
              <a:buFont typeface="Rostelecom Basis" panose="020B0604020202020204" pitchFamily="34" charset="0"/>
              <a:buChar char="•"/>
              <a:defRPr lang="ru-RU" sz="1321"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21" name="Текст 14">
            <a:extLst>
              <a:ext uri="{FF2B5EF4-FFF2-40B4-BE49-F238E27FC236}">
                <a16:creationId xmlns:a16="http://schemas.microsoft.com/office/drawing/2014/main" id="{5DE1CF8A-9771-41FE-B9F7-FE0C00D121DC}"/>
              </a:ext>
            </a:extLst>
          </p:cNvPr>
          <p:cNvSpPr>
            <a:spLocks noGrp="1"/>
          </p:cNvSpPr>
          <p:nvPr>
            <p:ph type="body" sz="quarter" idx="28" hasCustomPrompt="1"/>
          </p:nvPr>
        </p:nvSpPr>
        <p:spPr>
          <a:xfrm>
            <a:off x="6205161" y="1967667"/>
            <a:ext cx="4304787" cy="3061539"/>
          </a:xfrm>
          <a:prstGeom prst="rect">
            <a:avLst/>
          </a:prstGeom>
        </p:spPr>
        <p:txBody>
          <a:bodyPr lIns="0" tIns="0" rIns="0" bIns="0"/>
          <a:lstStyle>
            <a:lvl1pPr marL="159525" indent="-159525">
              <a:lnSpc>
                <a:spcPts val="1587"/>
              </a:lnSpc>
              <a:spcBef>
                <a:spcPts val="0"/>
              </a:spcBef>
              <a:spcAft>
                <a:spcPts val="2645"/>
              </a:spcAft>
              <a:buClr>
                <a:schemeClr val="tx1"/>
              </a:buClr>
              <a:buFont typeface="Rostelecom Basis" panose="020B0604020202020204" pitchFamily="34" charset="0"/>
              <a:buChar char="•"/>
              <a:defRPr lang="ru-RU" sz="1321"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Tree>
    <p:extLst>
      <p:ext uri="{BB962C8B-B14F-4D97-AF65-F5344CB8AC3E}">
        <p14:creationId xmlns:p14="http://schemas.microsoft.com/office/powerpoint/2010/main" val="313050777"/>
      </p:ext>
    </p:extLst>
  </p:cSld>
  <p:clrMapOvr>
    <a:masterClrMapping/>
  </p:clrMapOvr>
  <p:extLst mod="1">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5_Заголовок + 2 блока_2">
    <p:spTree>
      <p:nvGrpSpPr>
        <p:cNvPr id="1" name=""/>
        <p:cNvGrpSpPr/>
        <p:nvPr/>
      </p:nvGrpSpPr>
      <p:grpSpPr>
        <a:xfrm>
          <a:off x="0" y="0"/>
          <a:ext cx="0" cy="0"/>
          <a:chOff x="0" y="0"/>
          <a:chExt cx="0" cy="0"/>
        </a:xfrm>
      </p:grpSpPr>
      <p:sp>
        <p:nvSpPr>
          <p:cNvPr id="8" name="Прямоугольник: скругленные углы 7">
            <a:extLst>
              <a:ext uri="{FF2B5EF4-FFF2-40B4-BE49-F238E27FC236}">
                <a16:creationId xmlns:a16="http://schemas.microsoft.com/office/drawing/2014/main" id="{18DCF793-35F6-429E-B196-B97A214656FF}"/>
              </a:ext>
            </a:extLst>
          </p:cNvPr>
          <p:cNvSpPr/>
          <p:nvPr userDrawn="1"/>
        </p:nvSpPr>
        <p:spPr>
          <a:xfrm>
            <a:off x="417514"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0" name="Рисунок 49">
            <a:extLst>
              <a:ext uri="{FF2B5EF4-FFF2-40B4-BE49-F238E27FC236}">
                <a16:creationId xmlns:a16="http://schemas.microsoft.com/office/drawing/2014/main" id="{F992AC5F-B207-4B2F-93C7-D7B33B8BD619}"/>
              </a:ext>
            </a:extLst>
          </p:cNvPr>
          <p:cNvSpPr>
            <a:spLocks noGrp="1"/>
          </p:cNvSpPr>
          <p:nvPr>
            <p:ph type="pic" sz="quarter" idx="19"/>
          </p:nvPr>
        </p:nvSpPr>
        <p:spPr>
          <a:xfrm>
            <a:off x="417515"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43" name="Текст 4">
            <a:extLst>
              <a:ext uri="{FF2B5EF4-FFF2-40B4-BE49-F238E27FC236}">
                <a16:creationId xmlns:a16="http://schemas.microsoft.com/office/drawing/2014/main" id="{5CAF23B2-3F2C-4472-A99D-91253907FF0E}"/>
              </a:ext>
            </a:extLst>
          </p:cNvPr>
          <p:cNvSpPr>
            <a:spLocks noGrp="1"/>
          </p:cNvSpPr>
          <p:nvPr>
            <p:ph type="body" sz="quarter" idx="18" hasCustomPrompt="1"/>
          </p:nvPr>
        </p:nvSpPr>
        <p:spPr>
          <a:xfrm>
            <a:off x="573403"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53" name="Прямоугольник: скругленные углы 52">
            <a:extLst>
              <a:ext uri="{FF2B5EF4-FFF2-40B4-BE49-F238E27FC236}">
                <a16:creationId xmlns:a16="http://schemas.microsoft.com/office/drawing/2014/main" id="{F4AAF675-6513-4322-BACE-BE6A99FCB20F}"/>
              </a:ext>
            </a:extLst>
          </p:cNvPr>
          <p:cNvSpPr/>
          <p:nvPr userDrawn="1"/>
        </p:nvSpPr>
        <p:spPr>
          <a:xfrm>
            <a:off x="42767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4" name="Рисунок 53">
            <a:extLst>
              <a:ext uri="{FF2B5EF4-FFF2-40B4-BE49-F238E27FC236}">
                <a16:creationId xmlns:a16="http://schemas.microsoft.com/office/drawing/2014/main" id="{CE84FCD3-220F-4ECF-B9E8-7B7436BD65AD}"/>
              </a:ext>
            </a:extLst>
          </p:cNvPr>
          <p:cNvSpPr>
            <a:spLocks noGrp="1"/>
          </p:cNvSpPr>
          <p:nvPr>
            <p:ph type="pic" sz="quarter" idx="20"/>
          </p:nvPr>
        </p:nvSpPr>
        <p:spPr>
          <a:xfrm>
            <a:off x="42767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56" name="Прямоугольник: скругленные углы 55">
            <a:extLst>
              <a:ext uri="{FF2B5EF4-FFF2-40B4-BE49-F238E27FC236}">
                <a16:creationId xmlns:a16="http://schemas.microsoft.com/office/drawing/2014/main" id="{9DD90E3F-1AF1-491B-853F-1CE422ECA067}"/>
              </a:ext>
            </a:extLst>
          </p:cNvPr>
          <p:cNvSpPr/>
          <p:nvPr userDrawn="1"/>
        </p:nvSpPr>
        <p:spPr>
          <a:xfrm>
            <a:off x="8135916" y="1166812"/>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57" name="Рисунок 56">
            <a:extLst>
              <a:ext uri="{FF2B5EF4-FFF2-40B4-BE49-F238E27FC236}">
                <a16:creationId xmlns:a16="http://schemas.microsoft.com/office/drawing/2014/main" id="{CD443D7B-FBCE-419D-882D-D2098FC1043A}"/>
              </a:ext>
            </a:extLst>
          </p:cNvPr>
          <p:cNvSpPr>
            <a:spLocks noGrp="1"/>
          </p:cNvSpPr>
          <p:nvPr>
            <p:ph type="pic" sz="quarter" idx="22"/>
          </p:nvPr>
        </p:nvSpPr>
        <p:spPr>
          <a:xfrm>
            <a:off x="8135917"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58" name="Текст 4">
            <a:extLst>
              <a:ext uri="{FF2B5EF4-FFF2-40B4-BE49-F238E27FC236}">
                <a16:creationId xmlns:a16="http://schemas.microsoft.com/office/drawing/2014/main" id="{3CEDB646-A576-46FF-B8A1-8C649909FB4E}"/>
              </a:ext>
            </a:extLst>
          </p:cNvPr>
          <p:cNvSpPr>
            <a:spLocks noGrp="1"/>
          </p:cNvSpPr>
          <p:nvPr>
            <p:ph type="body" sz="quarter" idx="23" hasCustomPrompt="1"/>
          </p:nvPr>
        </p:nvSpPr>
        <p:spPr>
          <a:xfrm>
            <a:off x="8291805"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59" name="Прямоугольник: скругленные углы 58">
            <a:extLst>
              <a:ext uri="{FF2B5EF4-FFF2-40B4-BE49-F238E27FC236}">
                <a16:creationId xmlns:a16="http://schemas.microsoft.com/office/drawing/2014/main" id="{46A7D747-AF3D-490D-A1B6-66DAE2520696}"/>
              </a:ext>
            </a:extLst>
          </p:cNvPr>
          <p:cNvSpPr/>
          <p:nvPr userDrawn="1"/>
        </p:nvSpPr>
        <p:spPr>
          <a:xfrm>
            <a:off x="423112"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2" name="Прямоугольник: скругленные углы 61">
            <a:extLst>
              <a:ext uri="{FF2B5EF4-FFF2-40B4-BE49-F238E27FC236}">
                <a16:creationId xmlns:a16="http://schemas.microsoft.com/office/drawing/2014/main" id="{4B0CE9A6-0CD2-43D2-A2B1-EF3CBB3912B2}"/>
              </a:ext>
            </a:extLst>
          </p:cNvPr>
          <p:cNvSpPr/>
          <p:nvPr userDrawn="1"/>
        </p:nvSpPr>
        <p:spPr>
          <a:xfrm>
            <a:off x="42823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3" name="Рисунок 62">
            <a:extLst>
              <a:ext uri="{FF2B5EF4-FFF2-40B4-BE49-F238E27FC236}">
                <a16:creationId xmlns:a16="http://schemas.microsoft.com/office/drawing/2014/main" id="{5FB7C564-B269-4A03-89EE-D093EB691822}"/>
              </a:ext>
            </a:extLst>
          </p:cNvPr>
          <p:cNvSpPr>
            <a:spLocks noGrp="1"/>
          </p:cNvSpPr>
          <p:nvPr>
            <p:ph type="pic" sz="quarter" idx="26"/>
          </p:nvPr>
        </p:nvSpPr>
        <p:spPr>
          <a:xfrm>
            <a:off x="4282314" y="3668756"/>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64" name="Текст 4">
            <a:extLst>
              <a:ext uri="{FF2B5EF4-FFF2-40B4-BE49-F238E27FC236}">
                <a16:creationId xmlns:a16="http://schemas.microsoft.com/office/drawing/2014/main" id="{3232A48E-34BD-4F65-AD9F-2057E0ABE69D}"/>
              </a:ext>
            </a:extLst>
          </p:cNvPr>
          <p:cNvSpPr>
            <a:spLocks noGrp="1"/>
          </p:cNvSpPr>
          <p:nvPr>
            <p:ph type="body" sz="quarter" idx="27" hasCustomPrompt="1"/>
          </p:nvPr>
        </p:nvSpPr>
        <p:spPr>
          <a:xfrm>
            <a:off x="4438203" y="5267194"/>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65" name="Прямоугольник: скругленные углы 64">
            <a:extLst>
              <a:ext uri="{FF2B5EF4-FFF2-40B4-BE49-F238E27FC236}">
                <a16:creationId xmlns:a16="http://schemas.microsoft.com/office/drawing/2014/main" id="{91A31EAB-2247-474C-9D7F-D0C1BEDFBF70}"/>
              </a:ext>
            </a:extLst>
          </p:cNvPr>
          <p:cNvSpPr/>
          <p:nvPr userDrawn="1"/>
        </p:nvSpPr>
        <p:spPr>
          <a:xfrm>
            <a:off x="8141514" y="3668755"/>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a:solidFill>
                <a:schemeClr val="tx1"/>
              </a:solidFill>
              <a:latin typeface="+mn-lt"/>
            </a:endParaRPr>
          </a:p>
        </p:txBody>
      </p:sp>
      <p:sp>
        <p:nvSpPr>
          <p:cNvPr id="68" name="Рисунок 67">
            <a:extLst>
              <a:ext uri="{FF2B5EF4-FFF2-40B4-BE49-F238E27FC236}">
                <a16:creationId xmlns:a16="http://schemas.microsoft.com/office/drawing/2014/main" id="{40DB5398-FE67-4B0E-88CB-0A7904A71F7F}"/>
              </a:ext>
            </a:extLst>
          </p:cNvPr>
          <p:cNvSpPr>
            <a:spLocks noGrp="1"/>
          </p:cNvSpPr>
          <p:nvPr>
            <p:ph type="pic" sz="quarter" idx="30"/>
          </p:nvPr>
        </p:nvSpPr>
        <p:spPr>
          <a:xfrm>
            <a:off x="429055"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70" name="Рисунок 69">
            <a:extLst>
              <a:ext uri="{FF2B5EF4-FFF2-40B4-BE49-F238E27FC236}">
                <a16:creationId xmlns:a16="http://schemas.microsoft.com/office/drawing/2014/main" id="{5C2AFBA0-4275-41BB-9216-3B89C8B1CF82}"/>
              </a:ext>
            </a:extLst>
          </p:cNvPr>
          <p:cNvSpPr>
            <a:spLocks noGrp="1"/>
          </p:cNvSpPr>
          <p:nvPr>
            <p:ph type="pic" sz="quarter" idx="32"/>
          </p:nvPr>
        </p:nvSpPr>
        <p:spPr>
          <a:xfrm>
            <a:off x="8131853"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22"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sz="3526" b="0">
                <a:solidFill>
                  <a:schemeClr val="tx1"/>
                </a:solidFill>
                <a:latin typeface="+mj-lt"/>
              </a:defRPr>
            </a:lvl1pPr>
          </a:lstStyle>
          <a:p>
            <a:r>
              <a:rPr lang="ru-RU" dirty="0"/>
              <a:t>Заголовок</a:t>
            </a:r>
          </a:p>
        </p:txBody>
      </p:sp>
      <p:sp>
        <p:nvSpPr>
          <p:cNvPr id="23" name="Текст 4">
            <a:extLst>
              <a:ext uri="{FF2B5EF4-FFF2-40B4-BE49-F238E27FC236}">
                <a16:creationId xmlns:a16="http://schemas.microsoft.com/office/drawing/2014/main" id="{164047A6-2EC0-4FC2-8F78-3EA011F8ED04}"/>
              </a:ext>
            </a:extLst>
          </p:cNvPr>
          <p:cNvSpPr>
            <a:spLocks noGrp="1"/>
          </p:cNvSpPr>
          <p:nvPr>
            <p:ph type="body" sz="quarter" idx="33" hasCustomPrompt="1"/>
          </p:nvPr>
        </p:nvSpPr>
        <p:spPr>
          <a:xfrm>
            <a:off x="573403" y="5267195"/>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24" name="Текст 4">
            <a:extLst>
              <a:ext uri="{FF2B5EF4-FFF2-40B4-BE49-F238E27FC236}">
                <a16:creationId xmlns:a16="http://schemas.microsoft.com/office/drawing/2014/main" id="{59C447C8-B99A-4660-A4B3-5FAEAF1ECB20}"/>
              </a:ext>
            </a:extLst>
          </p:cNvPr>
          <p:cNvSpPr>
            <a:spLocks noGrp="1"/>
          </p:cNvSpPr>
          <p:nvPr>
            <p:ph type="body" sz="quarter" idx="34" hasCustomPrompt="1"/>
          </p:nvPr>
        </p:nvSpPr>
        <p:spPr>
          <a:xfrm>
            <a:off x="8291805" y="5267195"/>
            <a:ext cx="3237384" cy="884858"/>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a:p>
            <a:pPr lvl="0"/>
            <a:endParaRPr lang="ru-RU" dirty="0"/>
          </a:p>
        </p:txBody>
      </p:sp>
      <p:sp>
        <p:nvSpPr>
          <p:cNvPr id="25" name="Текст 4">
            <a:extLst>
              <a:ext uri="{FF2B5EF4-FFF2-40B4-BE49-F238E27FC236}">
                <a16:creationId xmlns:a16="http://schemas.microsoft.com/office/drawing/2014/main" id="{5CB0B18B-C466-4E55-94C1-5B4A7DE8D5A4}"/>
              </a:ext>
            </a:extLst>
          </p:cNvPr>
          <p:cNvSpPr>
            <a:spLocks noGrp="1"/>
          </p:cNvSpPr>
          <p:nvPr>
            <p:ph type="body" sz="quarter" idx="35" hasCustomPrompt="1"/>
          </p:nvPr>
        </p:nvSpPr>
        <p:spPr>
          <a:xfrm>
            <a:off x="4438203" y="2765250"/>
            <a:ext cx="3237384"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Tree>
    <p:extLst>
      <p:ext uri="{BB962C8B-B14F-4D97-AF65-F5344CB8AC3E}">
        <p14:creationId xmlns:p14="http://schemas.microsoft.com/office/powerpoint/2010/main" val="2748025"/>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3">
    <p:spTree>
      <p:nvGrpSpPr>
        <p:cNvPr id="1" name=""/>
        <p:cNvGrpSpPr/>
        <p:nvPr/>
      </p:nvGrpSpPr>
      <p:grpSpPr>
        <a:xfrm>
          <a:off x="0" y="0"/>
          <a:ext cx="0" cy="0"/>
          <a:chOff x="0" y="0"/>
          <a:chExt cx="0" cy="0"/>
        </a:xfrm>
      </p:grpSpPr>
      <p:sp>
        <p:nvSpPr>
          <p:cNvPr id="22" name="Прямоугольник: скругленные углы 21">
            <a:extLst>
              <a:ext uri="{FF2B5EF4-FFF2-40B4-BE49-F238E27FC236}">
                <a16:creationId xmlns:a16="http://schemas.microsoft.com/office/drawing/2014/main" id="{DF291BB7-9BE6-40CE-B3B3-3B4C34252565}"/>
              </a:ext>
            </a:extLst>
          </p:cNvPr>
          <p:cNvSpPr/>
          <p:nvPr userDrawn="1"/>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6BCE745E-3C89-43D2-B1E4-5C48BD1BCB12}"/>
              </a:ext>
            </a:extLst>
          </p:cNvPr>
          <p:cNvSpPr/>
          <p:nvPr userDrawn="1"/>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6" name="Прямоугольник: скругленные углы 25">
            <a:extLst>
              <a:ext uri="{FF2B5EF4-FFF2-40B4-BE49-F238E27FC236}">
                <a16:creationId xmlns:a16="http://schemas.microsoft.com/office/drawing/2014/main" id="{6D769DD0-6108-4C95-AF18-AE1D0C57364F}"/>
              </a:ext>
            </a:extLst>
          </p:cNvPr>
          <p:cNvSpPr/>
          <p:nvPr userDrawn="1"/>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Рисунок 26">
            <a:extLst>
              <a:ext uri="{FF2B5EF4-FFF2-40B4-BE49-F238E27FC236}">
                <a16:creationId xmlns:a16="http://schemas.microsoft.com/office/drawing/2014/main" id="{617721D5-5BAB-4E64-B667-A185B17E1D8C}"/>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8" name="Рисунок 27">
            <a:extLst>
              <a:ext uri="{FF2B5EF4-FFF2-40B4-BE49-F238E27FC236}">
                <a16:creationId xmlns:a16="http://schemas.microsoft.com/office/drawing/2014/main" id="{CE02079D-4965-42AC-9EFC-5E3DBBEA0E09}"/>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9" name="Рисунок 28">
            <a:extLst>
              <a:ext uri="{FF2B5EF4-FFF2-40B4-BE49-F238E27FC236}">
                <a16:creationId xmlns:a16="http://schemas.microsoft.com/office/drawing/2014/main" id="{FE7EE251-4CE3-4983-8955-EC67982B38A7}"/>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747027"/>
            <a:ext cx="330086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747027"/>
            <a:ext cx="330086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747027"/>
            <a:ext cx="330086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84720"/>
            <a:ext cx="330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84720"/>
            <a:ext cx="330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84720"/>
            <a:ext cx="330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713589993"/>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3">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C7A709E-F7EC-4C5C-A57D-7E89ADB6377D}"/>
              </a:ext>
            </a:extLst>
          </p:cNvPr>
          <p:cNvSpPr/>
          <p:nvPr userDrawn="1"/>
        </p:nvSpPr>
        <p:spPr>
          <a:xfrm>
            <a:off x="8127301"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7" name="Прямоугольник: скругленные углы 26">
            <a:extLst>
              <a:ext uri="{FF2B5EF4-FFF2-40B4-BE49-F238E27FC236}">
                <a16:creationId xmlns:a16="http://schemas.microsoft.com/office/drawing/2014/main" id="{B4BF1677-7F71-4B97-B63D-C772D5014094}"/>
              </a:ext>
            </a:extLst>
          </p:cNvPr>
          <p:cNvSpPr/>
          <p:nvPr userDrawn="1"/>
        </p:nvSpPr>
        <p:spPr>
          <a:xfrm>
            <a:off x="4285897"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4" name="Прямоугольник: скругленные углы 23">
            <a:extLst>
              <a:ext uri="{FF2B5EF4-FFF2-40B4-BE49-F238E27FC236}">
                <a16:creationId xmlns:a16="http://schemas.microsoft.com/office/drawing/2014/main" id="{FE2B3DAD-199F-4A0D-A04A-74EF4E97DB49}"/>
              </a:ext>
            </a:extLst>
          </p:cNvPr>
          <p:cNvSpPr/>
          <p:nvPr userDrawn="1"/>
        </p:nvSpPr>
        <p:spPr>
          <a:xfrm>
            <a:off x="411154" y="1916205"/>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3" name="Рисунок 22">
            <a:extLst>
              <a:ext uri="{FF2B5EF4-FFF2-40B4-BE49-F238E27FC236}">
                <a16:creationId xmlns:a16="http://schemas.microsoft.com/office/drawing/2014/main" id="{5B44BF0D-66C1-48FF-9321-EF50C7963A8E}"/>
              </a:ext>
            </a:extLst>
          </p:cNvPr>
          <p:cNvSpPr>
            <a:spLocks noGrp="1"/>
          </p:cNvSpPr>
          <p:nvPr>
            <p:ph type="pic" sz="quarter" idx="57"/>
          </p:nvPr>
        </p:nvSpPr>
        <p:spPr>
          <a:xfrm>
            <a:off x="411155" y="1916207"/>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5" y="4878295"/>
            <a:ext cx="330086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6" name="Рисунок 25">
            <a:extLst>
              <a:ext uri="{FF2B5EF4-FFF2-40B4-BE49-F238E27FC236}">
                <a16:creationId xmlns:a16="http://schemas.microsoft.com/office/drawing/2014/main" id="{259BD8D5-1870-42FE-AD57-B2D142F9CC55}"/>
              </a:ext>
            </a:extLst>
          </p:cNvPr>
          <p:cNvSpPr>
            <a:spLocks noGrp="1"/>
          </p:cNvSpPr>
          <p:nvPr>
            <p:ph type="pic" sz="quarter" idx="58"/>
          </p:nvPr>
        </p:nvSpPr>
        <p:spPr>
          <a:xfrm>
            <a:off x="4285898"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49" y="4878295"/>
            <a:ext cx="330086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8" name="Рисунок 27">
            <a:extLst>
              <a:ext uri="{FF2B5EF4-FFF2-40B4-BE49-F238E27FC236}">
                <a16:creationId xmlns:a16="http://schemas.microsoft.com/office/drawing/2014/main" id="{A779EE00-C9C3-4A9E-921D-C174D770679E}"/>
              </a:ext>
            </a:extLst>
          </p:cNvPr>
          <p:cNvSpPr>
            <a:spLocks noGrp="1"/>
          </p:cNvSpPr>
          <p:nvPr>
            <p:ph type="pic" sz="quarter" idx="61"/>
          </p:nvPr>
        </p:nvSpPr>
        <p:spPr>
          <a:xfrm>
            <a:off x="8127302" y="1916206"/>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2" y="4878295"/>
            <a:ext cx="3300860"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2"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5"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04678"/>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1478479995"/>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4">
    <p:spTree>
      <p:nvGrpSpPr>
        <p:cNvPr id="1" name=""/>
        <p:cNvGrpSpPr/>
        <p:nvPr/>
      </p:nvGrpSpPr>
      <p:grpSpPr>
        <a:xfrm>
          <a:off x="0" y="0"/>
          <a:ext cx="0" cy="0"/>
          <a:chOff x="0" y="0"/>
          <a:chExt cx="0" cy="0"/>
        </a:xfrm>
      </p:grpSpPr>
      <p:sp>
        <p:nvSpPr>
          <p:cNvPr id="24" name="Прямоугольник: скругленные углы 23">
            <a:extLst>
              <a:ext uri="{FF2B5EF4-FFF2-40B4-BE49-F238E27FC236}">
                <a16:creationId xmlns:a16="http://schemas.microsoft.com/office/drawing/2014/main" id="{BF9DF7E0-710B-4C9B-8571-67A12B682AA1}"/>
              </a:ext>
            </a:extLst>
          </p:cNvPr>
          <p:cNvSpPr/>
          <p:nvPr userDrawn="1"/>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Прямоугольник: скругленные углы 28">
            <a:extLst>
              <a:ext uri="{FF2B5EF4-FFF2-40B4-BE49-F238E27FC236}">
                <a16:creationId xmlns:a16="http://schemas.microsoft.com/office/drawing/2014/main" id="{B2B4CDB0-9FE2-4606-AF77-1CBC111C434C}"/>
              </a:ext>
            </a:extLst>
          </p:cNvPr>
          <p:cNvSpPr/>
          <p:nvPr userDrawn="1"/>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0881E241-1ABF-4D0B-925D-58AD54A6DDE1}"/>
              </a:ext>
            </a:extLst>
          </p:cNvPr>
          <p:cNvSpPr/>
          <p:nvPr userDrawn="1"/>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1" name="Прямоугольник: скругленные углы 30">
            <a:extLst>
              <a:ext uri="{FF2B5EF4-FFF2-40B4-BE49-F238E27FC236}">
                <a16:creationId xmlns:a16="http://schemas.microsoft.com/office/drawing/2014/main" id="{BB2E227E-AF18-4625-BAD1-920555AA839F}"/>
              </a:ext>
            </a:extLst>
          </p:cNvPr>
          <p:cNvSpPr/>
          <p:nvPr userDrawn="1"/>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Рисунок 31">
            <a:extLst>
              <a:ext uri="{FF2B5EF4-FFF2-40B4-BE49-F238E27FC236}">
                <a16:creationId xmlns:a16="http://schemas.microsoft.com/office/drawing/2014/main" id="{4C21C587-80E0-4B90-9802-42E4B6E96702}"/>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0" name="Рисунок 39">
            <a:extLst>
              <a:ext uri="{FF2B5EF4-FFF2-40B4-BE49-F238E27FC236}">
                <a16:creationId xmlns:a16="http://schemas.microsoft.com/office/drawing/2014/main" id="{5E168175-A273-481A-A590-A437A47B198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1" name="Рисунок 40">
            <a:extLst>
              <a:ext uri="{FF2B5EF4-FFF2-40B4-BE49-F238E27FC236}">
                <a16:creationId xmlns:a16="http://schemas.microsoft.com/office/drawing/2014/main" id="{F2532C2E-69D1-4656-92F6-0AE760955547}"/>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3" name="Рисунок 42">
            <a:extLst>
              <a:ext uri="{FF2B5EF4-FFF2-40B4-BE49-F238E27FC236}">
                <a16:creationId xmlns:a16="http://schemas.microsoft.com/office/drawing/2014/main" id="{B8F59AB2-051A-41F7-BCA1-F5C72E7E0EB5}"/>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768077"/>
            <a:ext cx="234868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272873"/>
            <a:ext cx="233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768077"/>
            <a:ext cx="234868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272873"/>
            <a:ext cx="233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768077"/>
            <a:ext cx="234868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272873"/>
            <a:ext cx="233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768077"/>
            <a:ext cx="234868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272873"/>
            <a:ext cx="233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763708331"/>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4">
    <p:spTree>
      <p:nvGrpSpPr>
        <p:cNvPr id="1" name=""/>
        <p:cNvGrpSpPr/>
        <p:nvPr/>
      </p:nvGrpSpPr>
      <p:grpSpPr>
        <a:xfrm>
          <a:off x="0" y="0"/>
          <a:ext cx="0" cy="0"/>
          <a:chOff x="0" y="0"/>
          <a:chExt cx="0" cy="0"/>
        </a:xfrm>
      </p:grpSpPr>
      <p:sp>
        <p:nvSpPr>
          <p:cNvPr id="41" name="Прямоугольник: скругленные углы 40">
            <a:extLst>
              <a:ext uri="{FF2B5EF4-FFF2-40B4-BE49-F238E27FC236}">
                <a16:creationId xmlns:a16="http://schemas.microsoft.com/office/drawing/2014/main" id="{7473CC58-259A-43C0-A2DD-BF2C02572D22}"/>
              </a:ext>
            </a:extLst>
          </p:cNvPr>
          <p:cNvSpPr/>
          <p:nvPr userDrawn="1"/>
        </p:nvSpPr>
        <p:spPr>
          <a:xfrm>
            <a:off x="6202644" y="1916205"/>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2" name="Прямоугольник: скругленные углы 31">
            <a:extLst>
              <a:ext uri="{FF2B5EF4-FFF2-40B4-BE49-F238E27FC236}">
                <a16:creationId xmlns:a16="http://schemas.microsoft.com/office/drawing/2014/main" id="{423B52B6-D9AF-4677-8F08-39C837C37FB3}"/>
              </a:ext>
            </a:extLst>
          </p:cNvPr>
          <p:cNvSpPr/>
          <p:nvPr userDrawn="1"/>
        </p:nvSpPr>
        <p:spPr>
          <a:xfrm>
            <a:off x="3318095"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30" name="Прямоугольник: скругленные углы 29">
            <a:extLst>
              <a:ext uri="{FF2B5EF4-FFF2-40B4-BE49-F238E27FC236}">
                <a16:creationId xmlns:a16="http://schemas.microsoft.com/office/drawing/2014/main" id="{6C7D76EC-2D01-4E98-92C4-8BB2FDD82F93}"/>
              </a:ext>
            </a:extLst>
          </p:cNvPr>
          <p:cNvSpPr/>
          <p:nvPr userDrawn="1"/>
        </p:nvSpPr>
        <p:spPr>
          <a:xfrm>
            <a:off x="429631" y="1916205"/>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6" name="Прямоугольник: скругленные углы 45">
            <a:extLst>
              <a:ext uri="{FF2B5EF4-FFF2-40B4-BE49-F238E27FC236}">
                <a16:creationId xmlns:a16="http://schemas.microsoft.com/office/drawing/2014/main" id="{B71188DC-87D7-4BE6-94B3-D39C27C2DEF3}"/>
              </a:ext>
            </a:extLst>
          </p:cNvPr>
          <p:cNvSpPr/>
          <p:nvPr userDrawn="1"/>
        </p:nvSpPr>
        <p:spPr>
          <a:xfrm>
            <a:off x="9105671" y="1916205"/>
            <a:ext cx="266836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29" name="Рисунок 28">
            <a:extLst>
              <a:ext uri="{FF2B5EF4-FFF2-40B4-BE49-F238E27FC236}">
                <a16:creationId xmlns:a16="http://schemas.microsoft.com/office/drawing/2014/main" id="{59834600-64FB-47C3-8578-96B0AC67696C}"/>
              </a:ext>
            </a:extLst>
          </p:cNvPr>
          <p:cNvSpPr>
            <a:spLocks noGrp="1"/>
          </p:cNvSpPr>
          <p:nvPr>
            <p:ph type="pic" sz="quarter" idx="57"/>
          </p:nvPr>
        </p:nvSpPr>
        <p:spPr>
          <a:xfrm>
            <a:off x="429631"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901267"/>
            <a:ext cx="234868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1" name="Рисунок 30">
            <a:extLst>
              <a:ext uri="{FF2B5EF4-FFF2-40B4-BE49-F238E27FC236}">
                <a16:creationId xmlns:a16="http://schemas.microsoft.com/office/drawing/2014/main" id="{1C70AC74-DBB0-46CF-8463-F5EE81847C40}"/>
              </a:ext>
            </a:extLst>
          </p:cNvPr>
          <p:cNvSpPr>
            <a:spLocks noGrp="1"/>
          </p:cNvSpPr>
          <p:nvPr>
            <p:ph type="pic" sz="quarter" idx="58"/>
          </p:nvPr>
        </p:nvSpPr>
        <p:spPr>
          <a:xfrm>
            <a:off x="3318095" y="1916207"/>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0" name="Рисунок 39">
            <a:extLst>
              <a:ext uri="{FF2B5EF4-FFF2-40B4-BE49-F238E27FC236}">
                <a16:creationId xmlns:a16="http://schemas.microsoft.com/office/drawing/2014/main" id="{015FC641-6450-4E8F-947D-A6732F47F202}"/>
              </a:ext>
            </a:extLst>
          </p:cNvPr>
          <p:cNvSpPr>
            <a:spLocks noGrp="1"/>
          </p:cNvSpPr>
          <p:nvPr>
            <p:ph type="pic" sz="quarter" idx="61"/>
          </p:nvPr>
        </p:nvSpPr>
        <p:spPr>
          <a:xfrm>
            <a:off x="6202644" y="1916205"/>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45" name="Рисунок 44">
            <a:extLst>
              <a:ext uri="{FF2B5EF4-FFF2-40B4-BE49-F238E27FC236}">
                <a16:creationId xmlns:a16="http://schemas.microsoft.com/office/drawing/2014/main" id="{AEB2757B-FD2F-4A38-A46B-C7132D748A54}"/>
              </a:ext>
            </a:extLst>
          </p:cNvPr>
          <p:cNvSpPr>
            <a:spLocks noGrp="1"/>
          </p:cNvSpPr>
          <p:nvPr>
            <p:ph type="pic" sz="quarter" idx="64"/>
          </p:nvPr>
        </p:nvSpPr>
        <p:spPr>
          <a:xfrm>
            <a:off x="9105671" y="1916205"/>
            <a:ext cx="2668362"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2" y="4901267"/>
            <a:ext cx="234868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28" y="4901267"/>
            <a:ext cx="234868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7"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5" y="4901267"/>
            <a:ext cx="2348689" cy="97462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3822398091"/>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5">
    <p:spTree>
      <p:nvGrpSpPr>
        <p:cNvPr id="1" name=""/>
        <p:cNvGrpSpPr/>
        <p:nvPr/>
      </p:nvGrpSpPr>
      <p:grpSpPr>
        <a:xfrm>
          <a:off x="0" y="0"/>
          <a:ext cx="0" cy="0"/>
          <a:chOff x="0" y="0"/>
          <a:chExt cx="0" cy="0"/>
        </a:xfrm>
      </p:grpSpPr>
      <p:sp>
        <p:nvSpPr>
          <p:cNvPr id="43" name="Прямоугольник: скругленные углы 42">
            <a:extLst>
              <a:ext uri="{FF2B5EF4-FFF2-40B4-BE49-F238E27FC236}">
                <a16:creationId xmlns:a16="http://schemas.microsoft.com/office/drawing/2014/main" id="{63AB9C3F-6019-4D04-8B8F-82C4073FB8A2}"/>
              </a:ext>
            </a:extLst>
          </p:cNvPr>
          <p:cNvSpPr/>
          <p:nvPr userDrawn="1"/>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7" name="Прямоугольник: скругленные углы 46">
            <a:extLst>
              <a:ext uri="{FF2B5EF4-FFF2-40B4-BE49-F238E27FC236}">
                <a16:creationId xmlns:a16="http://schemas.microsoft.com/office/drawing/2014/main" id="{F13FB169-6744-4E42-BB4F-E9F65F736243}"/>
              </a:ext>
            </a:extLst>
          </p:cNvPr>
          <p:cNvSpPr/>
          <p:nvPr userDrawn="1"/>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Прямоугольник: скругленные углы 49">
            <a:extLst>
              <a:ext uri="{FF2B5EF4-FFF2-40B4-BE49-F238E27FC236}">
                <a16:creationId xmlns:a16="http://schemas.microsoft.com/office/drawing/2014/main" id="{E3DB2C50-DE11-49F6-87F2-A8BC53DD745C}"/>
              </a:ext>
            </a:extLst>
          </p:cNvPr>
          <p:cNvSpPr/>
          <p:nvPr userDrawn="1"/>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1" name="Рисунок 50">
            <a:extLst>
              <a:ext uri="{FF2B5EF4-FFF2-40B4-BE49-F238E27FC236}">
                <a16:creationId xmlns:a16="http://schemas.microsoft.com/office/drawing/2014/main" id="{F2AF9A1E-5017-4849-9316-D58937766083}"/>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3" name="Прямоугольник: скругленные углы 52">
            <a:extLst>
              <a:ext uri="{FF2B5EF4-FFF2-40B4-BE49-F238E27FC236}">
                <a16:creationId xmlns:a16="http://schemas.microsoft.com/office/drawing/2014/main" id="{2B3AA6A2-E046-4857-9475-957CA4B2B11C}"/>
              </a:ext>
            </a:extLst>
          </p:cNvPr>
          <p:cNvSpPr/>
          <p:nvPr userDrawn="1"/>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4" name="Прямоугольник: скругленные углы 53">
            <a:extLst>
              <a:ext uri="{FF2B5EF4-FFF2-40B4-BE49-F238E27FC236}">
                <a16:creationId xmlns:a16="http://schemas.microsoft.com/office/drawing/2014/main" id="{71C7097E-24CB-4F33-AD2D-02889A3261D9}"/>
              </a:ext>
            </a:extLst>
          </p:cNvPr>
          <p:cNvSpPr/>
          <p:nvPr userDrawn="1"/>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5" name="Рисунок 54">
            <a:extLst>
              <a:ext uri="{FF2B5EF4-FFF2-40B4-BE49-F238E27FC236}">
                <a16:creationId xmlns:a16="http://schemas.microsoft.com/office/drawing/2014/main" id="{A1C10B7C-F164-49CD-945A-B39CC0D3D4B4}"/>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6" name="Рисунок 55">
            <a:extLst>
              <a:ext uri="{FF2B5EF4-FFF2-40B4-BE49-F238E27FC236}">
                <a16:creationId xmlns:a16="http://schemas.microsoft.com/office/drawing/2014/main" id="{07146451-3A33-497B-A491-2AF3310D6A9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7" name="Рисунок 56">
            <a:extLst>
              <a:ext uri="{FF2B5EF4-FFF2-40B4-BE49-F238E27FC236}">
                <a16:creationId xmlns:a16="http://schemas.microsoft.com/office/drawing/2014/main" id="{ABD77682-1163-4C89-B1D6-B7C0CB8E1864}"/>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8" name="Рисунок 57">
            <a:extLst>
              <a:ext uri="{FF2B5EF4-FFF2-40B4-BE49-F238E27FC236}">
                <a16:creationId xmlns:a16="http://schemas.microsoft.com/office/drawing/2014/main" id="{AD12A8D4-D9FB-4EBF-98B4-75A7A0D7417D}"/>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31216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32793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868421"/>
            <a:ext cx="1759839"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868421"/>
            <a:ext cx="1759839"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868421"/>
            <a:ext cx="1759839"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868421"/>
            <a:ext cx="1759839"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868421"/>
            <a:ext cx="1759839"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778180672"/>
      </p:ext>
    </p:extLst>
  </p:cSld>
  <p:clrMapOvr>
    <a:masterClrMapping/>
  </p:clrMapOvr>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5">
    <p:spTree>
      <p:nvGrpSpPr>
        <p:cNvPr id="1" name=""/>
        <p:cNvGrpSpPr/>
        <p:nvPr/>
      </p:nvGrpSpPr>
      <p:grpSpPr>
        <a:xfrm>
          <a:off x="0" y="0"/>
          <a:ext cx="0" cy="0"/>
          <a:chOff x="0" y="0"/>
          <a:chExt cx="0" cy="0"/>
        </a:xfrm>
      </p:grpSpPr>
      <p:sp>
        <p:nvSpPr>
          <p:cNvPr id="54" name="Прямоугольник: скругленные углы 53">
            <a:extLst>
              <a:ext uri="{FF2B5EF4-FFF2-40B4-BE49-F238E27FC236}">
                <a16:creationId xmlns:a16="http://schemas.microsoft.com/office/drawing/2014/main" id="{D50146BB-A220-4CD6-876E-8314F768D2FF}"/>
              </a:ext>
            </a:extLst>
          </p:cNvPr>
          <p:cNvSpPr/>
          <p:nvPr userDrawn="1"/>
        </p:nvSpPr>
        <p:spPr>
          <a:xfrm>
            <a:off x="417515" y="1916207"/>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43" name="Прямоугольник: скругленные углы 42">
            <a:extLst>
              <a:ext uri="{FF2B5EF4-FFF2-40B4-BE49-F238E27FC236}">
                <a16:creationId xmlns:a16="http://schemas.microsoft.com/office/drawing/2014/main" id="{42FB469C-0F6D-484B-B9B2-2D1ABB4655D6}"/>
              </a:ext>
            </a:extLst>
          </p:cNvPr>
          <p:cNvSpPr/>
          <p:nvPr userDrawn="1"/>
        </p:nvSpPr>
        <p:spPr>
          <a:xfrm>
            <a:off x="506203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3" name="Прямоугольник: скругленные углы 52">
            <a:extLst>
              <a:ext uri="{FF2B5EF4-FFF2-40B4-BE49-F238E27FC236}">
                <a16:creationId xmlns:a16="http://schemas.microsoft.com/office/drawing/2014/main" id="{37B4A387-7377-41A5-A172-5536C0897353}"/>
              </a:ext>
            </a:extLst>
          </p:cNvPr>
          <p:cNvSpPr/>
          <p:nvPr userDrawn="1"/>
        </p:nvSpPr>
        <p:spPr>
          <a:xfrm>
            <a:off x="2739774"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0" name="Рисунок 49">
            <a:extLst>
              <a:ext uri="{FF2B5EF4-FFF2-40B4-BE49-F238E27FC236}">
                <a16:creationId xmlns:a16="http://schemas.microsoft.com/office/drawing/2014/main" id="{0C0C02DD-53C2-4D60-BD2B-62D208B377D1}"/>
              </a:ext>
            </a:extLst>
          </p:cNvPr>
          <p:cNvSpPr>
            <a:spLocks noGrp="1"/>
          </p:cNvSpPr>
          <p:nvPr>
            <p:ph type="pic" sz="quarter" idx="57"/>
          </p:nvPr>
        </p:nvSpPr>
        <p:spPr>
          <a:xfrm>
            <a:off x="417515"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0"/>
            <a:ext cx="11366499"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4" y="1010654"/>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6" y="4425188"/>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8" name="Прямоугольник: скругленные углы 57">
            <a:extLst>
              <a:ext uri="{FF2B5EF4-FFF2-40B4-BE49-F238E27FC236}">
                <a16:creationId xmlns:a16="http://schemas.microsoft.com/office/drawing/2014/main" id="{81DFF268-5C62-41C9-9A89-EDE20D19DBFE}"/>
              </a:ext>
            </a:extLst>
          </p:cNvPr>
          <p:cNvSpPr/>
          <p:nvPr userDrawn="1"/>
        </p:nvSpPr>
        <p:spPr>
          <a:xfrm>
            <a:off x="9706556"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6" name="Прямоугольник: скругленные углы 55">
            <a:extLst>
              <a:ext uri="{FF2B5EF4-FFF2-40B4-BE49-F238E27FC236}">
                <a16:creationId xmlns:a16="http://schemas.microsoft.com/office/drawing/2014/main" id="{9B31EA8D-6E17-4C1C-ACC2-6DFD5E79D7F9}"/>
              </a:ext>
            </a:extLst>
          </p:cNvPr>
          <p:cNvSpPr/>
          <p:nvPr userDrawn="1"/>
        </p:nvSpPr>
        <p:spPr>
          <a:xfrm>
            <a:off x="7384295" y="1916206"/>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solidFill>
                <a:schemeClr val="tx1"/>
              </a:solidFill>
            </a:endParaRPr>
          </a:p>
        </p:txBody>
      </p:sp>
      <p:sp>
        <p:nvSpPr>
          <p:cNvPr id="57" name="Рисунок 56">
            <a:extLst>
              <a:ext uri="{FF2B5EF4-FFF2-40B4-BE49-F238E27FC236}">
                <a16:creationId xmlns:a16="http://schemas.microsoft.com/office/drawing/2014/main" id="{A892E4DF-7435-40ED-ACAA-9BBA8AD3CFBE}"/>
              </a:ext>
            </a:extLst>
          </p:cNvPr>
          <p:cNvSpPr>
            <a:spLocks noGrp="1"/>
          </p:cNvSpPr>
          <p:nvPr>
            <p:ph type="pic" sz="quarter" idx="58"/>
          </p:nvPr>
        </p:nvSpPr>
        <p:spPr>
          <a:xfrm>
            <a:off x="9706557"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1" name="Рисунок 50">
            <a:extLst>
              <a:ext uri="{FF2B5EF4-FFF2-40B4-BE49-F238E27FC236}">
                <a16:creationId xmlns:a16="http://schemas.microsoft.com/office/drawing/2014/main" id="{EF273AB3-7736-4717-AF6B-B388EF3029D3}"/>
              </a:ext>
            </a:extLst>
          </p:cNvPr>
          <p:cNvSpPr>
            <a:spLocks noGrp="1"/>
          </p:cNvSpPr>
          <p:nvPr>
            <p:ph type="pic" sz="quarter" idx="61"/>
          </p:nvPr>
        </p:nvSpPr>
        <p:spPr>
          <a:xfrm>
            <a:off x="2739774"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6"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0" name="Рисунок 39">
            <a:extLst>
              <a:ext uri="{FF2B5EF4-FFF2-40B4-BE49-F238E27FC236}">
                <a16:creationId xmlns:a16="http://schemas.microsoft.com/office/drawing/2014/main" id="{938D9FCE-70CD-432E-A9EA-E7EEECF34F78}"/>
              </a:ext>
            </a:extLst>
          </p:cNvPr>
          <p:cNvSpPr>
            <a:spLocks noGrp="1"/>
          </p:cNvSpPr>
          <p:nvPr>
            <p:ph type="pic" sz="quarter" idx="64"/>
          </p:nvPr>
        </p:nvSpPr>
        <p:spPr>
          <a:xfrm>
            <a:off x="5062036"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6"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5" name="Рисунок 54">
            <a:extLst>
              <a:ext uri="{FF2B5EF4-FFF2-40B4-BE49-F238E27FC236}">
                <a16:creationId xmlns:a16="http://schemas.microsoft.com/office/drawing/2014/main" id="{2682E8EA-2221-411B-85AB-805032C54548}"/>
              </a:ext>
            </a:extLst>
          </p:cNvPr>
          <p:cNvSpPr>
            <a:spLocks noGrp="1"/>
          </p:cNvSpPr>
          <p:nvPr>
            <p:ph type="pic" sz="quarter" idx="67"/>
          </p:nvPr>
        </p:nvSpPr>
        <p:spPr>
          <a:xfrm>
            <a:off x="7384296" y="1916206"/>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7" y="444095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06"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6"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1"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1"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48" y="3757325"/>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3316564575"/>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512947"/>
            <a:ext cx="3300860" cy="57708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512947"/>
            <a:ext cx="3300860" cy="57708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512947"/>
            <a:ext cx="3300860" cy="57708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81734"/>
            <a:ext cx="330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81734"/>
            <a:ext cx="330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81734"/>
            <a:ext cx="330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2" name="Текст 14">
            <a:extLst>
              <a:ext uri="{FF2B5EF4-FFF2-40B4-BE49-F238E27FC236}">
                <a16:creationId xmlns:a16="http://schemas.microsoft.com/office/drawing/2014/main" id="{F96ED4C8-4CD1-4064-ABA9-235A1FFFA4E5}"/>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523428334"/>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4"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4"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5" y="4620524"/>
            <a:ext cx="3300860" cy="57708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08" y="5348196"/>
            <a:ext cx="1787398"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3" y="5647368"/>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6" y="4620524"/>
            <a:ext cx="3300860" cy="57708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89" y="5348196"/>
            <a:ext cx="1787398"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4" y="5647368"/>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1" y="1699092"/>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1" y="1699094"/>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2" y="4620524"/>
            <a:ext cx="3300860" cy="577081"/>
          </a:xfrm>
          <a:prstGeom prst="rect">
            <a:avLst/>
          </a:prstGeom>
        </p:spPr>
        <p:txBody>
          <a:bodyPr lIns="0" tIns="0" rIns="0" bIns="0"/>
          <a:lstStyle>
            <a:lvl1pPr>
              <a:lnSpc>
                <a:spcPts val="1499"/>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4" y="5348196"/>
            <a:ext cx="1787398"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0" y="5647368"/>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2"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5"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2" y="4001053"/>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14">
            <a:extLst>
              <a:ext uri="{FF2B5EF4-FFF2-40B4-BE49-F238E27FC236}">
                <a16:creationId xmlns:a16="http://schemas.microsoft.com/office/drawing/2014/main" id="{D5EC8ED3-C794-4358-AB09-47C21E7F7C35}"/>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802000746"/>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0197" y="2361450"/>
            <a:ext cx="2412167" cy="57708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4298" y="3154562"/>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4299" y="3440987"/>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0193" y="1892681"/>
            <a:ext cx="2412171"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0870" y="2361450"/>
            <a:ext cx="2412167" cy="57708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4971" y="3154562"/>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4972" y="3440987"/>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0866" y="1892681"/>
            <a:ext cx="2412171"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0197" y="4611040"/>
            <a:ext cx="2412167" cy="57708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4298" y="5404152"/>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4299" y="5690577"/>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0193" y="4142271"/>
            <a:ext cx="2412171"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0870" y="4611040"/>
            <a:ext cx="2412167" cy="57708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4971" y="5404152"/>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4972" y="5690577"/>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0866" y="4142271"/>
            <a:ext cx="2412171"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1FBD9820-38AE-49C4-9ADD-55FD09A3F51D}"/>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88731559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7" y="419100"/>
            <a:ext cx="5559535" cy="898712"/>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7" y="2442885"/>
            <a:ext cx="4304787" cy="3061539"/>
          </a:xfrm>
          <a:prstGeom prst="rect">
            <a:avLst/>
          </a:prstGeom>
        </p:spPr>
        <p:txBody>
          <a:bodyPr lIns="0" tIns="0" rIns="0" bIns="0"/>
          <a:lstStyle>
            <a:lvl1pPr marL="159525" indent="-159525">
              <a:lnSpc>
                <a:spcPts val="1587"/>
              </a:lnSpc>
              <a:spcBef>
                <a:spcPts val="0"/>
              </a:spcBef>
              <a:spcAft>
                <a:spcPts val="2645"/>
              </a:spcAft>
              <a:buClr>
                <a:schemeClr val="tx1"/>
              </a:buClr>
              <a:buFont typeface="Rostelecom Basis" panose="020B0604020202020204" pitchFamily="34" charset="0"/>
              <a:buChar char="•"/>
              <a:defRPr lang="ru-RU" sz="1321"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p:txBody>
      </p:sp>
      <p:sp>
        <p:nvSpPr>
          <p:cNvPr id="5" name="Рисунок 3">
            <a:extLst>
              <a:ext uri="{FF2B5EF4-FFF2-40B4-BE49-F238E27FC236}">
                <a16:creationId xmlns:a16="http://schemas.microsoft.com/office/drawing/2014/main" id="{F46D9B35-07AE-4F35-BE50-D7155B968A93}"/>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dirty="0"/>
          </a:p>
        </p:txBody>
      </p:sp>
    </p:spTree>
    <p:extLst>
      <p:ext uri="{BB962C8B-B14F-4D97-AF65-F5344CB8AC3E}">
        <p14:creationId xmlns:p14="http://schemas.microsoft.com/office/powerpoint/2010/main" val="3933267451"/>
      </p:ext>
    </p:extLst>
  </p:cSld>
  <p:clrMapOvr>
    <a:masterClrMapping/>
  </p:clrMapOvr>
  <p:extLst mod="1">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5"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1661" y="2513850"/>
            <a:ext cx="2412167" cy="57708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5762" y="3154562"/>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5763" y="3440987"/>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4" y="170189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5"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1657"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1463" y="2513850"/>
            <a:ext cx="2412167" cy="57708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5565" y="3154562"/>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5565" y="3440987"/>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1459"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5" y="395148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1661" y="4763440"/>
            <a:ext cx="2412167" cy="57708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5762" y="5404152"/>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5763" y="5690577"/>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4" y="3951485"/>
            <a:ext cx="5565894"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5" y="395148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1657" y="4115376"/>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1463" y="4763440"/>
            <a:ext cx="2412167" cy="577081"/>
          </a:xfrm>
          <a:prstGeom prst="rect">
            <a:avLst/>
          </a:prstGeom>
        </p:spPr>
        <p:txBody>
          <a:bodyPr lIns="0" tIns="0" rIns="0" bIns="0"/>
          <a:lstStyle>
            <a:lvl1pPr>
              <a:lnSpc>
                <a:spcPts val="1499"/>
              </a:lnSpc>
              <a:spcBef>
                <a:spcPts val="0"/>
              </a:spcBef>
              <a:buFont typeface="Rostelecom Basis" panose="020B0604020202020204" pitchFamily="34" charset="0"/>
              <a:buNone/>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5565" y="5404152"/>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5565" y="5690577"/>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1459" y="4115376"/>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7" name="Текст 14">
            <a:extLst>
              <a:ext uri="{FF2B5EF4-FFF2-40B4-BE49-F238E27FC236}">
                <a16:creationId xmlns:a16="http://schemas.microsoft.com/office/drawing/2014/main" id="{496AE103-4811-4042-B8C0-BF3049088180}"/>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208163268"/>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593909"/>
            <a:ext cx="2348689" cy="56977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593909"/>
            <a:ext cx="2348689" cy="56977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593909"/>
            <a:ext cx="2348689" cy="56977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593909"/>
            <a:ext cx="2348689" cy="56977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144488"/>
            <a:ext cx="233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144488"/>
            <a:ext cx="233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144488"/>
            <a:ext cx="233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144488"/>
            <a:ext cx="2330860" cy="29495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7" name="Текст 14">
            <a:extLst>
              <a:ext uri="{FF2B5EF4-FFF2-40B4-BE49-F238E27FC236}">
                <a16:creationId xmlns:a16="http://schemas.microsoft.com/office/drawing/2014/main" id="{CE8E2930-CD91-4C7A-B5AB-1AF69D75D30B}"/>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38125545"/>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1"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1"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06" y="4683556"/>
            <a:ext cx="2348689" cy="56977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4"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4"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68" y="4683556"/>
            <a:ext cx="2348689" cy="56977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57"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57"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1" y="4683556"/>
            <a:ext cx="2348689" cy="56977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79" y="1703293"/>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79" y="1703294"/>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4" y="4683556"/>
            <a:ext cx="2348689" cy="569771"/>
          </a:xfrm>
          <a:prstGeom prst="rect">
            <a:avLst/>
          </a:prstGeom>
        </p:spPr>
        <p:txBody>
          <a:bodyPr lIns="0" tIns="0" rIns="0" bIns="0"/>
          <a:lstStyle>
            <a:lvl1pPr>
              <a:lnSpc>
                <a:spcPct val="100000"/>
              </a:lnSpc>
              <a:spcBef>
                <a:spcPts val="0"/>
              </a:spcBef>
              <a:defRPr sz="1234"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0"/>
            <a:ext cx="11366499" cy="1011236"/>
          </a:xfrm>
          <a:prstGeom prst="rect">
            <a:avLst/>
          </a:prstGeom>
        </p:spPr>
        <p:txBody>
          <a:bodyPr lIns="0" tIns="0" rIns="0" bIns="0"/>
          <a:lstStyle>
            <a:lvl1pPr>
              <a:lnSpc>
                <a:spcPts val="3702"/>
              </a:lnSpc>
              <a:defRPr lang="ru-RU" sz="3526"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69" y="5384547"/>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0" y="567307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6" y="5384547"/>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6" y="567307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8" y="5384547"/>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29" y="567307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3" y="5384547"/>
            <a:ext cx="1519371" cy="339195"/>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4" y="5673073"/>
            <a:ext cx="1142606" cy="189924"/>
          </a:xfrm>
          <a:prstGeom prst="rect">
            <a:avLst/>
          </a:prstGeom>
        </p:spPr>
        <p:txBody>
          <a:bodyPr lIns="0" tIns="0" rIns="0" bIns="0"/>
          <a:lstStyle>
            <a:lvl1pPr>
              <a:lnSpc>
                <a:spcPct val="100000"/>
              </a:lnSpc>
              <a:spcBef>
                <a:spcPts val="0"/>
              </a:spcBef>
              <a:defRPr sz="1234" b="0">
                <a:solidFill>
                  <a:srgbClr val="979799"/>
                </a:solidFill>
                <a:latin typeface="+mj-lt"/>
                <a:ea typeface="Rostelecom Basis"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2"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68"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6" y="4072770"/>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4C3B22FA-8234-4660-ADBB-D94D2F19815E}"/>
              </a:ext>
            </a:extLst>
          </p:cNvPr>
          <p:cNvSpPr>
            <a:spLocks noGrp="1"/>
          </p:cNvSpPr>
          <p:nvPr>
            <p:ph type="body" sz="quarter" idx="36" hasCustomPrompt="1"/>
          </p:nvPr>
        </p:nvSpPr>
        <p:spPr>
          <a:xfrm>
            <a:off x="417514" y="6523636"/>
            <a:ext cx="9650123" cy="141064"/>
          </a:xfrm>
          <a:prstGeom prst="rect">
            <a:avLst/>
          </a:prstGeom>
        </p:spPr>
        <p:txBody>
          <a:bodyPr lIns="0" tIns="0" rIns="0" bIns="0" anchor="b"/>
          <a:lstStyle>
            <a:lvl1pPr>
              <a:lnSpc>
                <a:spcPts val="1120"/>
              </a:lnSpc>
              <a:spcBef>
                <a:spcPts val="0"/>
              </a:spcBef>
              <a:defRPr sz="970"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481896811"/>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спикер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4" y="419100"/>
            <a:ext cx="5559534" cy="521276"/>
          </a:xfrm>
          <a:prstGeom prst="rect">
            <a:avLst/>
          </a:prstGeom>
        </p:spPr>
        <p:txBody>
          <a:bodyPr lIns="0" tIns="0" rIns="0" bIns="0"/>
          <a:lstStyle>
            <a:lvl1pPr>
              <a:lnSpc>
                <a:spcPts val="3702"/>
              </a:lnSpc>
              <a:defRPr lang="ru-RU" sz="3526" dirty="0"/>
            </a:lvl1pPr>
          </a:lstStyle>
          <a:p>
            <a:pPr lvl="0">
              <a:lnSpc>
                <a:spcPts val="3702"/>
              </a:lnSpc>
              <a:tabLst>
                <a:tab pos="8776919" algn="l"/>
              </a:tabLst>
            </a:pPr>
            <a:r>
              <a:rPr lang="ru-RU" dirty="0"/>
              <a:t>Спикеры</a:t>
            </a:r>
          </a:p>
        </p:txBody>
      </p:sp>
      <p:sp>
        <p:nvSpPr>
          <p:cNvPr id="3" name="Рисунок 2">
            <a:extLst>
              <a:ext uri="{FF2B5EF4-FFF2-40B4-BE49-F238E27FC236}">
                <a16:creationId xmlns:a16="http://schemas.microsoft.com/office/drawing/2014/main" id="{3A5B56E7-236C-403D-9547-396D64036FB6}"/>
              </a:ext>
            </a:extLst>
          </p:cNvPr>
          <p:cNvSpPr>
            <a:spLocks noGrp="1"/>
          </p:cNvSpPr>
          <p:nvPr>
            <p:ph type="pic" sz="quarter" idx="67"/>
          </p:nvPr>
        </p:nvSpPr>
        <p:spPr>
          <a:xfrm>
            <a:off x="417514" y="2224882"/>
            <a:ext cx="1523306" cy="404480"/>
          </a:xfrm>
          <a:prstGeom prst="ellipse">
            <a:avLst/>
          </a:prstGeom>
          <a:solidFill>
            <a:schemeClr val="bg2"/>
          </a:solidFill>
        </p:spPr>
        <p:txBody>
          <a:bodyPr anchor="ctr"/>
          <a:lstStyle>
            <a:lvl1pPr algn="ctr">
              <a:defRPr/>
            </a:lvl1pPr>
          </a:lstStyle>
          <a:p>
            <a:endParaRPr lang="ru-RU" dirty="0"/>
          </a:p>
        </p:txBody>
      </p:sp>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425765" y="3530899"/>
            <a:ext cx="4591260" cy="339195"/>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Фамилия</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425765" y="3936066"/>
            <a:ext cx="4591260" cy="487313"/>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15" name="Рисунок 2">
            <a:extLst>
              <a:ext uri="{FF2B5EF4-FFF2-40B4-BE49-F238E27FC236}">
                <a16:creationId xmlns:a16="http://schemas.microsoft.com/office/drawing/2014/main" id="{32529F06-4AB3-424A-A6F1-2EB06A027345}"/>
              </a:ext>
            </a:extLst>
          </p:cNvPr>
          <p:cNvSpPr>
            <a:spLocks noGrp="1"/>
          </p:cNvSpPr>
          <p:nvPr>
            <p:ph type="pic" sz="quarter" idx="69"/>
          </p:nvPr>
        </p:nvSpPr>
        <p:spPr>
          <a:xfrm>
            <a:off x="6181014" y="2224882"/>
            <a:ext cx="1523306" cy="404480"/>
          </a:xfrm>
          <a:prstGeom prst="ellipse">
            <a:avLst/>
          </a:prstGeom>
          <a:solidFill>
            <a:schemeClr val="bg2"/>
          </a:solidFill>
        </p:spPr>
        <p:txBody>
          <a:bodyPr anchor="ctr"/>
          <a:lstStyle>
            <a:lvl1pPr algn="ctr">
              <a:defRPr/>
            </a:lvl1pPr>
          </a:lstStyle>
          <a:p>
            <a:endParaRPr lang="ru-RU" dirty="0"/>
          </a:p>
        </p:txBody>
      </p:sp>
      <p:sp>
        <p:nvSpPr>
          <p:cNvPr id="16" name="Текст 14">
            <a:extLst>
              <a:ext uri="{FF2B5EF4-FFF2-40B4-BE49-F238E27FC236}">
                <a16:creationId xmlns:a16="http://schemas.microsoft.com/office/drawing/2014/main" id="{5F7C6819-6145-4F51-A65E-34B113363E42}"/>
              </a:ext>
            </a:extLst>
          </p:cNvPr>
          <p:cNvSpPr>
            <a:spLocks noGrp="1"/>
          </p:cNvSpPr>
          <p:nvPr>
            <p:ph type="body" sz="quarter" idx="70" hasCustomPrompt="1"/>
          </p:nvPr>
        </p:nvSpPr>
        <p:spPr>
          <a:xfrm>
            <a:off x="6189265" y="3530899"/>
            <a:ext cx="4591260" cy="339195"/>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Фамилия</a:t>
            </a:r>
          </a:p>
        </p:txBody>
      </p:sp>
      <p:sp>
        <p:nvSpPr>
          <p:cNvPr id="17" name="Текст 14">
            <a:extLst>
              <a:ext uri="{FF2B5EF4-FFF2-40B4-BE49-F238E27FC236}">
                <a16:creationId xmlns:a16="http://schemas.microsoft.com/office/drawing/2014/main" id="{6EF6506F-AC6C-4CF9-8A91-14B68223AA35}"/>
              </a:ext>
            </a:extLst>
          </p:cNvPr>
          <p:cNvSpPr>
            <a:spLocks noGrp="1"/>
          </p:cNvSpPr>
          <p:nvPr>
            <p:ph type="body" sz="quarter" idx="71" hasCustomPrompt="1"/>
          </p:nvPr>
        </p:nvSpPr>
        <p:spPr>
          <a:xfrm>
            <a:off x="6189265" y="3936066"/>
            <a:ext cx="4591260" cy="487313"/>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Tree>
    <p:extLst>
      <p:ext uri="{BB962C8B-B14F-4D97-AF65-F5344CB8AC3E}">
        <p14:creationId xmlns:p14="http://schemas.microsoft.com/office/powerpoint/2010/main" val="103386914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400600-D484-4A11-B6F5-B4162093EDFE}"/>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4177" name="Слайд think-cell" r:id="rId5" imgW="306" imgH="306" progId="TCLayout.ActiveDocument.1">
                  <p:embed/>
                </p:oleObj>
              </mc:Choice>
              <mc:Fallback>
                <p:oleObj name="Слайд think-cell" r:id="rId5" imgW="306" imgH="306" progId="TCLayout.ActiveDocument.1">
                  <p:embed/>
                  <p:pic>
                    <p:nvPicPr>
                      <p:cNvPr id="4" name="Object 3" hidden="1">
                        <a:extLst>
                          <a:ext uri="{FF2B5EF4-FFF2-40B4-BE49-F238E27FC236}">
                            <a16:creationId xmlns:a16="http://schemas.microsoft.com/office/drawing/2014/main" id="{11400600-D484-4A11-B6F5-B4162093EDFE}"/>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78AB32-2CB5-4861-90D9-63AEABD001CD}"/>
              </a:ext>
            </a:extLst>
          </p:cNvPr>
          <p:cNvSpPr/>
          <p:nvPr userDrawn="1">
            <p:custDataLst>
              <p:tags r:id="rId3"/>
            </p:custDataLst>
          </p:nvPr>
        </p:nvSpPr>
        <p:spPr>
          <a:xfrm>
            <a:off x="1" y="1"/>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46" b="0" i="0" baseline="0" dirty="0" err="1">
              <a:solidFill>
                <a:schemeClr val="tx1"/>
              </a:solidFill>
              <a:latin typeface="+mn-lt"/>
              <a:ea typeface="+mn-ea"/>
              <a:cs typeface="+mn-cs"/>
              <a:sym typeface="Segoe UI Semibold" panose="020B0702040204020203" pitchFamily="34" charset="0"/>
            </a:endParaRPr>
          </a:p>
        </p:txBody>
      </p:sp>
      <p:sp>
        <p:nvSpPr>
          <p:cNvPr id="14" name="Rectangle 13">
            <a:extLst>
              <a:ext uri="{FF2B5EF4-FFF2-40B4-BE49-F238E27FC236}">
                <a16:creationId xmlns:a16="http://schemas.microsoft.com/office/drawing/2014/main" id="{0A670F2B-033E-4BCC-90DF-5A47C6D209F0}"/>
              </a:ext>
            </a:extLst>
          </p:cNvPr>
          <p:cNvSpPr/>
          <p:nvPr userDrawn="1"/>
        </p:nvSpPr>
        <p:spPr>
          <a:xfrm>
            <a:off x="11582630" y="6568876"/>
            <a:ext cx="267194" cy="289124"/>
          </a:xfrm>
          <a:prstGeom prst="rect">
            <a:avLst/>
          </a:prstGeom>
          <a:solidFill>
            <a:schemeClr val="accent6"/>
          </a:solidFill>
          <a:ln>
            <a:noFill/>
          </a:ln>
        </p:spPr>
        <p:txBody>
          <a:bodyPr vert="horz" wrap="square" lIns="93212" tIns="46605" rIns="93212" bIns="46605" numCol="1" anchor="t" anchorCtr="0" compatLnSpc="1">
            <a:prstTxWarp prst="textNoShape">
              <a:avLst/>
            </a:prstTxWarp>
          </a:bodyPr>
          <a:lstStyle/>
          <a:p>
            <a:endParaRPr lang="ru-RU" sz="2080">
              <a:solidFill>
                <a:schemeClr val="tx1"/>
              </a:solidFill>
              <a:latin typeface="+mn-lt"/>
              <a:ea typeface="+mn-ea"/>
              <a:cs typeface="+mn-cs"/>
            </a:endParaRPr>
          </a:p>
        </p:txBody>
      </p:sp>
      <p:sp>
        <p:nvSpPr>
          <p:cNvPr id="2" name="2. Slide Title"/>
          <p:cNvSpPr>
            <a:spLocks noGrp="1"/>
          </p:cNvSpPr>
          <p:nvPr>
            <p:ph type="title"/>
          </p:nvPr>
        </p:nvSpPr>
        <p:spPr bwMode="gray"/>
        <p:txBody>
          <a:bodyPr vert="horz" anchor="t"/>
          <a:lstStyle>
            <a:lvl1pPr algn="l">
              <a:defRPr>
                <a:latin typeface="+mj-lt"/>
                <a:ea typeface="+mj-ea"/>
                <a:cs typeface="+mj-cs"/>
              </a:defRPr>
            </a:lvl1pPr>
          </a:lstStyle>
          <a:p>
            <a:r>
              <a:rPr lang="en-US"/>
              <a:t>Click to edit Master title style</a:t>
            </a:r>
            <a:endParaRPr lang="ru-RU" dirty="0"/>
          </a:p>
        </p:txBody>
      </p:sp>
      <p:sp>
        <p:nvSpPr>
          <p:cNvPr id="8" name="Slide Number"/>
          <p:cNvSpPr txBox="1">
            <a:spLocks/>
          </p:cNvSpPr>
          <p:nvPr userDrawn="1"/>
        </p:nvSpPr>
        <p:spPr bwMode="gray">
          <a:xfrm>
            <a:off x="11646496" y="6640564"/>
            <a:ext cx="139462" cy="125419"/>
          </a:xfrm>
          <a:prstGeom prst="rect">
            <a:avLst/>
          </a:prstGeom>
        </p:spPr>
        <p:txBody>
          <a:bodyPr vert="horz" wrap="none" lIns="0" tIns="0" rIns="0" bIns="0" rtlCol="0" anchor="ctr">
            <a:spAutoFit/>
          </a:bodyPr>
          <a:lstStyle>
            <a:defPPr>
              <a:defRPr lang="ru-RU"/>
            </a:defPPr>
            <a:lvl1pPr>
              <a:defRPr sz="1000" baseline="0">
                <a:latin typeface="+mn-lt"/>
              </a:defRPr>
            </a:lvl1pPr>
          </a:lstStyle>
          <a:p>
            <a:pPr lvl="0" algn="ctr"/>
            <a:fld id="{42C328C1-A84F-4A39-A664-DBA00541A8C6}" type="slidenum">
              <a:rPr lang="ru-RU" sz="815" smtClean="0">
                <a:solidFill>
                  <a:schemeClr val="bg1"/>
                </a:solidFill>
                <a:latin typeface="+mn-lt"/>
                <a:ea typeface="+mn-ea"/>
                <a:cs typeface="+mn-cs"/>
              </a:rPr>
              <a:pPr lvl="0" algn="ctr"/>
              <a:t>‹#›</a:t>
            </a:fld>
            <a:endParaRPr lang="ru-RU" sz="815" dirty="0">
              <a:solidFill>
                <a:schemeClr val="bg1"/>
              </a:solidFill>
              <a:latin typeface="+mn-lt"/>
              <a:ea typeface="+mn-ea"/>
              <a:cs typeface="+mn-cs"/>
            </a:endParaRPr>
          </a:p>
        </p:txBody>
      </p:sp>
      <p:sp>
        <p:nvSpPr>
          <p:cNvPr id="5" name="doc id" hidden="1"/>
          <p:cNvSpPr>
            <a:spLocks noChangeArrowheads="1"/>
          </p:cNvSpPr>
          <p:nvPr userDrawn="1"/>
        </p:nvSpPr>
        <p:spPr bwMode="gray">
          <a:xfrm flipH="1">
            <a:off x="10658002"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6981"/>
            <a:endParaRPr lang="ru-RU" sz="612" baseline="0" noProof="0" dirty="0">
              <a:solidFill>
                <a:schemeClr val="accent6"/>
              </a:solidFill>
              <a:latin typeface="+mn-lt"/>
              <a:ea typeface="+mn-ea"/>
              <a:cs typeface="+mn-cs"/>
            </a:endParaRPr>
          </a:p>
        </p:txBody>
      </p:sp>
    </p:spTree>
    <p:extLst>
      <p:ext uri="{BB962C8B-B14F-4D97-AF65-F5344CB8AC3E}">
        <p14:creationId xmlns:p14="http://schemas.microsoft.com/office/powerpoint/2010/main" val="390605264"/>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294BB-FD6C-475C-997B-C3B13CDA6658}"/>
              </a:ext>
            </a:extLst>
          </p:cNvPr>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5201" name="Слайд think-cell" r:id="rId5" imgW="395" imgH="394" progId="TCLayout.ActiveDocument.1">
                  <p:embed/>
                </p:oleObj>
              </mc:Choice>
              <mc:Fallback>
                <p:oleObj name="Слайд think-cell" r:id="rId5" imgW="395" imgH="394" progId="TCLayout.ActiveDocument.1">
                  <p:embed/>
                  <p:pic>
                    <p:nvPicPr>
                      <p:cNvPr id="8" name="Object 7" hidden="1">
                        <a:extLst>
                          <a:ext uri="{FF2B5EF4-FFF2-40B4-BE49-F238E27FC236}">
                            <a16:creationId xmlns:a16="http://schemas.microsoft.com/office/drawing/2014/main" id="{CB4294BB-FD6C-475C-997B-C3B13CDA6658}"/>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292732-2039-4245-875E-A2F39CCE0AFC}"/>
              </a:ext>
            </a:extLst>
          </p:cNvPr>
          <p:cNvSpPr/>
          <p:nvPr userDrawn="1">
            <p:custDataLst>
              <p:tags r:id="rId3"/>
            </p:custDataLst>
          </p:nvPr>
        </p:nvSpPr>
        <p:spPr>
          <a:xfrm>
            <a:off x="0"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98" b="1" i="0" baseline="0" dirty="0">
              <a:latin typeface="Rostelecom Basis Medium" panose="020B0603030604040103" pitchFamily="34" charset="0"/>
              <a:ea typeface="+mj-ea"/>
              <a:cs typeface="+mj-cs"/>
              <a:sym typeface="Rostelecom Basis Medium" panose="020B0603030604040103" pitchFamily="34" charset="0"/>
            </a:endParaRPr>
          </a:p>
        </p:txBody>
      </p:sp>
      <p:sp>
        <p:nvSpPr>
          <p:cNvPr id="9" name="Title 8">
            <a:extLst>
              <a:ext uri="{FF2B5EF4-FFF2-40B4-BE49-F238E27FC236}">
                <a16:creationId xmlns:a16="http://schemas.microsoft.com/office/drawing/2014/main" id="{892E2AA8-BC92-4D64-B8A1-AAF260EFBC94}"/>
              </a:ext>
            </a:extLst>
          </p:cNvPr>
          <p:cNvSpPr>
            <a:spLocks noGrp="1"/>
          </p:cNvSpPr>
          <p:nvPr>
            <p:ph type="title"/>
          </p:nvPr>
        </p:nvSpPr>
        <p:spPr>
          <a:xfrm>
            <a:off x="342178" y="400645"/>
            <a:ext cx="10296464" cy="307747"/>
          </a:xfrm>
        </p:spPr>
        <p:txBody>
          <a:bodyPr/>
          <a:lstStyle>
            <a:lvl1pPr>
              <a:defRPr sz="1998"/>
            </a:lvl1pPr>
          </a:lstStyle>
          <a:p>
            <a:r>
              <a:rPr lang="en-US" dirty="0"/>
              <a:t>Click to edit Master title style</a:t>
            </a:r>
            <a:endParaRPr lang="ru-RU" dirty="0"/>
          </a:p>
        </p:txBody>
      </p:sp>
    </p:spTree>
    <p:extLst>
      <p:ext uri="{BB962C8B-B14F-4D97-AF65-F5344CB8AC3E}">
        <p14:creationId xmlns:p14="http://schemas.microsoft.com/office/powerpoint/2010/main" val="34202514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1 Символ «Ростелеком»">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2C3B0135-AD67-44A2-B456-0DEAAF65284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59896" y="2373878"/>
            <a:ext cx="1272208" cy="2110245"/>
          </a:xfrm>
          <a:prstGeom prst="rect">
            <a:avLst/>
          </a:prstGeom>
        </p:spPr>
      </p:pic>
    </p:spTree>
    <p:extLst>
      <p:ext uri="{BB962C8B-B14F-4D97-AF65-F5344CB8AC3E}">
        <p14:creationId xmlns:p14="http://schemas.microsoft.com/office/powerpoint/2010/main" val="3452289043"/>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2 ">
    <p:bg>
      <p:bgPr>
        <a:solidFill>
          <a:srgbClr val="FFFFFF"/>
        </a:solidFill>
        <a:effectLst/>
      </p:bgPr>
    </p:bg>
    <p:spTree>
      <p:nvGrpSpPr>
        <p:cNvPr id="1" name=""/>
        <p:cNvGrpSpPr/>
        <p:nvPr/>
      </p:nvGrpSpPr>
      <p:grpSpPr>
        <a:xfrm>
          <a:off x="0" y="0"/>
          <a:ext cx="0" cy="0"/>
          <a:chOff x="0" y="0"/>
          <a:chExt cx="0" cy="0"/>
        </a:xfrm>
      </p:grpSpPr>
      <p:sp>
        <p:nvSpPr>
          <p:cNvPr id="22" name="Рисунок 21">
            <a:extLst>
              <a:ext uri="{FF2B5EF4-FFF2-40B4-BE49-F238E27FC236}">
                <a16:creationId xmlns:a16="http://schemas.microsoft.com/office/drawing/2014/main" id="{92E0083F-874C-43F9-8135-355E38DE3676}"/>
              </a:ext>
            </a:extLst>
          </p:cNvPr>
          <p:cNvSpPr>
            <a:spLocks noGrp="1"/>
          </p:cNvSpPr>
          <p:nvPr>
            <p:ph type="pic" sz="quarter" idx="11" hasCustomPrompt="1"/>
          </p:nvPr>
        </p:nvSpPr>
        <p:spPr>
          <a:xfrm>
            <a:off x="5971142" y="0"/>
            <a:ext cx="6224084" cy="6859200"/>
          </a:xfrm>
          <a:custGeom>
            <a:avLst/>
            <a:gdLst>
              <a:gd name="connsiteX0" fmla="*/ 0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0 w 5005840"/>
              <a:gd name="connsiteY4" fmla="*/ 0 h 5143500"/>
              <a:gd name="connsiteX0" fmla="*/ 2235941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2235941 w 5005840"/>
              <a:gd name="connsiteY4" fmla="*/ 0 h 5143500"/>
              <a:gd name="connsiteX0" fmla="*/ 1882195 w 4652094"/>
              <a:gd name="connsiteY0" fmla="*/ 0 h 5143500"/>
              <a:gd name="connsiteX1" fmla="*/ 4652094 w 4652094"/>
              <a:gd name="connsiteY1" fmla="*/ 0 h 5143500"/>
              <a:gd name="connsiteX2" fmla="*/ 4652094 w 4652094"/>
              <a:gd name="connsiteY2" fmla="*/ 5143500 h 5143500"/>
              <a:gd name="connsiteX3" fmla="*/ 0 w 4652094"/>
              <a:gd name="connsiteY3" fmla="*/ 5136825 h 5143500"/>
              <a:gd name="connsiteX4" fmla="*/ 1882195 w 4652094"/>
              <a:gd name="connsiteY4" fmla="*/ 0 h 5143500"/>
              <a:gd name="connsiteX0" fmla="*/ 1839332 w 4609231"/>
              <a:gd name="connsiteY0" fmla="*/ 0 h 5167782"/>
              <a:gd name="connsiteX1" fmla="*/ 4609231 w 4609231"/>
              <a:gd name="connsiteY1" fmla="*/ 0 h 5167782"/>
              <a:gd name="connsiteX2" fmla="*/ 4609231 w 4609231"/>
              <a:gd name="connsiteY2" fmla="*/ 5143500 h 5167782"/>
              <a:gd name="connsiteX3" fmla="*/ 0 w 4609231"/>
              <a:gd name="connsiteY3" fmla="*/ 5167782 h 5167782"/>
              <a:gd name="connsiteX4" fmla="*/ 1839332 w 4609231"/>
              <a:gd name="connsiteY4" fmla="*/ 0 h 5167782"/>
              <a:gd name="connsiteX0" fmla="*/ 1886957 w 4656856"/>
              <a:gd name="connsiteY0" fmla="*/ 0 h 5146350"/>
              <a:gd name="connsiteX1" fmla="*/ 4656856 w 4656856"/>
              <a:gd name="connsiteY1" fmla="*/ 0 h 5146350"/>
              <a:gd name="connsiteX2" fmla="*/ 4656856 w 4656856"/>
              <a:gd name="connsiteY2" fmla="*/ 5143500 h 5146350"/>
              <a:gd name="connsiteX3" fmla="*/ 0 w 4656856"/>
              <a:gd name="connsiteY3" fmla="*/ 5146350 h 5146350"/>
              <a:gd name="connsiteX4" fmla="*/ 1886957 w 4656856"/>
              <a:gd name="connsiteY4" fmla="*/ 0 h 5146350"/>
              <a:gd name="connsiteX0" fmla="*/ 1883782 w 4656856"/>
              <a:gd name="connsiteY0" fmla="*/ 0 h 5149525"/>
              <a:gd name="connsiteX1" fmla="*/ 4656856 w 4656856"/>
              <a:gd name="connsiteY1" fmla="*/ 3175 h 5149525"/>
              <a:gd name="connsiteX2" fmla="*/ 4656856 w 4656856"/>
              <a:gd name="connsiteY2" fmla="*/ 5146675 h 5149525"/>
              <a:gd name="connsiteX3" fmla="*/ 0 w 4656856"/>
              <a:gd name="connsiteY3" fmla="*/ 5149525 h 5149525"/>
              <a:gd name="connsiteX4" fmla="*/ 1883782 w 4656856"/>
              <a:gd name="connsiteY4" fmla="*/ 0 h 5149525"/>
              <a:gd name="connsiteX0" fmla="*/ 1820886 w 4593960"/>
              <a:gd name="connsiteY0" fmla="*/ 0 h 5146675"/>
              <a:gd name="connsiteX1" fmla="*/ 4593960 w 4593960"/>
              <a:gd name="connsiteY1" fmla="*/ 3175 h 5146675"/>
              <a:gd name="connsiteX2" fmla="*/ 4593960 w 4593960"/>
              <a:gd name="connsiteY2" fmla="*/ 5146675 h 5146675"/>
              <a:gd name="connsiteX3" fmla="*/ 0 w 4593960"/>
              <a:gd name="connsiteY3" fmla="*/ 5098725 h 5146675"/>
              <a:gd name="connsiteX4" fmla="*/ 1820886 w 4593960"/>
              <a:gd name="connsiteY4" fmla="*/ 0 h 5146675"/>
              <a:gd name="connsiteX0" fmla="*/ 1886201 w 4659275"/>
              <a:gd name="connsiteY0" fmla="*/ 0 h 5146675"/>
              <a:gd name="connsiteX1" fmla="*/ 4659275 w 4659275"/>
              <a:gd name="connsiteY1" fmla="*/ 3175 h 5146675"/>
              <a:gd name="connsiteX2" fmla="*/ 4659275 w 4659275"/>
              <a:gd name="connsiteY2" fmla="*/ 5146675 h 5146675"/>
              <a:gd name="connsiteX3" fmla="*/ 0 w 4659275"/>
              <a:gd name="connsiteY3" fmla="*/ 5144687 h 5146675"/>
              <a:gd name="connsiteX4" fmla="*/ 1886201 w 4659275"/>
              <a:gd name="connsiteY4" fmla="*/ 0 h 5146675"/>
              <a:gd name="connsiteX0" fmla="*/ 1886201 w 4659275"/>
              <a:gd name="connsiteY0" fmla="*/ 0 h 5144687"/>
              <a:gd name="connsiteX1" fmla="*/ 4659275 w 4659275"/>
              <a:gd name="connsiteY1" fmla="*/ 3175 h 5144687"/>
              <a:gd name="connsiteX2" fmla="*/ 4591542 w 4659275"/>
              <a:gd name="connsiteY2" fmla="*/ 5086199 h 5144687"/>
              <a:gd name="connsiteX3" fmla="*/ 0 w 4659275"/>
              <a:gd name="connsiteY3" fmla="*/ 5144687 h 5144687"/>
              <a:gd name="connsiteX4" fmla="*/ 1886201 w 4659275"/>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25408 w 4661694"/>
              <a:gd name="connsiteY1" fmla="*/ 41880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900716 w 4661694"/>
              <a:gd name="connsiteY0" fmla="*/ 37949 h 5141512"/>
              <a:gd name="connsiteX1" fmla="*/ 4659275 w 4661694"/>
              <a:gd name="connsiteY1" fmla="*/ 0 h 5141512"/>
              <a:gd name="connsiteX2" fmla="*/ 4661694 w 4661694"/>
              <a:gd name="connsiteY2" fmla="*/ 5141081 h 5141512"/>
              <a:gd name="connsiteX3" fmla="*/ 0 w 4661694"/>
              <a:gd name="connsiteY3" fmla="*/ 5141512 h 5141512"/>
              <a:gd name="connsiteX4" fmla="*/ 1900716 w 4661694"/>
              <a:gd name="connsiteY4" fmla="*/ 37949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3462"/>
              <a:gd name="connsiteX1" fmla="*/ 4659275 w 4661694"/>
              <a:gd name="connsiteY1" fmla="*/ 0 h 5143462"/>
              <a:gd name="connsiteX2" fmla="*/ 4661694 w 4661694"/>
              <a:gd name="connsiteY2" fmla="*/ 5143462 h 5143462"/>
              <a:gd name="connsiteX3" fmla="*/ 0 w 4661694"/>
              <a:gd name="connsiteY3" fmla="*/ 5141512 h 5143462"/>
              <a:gd name="connsiteX4" fmla="*/ 1886201 w 4661694"/>
              <a:gd name="connsiteY4" fmla="*/ 1663 h 5143462"/>
              <a:gd name="connsiteX0" fmla="*/ 1886201 w 4661694"/>
              <a:gd name="connsiteY0" fmla="*/ 1663 h 5141512"/>
              <a:gd name="connsiteX1" fmla="*/ 4659275 w 4661694"/>
              <a:gd name="connsiteY1" fmla="*/ 0 h 5141512"/>
              <a:gd name="connsiteX2" fmla="*/ 4661694 w 4661694"/>
              <a:gd name="connsiteY2" fmla="*/ 5141080 h 5141512"/>
              <a:gd name="connsiteX3" fmla="*/ 0 w 4661694"/>
              <a:gd name="connsiteY3" fmla="*/ 5141512 h 5141512"/>
              <a:gd name="connsiteX4" fmla="*/ 1886201 w 4661694"/>
              <a:gd name="connsiteY4" fmla="*/ 1663 h 5141512"/>
              <a:gd name="connsiteX0" fmla="*/ 1888582 w 4664075"/>
              <a:gd name="connsiteY0" fmla="*/ 1663 h 5141512"/>
              <a:gd name="connsiteX1" fmla="*/ 4661656 w 4664075"/>
              <a:gd name="connsiteY1" fmla="*/ 0 h 5141512"/>
              <a:gd name="connsiteX2" fmla="*/ 4664075 w 4664075"/>
              <a:gd name="connsiteY2" fmla="*/ 5141080 h 5141512"/>
              <a:gd name="connsiteX3" fmla="*/ 0 w 4664075"/>
              <a:gd name="connsiteY3" fmla="*/ 5141512 h 5141512"/>
              <a:gd name="connsiteX4" fmla="*/ 1888582 w 4664075"/>
              <a:gd name="connsiteY4" fmla="*/ 1663 h 5141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075" h="5141512">
                <a:moveTo>
                  <a:pt x="1888582" y="1663"/>
                </a:moveTo>
                <a:lnTo>
                  <a:pt x="4661656" y="0"/>
                </a:lnTo>
                <a:cubicBezTo>
                  <a:pt x="4662462" y="1713694"/>
                  <a:pt x="4663269" y="3427386"/>
                  <a:pt x="4664075" y="5141080"/>
                </a:cubicBezTo>
                <a:lnTo>
                  <a:pt x="0" y="5141512"/>
                </a:lnTo>
                <a:lnTo>
                  <a:pt x="1888582" y="1663"/>
                </a:lnTo>
                <a:close/>
              </a:path>
            </a:pathLst>
          </a:custGeom>
          <a:solidFill>
            <a:schemeClr val="bg1">
              <a:lumMod val="95000"/>
            </a:schemeClr>
          </a:solidFill>
        </p:spPr>
        <p:txBody>
          <a:bodyPr anchor="b" anchorCtr="1"/>
          <a:lstStyle>
            <a:lvl1pPr marL="0" indent="0" algn="r">
              <a:buNone/>
              <a:defRPr sz="1333" b="0">
                <a:latin typeface="Basis Grotesque Pro Medium" panose="02000603030000020004" pitchFamily="50" charset="0"/>
              </a:defRPr>
            </a:lvl1pPr>
          </a:lstStyle>
          <a:p>
            <a:r>
              <a:rPr lang="ru-RU" dirty="0"/>
              <a:t>Кликните иконку для вставки изображения. </a:t>
            </a:r>
            <a:br>
              <a:rPr lang="ru-RU" dirty="0"/>
            </a:br>
            <a:r>
              <a:rPr lang="ru-RU" dirty="0" err="1"/>
              <a:t>Кадрировать</a:t>
            </a:r>
            <a:r>
              <a:rPr lang="ru-RU" dirty="0"/>
              <a:t>, перемещать — в режиме «Обрезать»</a:t>
            </a:r>
          </a:p>
          <a:p>
            <a:endParaRPr lang="ru-RU" dirty="0"/>
          </a:p>
        </p:txBody>
      </p:sp>
      <p:sp>
        <p:nvSpPr>
          <p:cNvPr id="11" name="Прямоугольник 6">
            <a:extLst>
              <a:ext uri="{FF2B5EF4-FFF2-40B4-BE49-F238E27FC236}">
                <a16:creationId xmlns:a16="http://schemas.microsoft.com/office/drawing/2014/main" id="{4CF3D02A-AF50-4BAC-B3BA-DB6BA1BFBD8C}"/>
              </a:ext>
            </a:extLst>
          </p:cNvPr>
          <p:cNvSpPr/>
          <p:nvPr userDrawn="1"/>
        </p:nvSpPr>
        <p:spPr>
          <a:xfrm>
            <a:off x="1" y="-347"/>
            <a:ext cx="8490759" cy="6857891"/>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2"/>
              <a:gd name="connsiteX1" fmla="*/ 6869152 w 6869152"/>
              <a:gd name="connsiteY1" fmla="*/ 0 h 6869152"/>
              <a:gd name="connsiteX2" fmla="*/ 5371493 w 6869152"/>
              <a:gd name="connsiteY2" fmla="*/ 6858002 h 6869152"/>
              <a:gd name="connsiteX3" fmla="*/ 0 w 6869152"/>
              <a:gd name="connsiteY3" fmla="*/ 6869152 h 6869152"/>
              <a:gd name="connsiteX4" fmla="*/ 0 w 6869152"/>
              <a:gd name="connsiteY4" fmla="*/ 0 h 6869152"/>
              <a:gd name="connsiteX0" fmla="*/ 0 w 7632391"/>
              <a:gd name="connsiteY0" fmla="*/ 0 h 6869152"/>
              <a:gd name="connsiteX1" fmla="*/ 7632391 w 7632391"/>
              <a:gd name="connsiteY1" fmla="*/ 11151 h 6869152"/>
              <a:gd name="connsiteX2" fmla="*/ 5371493 w 7632391"/>
              <a:gd name="connsiteY2" fmla="*/ 6858002 h 6869152"/>
              <a:gd name="connsiteX3" fmla="*/ 0 w 7632391"/>
              <a:gd name="connsiteY3" fmla="*/ 6869152 h 6869152"/>
              <a:gd name="connsiteX4" fmla="*/ 0 w 7632391"/>
              <a:gd name="connsiteY4" fmla="*/ 0 h 6869152"/>
              <a:gd name="connsiteX0" fmla="*/ 0 w 7629198"/>
              <a:gd name="connsiteY0" fmla="*/ 0 h 6869152"/>
              <a:gd name="connsiteX1" fmla="*/ 7629198 w 7629198"/>
              <a:gd name="connsiteY1" fmla="*/ 21754 h 6869152"/>
              <a:gd name="connsiteX2" fmla="*/ 5371493 w 7629198"/>
              <a:gd name="connsiteY2" fmla="*/ 6858002 h 6869152"/>
              <a:gd name="connsiteX3" fmla="*/ 0 w 7629198"/>
              <a:gd name="connsiteY3" fmla="*/ 6869152 h 6869152"/>
              <a:gd name="connsiteX4" fmla="*/ 0 w 7629198"/>
              <a:gd name="connsiteY4" fmla="*/ 0 h 6869152"/>
              <a:gd name="connsiteX0" fmla="*/ 31928 w 7629198"/>
              <a:gd name="connsiteY0" fmla="*/ 20655 h 6847398"/>
              <a:gd name="connsiteX1" fmla="*/ 7629198 w 7629198"/>
              <a:gd name="connsiteY1" fmla="*/ 0 h 6847398"/>
              <a:gd name="connsiteX2" fmla="*/ 5371493 w 7629198"/>
              <a:gd name="connsiteY2" fmla="*/ 6836248 h 6847398"/>
              <a:gd name="connsiteX3" fmla="*/ 0 w 7629198"/>
              <a:gd name="connsiteY3" fmla="*/ 6847398 h 6847398"/>
              <a:gd name="connsiteX4" fmla="*/ 31928 w 7629198"/>
              <a:gd name="connsiteY4" fmla="*/ 20655 h 6847398"/>
              <a:gd name="connsiteX0" fmla="*/ 0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0 w 7629198"/>
              <a:gd name="connsiteY4" fmla="*/ 2985 h 6847398"/>
              <a:gd name="connsiteX0" fmla="*/ 34766 w 7629198"/>
              <a:gd name="connsiteY0" fmla="*/ 31848 h 6847398"/>
              <a:gd name="connsiteX1" fmla="*/ 7629198 w 7629198"/>
              <a:gd name="connsiteY1" fmla="*/ 0 h 6847398"/>
              <a:gd name="connsiteX2" fmla="*/ 5371493 w 7629198"/>
              <a:gd name="connsiteY2" fmla="*/ 6836248 h 6847398"/>
              <a:gd name="connsiteX3" fmla="*/ 0 w 7629198"/>
              <a:gd name="connsiteY3" fmla="*/ 6847398 h 6847398"/>
              <a:gd name="connsiteX4" fmla="*/ 34766 w 7629198"/>
              <a:gd name="connsiteY4" fmla="*/ 31848 h 6847398"/>
              <a:gd name="connsiteX0" fmla="*/ 2897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2897 w 7629198"/>
              <a:gd name="connsiteY4" fmla="*/ 2985 h 6847398"/>
              <a:gd name="connsiteX0" fmla="*/ 19 w 7626320"/>
              <a:gd name="connsiteY0" fmla="*/ 2985 h 6836248"/>
              <a:gd name="connsiteX1" fmla="*/ 7626320 w 7626320"/>
              <a:gd name="connsiteY1" fmla="*/ 0 h 6836248"/>
              <a:gd name="connsiteX2" fmla="*/ 5368615 w 7626320"/>
              <a:gd name="connsiteY2" fmla="*/ 6836248 h 6836248"/>
              <a:gd name="connsiteX3" fmla="*/ 34785 w 7626320"/>
              <a:gd name="connsiteY3" fmla="*/ 6786467 h 6836248"/>
              <a:gd name="connsiteX4" fmla="*/ 19 w 7626320"/>
              <a:gd name="connsiteY4" fmla="*/ 2985 h 6836248"/>
              <a:gd name="connsiteX0" fmla="*/ 278 w 7626579"/>
              <a:gd name="connsiteY0" fmla="*/ 2985 h 6836248"/>
              <a:gd name="connsiteX1" fmla="*/ 7626579 w 7626579"/>
              <a:gd name="connsiteY1" fmla="*/ 0 h 6836248"/>
              <a:gd name="connsiteX2" fmla="*/ 5368874 w 7626579"/>
              <a:gd name="connsiteY2" fmla="*/ 6836248 h 6836248"/>
              <a:gd name="connsiteX3" fmla="*/ 278 w 7626579"/>
              <a:gd name="connsiteY3" fmla="*/ 6818536 h 6836248"/>
              <a:gd name="connsiteX4" fmla="*/ 278 w 7626579"/>
              <a:gd name="connsiteY4" fmla="*/ 2985 h 6836248"/>
              <a:gd name="connsiteX0" fmla="*/ 278 w 7626579"/>
              <a:gd name="connsiteY0" fmla="*/ 2985 h 6818536"/>
              <a:gd name="connsiteX1" fmla="*/ 7626579 w 7626579"/>
              <a:gd name="connsiteY1" fmla="*/ 0 h 6818536"/>
              <a:gd name="connsiteX2" fmla="*/ 5368874 w 7626579"/>
              <a:gd name="connsiteY2" fmla="*/ 6817007 h 6818536"/>
              <a:gd name="connsiteX3" fmla="*/ 278 w 7626579"/>
              <a:gd name="connsiteY3" fmla="*/ 6818536 h 6818536"/>
              <a:gd name="connsiteX4" fmla="*/ 278 w 7626579"/>
              <a:gd name="connsiteY4" fmla="*/ 2985 h 6818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6579" h="6818536">
                <a:moveTo>
                  <a:pt x="278" y="2985"/>
                </a:moveTo>
                <a:lnTo>
                  <a:pt x="7626579" y="0"/>
                </a:lnTo>
                <a:lnTo>
                  <a:pt x="5368874" y="6817007"/>
                </a:lnTo>
                <a:lnTo>
                  <a:pt x="278" y="6818536"/>
                </a:lnTo>
                <a:cubicBezTo>
                  <a:pt x="1244" y="4537065"/>
                  <a:pt x="-688" y="2284456"/>
                  <a:pt x="278" y="2985"/>
                </a:cubicBezTo>
                <a:close/>
              </a:path>
            </a:pathLst>
          </a:custGeom>
          <a:solidFill>
            <a:srgbClr val="77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18" name="Заголовок 17">
            <a:extLst>
              <a:ext uri="{FF2B5EF4-FFF2-40B4-BE49-F238E27FC236}">
                <a16:creationId xmlns:a16="http://schemas.microsoft.com/office/drawing/2014/main" id="{7449E508-9816-4CBE-AE42-475D8AA060E4}"/>
              </a:ext>
            </a:extLst>
          </p:cNvPr>
          <p:cNvSpPr>
            <a:spLocks noGrp="1"/>
          </p:cNvSpPr>
          <p:nvPr>
            <p:ph type="title" hasCustomPrompt="1"/>
          </p:nvPr>
        </p:nvSpPr>
        <p:spPr>
          <a:xfrm>
            <a:off x="580852" y="2363238"/>
            <a:ext cx="7833016" cy="1928733"/>
          </a:xfrm>
          <a:prstGeom prst="rect">
            <a:avLst/>
          </a:prstGeom>
        </p:spPr>
        <p:txBody>
          <a:bodyPr wrap="square" lIns="0">
            <a:spAutoFit/>
          </a:bodyPr>
          <a:lstStyle>
            <a:lvl1pPr algn="l">
              <a:defRPr sz="5867" b="0" i="0">
                <a:solidFill>
                  <a:schemeClr val="bg1"/>
                </a:solidFill>
                <a:latin typeface="Rostelecom Basis Medium" panose="020B0503030604040103" pitchFamily="34" charset="0"/>
              </a:defRPr>
            </a:lvl1pPr>
          </a:lstStyle>
          <a:p>
            <a:r>
              <a:rPr lang="ru-RU" dirty="0"/>
              <a:t>Кликните, чтобы добавить заголовок</a:t>
            </a:r>
          </a:p>
        </p:txBody>
      </p:sp>
      <p:sp>
        <p:nvSpPr>
          <p:cNvPr id="3" name="Text Placeholder 2">
            <a:extLst>
              <a:ext uri="{FF2B5EF4-FFF2-40B4-BE49-F238E27FC236}">
                <a16:creationId xmlns:a16="http://schemas.microsoft.com/office/drawing/2014/main" id="{1F5B30F1-71AC-483A-82D4-FC45AA9955AF}"/>
              </a:ext>
            </a:extLst>
          </p:cNvPr>
          <p:cNvSpPr>
            <a:spLocks noGrp="1"/>
          </p:cNvSpPr>
          <p:nvPr>
            <p:ph type="body" sz="quarter" idx="12" hasCustomPrompt="1"/>
          </p:nvPr>
        </p:nvSpPr>
        <p:spPr>
          <a:xfrm>
            <a:off x="581394" y="4481720"/>
            <a:ext cx="5829300" cy="713317"/>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Введите подзаголовок</a:t>
            </a:r>
            <a:endParaRPr lang="en-US" dirty="0"/>
          </a:p>
        </p:txBody>
      </p:sp>
      <p:pic>
        <p:nvPicPr>
          <p:cNvPr id="4" name="Рисунок 3">
            <a:extLst>
              <a:ext uri="{FF2B5EF4-FFF2-40B4-BE49-F238E27FC236}">
                <a16:creationId xmlns:a16="http://schemas.microsoft.com/office/drawing/2014/main" id="{64BDFD29-D0C9-584F-920D-695890D6E6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10" name="Рисунок 9">
            <a:extLst>
              <a:ext uri="{FF2B5EF4-FFF2-40B4-BE49-F238E27FC236}">
                <a16:creationId xmlns:a16="http://schemas.microsoft.com/office/drawing/2014/main" id="{1A878DCC-37AD-DA49-BF16-9D184DDC69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17" name="Рисунок 16">
            <a:extLst>
              <a:ext uri="{FF2B5EF4-FFF2-40B4-BE49-F238E27FC236}">
                <a16:creationId xmlns:a16="http://schemas.microsoft.com/office/drawing/2014/main" id="{EC0C4EDD-56AD-1F45-9B85-324A3D52DB20}"/>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404846709"/>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3">
    <p:spTree>
      <p:nvGrpSpPr>
        <p:cNvPr id="1" name=""/>
        <p:cNvGrpSpPr/>
        <p:nvPr/>
      </p:nvGrpSpPr>
      <p:grpSpPr>
        <a:xfrm>
          <a:off x="0" y="0"/>
          <a:ext cx="0" cy="0"/>
          <a:chOff x="0" y="0"/>
          <a:chExt cx="0" cy="0"/>
        </a:xfrm>
      </p:grpSpPr>
      <p:sp>
        <p:nvSpPr>
          <p:cNvPr id="9" name="Рисунок 21">
            <a:extLst>
              <a:ext uri="{FF2B5EF4-FFF2-40B4-BE49-F238E27FC236}">
                <a16:creationId xmlns:a16="http://schemas.microsoft.com/office/drawing/2014/main" id="{432058D7-0CDD-4594-9CB0-7A77086A5F4D}"/>
              </a:ext>
            </a:extLst>
          </p:cNvPr>
          <p:cNvSpPr>
            <a:spLocks noGrp="1"/>
          </p:cNvSpPr>
          <p:nvPr>
            <p:ph type="pic" sz="quarter" idx="11" hasCustomPrompt="1"/>
          </p:nvPr>
        </p:nvSpPr>
        <p:spPr>
          <a:xfrm>
            <a:off x="5971142" y="0"/>
            <a:ext cx="6224084" cy="6859200"/>
          </a:xfrm>
          <a:custGeom>
            <a:avLst/>
            <a:gdLst>
              <a:gd name="connsiteX0" fmla="*/ 0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0 w 5005840"/>
              <a:gd name="connsiteY4" fmla="*/ 0 h 5143500"/>
              <a:gd name="connsiteX0" fmla="*/ 2235941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2235941 w 5005840"/>
              <a:gd name="connsiteY4" fmla="*/ 0 h 5143500"/>
              <a:gd name="connsiteX0" fmla="*/ 1882195 w 4652094"/>
              <a:gd name="connsiteY0" fmla="*/ 0 h 5143500"/>
              <a:gd name="connsiteX1" fmla="*/ 4652094 w 4652094"/>
              <a:gd name="connsiteY1" fmla="*/ 0 h 5143500"/>
              <a:gd name="connsiteX2" fmla="*/ 4652094 w 4652094"/>
              <a:gd name="connsiteY2" fmla="*/ 5143500 h 5143500"/>
              <a:gd name="connsiteX3" fmla="*/ 0 w 4652094"/>
              <a:gd name="connsiteY3" fmla="*/ 5136825 h 5143500"/>
              <a:gd name="connsiteX4" fmla="*/ 1882195 w 4652094"/>
              <a:gd name="connsiteY4" fmla="*/ 0 h 5143500"/>
              <a:gd name="connsiteX0" fmla="*/ 1839332 w 4609231"/>
              <a:gd name="connsiteY0" fmla="*/ 0 h 5167782"/>
              <a:gd name="connsiteX1" fmla="*/ 4609231 w 4609231"/>
              <a:gd name="connsiteY1" fmla="*/ 0 h 5167782"/>
              <a:gd name="connsiteX2" fmla="*/ 4609231 w 4609231"/>
              <a:gd name="connsiteY2" fmla="*/ 5143500 h 5167782"/>
              <a:gd name="connsiteX3" fmla="*/ 0 w 4609231"/>
              <a:gd name="connsiteY3" fmla="*/ 5167782 h 5167782"/>
              <a:gd name="connsiteX4" fmla="*/ 1839332 w 4609231"/>
              <a:gd name="connsiteY4" fmla="*/ 0 h 5167782"/>
              <a:gd name="connsiteX0" fmla="*/ 1886957 w 4656856"/>
              <a:gd name="connsiteY0" fmla="*/ 0 h 5146350"/>
              <a:gd name="connsiteX1" fmla="*/ 4656856 w 4656856"/>
              <a:gd name="connsiteY1" fmla="*/ 0 h 5146350"/>
              <a:gd name="connsiteX2" fmla="*/ 4656856 w 4656856"/>
              <a:gd name="connsiteY2" fmla="*/ 5143500 h 5146350"/>
              <a:gd name="connsiteX3" fmla="*/ 0 w 4656856"/>
              <a:gd name="connsiteY3" fmla="*/ 5146350 h 5146350"/>
              <a:gd name="connsiteX4" fmla="*/ 1886957 w 4656856"/>
              <a:gd name="connsiteY4" fmla="*/ 0 h 5146350"/>
              <a:gd name="connsiteX0" fmla="*/ 1883782 w 4656856"/>
              <a:gd name="connsiteY0" fmla="*/ 0 h 5149525"/>
              <a:gd name="connsiteX1" fmla="*/ 4656856 w 4656856"/>
              <a:gd name="connsiteY1" fmla="*/ 3175 h 5149525"/>
              <a:gd name="connsiteX2" fmla="*/ 4656856 w 4656856"/>
              <a:gd name="connsiteY2" fmla="*/ 5146675 h 5149525"/>
              <a:gd name="connsiteX3" fmla="*/ 0 w 4656856"/>
              <a:gd name="connsiteY3" fmla="*/ 5149525 h 5149525"/>
              <a:gd name="connsiteX4" fmla="*/ 1883782 w 4656856"/>
              <a:gd name="connsiteY4" fmla="*/ 0 h 5149525"/>
              <a:gd name="connsiteX0" fmla="*/ 1820886 w 4593960"/>
              <a:gd name="connsiteY0" fmla="*/ 0 h 5146675"/>
              <a:gd name="connsiteX1" fmla="*/ 4593960 w 4593960"/>
              <a:gd name="connsiteY1" fmla="*/ 3175 h 5146675"/>
              <a:gd name="connsiteX2" fmla="*/ 4593960 w 4593960"/>
              <a:gd name="connsiteY2" fmla="*/ 5146675 h 5146675"/>
              <a:gd name="connsiteX3" fmla="*/ 0 w 4593960"/>
              <a:gd name="connsiteY3" fmla="*/ 5098725 h 5146675"/>
              <a:gd name="connsiteX4" fmla="*/ 1820886 w 4593960"/>
              <a:gd name="connsiteY4" fmla="*/ 0 h 5146675"/>
              <a:gd name="connsiteX0" fmla="*/ 1886201 w 4659275"/>
              <a:gd name="connsiteY0" fmla="*/ 0 h 5146675"/>
              <a:gd name="connsiteX1" fmla="*/ 4659275 w 4659275"/>
              <a:gd name="connsiteY1" fmla="*/ 3175 h 5146675"/>
              <a:gd name="connsiteX2" fmla="*/ 4659275 w 4659275"/>
              <a:gd name="connsiteY2" fmla="*/ 5146675 h 5146675"/>
              <a:gd name="connsiteX3" fmla="*/ 0 w 4659275"/>
              <a:gd name="connsiteY3" fmla="*/ 5144687 h 5146675"/>
              <a:gd name="connsiteX4" fmla="*/ 1886201 w 4659275"/>
              <a:gd name="connsiteY4" fmla="*/ 0 h 5146675"/>
              <a:gd name="connsiteX0" fmla="*/ 1886201 w 4659275"/>
              <a:gd name="connsiteY0" fmla="*/ 0 h 5144687"/>
              <a:gd name="connsiteX1" fmla="*/ 4659275 w 4659275"/>
              <a:gd name="connsiteY1" fmla="*/ 3175 h 5144687"/>
              <a:gd name="connsiteX2" fmla="*/ 4591542 w 4659275"/>
              <a:gd name="connsiteY2" fmla="*/ 5086199 h 5144687"/>
              <a:gd name="connsiteX3" fmla="*/ 0 w 4659275"/>
              <a:gd name="connsiteY3" fmla="*/ 5144687 h 5144687"/>
              <a:gd name="connsiteX4" fmla="*/ 1886201 w 4659275"/>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25408 w 4661694"/>
              <a:gd name="connsiteY1" fmla="*/ 41880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900716 w 4661694"/>
              <a:gd name="connsiteY0" fmla="*/ 37949 h 5141512"/>
              <a:gd name="connsiteX1" fmla="*/ 4659275 w 4661694"/>
              <a:gd name="connsiteY1" fmla="*/ 0 h 5141512"/>
              <a:gd name="connsiteX2" fmla="*/ 4661694 w 4661694"/>
              <a:gd name="connsiteY2" fmla="*/ 5141081 h 5141512"/>
              <a:gd name="connsiteX3" fmla="*/ 0 w 4661694"/>
              <a:gd name="connsiteY3" fmla="*/ 5141512 h 5141512"/>
              <a:gd name="connsiteX4" fmla="*/ 1900716 w 4661694"/>
              <a:gd name="connsiteY4" fmla="*/ 37949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3462"/>
              <a:gd name="connsiteX1" fmla="*/ 4659275 w 4661694"/>
              <a:gd name="connsiteY1" fmla="*/ 0 h 5143462"/>
              <a:gd name="connsiteX2" fmla="*/ 4661694 w 4661694"/>
              <a:gd name="connsiteY2" fmla="*/ 5143462 h 5143462"/>
              <a:gd name="connsiteX3" fmla="*/ 0 w 4661694"/>
              <a:gd name="connsiteY3" fmla="*/ 5141512 h 5143462"/>
              <a:gd name="connsiteX4" fmla="*/ 1886201 w 4661694"/>
              <a:gd name="connsiteY4" fmla="*/ 1663 h 5143462"/>
              <a:gd name="connsiteX0" fmla="*/ 1886201 w 4661694"/>
              <a:gd name="connsiteY0" fmla="*/ 1663 h 5141512"/>
              <a:gd name="connsiteX1" fmla="*/ 4659275 w 4661694"/>
              <a:gd name="connsiteY1" fmla="*/ 0 h 5141512"/>
              <a:gd name="connsiteX2" fmla="*/ 4661694 w 4661694"/>
              <a:gd name="connsiteY2" fmla="*/ 5141080 h 5141512"/>
              <a:gd name="connsiteX3" fmla="*/ 0 w 4661694"/>
              <a:gd name="connsiteY3" fmla="*/ 5141512 h 5141512"/>
              <a:gd name="connsiteX4" fmla="*/ 1886201 w 4661694"/>
              <a:gd name="connsiteY4" fmla="*/ 1663 h 5141512"/>
              <a:gd name="connsiteX0" fmla="*/ 1888582 w 4664075"/>
              <a:gd name="connsiteY0" fmla="*/ 1663 h 5141512"/>
              <a:gd name="connsiteX1" fmla="*/ 4661656 w 4664075"/>
              <a:gd name="connsiteY1" fmla="*/ 0 h 5141512"/>
              <a:gd name="connsiteX2" fmla="*/ 4664075 w 4664075"/>
              <a:gd name="connsiteY2" fmla="*/ 5141080 h 5141512"/>
              <a:gd name="connsiteX3" fmla="*/ 0 w 4664075"/>
              <a:gd name="connsiteY3" fmla="*/ 5141512 h 5141512"/>
              <a:gd name="connsiteX4" fmla="*/ 1888582 w 4664075"/>
              <a:gd name="connsiteY4" fmla="*/ 1663 h 5141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075" h="5141512">
                <a:moveTo>
                  <a:pt x="1888582" y="1663"/>
                </a:moveTo>
                <a:lnTo>
                  <a:pt x="4661656" y="0"/>
                </a:lnTo>
                <a:cubicBezTo>
                  <a:pt x="4662462" y="1713694"/>
                  <a:pt x="4663269" y="3427386"/>
                  <a:pt x="4664075" y="5141080"/>
                </a:cubicBezTo>
                <a:lnTo>
                  <a:pt x="0" y="5141512"/>
                </a:lnTo>
                <a:lnTo>
                  <a:pt x="1888582" y="1663"/>
                </a:lnTo>
                <a:close/>
              </a:path>
            </a:pathLst>
          </a:custGeom>
          <a:solidFill>
            <a:schemeClr val="bg1">
              <a:lumMod val="95000"/>
            </a:schemeClr>
          </a:solidFill>
        </p:spPr>
        <p:txBody>
          <a:bodyPr anchor="b" anchorCtr="1"/>
          <a:lstStyle>
            <a:lvl1pPr marL="0" indent="0" algn="r">
              <a:buNone/>
              <a:defRPr sz="1333">
                <a:latin typeface="+mj-lt"/>
              </a:defRPr>
            </a:lvl1pPr>
          </a:lstStyle>
          <a:p>
            <a:r>
              <a:rPr lang="ru-RU" dirty="0"/>
              <a:t>Кликните иконку для вставки изображения. </a:t>
            </a:r>
            <a:br>
              <a:rPr lang="ru-RU" dirty="0"/>
            </a:br>
            <a:r>
              <a:rPr lang="ru-RU" dirty="0" err="1"/>
              <a:t>Кадрировать</a:t>
            </a:r>
            <a:r>
              <a:rPr lang="ru-RU" dirty="0"/>
              <a:t>, перемещать — в режиме «Обрезать»</a:t>
            </a:r>
          </a:p>
          <a:p>
            <a:endParaRPr lang="ru-RU" dirty="0"/>
          </a:p>
        </p:txBody>
      </p:sp>
      <p:sp>
        <p:nvSpPr>
          <p:cNvPr id="12" name="Прямоугольник 6">
            <a:extLst>
              <a:ext uri="{FF2B5EF4-FFF2-40B4-BE49-F238E27FC236}">
                <a16:creationId xmlns:a16="http://schemas.microsoft.com/office/drawing/2014/main" id="{BCA787DA-A3DE-47EB-A857-D05CDEA53D83}"/>
              </a:ext>
            </a:extLst>
          </p:cNvPr>
          <p:cNvSpPr/>
          <p:nvPr userDrawn="1"/>
        </p:nvSpPr>
        <p:spPr>
          <a:xfrm>
            <a:off x="1" y="-347"/>
            <a:ext cx="8490759" cy="6857891"/>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2"/>
              <a:gd name="connsiteX1" fmla="*/ 6869152 w 6869152"/>
              <a:gd name="connsiteY1" fmla="*/ 0 h 6869152"/>
              <a:gd name="connsiteX2" fmla="*/ 5371493 w 6869152"/>
              <a:gd name="connsiteY2" fmla="*/ 6858002 h 6869152"/>
              <a:gd name="connsiteX3" fmla="*/ 0 w 6869152"/>
              <a:gd name="connsiteY3" fmla="*/ 6869152 h 6869152"/>
              <a:gd name="connsiteX4" fmla="*/ 0 w 6869152"/>
              <a:gd name="connsiteY4" fmla="*/ 0 h 6869152"/>
              <a:gd name="connsiteX0" fmla="*/ 0 w 7632391"/>
              <a:gd name="connsiteY0" fmla="*/ 0 h 6869152"/>
              <a:gd name="connsiteX1" fmla="*/ 7632391 w 7632391"/>
              <a:gd name="connsiteY1" fmla="*/ 11151 h 6869152"/>
              <a:gd name="connsiteX2" fmla="*/ 5371493 w 7632391"/>
              <a:gd name="connsiteY2" fmla="*/ 6858002 h 6869152"/>
              <a:gd name="connsiteX3" fmla="*/ 0 w 7632391"/>
              <a:gd name="connsiteY3" fmla="*/ 6869152 h 6869152"/>
              <a:gd name="connsiteX4" fmla="*/ 0 w 7632391"/>
              <a:gd name="connsiteY4" fmla="*/ 0 h 6869152"/>
              <a:gd name="connsiteX0" fmla="*/ 0 w 7629198"/>
              <a:gd name="connsiteY0" fmla="*/ 0 h 6869152"/>
              <a:gd name="connsiteX1" fmla="*/ 7629198 w 7629198"/>
              <a:gd name="connsiteY1" fmla="*/ 21754 h 6869152"/>
              <a:gd name="connsiteX2" fmla="*/ 5371493 w 7629198"/>
              <a:gd name="connsiteY2" fmla="*/ 6858002 h 6869152"/>
              <a:gd name="connsiteX3" fmla="*/ 0 w 7629198"/>
              <a:gd name="connsiteY3" fmla="*/ 6869152 h 6869152"/>
              <a:gd name="connsiteX4" fmla="*/ 0 w 7629198"/>
              <a:gd name="connsiteY4" fmla="*/ 0 h 6869152"/>
              <a:gd name="connsiteX0" fmla="*/ 31928 w 7629198"/>
              <a:gd name="connsiteY0" fmla="*/ 20655 h 6847398"/>
              <a:gd name="connsiteX1" fmla="*/ 7629198 w 7629198"/>
              <a:gd name="connsiteY1" fmla="*/ 0 h 6847398"/>
              <a:gd name="connsiteX2" fmla="*/ 5371493 w 7629198"/>
              <a:gd name="connsiteY2" fmla="*/ 6836248 h 6847398"/>
              <a:gd name="connsiteX3" fmla="*/ 0 w 7629198"/>
              <a:gd name="connsiteY3" fmla="*/ 6847398 h 6847398"/>
              <a:gd name="connsiteX4" fmla="*/ 31928 w 7629198"/>
              <a:gd name="connsiteY4" fmla="*/ 20655 h 6847398"/>
              <a:gd name="connsiteX0" fmla="*/ 0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0 w 7629198"/>
              <a:gd name="connsiteY4" fmla="*/ 2985 h 6847398"/>
              <a:gd name="connsiteX0" fmla="*/ 34766 w 7629198"/>
              <a:gd name="connsiteY0" fmla="*/ 31848 h 6847398"/>
              <a:gd name="connsiteX1" fmla="*/ 7629198 w 7629198"/>
              <a:gd name="connsiteY1" fmla="*/ 0 h 6847398"/>
              <a:gd name="connsiteX2" fmla="*/ 5371493 w 7629198"/>
              <a:gd name="connsiteY2" fmla="*/ 6836248 h 6847398"/>
              <a:gd name="connsiteX3" fmla="*/ 0 w 7629198"/>
              <a:gd name="connsiteY3" fmla="*/ 6847398 h 6847398"/>
              <a:gd name="connsiteX4" fmla="*/ 34766 w 7629198"/>
              <a:gd name="connsiteY4" fmla="*/ 31848 h 6847398"/>
              <a:gd name="connsiteX0" fmla="*/ 2897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2897 w 7629198"/>
              <a:gd name="connsiteY4" fmla="*/ 2985 h 6847398"/>
              <a:gd name="connsiteX0" fmla="*/ 19 w 7626320"/>
              <a:gd name="connsiteY0" fmla="*/ 2985 h 6836248"/>
              <a:gd name="connsiteX1" fmla="*/ 7626320 w 7626320"/>
              <a:gd name="connsiteY1" fmla="*/ 0 h 6836248"/>
              <a:gd name="connsiteX2" fmla="*/ 5368615 w 7626320"/>
              <a:gd name="connsiteY2" fmla="*/ 6836248 h 6836248"/>
              <a:gd name="connsiteX3" fmla="*/ 34785 w 7626320"/>
              <a:gd name="connsiteY3" fmla="*/ 6786467 h 6836248"/>
              <a:gd name="connsiteX4" fmla="*/ 19 w 7626320"/>
              <a:gd name="connsiteY4" fmla="*/ 2985 h 6836248"/>
              <a:gd name="connsiteX0" fmla="*/ 278 w 7626579"/>
              <a:gd name="connsiteY0" fmla="*/ 2985 h 6836248"/>
              <a:gd name="connsiteX1" fmla="*/ 7626579 w 7626579"/>
              <a:gd name="connsiteY1" fmla="*/ 0 h 6836248"/>
              <a:gd name="connsiteX2" fmla="*/ 5368874 w 7626579"/>
              <a:gd name="connsiteY2" fmla="*/ 6836248 h 6836248"/>
              <a:gd name="connsiteX3" fmla="*/ 278 w 7626579"/>
              <a:gd name="connsiteY3" fmla="*/ 6818536 h 6836248"/>
              <a:gd name="connsiteX4" fmla="*/ 278 w 7626579"/>
              <a:gd name="connsiteY4" fmla="*/ 2985 h 6836248"/>
              <a:gd name="connsiteX0" fmla="*/ 278 w 7626579"/>
              <a:gd name="connsiteY0" fmla="*/ 2985 h 6818536"/>
              <a:gd name="connsiteX1" fmla="*/ 7626579 w 7626579"/>
              <a:gd name="connsiteY1" fmla="*/ 0 h 6818536"/>
              <a:gd name="connsiteX2" fmla="*/ 5368874 w 7626579"/>
              <a:gd name="connsiteY2" fmla="*/ 6817007 h 6818536"/>
              <a:gd name="connsiteX3" fmla="*/ 278 w 7626579"/>
              <a:gd name="connsiteY3" fmla="*/ 6818536 h 6818536"/>
              <a:gd name="connsiteX4" fmla="*/ 278 w 7626579"/>
              <a:gd name="connsiteY4" fmla="*/ 2985 h 6818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6579" h="6818536">
                <a:moveTo>
                  <a:pt x="278" y="2985"/>
                </a:moveTo>
                <a:lnTo>
                  <a:pt x="7626579" y="0"/>
                </a:lnTo>
                <a:lnTo>
                  <a:pt x="5368874" y="6817007"/>
                </a:lnTo>
                <a:lnTo>
                  <a:pt x="278" y="6818536"/>
                </a:lnTo>
                <a:cubicBezTo>
                  <a:pt x="1244" y="4537065"/>
                  <a:pt x="-688" y="2284456"/>
                  <a:pt x="278" y="2985"/>
                </a:cubicBezTo>
                <a:close/>
              </a:path>
            </a:pathLst>
          </a:custGeom>
          <a:solidFill>
            <a:srgbClr val="57D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20" name="Заголовок 17">
            <a:extLst>
              <a:ext uri="{FF2B5EF4-FFF2-40B4-BE49-F238E27FC236}">
                <a16:creationId xmlns:a16="http://schemas.microsoft.com/office/drawing/2014/main" id="{6532E21D-1451-2741-BE0C-891390FA189F}"/>
              </a:ext>
            </a:extLst>
          </p:cNvPr>
          <p:cNvSpPr>
            <a:spLocks noGrp="1"/>
          </p:cNvSpPr>
          <p:nvPr>
            <p:ph type="title" hasCustomPrompt="1"/>
          </p:nvPr>
        </p:nvSpPr>
        <p:spPr>
          <a:xfrm>
            <a:off x="580852" y="2363238"/>
            <a:ext cx="7833016" cy="1928733"/>
          </a:xfrm>
          <a:prstGeom prst="rect">
            <a:avLst/>
          </a:prstGeom>
        </p:spPr>
        <p:txBody>
          <a:bodyPr wrap="square" lIns="0">
            <a:spAutoFit/>
          </a:bodyPr>
          <a:lstStyle>
            <a:lvl1pPr algn="l">
              <a:defRPr sz="5867" b="0" i="0">
                <a:solidFill>
                  <a:schemeClr val="bg1"/>
                </a:solidFill>
                <a:latin typeface="Rostelecom Basis Medium" panose="020B0503030604040103" pitchFamily="34" charset="0"/>
              </a:defRPr>
            </a:lvl1pPr>
          </a:lstStyle>
          <a:p>
            <a:r>
              <a:rPr lang="ru-RU" dirty="0"/>
              <a:t>Кликните, чтобы добавить заголовок</a:t>
            </a:r>
          </a:p>
        </p:txBody>
      </p:sp>
      <p:sp>
        <p:nvSpPr>
          <p:cNvPr id="21" name="Text Placeholder 2">
            <a:extLst>
              <a:ext uri="{FF2B5EF4-FFF2-40B4-BE49-F238E27FC236}">
                <a16:creationId xmlns:a16="http://schemas.microsoft.com/office/drawing/2014/main" id="{311C3D3B-4C5E-F54D-843F-6DA264429CF8}"/>
              </a:ext>
            </a:extLst>
          </p:cNvPr>
          <p:cNvSpPr>
            <a:spLocks noGrp="1"/>
          </p:cNvSpPr>
          <p:nvPr>
            <p:ph type="body" sz="quarter" idx="12" hasCustomPrompt="1"/>
          </p:nvPr>
        </p:nvSpPr>
        <p:spPr>
          <a:xfrm>
            <a:off x="581394" y="4481720"/>
            <a:ext cx="5829300" cy="713317"/>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Введите подзаголовок</a:t>
            </a:r>
            <a:endParaRPr lang="en-US" dirty="0"/>
          </a:p>
        </p:txBody>
      </p:sp>
      <p:pic>
        <p:nvPicPr>
          <p:cNvPr id="22" name="Рисунок 21">
            <a:extLst>
              <a:ext uri="{FF2B5EF4-FFF2-40B4-BE49-F238E27FC236}">
                <a16:creationId xmlns:a16="http://schemas.microsoft.com/office/drawing/2014/main" id="{91AA7621-F2BC-5242-9F05-8C48BC4C40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23" name="Рисунок 22">
            <a:extLst>
              <a:ext uri="{FF2B5EF4-FFF2-40B4-BE49-F238E27FC236}">
                <a16:creationId xmlns:a16="http://schemas.microsoft.com/office/drawing/2014/main" id="{278D38B2-AAFE-3E4C-96B1-606B3F63FC0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24" name="Рисунок 23">
            <a:extLst>
              <a:ext uri="{FF2B5EF4-FFF2-40B4-BE49-F238E27FC236}">
                <a16:creationId xmlns:a16="http://schemas.microsoft.com/office/drawing/2014/main" id="{2F82C4D8-EFEE-E342-A6AB-991D8DDADE86}"/>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4094805939"/>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4">
    <p:spTree>
      <p:nvGrpSpPr>
        <p:cNvPr id="1" name=""/>
        <p:cNvGrpSpPr/>
        <p:nvPr/>
      </p:nvGrpSpPr>
      <p:grpSpPr>
        <a:xfrm>
          <a:off x="0" y="0"/>
          <a:ext cx="0" cy="0"/>
          <a:chOff x="0" y="0"/>
          <a:chExt cx="0" cy="0"/>
        </a:xfrm>
      </p:grpSpPr>
      <p:sp>
        <p:nvSpPr>
          <p:cNvPr id="8" name="Рисунок 21">
            <a:extLst>
              <a:ext uri="{FF2B5EF4-FFF2-40B4-BE49-F238E27FC236}">
                <a16:creationId xmlns:a16="http://schemas.microsoft.com/office/drawing/2014/main" id="{01D8B5CF-86D3-4C23-9345-61601C7EE53D}"/>
              </a:ext>
            </a:extLst>
          </p:cNvPr>
          <p:cNvSpPr>
            <a:spLocks noGrp="1"/>
          </p:cNvSpPr>
          <p:nvPr>
            <p:ph type="pic" sz="quarter" idx="11" hasCustomPrompt="1"/>
          </p:nvPr>
        </p:nvSpPr>
        <p:spPr>
          <a:xfrm>
            <a:off x="5971142" y="0"/>
            <a:ext cx="6224084" cy="6859200"/>
          </a:xfrm>
          <a:custGeom>
            <a:avLst/>
            <a:gdLst>
              <a:gd name="connsiteX0" fmla="*/ 0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0 w 5005840"/>
              <a:gd name="connsiteY4" fmla="*/ 0 h 5143500"/>
              <a:gd name="connsiteX0" fmla="*/ 2235941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2235941 w 5005840"/>
              <a:gd name="connsiteY4" fmla="*/ 0 h 5143500"/>
              <a:gd name="connsiteX0" fmla="*/ 1882195 w 4652094"/>
              <a:gd name="connsiteY0" fmla="*/ 0 h 5143500"/>
              <a:gd name="connsiteX1" fmla="*/ 4652094 w 4652094"/>
              <a:gd name="connsiteY1" fmla="*/ 0 h 5143500"/>
              <a:gd name="connsiteX2" fmla="*/ 4652094 w 4652094"/>
              <a:gd name="connsiteY2" fmla="*/ 5143500 h 5143500"/>
              <a:gd name="connsiteX3" fmla="*/ 0 w 4652094"/>
              <a:gd name="connsiteY3" fmla="*/ 5136825 h 5143500"/>
              <a:gd name="connsiteX4" fmla="*/ 1882195 w 4652094"/>
              <a:gd name="connsiteY4" fmla="*/ 0 h 5143500"/>
              <a:gd name="connsiteX0" fmla="*/ 1839332 w 4609231"/>
              <a:gd name="connsiteY0" fmla="*/ 0 h 5167782"/>
              <a:gd name="connsiteX1" fmla="*/ 4609231 w 4609231"/>
              <a:gd name="connsiteY1" fmla="*/ 0 h 5167782"/>
              <a:gd name="connsiteX2" fmla="*/ 4609231 w 4609231"/>
              <a:gd name="connsiteY2" fmla="*/ 5143500 h 5167782"/>
              <a:gd name="connsiteX3" fmla="*/ 0 w 4609231"/>
              <a:gd name="connsiteY3" fmla="*/ 5167782 h 5167782"/>
              <a:gd name="connsiteX4" fmla="*/ 1839332 w 4609231"/>
              <a:gd name="connsiteY4" fmla="*/ 0 h 5167782"/>
              <a:gd name="connsiteX0" fmla="*/ 1886957 w 4656856"/>
              <a:gd name="connsiteY0" fmla="*/ 0 h 5146350"/>
              <a:gd name="connsiteX1" fmla="*/ 4656856 w 4656856"/>
              <a:gd name="connsiteY1" fmla="*/ 0 h 5146350"/>
              <a:gd name="connsiteX2" fmla="*/ 4656856 w 4656856"/>
              <a:gd name="connsiteY2" fmla="*/ 5143500 h 5146350"/>
              <a:gd name="connsiteX3" fmla="*/ 0 w 4656856"/>
              <a:gd name="connsiteY3" fmla="*/ 5146350 h 5146350"/>
              <a:gd name="connsiteX4" fmla="*/ 1886957 w 4656856"/>
              <a:gd name="connsiteY4" fmla="*/ 0 h 5146350"/>
              <a:gd name="connsiteX0" fmla="*/ 1883782 w 4656856"/>
              <a:gd name="connsiteY0" fmla="*/ 0 h 5149525"/>
              <a:gd name="connsiteX1" fmla="*/ 4656856 w 4656856"/>
              <a:gd name="connsiteY1" fmla="*/ 3175 h 5149525"/>
              <a:gd name="connsiteX2" fmla="*/ 4656856 w 4656856"/>
              <a:gd name="connsiteY2" fmla="*/ 5146675 h 5149525"/>
              <a:gd name="connsiteX3" fmla="*/ 0 w 4656856"/>
              <a:gd name="connsiteY3" fmla="*/ 5149525 h 5149525"/>
              <a:gd name="connsiteX4" fmla="*/ 1883782 w 4656856"/>
              <a:gd name="connsiteY4" fmla="*/ 0 h 5149525"/>
              <a:gd name="connsiteX0" fmla="*/ 1820886 w 4593960"/>
              <a:gd name="connsiteY0" fmla="*/ 0 h 5146675"/>
              <a:gd name="connsiteX1" fmla="*/ 4593960 w 4593960"/>
              <a:gd name="connsiteY1" fmla="*/ 3175 h 5146675"/>
              <a:gd name="connsiteX2" fmla="*/ 4593960 w 4593960"/>
              <a:gd name="connsiteY2" fmla="*/ 5146675 h 5146675"/>
              <a:gd name="connsiteX3" fmla="*/ 0 w 4593960"/>
              <a:gd name="connsiteY3" fmla="*/ 5098725 h 5146675"/>
              <a:gd name="connsiteX4" fmla="*/ 1820886 w 4593960"/>
              <a:gd name="connsiteY4" fmla="*/ 0 h 5146675"/>
              <a:gd name="connsiteX0" fmla="*/ 1886201 w 4659275"/>
              <a:gd name="connsiteY0" fmla="*/ 0 h 5146675"/>
              <a:gd name="connsiteX1" fmla="*/ 4659275 w 4659275"/>
              <a:gd name="connsiteY1" fmla="*/ 3175 h 5146675"/>
              <a:gd name="connsiteX2" fmla="*/ 4659275 w 4659275"/>
              <a:gd name="connsiteY2" fmla="*/ 5146675 h 5146675"/>
              <a:gd name="connsiteX3" fmla="*/ 0 w 4659275"/>
              <a:gd name="connsiteY3" fmla="*/ 5144687 h 5146675"/>
              <a:gd name="connsiteX4" fmla="*/ 1886201 w 4659275"/>
              <a:gd name="connsiteY4" fmla="*/ 0 h 5146675"/>
              <a:gd name="connsiteX0" fmla="*/ 1886201 w 4659275"/>
              <a:gd name="connsiteY0" fmla="*/ 0 h 5144687"/>
              <a:gd name="connsiteX1" fmla="*/ 4659275 w 4659275"/>
              <a:gd name="connsiteY1" fmla="*/ 3175 h 5144687"/>
              <a:gd name="connsiteX2" fmla="*/ 4591542 w 4659275"/>
              <a:gd name="connsiteY2" fmla="*/ 5086199 h 5144687"/>
              <a:gd name="connsiteX3" fmla="*/ 0 w 4659275"/>
              <a:gd name="connsiteY3" fmla="*/ 5144687 h 5144687"/>
              <a:gd name="connsiteX4" fmla="*/ 1886201 w 4659275"/>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25408 w 4661694"/>
              <a:gd name="connsiteY1" fmla="*/ 41880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900716 w 4661694"/>
              <a:gd name="connsiteY0" fmla="*/ 37949 h 5141512"/>
              <a:gd name="connsiteX1" fmla="*/ 4659275 w 4661694"/>
              <a:gd name="connsiteY1" fmla="*/ 0 h 5141512"/>
              <a:gd name="connsiteX2" fmla="*/ 4661694 w 4661694"/>
              <a:gd name="connsiteY2" fmla="*/ 5141081 h 5141512"/>
              <a:gd name="connsiteX3" fmla="*/ 0 w 4661694"/>
              <a:gd name="connsiteY3" fmla="*/ 5141512 h 5141512"/>
              <a:gd name="connsiteX4" fmla="*/ 1900716 w 4661694"/>
              <a:gd name="connsiteY4" fmla="*/ 37949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3462"/>
              <a:gd name="connsiteX1" fmla="*/ 4659275 w 4661694"/>
              <a:gd name="connsiteY1" fmla="*/ 0 h 5143462"/>
              <a:gd name="connsiteX2" fmla="*/ 4661694 w 4661694"/>
              <a:gd name="connsiteY2" fmla="*/ 5143462 h 5143462"/>
              <a:gd name="connsiteX3" fmla="*/ 0 w 4661694"/>
              <a:gd name="connsiteY3" fmla="*/ 5141512 h 5143462"/>
              <a:gd name="connsiteX4" fmla="*/ 1886201 w 4661694"/>
              <a:gd name="connsiteY4" fmla="*/ 1663 h 5143462"/>
              <a:gd name="connsiteX0" fmla="*/ 1886201 w 4661694"/>
              <a:gd name="connsiteY0" fmla="*/ 1663 h 5141512"/>
              <a:gd name="connsiteX1" fmla="*/ 4659275 w 4661694"/>
              <a:gd name="connsiteY1" fmla="*/ 0 h 5141512"/>
              <a:gd name="connsiteX2" fmla="*/ 4661694 w 4661694"/>
              <a:gd name="connsiteY2" fmla="*/ 5141080 h 5141512"/>
              <a:gd name="connsiteX3" fmla="*/ 0 w 4661694"/>
              <a:gd name="connsiteY3" fmla="*/ 5141512 h 5141512"/>
              <a:gd name="connsiteX4" fmla="*/ 1886201 w 4661694"/>
              <a:gd name="connsiteY4" fmla="*/ 1663 h 5141512"/>
              <a:gd name="connsiteX0" fmla="*/ 1888582 w 4664075"/>
              <a:gd name="connsiteY0" fmla="*/ 1663 h 5141512"/>
              <a:gd name="connsiteX1" fmla="*/ 4661656 w 4664075"/>
              <a:gd name="connsiteY1" fmla="*/ 0 h 5141512"/>
              <a:gd name="connsiteX2" fmla="*/ 4664075 w 4664075"/>
              <a:gd name="connsiteY2" fmla="*/ 5141080 h 5141512"/>
              <a:gd name="connsiteX3" fmla="*/ 0 w 4664075"/>
              <a:gd name="connsiteY3" fmla="*/ 5141512 h 5141512"/>
              <a:gd name="connsiteX4" fmla="*/ 1888582 w 4664075"/>
              <a:gd name="connsiteY4" fmla="*/ 1663 h 5141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075" h="5141512">
                <a:moveTo>
                  <a:pt x="1888582" y="1663"/>
                </a:moveTo>
                <a:lnTo>
                  <a:pt x="4661656" y="0"/>
                </a:lnTo>
                <a:cubicBezTo>
                  <a:pt x="4662462" y="1713694"/>
                  <a:pt x="4663269" y="3427386"/>
                  <a:pt x="4664075" y="5141080"/>
                </a:cubicBezTo>
                <a:lnTo>
                  <a:pt x="0" y="5141512"/>
                </a:lnTo>
                <a:lnTo>
                  <a:pt x="1888582" y="1663"/>
                </a:lnTo>
                <a:close/>
              </a:path>
            </a:pathLst>
          </a:custGeom>
          <a:solidFill>
            <a:schemeClr val="bg1">
              <a:lumMod val="95000"/>
            </a:schemeClr>
          </a:solidFill>
        </p:spPr>
        <p:txBody>
          <a:bodyPr anchor="b" anchorCtr="1"/>
          <a:lstStyle>
            <a:lvl1pPr marL="0" indent="0" algn="r">
              <a:buNone/>
              <a:defRPr sz="1333">
                <a:latin typeface="+mj-lt"/>
              </a:defRPr>
            </a:lvl1pPr>
          </a:lstStyle>
          <a:p>
            <a:r>
              <a:rPr lang="ru-RU" dirty="0"/>
              <a:t>Кликните иконку для вставки изображения. </a:t>
            </a:r>
            <a:br>
              <a:rPr lang="ru-RU" dirty="0"/>
            </a:br>
            <a:r>
              <a:rPr lang="ru-RU" dirty="0" err="1"/>
              <a:t>Кадрировать</a:t>
            </a:r>
            <a:r>
              <a:rPr lang="ru-RU" dirty="0"/>
              <a:t>, перемещать — в режиме «Обрезать»</a:t>
            </a:r>
          </a:p>
          <a:p>
            <a:endParaRPr lang="ru-RU" dirty="0"/>
          </a:p>
        </p:txBody>
      </p:sp>
      <p:sp>
        <p:nvSpPr>
          <p:cNvPr id="7" name="Прямоугольник 6">
            <a:extLst>
              <a:ext uri="{FF2B5EF4-FFF2-40B4-BE49-F238E27FC236}">
                <a16:creationId xmlns:a16="http://schemas.microsoft.com/office/drawing/2014/main" id="{25C69920-6C8C-45FB-A5D0-7EDAEC4CF25A}"/>
              </a:ext>
            </a:extLst>
          </p:cNvPr>
          <p:cNvSpPr/>
          <p:nvPr userDrawn="1"/>
        </p:nvSpPr>
        <p:spPr>
          <a:xfrm>
            <a:off x="1" y="-347"/>
            <a:ext cx="8490759" cy="6857891"/>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2"/>
              <a:gd name="connsiteX1" fmla="*/ 6869152 w 6869152"/>
              <a:gd name="connsiteY1" fmla="*/ 0 h 6869152"/>
              <a:gd name="connsiteX2" fmla="*/ 5371493 w 6869152"/>
              <a:gd name="connsiteY2" fmla="*/ 6858002 h 6869152"/>
              <a:gd name="connsiteX3" fmla="*/ 0 w 6869152"/>
              <a:gd name="connsiteY3" fmla="*/ 6869152 h 6869152"/>
              <a:gd name="connsiteX4" fmla="*/ 0 w 6869152"/>
              <a:gd name="connsiteY4" fmla="*/ 0 h 6869152"/>
              <a:gd name="connsiteX0" fmla="*/ 0 w 7632391"/>
              <a:gd name="connsiteY0" fmla="*/ 0 h 6869152"/>
              <a:gd name="connsiteX1" fmla="*/ 7632391 w 7632391"/>
              <a:gd name="connsiteY1" fmla="*/ 11151 h 6869152"/>
              <a:gd name="connsiteX2" fmla="*/ 5371493 w 7632391"/>
              <a:gd name="connsiteY2" fmla="*/ 6858002 h 6869152"/>
              <a:gd name="connsiteX3" fmla="*/ 0 w 7632391"/>
              <a:gd name="connsiteY3" fmla="*/ 6869152 h 6869152"/>
              <a:gd name="connsiteX4" fmla="*/ 0 w 7632391"/>
              <a:gd name="connsiteY4" fmla="*/ 0 h 6869152"/>
              <a:gd name="connsiteX0" fmla="*/ 0 w 7629198"/>
              <a:gd name="connsiteY0" fmla="*/ 0 h 6869152"/>
              <a:gd name="connsiteX1" fmla="*/ 7629198 w 7629198"/>
              <a:gd name="connsiteY1" fmla="*/ 21754 h 6869152"/>
              <a:gd name="connsiteX2" fmla="*/ 5371493 w 7629198"/>
              <a:gd name="connsiteY2" fmla="*/ 6858002 h 6869152"/>
              <a:gd name="connsiteX3" fmla="*/ 0 w 7629198"/>
              <a:gd name="connsiteY3" fmla="*/ 6869152 h 6869152"/>
              <a:gd name="connsiteX4" fmla="*/ 0 w 7629198"/>
              <a:gd name="connsiteY4" fmla="*/ 0 h 6869152"/>
              <a:gd name="connsiteX0" fmla="*/ 31928 w 7629198"/>
              <a:gd name="connsiteY0" fmla="*/ 20655 h 6847398"/>
              <a:gd name="connsiteX1" fmla="*/ 7629198 w 7629198"/>
              <a:gd name="connsiteY1" fmla="*/ 0 h 6847398"/>
              <a:gd name="connsiteX2" fmla="*/ 5371493 w 7629198"/>
              <a:gd name="connsiteY2" fmla="*/ 6836248 h 6847398"/>
              <a:gd name="connsiteX3" fmla="*/ 0 w 7629198"/>
              <a:gd name="connsiteY3" fmla="*/ 6847398 h 6847398"/>
              <a:gd name="connsiteX4" fmla="*/ 31928 w 7629198"/>
              <a:gd name="connsiteY4" fmla="*/ 20655 h 6847398"/>
              <a:gd name="connsiteX0" fmla="*/ 0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0 w 7629198"/>
              <a:gd name="connsiteY4" fmla="*/ 2985 h 6847398"/>
              <a:gd name="connsiteX0" fmla="*/ 34766 w 7629198"/>
              <a:gd name="connsiteY0" fmla="*/ 31848 h 6847398"/>
              <a:gd name="connsiteX1" fmla="*/ 7629198 w 7629198"/>
              <a:gd name="connsiteY1" fmla="*/ 0 h 6847398"/>
              <a:gd name="connsiteX2" fmla="*/ 5371493 w 7629198"/>
              <a:gd name="connsiteY2" fmla="*/ 6836248 h 6847398"/>
              <a:gd name="connsiteX3" fmla="*/ 0 w 7629198"/>
              <a:gd name="connsiteY3" fmla="*/ 6847398 h 6847398"/>
              <a:gd name="connsiteX4" fmla="*/ 34766 w 7629198"/>
              <a:gd name="connsiteY4" fmla="*/ 31848 h 6847398"/>
              <a:gd name="connsiteX0" fmla="*/ 2897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2897 w 7629198"/>
              <a:gd name="connsiteY4" fmla="*/ 2985 h 6847398"/>
              <a:gd name="connsiteX0" fmla="*/ 19 w 7626320"/>
              <a:gd name="connsiteY0" fmla="*/ 2985 h 6836248"/>
              <a:gd name="connsiteX1" fmla="*/ 7626320 w 7626320"/>
              <a:gd name="connsiteY1" fmla="*/ 0 h 6836248"/>
              <a:gd name="connsiteX2" fmla="*/ 5368615 w 7626320"/>
              <a:gd name="connsiteY2" fmla="*/ 6836248 h 6836248"/>
              <a:gd name="connsiteX3" fmla="*/ 34785 w 7626320"/>
              <a:gd name="connsiteY3" fmla="*/ 6786467 h 6836248"/>
              <a:gd name="connsiteX4" fmla="*/ 19 w 7626320"/>
              <a:gd name="connsiteY4" fmla="*/ 2985 h 6836248"/>
              <a:gd name="connsiteX0" fmla="*/ 278 w 7626579"/>
              <a:gd name="connsiteY0" fmla="*/ 2985 h 6836248"/>
              <a:gd name="connsiteX1" fmla="*/ 7626579 w 7626579"/>
              <a:gd name="connsiteY1" fmla="*/ 0 h 6836248"/>
              <a:gd name="connsiteX2" fmla="*/ 5368874 w 7626579"/>
              <a:gd name="connsiteY2" fmla="*/ 6836248 h 6836248"/>
              <a:gd name="connsiteX3" fmla="*/ 278 w 7626579"/>
              <a:gd name="connsiteY3" fmla="*/ 6818536 h 6836248"/>
              <a:gd name="connsiteX4" fmla="*/ 278 w 7626579"/>
              <a:gd name="connsiteY4" fmla="*/ 2985 h 6836248"/>
              <a:gd name="connsiteX0" fmla="*/ 278 w 7626579"/>
              <a:gd name="connsiteY0" fmla="*/ 2985 h 6818536"/>
              <a:gd name="connsiteX1" fmla="*/ 7626579 w 7626579"/>
              <a:gd name="connsiteY1" fmla="*/ 0 h 6818536"/>
              <a:gd name="connsiteX2" fmla="*/ 5368874 w 7626579"/>
              <a:gd name="connsiteY2" fmla="*/ 6817007 h 6818536"/>
              <a:gd name="connsiteX3" fmla="*/ 278 w 7626579"/>
              <a:gd name="connsiteY3" fmla="*/ 6818536 h 6818536"/>
              <a:gd name="connsiteX4" fmla="*/ 278 w 7626579"/>
              <a:gd name="connsiteY4" fmla="*/ 2985 h 6818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6579" h="6818536">
                <a:moveTo>
                  <a:pt x="278" y="2985"/>
                </a:moveTo>
                <a:lnTo>
                  <a:pt x="7626579" y="0"/>
                </a:lnTo>
                <a:lnTo>
                  <a:pt x="5368874" y="6817007"/>
                </a:lnTo>
                <a:lnTo>
                  <a:pt x="278" y="6818536"/>
                </a:lnTo>
                <a:cubicBezTo>
                  <a:pt x="1244" y="4537065"/>
                  <a:pt x="-688" y="2284456"/>
                  <a:pt x="278" y="2985"/>
                </a:cubicBezTo>
                <a:close/>
              </a:path>
            </a:pathLst>
          </a:custGeom>
          <a:solidFill>
            <a:srgbClr val="7593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11" name="Заголовок 17">
            <a:extLst>
              <a:ext uri="{FF2B5EF4-FFF2-40B4-BE49-F238E27FC236}">
                <a16:creationId xmlns:a16="http://schemas.microsoft.com/office/drawing/2014/main" id="{8102BAB2-1FB9-2C4D-A635-4EEE12DE7B2A}"/>
              </a:ext>
            </a:extLst>
          </p:cNvPr>
          <p:cNvSpPr>
            <a:spLocks noGrp="1"/>
          </p:cNvSpPr>
          <p:nvPr>
            <p:ph type="title" hasCustomPrompt="1"/>
          </p:nvPr>
        </p:nvSpPr>
        <p:spPr>
          <a:xfrm>
            <a:off x="580852" y="2363238"/>
            <a:ext cx="7833016" cy="1928733"/>
          </a:xfrm>
          <a:prstGeom prst="rect">
            <a:avLst/>
          </a:prstGeom>
        </p:spPr>
        <p:txBody>
          <a:bodyPr wrap="square" lIns="0">
            <a:spAutoFit/>
          </a:bodyPr>
          <a:lstStyle>
            <a:lvl1pPr algn="l">
              <a:defRPr sz="5867" b="0" i="0">
                <a:solidFill>
                  <a:schemeClr val="bg1"/>
                </a:solidFill>
                <a:latin typeface="Rostelecom Basis Medium" panose="020B0503030604040103" pitchFamily="34" charset="0"/>
              </a:defRPr>
            </a:lvl1pPr>
          </a:lstStyle>
          <a:p>
            <a:r>
              <a:rPr lang="ru-RU" dirty="0"/>
              <a:t>Кликните, чтобы добавить заголовок</a:t>
            </a:r>
          </a:p>
        </p:txBody>
      </p:sp>
      <p:sp>
        <p:nvSpPr>
          <p:cNvPr id="13" name="Text Placeholder 2">
            <a:extLst>
              <a:ext uri="{FF2B5EF4-FFF2-40B4-BE49-F238E27FC236}">
                <a16:creationId xmlns:a16="http://schemas.microsoft.com/office/drawing/2014/main" id="{242073B4-36FF-CD48-9214-15F540603370}"/>
              </a:ext>
            </a:extLst>
          </p:cNvPr>
          <p:cNvSpPr>
            <a:spLocks noGrp="1"/>
          </p:cNvSpPr>
          <p:nvPr>
            <p:ph type="body" sz="quarter" idx="12" hasCustomPrompt="1"/>
          </p:nvPr>
        </p:nvSpPr>
        <p:spPr>
          <a:xfrm>
            <a:off x="581394" y="4481720"/>
            <a:ext cx="5829300" cy="713317"/>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Введите подзаголовок</a:t>
            </a:r>
            <a:endParaRPr lang="en-US" dirty="0"/>
          </a:p>
        </p:txBody>
      </p:sp>
      <p:pic>
        <p:nvPicPr>
          <p:cNvPr id="15" name="Рисунок 14">
            <a:extLst>
              <a:ext uri="{FF2B5EF4-FFF2-40B4-BE49-F238E27FC236}">
                <a16:creationId xmlns:a16="http://schemas.microsoft.com/office/drawing/2014/main" id="{65F72584-73EE-3C49-8AD2-1C98C9569F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16" name="Рисунок 15">
            <a:extLst>
              <a:ext uri="{FF2B5EF4-FFF2-40B4-BE49-F238E27FC236}">
                <a16:creationId xmlns:a16="http://schemas.microsoft.com/office/drawing/2014/main" id="{5F81B72E-3C77-7C46-A751-7C7FE0EAA8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17" name="Рисунок 16">
            <a:extLst>
              <a:ext uri="{FF2B5EF4-FFF2-40B4-BE49-F238E27FC236}">
                <a16:creationId xmlns:a16="http://schemas.microsoft.com/office/drawing/2014/main" id="{7903DC9A-EAA0-514A-B355-5237E717521D}"/>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3858496782"/>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с текстом и буллит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7" y="419100"/>
            <a:ext cx="5559535" cy="898712"/>
          </a:xfrm>
          <a:prstGeom prst="rect">
            <a:avLst/>
          </a:prstGeom>
        </p:spPr>
        <p:txBody>
          <a:bodyPr lIns="0" tIns="0" rIns="0" bIns="0"/>
          <a:lstStyle>
            <a:lvl1pPr>
              <a:lnSpc>
                <a:spcPts val="3703"/>
              </a:lnSpc>
              <a:defRPr lang="ru-RU" sz="3527" dirty="0"/>
            </a:lvl1pPr>
          </a:lstStyle>
          <a:p>
            <a:pPr lvl="0">
              <a:lnSpc>
                <a:spcPts val="3703"/>
              </a:lnSpc>
            </a:pPr>
            <a:r>
              <a:rPr lang="ru-RU" dirty="0"/>
              <a:t>Слайд с текстом, буллитами и фото</a:t>
            </a:r>
          </a:p>
        </p:txBody>
      </p:sp>
      <p:sp>
        <p:nvSpPr>
          <p:cNvPr id="26" name="Текст 14">
            <a:extLst>
              <a:ext uri="{FF2B5EF4-FFF2-40B4-BE49-F238E27FC236}">
                <a16:creationId xmlns:a16="http://schemas.microsoft.com/office/drawing/2014/main" id="{BEC91EF2-4282-4C79-A83B-0D2DF0FD45EB}"/>
              </a:ext>
            </a:extLst>
          </p:cNvPr>
          <p:cNvSpPr>
            <a:spLocks noGrp="1"/>
          </p:cNvSpPr>
          <p:nvPr>
            <p:ph type="body" sz="quarter" idx="27" hasCustomPrompt="1"/>
          </p:nvPr>
        </p:nvSpPr>
        <p:spPr>
          <a:xfrm>
            <a:off x="417517" y="2442885"/>
            <a:ext cx="4304787" cy="3061539"/>
          </a:xfrm>
          <a:prstGeom prst="rect">
            <a:avLst/>
          </a:prstGeom>
        </p:spPr>
        <p:txBody>
          <a:bodyPr lIns="0" tIns="0" rIns="0" bIns="0"/>
          <a:lstStyle>
            <a:lvl1pPr marL="159525" indent="-159525">
              <a:lnSpc>
                <a:spcPts val="1587"/>
              </a:lnSpc>
              <a:spcBef>
                <a:spcPts val="0"/>
              </a:spcBef>
              <a:spcAft>
                <a:spcPts val="2645"/>
              </a:spcAft>
              <a:buClr>
                <a:schemeClr val="tx1"/>
              </a:buClr>
              <a:buFont typeface="Rostelecom Basis" panose="020B0604020202020204" pitchFamily="34" charset="0"/>
              <a:buChar char="•"/>
              <a:defRPr lang="ru-RU" sz="1321" b="0" kern="1200" dirty="0" smtClean="0">
                <a:solidFill>
                  <a:schemeClr val="tx1"/>
                </a:solidFill>
                <a:latin typeface="Rostelecom Basis" panose="020B0503030604040103" pitchFamily="34" charset="0"/>
                <a:ea typeface="Rostelecom Basis" panose="020B0503040504020204" pitchFamily="34" charset="-52"/>
                <a:cs typeface="+mn-cs"/>
              </a:defRPr>
            </a:lvl1pPr>
          </a:lstStyle>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r>
              <a:rPr lang="ru-RU" dirty="0"/>
              <a:t>Рекомендуемый объём текста объём текста блока рекомендуемый объём для блока рекомендуемый объём текста для блока объём текста объём текста для блока</a:t>
            </a:r>
          </a:p>
          <a:p>
            <a:pPr lvl="0"/>
            <a:endParaRPr lang="ru-RU" dirty="0"/>
          </a:p>
        </p:txBody>
      </p:sp>
      <p:sp>
        <p:nvSpPr>
          <p:cNvPr id="6" name="Рисунок 3">
            <a:extLst>
              <a:ext uri="{FF2B5EF4-FFF2-40B4-BE49-F238E27FC236}">
                <a16:creationId xmlns:a16="http://schemas.microsoft.com/office/drawing/2014/main" id="{2E8E8FB5-D9ED-4AB0-AFA2-95112BFF0A86}"/>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Tree>
    <p:extLst>
      <p:ext uri="{BB962C8B-B14F-4D97-AF65-F5344CB8AC3E}">
        <p14:creationId xmlns:p14="http://schemas.microsoft.com/office/powerpoint/2010/main" val="3137358325"/>
      </p:ext>
    </p:extLst>
  </p:cSld>
  <p:clrMapOvr>
    <a:masterClrMapping/>
  </p:clrMapOvr>
  <p:extLst mod="1">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5">
    <p:spTree>
      <p:nvGrpSpPr>
        <p:cNvPr id="1" name=""/>
        <p:cNvGrpSpPr/>
        <p:nvPr/>
      </p:nvGrpSpPr>
      <p:grpSpPr>
        <a:xfrm>
          <a:off x="0" y="0"/>
          <a:ext cx="0" cy="0"/>
          <a:chOff x="0" y="0"/>
          <a:chExt cx="0" cy="0"/>
        </a:xfrm>
      </p:grpSpPr>
      <p:sp>
        <p:nvSpPr>
          <p:cNvPr id="11" name="Рисунок 21">
            <a:extLst>
              <a:ext uri="{FF2B5EF4-FFF2-40B4-BE49-F238E27FC236}">
                <a16:creationId xmlns:a16="http://schemas.microsoft.com/office/drawing/2014/main" id="{2BE47A98-BD81-42FD-9699-18B6F8F74C04}"/>
              </a:ext>
            </a:extLst>
          </p:cNvPr>
          <p:cNvSpPr>
            <a:spLocks noGrp="1"/>
          </p:cNvSpPr>
          <p:nvPr>
            <p:ph type="pic" sz="quarter" idx="11" hasCustomPrompt="1"/>
          </p:nvPr>
        </p:nvSpPr>
        <p:spPr>
          <a:xfrm>
            <a:off x="5971142" y="0"/>
            <a:ext cx="6224084" cy="6859200"/>
          </a:xfrm>
          <a:custGeom>
            <a:avLst/>
            <a:gdLst>
              <a:gd name="connsiteX0" fmla="*/ 0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0 w 5005840"/>
              <a:gd name="connsiteY4" fmla="*/ 0 h 5143500"/>
              <a:gd name="connsiteX0" fmla="*/ 2235941 w 5005840"/>
              <a:gd name="connsiteY0" fmla="*/ 0 h 5143500"/>
              <a:gd name="connsiteX1" fmla="*/ 5005840 w 5005840"/>
              <a:gd name="connsiteY1" fmla="*/ 0 h 5143500"/>
              <a:gd name="connsiteX2" fmla="*/ 5005840 w 5005840"/>
              <a:gd name="connsiteY2" fmla="*/ 5143500 h 5143500"/>
              <a:gd name="connsiteX3" fmla="*/ 0 w 5005840"/>
              <a:gd name="connsiteY3" fmla="*/ 5143500 h 5143500"/>
              <a:gd name="connsiteX4" fmla="*/ 2235941 w 5005840"/>
              <a:gd name="connsiteY4" fmla="*/ 0 h 5143500"/>
              <a:gd name="connsiteX0" fmla="*/ 1882195 w 4652094"/>
              <a:gd name="connsiteY0" fmla="*/ 0 h 5143500"/>
              <a:gd name="connsiteX1" fmla="*/ 4652094 w 4652094"/>
              <a:gd name="connsiteY1" fmla="*/ 0 h 5143500"/>
              <a:gd name="connsiteX2" fmla="*/ 4652094 w 4652094"/>
              <a:gd name="connsiteY2" fmla="*/ 5143500 h 5143500"/>
              <a:gd name="connsiteX3" fmla="*/ 0 w 4652094"/>
              <a:gd name="connsiteY3" fmla="*/ 5136825 h 5143500"/>
              <a:gd name="connsiteX4" fmla="*/ 1882195 w 4652094"/>
              <a:gd name="connsiteY4" fmla="*/ 0 h 5143500"/>
              <a:gd name="connsiteX0" fmla="*/ 1839332 w 4609231"/>
              <a:gd name="connsiteY0" fmla="*/ 0 h 5167782"/>
              <a:gd name="connsiteX1" fmla="*/ 4609231 w 4609231"/>
              <a:gd name="connsiteY1" fmla="*/ 0 h 5167782"/>
              <a:gd name="connsiteX2" fmla="*/ 4609231 w 4609231"/>
              <a:gd name="connsiteY2" fmla="*/ 5143500 h 5167782"/>
              <a:gd name="connsiteX3" fmla="*/ 0 w 4609231"/>
              <a:gd name="connsiteY3" fmla="*/ 5167782 h 5167782"/>
              <a:gd name="connsiteX4" fmla="*/ 1839332 w 4609231"/>
              <a:gd name="connsiteY4" fmla="*/ 0 h 5167782"/>
              <a:gd name="connsiteX0" fmla="*/ 1886957 w 4656856"/>
              <a:gd name="connsiteY0" fmla="*/ 0 h 5146350"/>
              <a:gd name="connsiteX1" fmla="*/ 4656856 w 4656856"/>
              <a:gd name="connsiteY1" fmla="*/ 0 h 5146350"/>
              <a:gd name="connsiteX2" fmla="*/ 4656856 w 4656856"/>
              <a:gd name="connsiteY2" fmla="*/ 5143500 h 5146350"/>
              <a:gd name="connsiteX3" fmla="*/ 0 w 4656856"/>
              <a:gd name="connsiteY3" fmla="*/ 5146350 h 5146350"/>
              <a:gd name="connsiteX4" fmla="*/ 1886957 w 4656856"/>
              <a:gd name="connsiteY4" fmla="*/ 0 h 5146350"/>
              <a:gd name="connsiteX0" fmla="*/ 1883782 w 4656856"/>
              <a:gd name="connsiteY0" fmla="*/ 0 h 5149525"/>
              <a:gd name="connsiteX1" fmla="*/ 4656856 w 4656856"/>
              <a:gd name="connsiteY1" fmla="*/ 3175 h 5149525"/>
              <a:gd name="connsiteX2" fmla="*/ 4656856 w 4656856"/>
              <a:gd name="connsiteY2" fmla="*/ 5146675 h 5149525"/>
              <a:gd name="connsiteX3" fmla="*/ 0 w 4656856"/>
              <a:gd name="connsiteY3" fmla="*/ 5149525 h 5149525"/>
              <a:gd name="connsiteX4" fmla="*/ 1883782 w 4656856"/>
              <a:gd name="connsiteY4" fmla="*/ 0 h 5149525"/>
              <a:gd name="connsiteX0" fmla="*/ 1820886 w 4593960"/>
              <a:gd name="connsiteY0" fmla="*/ 0 h 5146675"/>
              <a:gd name="connsiteX1" fmla="*/ 4593960 w 4593960"/>
              <a:gd name="connsiteY1" fmla="*/ 3175 h 5146675"/>
              <a:gd name="connsiteX2" fmla="*/ 4593960 w 4593960"/>
              <a:gd name="connsiteY2" fmla="*/ 5146675 h 5146675"/>
              <a:gd name="connsiteX3" fmla="*/ 0 w 4593960"/>
              <a:gd name="connsiteY3" fmla="*/ 5098725 h 5146675"/>
              <a:gd name="connsiteX4" fmla="*/ 1820886 w 4593960"/>
              <a:gd name="connsiteY4" fmla="*/ 0 h 5146675"/>
              <a:gd name="connsiteX0" fmla="*/ 1886201 w 4659275"/>
              <a:gd name="connsiteY0" fmla="*/ 0 h 5146675"/>
              <a:gd name="connsiteX1" fmla="*/ 4659275 w 4659275"/>
              <a:gd name="connsiteY1" fmla="*/ 3175 h 5146675"/>
              <a:gd name="connsiteX2" fmla="*/ 4659275 w 4659275"/>
              <a:gd name="connsiteY2" fmla="*/ 5146675 h 5146675"/>
              <a:gd name="connsiteX3" fmla="*/ 0 w 4659275"/>
              <a:gd name="connsiteY3" fmla="*/ 5144687 h 5146675"/>
              <a:gd name="connsiteX4" fmla="*/ 1886201 w 4659275"/>
              <a:gd name="connsiteY4" fmla="*/ 0 h 5146675"/>
              <a:gd name="connsiteX0" fmla="*/ 1886201 w 4659275"/>
              <a:gd name="connsiteY0" fmla="*/ 0 h 5144687"/>
              <a:gd name="connsiteX1" fmla="*/ 4659275 w 4659275"/>
              <a:gd name="connsiteY1" fmla="*/ 3175 h 5144687"/>
              <a:gd name="connsiteX2" fmla="*/ 4591542 w 4659275"/>
              <a:gd name="connsiteY2" fmla="*/ 5086199 h 5144687"/>
              <a:gd name="connsiteX3" fmla="*/ 0 w 4659275"/>
              <a:gd name="connsiteY3" fmla="*/ 5144687 h 5144687"/>
              <a:gd name="connsiteX4" fmla="*/ 1886201 w 4659275"/>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25408 w 4661694"/>
              <a:gd name="connsiteY1" fmla="*/ 41880 h 5144687"/>
              <a:gd name="connsiteX2" fmla="*/ 4661694 w 4661694"/>
              <a:gd name="connsiteY2" fmla="*/ 5144256 h 5144687"/>
              <a:gd name="connsiteX3" fmla="*/ 0 w 4661694"/>
              <a:gd name="connsiteY3" fmla="*/ 5144687 h 5144687"/>
              <a:gd name="connsiteX4" fmla="*/ 1886201 w 4661694"/>
              <a:gd name="connsiteY4" fmla="*/ 0 h 5144687"/>
              <a:gd name="connsiteX0" fmla="*/ 1886201 w 4661694"/>
              <a:gd name="connsiteY0" fmla="*/ 0 h 5144687"/>
              <a:gd name="connsiteX1" fmla="*/ 4659275 w 4661694"/>
              <a:gd name="connsiteY1" fmla="*/ 3175 h 5144687"/>
              <a:gd name="connsiteX2" fmla="*/ 4661694 w 4661694"/>
              <a:gd name="connsiteY2" fmla="*/ 5144256 h 5144687"/>
              <a:gd name="connsiteX3" fmla="*/ 0 w 4661694"/>
              <a:gd name="connsiteY3" fmla="*/ 5144687 h 5144687"/>
              <a:gd name="connsiteX4" fmla="*/ 1886201 w 4661694"/>
              <a:gd name="connsiteY4" fmla="*/ 0 h 5144687"/>
              <a:gd name="connsiteX0" fmla="*/ 1900716 w 4661694"/>
              <a:gd name="connsiteY0" fmla="*/ 37949 h 5141512"/>
              <a:gd name="connsiteX1" fmla="*/ 4659275 w 4661694"/>
              <a:gd name="connsiteY1" fmla="*/ 0 h 5141512"/>
              <a:gd name="connsiteX2" fmla="*/ 4661694 w 4661694"/>
              <a:gd name="connsiteY2" fmla="*/ 5141081 h 5141512"/>
              <a:gd name="connsiteX3" fmla="*/ 0 w 4661694"/>
              <a:gd name="connsiteY3" fmla="*/ 5141512 h 5141512"/>
              <a:gd name="connsiteX4" fmla="*/ 1900716 w 4661694"/>
              <a:gd name="connsiteY4" fmla="*/ 37949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1512"/>
              <a:gd name="connsiteX1" fmla="*/ 4659275 w 4661694"/>
              <a:gd name="connsiteY1" fmla="*/ 0 h 5141512"/>
              <a:gd name="connsiteX2" fmla="*/ 4661694 w 4661694"/>
              <a:gd name="connsiteY2" fmla="*/ 5141081 h 5141512"/>
              <a:gd name="connsiteX3" fmla="*/ 0 w 4661694"/>
              <a:gd name="connsiteY3" fmla="*/ 5141512 h 5141512"/>
              <a:gd name="connsiteX4" fmla="*/ 1886201 w 4661694"/>
              <a:gd name="connsiteY4" fmla="*/ 1663 h 5141512"/>
              <a:gd name="connsiteX0" fmla="*/ 1886201 w 4661694"/>
              <a:gd name="connsiteY0" fmla="*/ 1663 h 5143462"/>
              <a:gd name="connsiteX1" fmla="*/ 4659275 w 4661694"/>
              <a:gd name="connsiteY1" fmla="*/ 0 h 5143462"/>
              <a:gd name="connsiteX2" fmla="*/ 4661694 w 4661694"/>
              <a:gd name="connsiteY2" fmla="*/ 5143462 h 5143462"/>
              <a:gd name="connsiteX3" fmla="*/ 0 w 4661694"/>
              <a:gd name="connsiteY3" fmla="*/ 5141512 h 5143462"/>
              <a:gd name="connsiteX4" fmla="*/ 1886201 w 4661694"/>
              <a:gd name="connsiteY4" fmla="*/ 1663 h 5143462"/>
              <a:gd name="connsiteX0" fmla="*/ 1886201 w 4661694"/>
              <a:gd name="connsiteY0" fmla="*/ 1663 h 5141512"/>
              <a:gd name="connsiteX1" fmla="*/ 4659275 w 4661694"/>
              <a:gd name="connsiteY1" fmla="*/ 0 h 5141512"/>
              <a:gd name="connsiteX2" fmla="*/ 4661694 w 4661694"/>
              <a:gd name="connsiteY2" fmla="*/ 5141080 h 5141512"/>
              <a:gd name="connsiteX3" fmla="*/ 0 w 4661694"/>
              <a:gd name="connsiteY3" fmla="*/ 5141512 h 5141512"/>
              <a:gd name="connsiteX4" fmla="*/ 1886201 w 4661694"/>
              <a:gd name="connsiteY4" fmla="*/ 1663 h 5141512"/>
              <a:gd name="connsiteX0" fmla="*/ 1888582 w 4664075"/>
              <a:gd name="connsiteY0" fmla="*/ 1663 h 5141512"/>
              <a:gd name="connsiteX1" fmla="*/ 4661656 w 4664075"/>
              <a:gd name="connsiteY1" fmla="*/ 0 h 5141512"/>
              <a:gd name="connsiteX2" fmla="*/ 4664075 w 4664075"/>
              <a:gd name="connsiteY2" fmla="*/ 5141080 h 5141512"/>
              <a:gd name="connsiteX3" fmla="*/ 0 w 4664075"/>
              <a:gd name="connsiteY3" fmla="*/ 5141512 h 5141512"/>
              <a:gd name="connsiteX4" fmla="*/ 1888582 w 4664075"/>
              <a:gd name="connsiteY4" fmla="*/ 1663 h 5141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4075" h="5141512">
                <a:moveTo>
                  <a:pt x="1888582" y="1663"/>
                </a:moveTo>
                <a:lnTo>
                  <a:pt x="4661656" y="0"/>
                </a:lnTo>
                <a:cubicBezTo>
                  <a:pt x="4662462" y="1713694"/>
                  <a:pt x="4663269" y="3427386"/>
                  <a:pt x="4664075" y="5141080"/>
                </a:cubicBezTo>
                <a:lnTo>
                  <a:pt x="0" y="5141512"/>
                </a:lnTo>
                <a:lnTo>
                  <a:pt x="1888582" y="1663"/>
                </a:lnTo>
                <a:close/>
              </a:path>
            </a:pathLst>
          </a:custGeom>
          <a:solidFill>
            <a:schemeClr val="bg1">
              <a:lumMod val="95000"/>
            </a:schemeClr>
          </a:solidFill>
        </p:spPr>
        <p:txBody>
          <a:bodyPr anchor="b" anchorCtr="1"/>
          <a:lstStyle>
            <a:lvl1pPr marL="0" indent="0" algn="r">
              <a:buNone/>
              <a:defRPr sz="1333">
                <a:latin typeface="Basis Grotesque Pro Medium" panose="02000603030000020004" pitchFamily="50" charset="0"/>
              </a:defRPr>
            </a:lvl1pPr>
          </a:lstStyle>
          <a:p>
            <a:r>
              <a:rPr lang="ru-RU" dirty="0"/>
              <a:t>Кликните иконку для вставки изображения. </a:t>
            </a:r>
            <a:br>
              <a:rPr lang="ru-RU" dirty="0"/>
            </a:br>
            <a:r>
              <a:rPr lang="ru-RU" dirty="0" err="1"/>
              <a:t>Кадрировать</a:t>
            </a:r>
            <a:r>
              <a:rPr lang="ru-RU" dirty="0"/>
              <a:t>, перемещать — в режиме «Обрезать»</a:t>
            </a:r>
          </a:p>
          <a:p>
            <a:endParaRPr lang="ru-RU" dirty="0"/>
          </a:p>
        </p:txBody>
      </p:sp>
      <p:sp>
        <p:nvSpPr>
          <p:cNvPr id="14" name="Прямоугольник 6">
            <a:extLst>
              <a:ext uri="{FF2B5EF4-FFF2-40B4-BE49-F238E27FC236}">
                <a16:creationId xmlns:a16="http://schemas.microsoft.com/office/drawing/2014/main" id="{18BB4E71-69F8-46EE-A45E-22EBDD5B058B}"/>
              </a:ext>
            </a:extLst>
          </p:cNvPr>
          <p:cNvSpPr/>
          <p:nvPr userDrawn="1"/>
        </p:nvSpPr>
        <p:spPr>
          <a:xfrm>
            <a:off x="1" y="-347"/>
            <a:ext cx="8490759" cy="6857891"/>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2"/>
              <a:gd name="connsiteX1" fmla="*/ 6869152 w 6869152"/>
              <a:gd name="connsiteY1" fmla="*/ 0 h 6869152"/>
              <a:gd name="connsiteX2" fmla="*/ 5371493 w 6869152"/>
              <a:gd name="connsiteY2" fmla="*/ 6858002 h 6869152"/>
              <a:gd name="connsiteX3" fmla="*/ 0 w 6869152"/>
              <a:gd name="connsiteY3" fmla="*/ 6869152 h 6869152"/>
              <a:gd name="connsiteX4" fmla="*/ 0 w 6869152"/>
              <a:gd name="connsiteY4" fmla="*/ 0 h 6869152"/>
              <a:gd name="connsiteX0" fmla="*/ 0 w 7632391"/>
              <a:gd name="connsiteY0" fmla="*/ 0 h 6869152"/>
              <a:gd name="connsiteX1" fmla="*/ 7632391 w 7632391"/>
              <a:gd name="connsiteY1" fmla="*/ 11151 h 6869152"/>
              <a:gd name="connsiteX2" fmla="*/ 5371493 w 7632391"/>
              <a:gd name="connsiteY2" fmla="*/ 6858002 h 6869152"/>
              <a:gd name="connsiteX3" fmla="*/ 0 w 7632391"/>
              <a:gd name="connsiteY3" fmla="*/ 6869152 h 6869152"/>
              <a:gd name="connsiteX4" fmla="*/ 0 w 7632391"/>
              <a:gd name="connsiteY4" fmla="*/ 0 h 6869152"/>
              <a:gd name="connsiteX0" fmla="*/ 0 w 7629198"/>
              <a:gd name="connsiteY0" fmla="*/ 0 h 6869152"/>
              <a:gd name="connsiteX1" fmla="*/ 7629198 w 7629198"/>
              <a:gd name="connsiteY1" fmla="*/ 21754 h 6869152"/>
              <a:gd name="connsiteX2" fmla="*/ 5371493 w 7629198"/>
              <a:gd name="connsiteY2" fmla="*/ 6858002 h 6869152"/>
              <a:gd name="connsiteX3" fmla="*/ 0 w 7629198"/>
              <a:gd name="connsiteY3" fmla="*/ 6869152 h 6869152"/>
              <a:gd name="connsiteX4" fmla="*/ 0 w 7629198"/>
              <a:gd name="connsiteY4" fmla="*/ 0 h 6869152"/>
              <a:gd name="connsiteX0" fmla="*/ 31928 w 7629198"/>
              <a:gd name="connsiteY0" fmla="*/ 20655 h 6847398"/>
              <a:gd name="connsiteX1" fmla="*/ 7629198 w 7629198"/>
              <a:gd name="connsiteY1" fmla="*/ 0 h 6847398"/>
              <a:gd name="connsiteX2" fmla="*/ 5371493 w 7629198"/>
              <a:gd name="connsiteY2" fmla="*/ 6836248 h 6847398"/>
              <a:gd name="connsiteX3" fmla="*/ 0 w 7629198"/>
              <a:gd name="connsiteY3" fmla="*/ 6847398 h 6847398"/>
              <a:gd name="connsiteX4" fmla="*/ 31928 w 7629198"/>
              <a:gd name="connsiteY4" fmla="*/ 20655 h 6847398"/>
              <a:gd name="connsiteX0" fmla="*/ 0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0 w 7629198"/>
              <a:gd name="connsiteY4" fmla="*/ 2985 h 6847398"/>
              <a:gd name="connsiteX0" fmla="*/ 34766 w 7629198"/>
              <a:gd name="connsiteY0" fmla="*/ 31848 h 6847398"/>
              <a:gd name="connsiteX1" fmla="*/ 7629198 w 7629198"/>
              <a:gd name="connsiteY1" fmla="*/ 0 h 6847398"/>
              <a:gd name="connsiteX2" fmla="*/ 5371493 w 7629198"/>
              <a:gd name="connsiteY2" fmla="*/ 6836248 h 6847398"/>
              <a:gd name="connsiteX3" fmla="*/ 0 w 7629198"/>
              <a:gd name="connsiteY3" fmla="*/ 6847398 h 6847398"/>
              <a:gd name="connsiteX4" fmla="*/ 34766 w 7629198"/>
              <a:gd name="connsiteY4" fmla="*/ 31848 h 6847398"/>
              <a:gd name="connsiteX0" fmla="*/ 2897 w 7629198"/>
              <a:gd name="connsiteY0" fmla="*/ 2985 h 6847398"/>
              <a:gd name="connsiteX1" fmla="*/ 7629198 w 7629198"/>
              <a:gd name="connsiteY1" fmla="*/ 0 h 6847398"/>
              <a:gd name="connsiteX2" fmla="*/ 5371493 w 7629198"/>
              <a:gd name="connsiteY2" fmla="*/ 6836248 h 6847398"/>
              <a:gd name="connsiteX3" fmla="*/ 0 w 7629198"/>
              <a:gd name="connsiteY3" fmla="*/ 6847398 h 6847398"/>
              <a:gd name="connsiteX4" fmla="*/ 2897 w 7629198"/>
              <a:gd name="connsiteY4" fmla="*/ 2985 h 6847398"/>
              <a:gd name="connsiteX0" fmla="*/ 19 w 7626320"/>
              <a:gd name="connsiteY0" fmla="*/ 2985 h 6836248"/>
              <a:gd name="connsiteX1" fmla="*/ 7626320 w 7626320"/>
              <a:gd name="connsiteY1" fmla="*/ 0 h 6836248"/>
              <a:gd name="connsiteX2" fmla="*/ 5368615 w 7626320"/>
              <a:gd name="connsiteY2" fmla="*/ 6836248 h 6836248"/>
              <a:gd name="connsiteX3" fmla="*/ 34785 w 7626320"/>
              <a:gd name="connsiteY3" fmla="*/ 6786467 h 6836248"/>
              <a:gd name="connsiteX4" fmla="*/ 19 w 7626320"/>
              <a:gd name="connsiteY4" fmla="*/ 2985 h 6836248"/>
              <a:gd name="connsiteX0" fmla="*/ 278 w 7626579"/>
              <a:gd name="connsiteY0" fmla="*/ 2985 h 6836248"/>
              <a:gd name="connsiteX1" fmla="*/ 7626579 w 7626579"/>
              <a:gd name="connsiteY1" fmla="*/ 0 h 6836248"/>
              <a:gd name="connsiteX2" fmla="*/ 5368874 w 7626579"/>
              <a:gd name="connsiteY2" fmla="*/ 6836248 h 6836248"/>
              <a:gd name="connsiteX3" fmla="*/ 278 w 7626579"/>
              <a:gd name="connsiteY3" fmla="*/ 6818536 h 6836248"/>
              <a:gd name="connsiteX4" fmla="*/ 278 w 7626579"/>
              <a:gd name="connsiteY4" fmla="*/ 2985 h 6836248"/>
              <a:gd name="connsiteX0" fmla="*/ 278 w 7626579"/>
              <a:gd name="connsiteY0" fmla="*/ 2985 h 6818536"/>
              <a:gd name="connsiteX1" fmla="*/ 7626579 w 7626579"/>
              <a:gd name="connsiteY1" fmla="*/ 0 h 6818536"/>
              <a:gd name="connsiteX2" fmla="*/ 5368874 w 7626579"/>
              <a:gd name="connsiteY2" fmla="*/ 6817007 h 6818536"/>
              <a:gd name="connsiteX3" fmla="*/ 278 w 7626579"/>
              <a:gd name="connsiteY3" fmla="*/ 6818536 h 6818536"/>
              <a:gd name="connsiteX4" fmla="*/ 278 w 7626579"/>
              <a:gd name="connsiteY4" fmla="*/ 2985 h 6818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6579" h="6818536">
                <a:moveTo>
                  <a:pt x="278" y="2985"/>
                </a:moveTo>
                <a:lnTo>
                  <a:pt x="7626579" y="0"/>
                </a:lnTo>
                <a:lnTo>
                  <a:pt x="5368874" y="6817007"/>
                </a:lnTo>
                <a:lnTo>
                  <a:pt x="278" y="6818536"/>
                </a:lnTo>
                <a:cubicBezTo>
                  <a:pt x="1244" y="4537065"/>
                  <a:pt x="-688" y="2284456"/>
                  <a:pt x="278" y="2985"/>
                </a:cubicBezTo>
                <a:close/>
              </a:path>
            </a:pathLst>
          </a:custGeom>
          <a:solidFill>
            <a:srgbClr val="FFBE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24" name="Заголовок 17">
            <a:extLst>
              <a:ext uri="{FF2B5EF4-FFF2-40B4-BE49-F238E27FC236}">
                <a16:creationId xmlns:a16="http://schemas.microsoft.com/office/drawing/2014/main" id="{CEC4D5E2-FF2B-BC42-9715-CED34D05A1D4}"/>
              </a:ext>
            </a:extLst>
          </p:cNvPr>
          <p:cNvSpPr>
            <a:spLocks noGrp="1"/>
          </p:cNvSpPr>
          <p:nvPr>
            <p:ph type="title" hasCustomPrompt="1"/>
          </p:nvPr>
        </p:nvSpPr>
        <p:spPr>
          <a:xfrm>
            <a:off x="580852" y="2363238"/>
            <a:ext cx="7833016" cy="1928733"/>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Кликните, чтобы добавить заголовок</a:t>
            </a:r>
          </a:p>
        </p:txBody>
      </p:sp>
      <p:sp>
        <p:nvSpPr>
          <p:cNvPr id="25" name="Text Placeholder 2">
            <a:extLst>
              <a:ext uri="{FF2B5EF4-FFF2-40B4-BE49-F238E27FC236}">
                <a16:creationId xmlns:a16="http://schemas.microsoft.com/office/drawing/2014/main" id="{85F0E834-2542-DC4A-9103-756397EDB83D}"/>
              </a:ext>
            </a:extLst>
          </p:cNvPr>
          <p:cNvSpPr>
            <a:spLocks noGrp="1"/>
          </p:cNvSpPr>
          <p:nvPr>
            <p:ph type="body" sz="quarter" idx="12" hasCustomPrompt="1"/>
          </p:nvPr>
        </p:nvSpPr>
        <p:spPr>
          <a:xfrm>
            <a:off x="581394" y="4481720"/>
            <a:ext cx="5829300" cy="713317"/>
          </a:xfrm>
          <a:prstGeom prst="rect">
            <a:avLst/>
          </a:prstGeom>
        </p:spPr>
        <p:txBody>
          <a:bodyPr lIns="0"/>
          <a:lstStyle>
            <a:lvl1pPr marL="0" indent="0">
              <a:buNone/>
              <a:defRPr sz="2667" b="0" i="0">
                <a:solidFill>
                  <a:schemeClr val="tx1"/>
                </a:solidFill>
                <a:latin typeface="Rostelecom Basis" panose="020B0503030604040103" pitchFamily="34" charset="0"/>
              </a:defRPr>
            </a:lvl1pPr>
          </a:lstStyle>
          <a:p>
            <a:pPr lvl="0"/>
            <a:r>
              <a:rPr lang="ru-RU" dirty="0"/>
              <a:t>Введите подзаголовок</a:t>
            </a:r>
            <a:endParaRPr lang="en-US" dirty="0"/>
          </a:p>
        </p:txBody>
      </p:sp>
      <p:pic>
        <p:nvPicPr>
          <p:cNvPr id="26" name="Рисунок 25">
            <a:extLst>
              <a:ext uri="{FF2B5EF4-FFF2-40B4-BE49-F238E27FC236}">
                <a16:creationId xmlns:a16="http://schemas.microsoft.com/office/drawing/2014/main" id="{F12F7A60-0C60-174F-A0F4-BCAD3AF53C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5972" y="287368"/>
            <a:ext cx="961168" cy="1344315"/>
          </a:xfrm>
          <a:prstGeom prst="rect">
            <a:avLst/>
          </a:prstGeom>
        </p:spPr>
      </p:pic>
      <p:pic>
        <p:nvPicPr>
          <p:cNvPr id="28" name="Рисунок 27">
            <a:extLst>
              <a:ext uri="{FF2B5EF4-FFF2-40B4-BE49-F238E27FC236}">
                <a16:creationId xmlns:a16="http://schemas.microsoft.com/office/drawing/2014/main" id="{7ABE1B79-D73B-6D40-8A6C-9584B3125A22}"/>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2934397357"/>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6">
    <p:bg>
      <p:bgPr>
        <a:solidFill>
          <a:srgbClr val="7700FF"/>
        </a:solidFill>
        <a:effectLst/>
      </p:bgPr>
    </p:bg>
    <p:spTree>
      <p:nvGrpSpPr>
        <p:cNvPr id="1" name=""/>
        <p:cNvGrpSpPr/>
        <p:nvPr/>
      </p:nvGrpSpPr>
      <p:grpSpPr>
        <a:xfrm>
          <a:off x="0" y="0"/>
          <a:ext cx="0" cy="0"/>
          <a:chOff x="0" y="0"/>
          <a:chExt cx="0" cy="0"/>
        </a:xfrm>
      </p:grpSpPr>
      <p:sp>
        <p:nvSpPr>
          <p:cNvPr id="10" name="Заголовок 17">
            <a:extLst>
              <a:ext uri="{FF2B5EF4-FFF2-40B4-BE49-F238E27FC236}">
                <a16:creationId xmlns:a16="http://schemas.microsoft.com/office/drawing/2014/main" id="{5DF24D8D-5C2A-42A5-9F06-F7DE93ECDC4C}"/>
              </a:ext>
            </a:extLst>
          </p:cNvPr>
          <p:cNvSpPr>
            <a:spLocks noGrp="1"/>
          </p:cNvSpPr>
          <p:nvPr>
            <p:ph type="title" hasCustomPrompt="1"/>
          </p:nvPr>
        </p:nvSpPr>
        <p:spPr>
          <a:xfrm>
            <a:off x="598992" y="310797"/>
            <a:ext cx="10914497" cy="2995692"/>
          </a:xfrm>
          <a:prstGeom prst="rect">
            <a:avLst/>
          </a:prstGeom>
        </p:spPr>
        <p:txBody>
          <a:bodyPr lIns="0">
            <a:spAutoFit/>
          </a:bodyPr>
          <a:lstStyle>
            <a:lvl1pPr algn="l">
              <a:defRPr sz="9333" b="0" i="0">
                <a:solidFill>
                  <a:schemeClr val="bg1"/>
                </a:solidFill>
                <a:latin typeface="Rostelecom Basis Medium" panose="020B0503030604040103" pitchFamily="34" charset="0"/>
              </a:defRPr>
            </a:lvl1pPr>
          </a:lstStyle>
          <a:p>
            <a:r>
              <a:rPr lang="ru-RU" dirty="0"/>
              <a:t>Введите название презентации</a:t>
            </a:r>
          </a:p>
        </p:txBody>
      </p:sp>
      <p:sp>
        <p:nvSpPr>
          <p:cNvPr id="6" name="Text Placeholder 2">
            <a:extLst>
              <a:ext uri="{FF2B5EF4-FFF2-40B4-BE49-F238E27FC236}">
                <a16:creationId xmlns:a16="http://schemas.microsoft.com/office/drawing/2014/main" id="{84732EA3-7D9A-4AED-B22E-01D8EC899CA5}"/>
              </a:ext>
            </a:extLst>
          </p:cNvPr>
          <p:cNvSpPr>
            <a:spLocks noGrp="1"/>
          </p:cNvSpPr>
          <p:nvPr>
            <p:ph type="body" sz="quarter" idx="12" hasCustomPrompt="1"/>
          </p:nvPr>
        </p:nvSpPr>
        <p:spPr>
          <a:xfrm>
            <a:off x="598991" y="3343319"/>
            <a:ext cx="5829300" cy="713317"/>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Введите подзаголовок</a:t>
            </a:r>
          </a:p>
        </p:txBody>
      </p:sp>
      <p:pic>
        <p:nvPicPr>
          <p:cNvPr id="7" name="Рисунок 6">
            <a:extLst>
              <a:ext uri="{FF2B5EF4-FFF2-40B4-BE49-F238E27FC236}">
                <a16:creationId xmlns:a16="http://schemas.microsoft.com/office/drawing/2014/main" id="{AF7813A4-A504-A245-A8D4-EF92D544C31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835140" y="6202934"/>
            <a:ext cx="2134821" cy="486889"/>
          </a:xfrm>
          <a:prstGeom prst="rect">
            <a:avLst/>
          </a:prstGeom>
        </p:spPr>
      </p:pic>
    </p:spTree>
    <p:extLst>
      <p:ext uri="{BB962C8B-B14F-4D97-AF65-F5344CB8AC3E}">
        <p14:creationId xmlns:p14="http://schemas.microsoft.com/office/powerpoint/2010/main" val="4137896061"/>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7">
    <p:bg>
      <p:bgPr>
        <a:solidFill>
          <a:srgbClr val="FF4F12"/>
        </a:solidFill>
        <a:effectLst/>
      </p:bgPr>
    </p:bg>
    <p:spTree>
      <p:nvGrpSpPr>
        <p:cNvPr id="1" name=""/>
        <p:cNvGrpSpPr/>
        <p:nvPr/>
      </p:nvGrpSpPr>
      <p:grpSpPr>
        <a:xfrm>
          <a:off x="0" y="0"/>
          <a:ext cx="0" cy="0"/>
          <a:chOff x="0" y="0"/>
          <a:chExt cx="0" cy="0"/>
        </a:xfrm>
      </p:grpSpPr>
      <p:sp>
        <p:nvSpPr>
          <p:cNvPr id="7" name="Заголовок 17">
            <a:extLst>
              <a:ext uri="{FF2B5EF4-FFF2-40B4-BE49-F238E27FC236}">
                <a16:creationId xmlns:a16="http://schemas.microsoft.com/office/drawing/2014/main" id="{CA8B788E-4662-C149-9FD0-5D07E6A0050D}"/>
              </a:ext>
            </a:extLst>
          </p:cNvPr>
          <p:cNvSpPr>
            <a:spLocks noGrp="1"/>
          </p:cNvSpPr>
          <p:nvPr>
            <p:ph type="title" hasCustomPrompt="1"/>
          </p:nvPr>
        </p:nvSpPr>
        <p:spPr>
          <a:xfrm>
            <a:off x="598992" y="310797"/>
            <a:ext cx="10914497" cy="2995692"/>
          </a:xfrm>
          <a:prstGeom prst="rect">
            <a:avLst/>
          </a:prstGeom>
        </p:spPr>
        <p:txBody>
          <a:bodyPr lIns="0">
            <a:spAutoFit/>
          </a:bodyPr>
          <a:lstStyle>
            <a:lvl1pPr algn="l">
              <a:defRPr sz="9333" b="0" i="0">
                <a:solidFill>
                  <a:schemeClr val="bg1"/>
                </a:solidFill>
                <a:latin typeface="Rostelecom Basis Medium" panose="020B0503030604040103" pitchFamily="34" charset="0"/>
              </a:defRPr>
            </a:lvl1pPr>
          </a:lstStyle>
          <a:p>
            <a:r>
              <a:rPr lang="ru-RU" dirty="0"/>
              <a:t>Введите название презентации</a:t>
            </a:r>
          </a:p>
        </p:txBody>
      </p:sp>
      <p:sp>
        <p:nvSpPr>
          <p:cNvPr id="8" name="Text Placeholder 2">
            <a:extLst>
              <a:ext uri="{FF2B5EF4-FFF2-40B4-BE49-F238E27FC236}">
                <a16:creationId xmlns:a16="http://schemas.microsoft.com/office/drawing/2014/main" id="{DF1785AB-A91E-9240-890A-FC4A26A5C5D6}"/>
              </a:ext>
            </a:extLst>
          </p:cNvPr>
          <p:cNvSpPr>
            <a:spLocks noGrp="1"/>
          </p:cNvSpPr>
          <p:nvPr>
            <p:ph type="body" sz="quarter" idx="12" hasCustomPrompt="1"/>
          </p:nvPr>
        </p:nvSpPr>
        <p:spPr>
          <a:xfrm>
            <a:off x="598991" y="3343319"/>
            <a:ext cx="5829300" cy="713317"/>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Введите подзаголовок</a:t>
            </a:r>
          </a:p>
        </p:txBody>
      </p:sp>
      <p:pic>
        <p:nvPicPr>
          <p:cNvPr id="10" name="Рисунок 9">
            <a:extLst>
              <a:ext uri="{FF2B5EF4-FFF2-40B4-BE49-F238E27FC236}">
                <a16:creationId xmlns:a16="http://schemas.microsoft.com/office/drawing/2014/main" id="{6CC23987-1ACF-5B40-886F-E989D331FA2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835140" y="6202934"/>
            <a:ext cx="2134821" cy="486889"/>
          </a:xfrm>
          <a:prstGeom prst="rect">
            <a:avLst/>
          </a:prstGeom>
        </p:spPr>
      </p:pic>
    </p:spTree>
    <p:extLst>
      <p:ext uri="{BB962C8B-B14F-4D97-AF65-F5344CB8AC3E}">
        <p14:creationId xmlns:p14="http://schemas.microsoft.com/office/powerpoint/2010/main" val="4142320097"/>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8">
    <p:bg>
      <p:bgPr>
        <a:solidFill>
          <a:srgbClr val="57D9B7"/>
        </a:solidFill>
        <a:effectLst/>
      </p:bgPr>
    </p:bg>
    <p:spTree>
      <p:nvGrpSpPr>
        <p:cNvPr id="1" name=""/>
        <p:cNvGrpSpPr/>
        <p:nvPr/>
      </p:nvGrpSpPr>
      <p:grpSpPr>
        <a:xfrm>
          <a:off x="0" y="0"/>
          <a:ext cx="0" cy="0"/>
          <a:chOff x="0" y="0"/>
          <a:chExt cx="0" cy="0"/>
        </a:xfrm>
      </p:grpSpPr>
      <p:sp>
        <p:nvSpPr>
          <p:cNvPr id="7" name="Заголовок 17">
            <a:extLst>
              <a:ext uri="{FF2B5EF4-FFF2-40B4-BE49-F238E27FC236}">
                <a16:creationId xmlns:a16="http://schemas.microsoft.com/office/drawing/2014/main" id="{E816F5B0-71FA-E24F-97F8-2B47D06EB214}"/>
              </a:ext>
            </a:extLst>
          </p:cNvPr>
          <p:cNvSpPr>
            <a:spLocks noGrp="1"/>
          </p:cNvSpPr>
          <p:nvPr>
            <p:ph type="title" hasCustomPrompt="1"/>
          </p:nvPr>
        </p:nvSpPr>
        <p:spPr>
          <a:xfrm>
            <a:off x="598992" y="310797"/>
            <a:ext cx="10914497" cy="2995692"/>
          </a:xfrm>
          <a:prstGeom prst="rect">
            <a:avLst/>
          </a:prstGeom>
        </p:spPr>
        <p:txBody>
          <a:bodyPr lIns="0">
            <a:spAutoFit/>
          </a:bodyPr>
          <a:lstStyle>
            <a:lvl1pPr algn="l">
              <a:defRPr sz="9333" b="0" i="0">
                <a:solidFill>
                  <a:schemeClr val="bg1"/>
                </a:solidFill>
                <a:latin typeface="Rostelecom Basis Medium" panose="020B0503030604040103" pitchFamily="34" charset="0"/>
              </a:defRPr>
            </a:lvl1pPr>
          </a:lstStyle>
          <a:p>
            <a:r>
              <a:rPr lang="ru-RU" dirty="0"/>
              <a:t>Введите название презентации</a:t>
            </a:r>
          </a:p>
        </p:txBody>
      </p:sp>
      <p:sp>
        <p:nvSpPr>
          <p:cNvPr id="8" name="Text Placeholder 2">
            <a:extLst>
              <a:ext uri="{FF2B5EF4-FFF2-40B4-BE49-F238E27FC236}">
                <a16:creationId xmlns:a16="http://schemas.microsoft.com/office/drawing/2014/main" id="{A03C414D-C187-554B-AE68-DD2AA74398F3}"/>
              </a:ext>
            </a:extLst>
          </p:cNvPr>
          <p:cNvSpPr>
            <a:spLocks noGrp="1"/>
          </p:cNvSpPr>
          <p:nvPr>
            <p:ph type="body" sz="quarter" idx="12" hasCustomPrompt="1"/>
          </p:nvPr>
        </p:nvSpPr>
        <p:spPr>
          <a:xfrm>
            <a:off x="598991" y="3343319"/>
            <a:ext cx="5829300" cy="713317"/>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Введите подзаголовок</a:t>
            </a:r>
          </a:p>
        </p:txBody>
      </p:sp>
      <p:pic>
        <p:nvPicPr>
          <p:cNvPr id="10" name="Рисунок 9">
            <a:extLst>
              <a:ext uri="{FF2B5EF4-FFF2-40B4-BE49-F238E27FC236}">
                <a16:creationId xmlns:a16="http://schemas.microsoft.com/office/drawing/2014/main" id="{7EB877F4-D921-9E40-B4BC-4FBE94D9477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835140" y="6202934"/>
            <a:ext cx="2134821" cy="486889"/>
          </a:xfrm>
          <a:prstGeom prst="rect">
            <a:avLst/>
          </a:prstGeom>
        </p:spPr>
      </p:pic>
    </p:spTree>
    <p:extLst>
      <p:ext uri="{BB962C8B-B14F-4D97-AF65-F5344CB8AC3E}">
        <p14:creationId xmlns:p14="http://schemas.microsoft.com/office/powerpoint/2010/main" val="1340686507"/>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9">
    <p:bg>
      <p:bgPr>
        <a:solidFill>
          <a:srgbClr val="75939C"/>
        </a:solidFill>
        <a:effectLst/>
      </p:bgPr>
    </p:bg>
    <p:spTree>
      <p:nvGrpSpPr>
        <p:cNvPr id="1" name=""/>
        <p:cNvGrpSpPr/>
        <p:nvPr/>
      </p:nvGrpSpPr>
      <p:grpSpPr>
        <a:xfrm>
          <a:off x="0" y="0"/>
          <a:ext cx="0" cy="0"/>
          <a:chOff x="0" y="0"/>
          <a:chExt cx="0" cy="0"/>
        </a:xfrm>
      </p:grpSpPr>
      <p:sp>
        <p:nvSpPr>
          <p:cNvPr id="7" name="Заголовок 17">
            <a:extLst>
              <a:ext uri="{FF2B5EF4-FFF2-40B4-BE49-F238E27FC236}">
                <a16:creationId xmlns:a16="http://schemas.microsoft.com/office/drawing/2014/main" id="{CC95E4AA-A3F7-FE41-B1B9-7490A9555FDB}"/>
              </a:ext>
            </a:extLst>
          </p:cNvPr>
          <p:cNvSpPr>
            <a:spLocks noGrp="1"/>
          </p:cNvSpPr>
          <p:nvPr>
            <p:ph type="title" hasCustomPrompt="1"/>
          </p:nvPr>
        </p:nvSpPr>
        <p:spPr>
          <a:xfrm>
            <a:off x="598992" y="310797"/>
            <a:ext cx="10914497" cy="2713435"/>
          </a:xfrm>
          <a:prstGeom prst="rect">
            <a:avLst/>
          </a:prstGeom>
        </p:spPr>
        <p:txBody>
          <a:bodyPr lIns="0">
            <a:spAutoFit/>
          </a:bodyPr>
          <a:lstStyle>
            <a:lvl1pPr algn="l">
              <a:defRPr sz="9333" b="0" i="0">
                <a:solidFill>
                  <a:schemeClr val="bg1"/>
                </a:solidFill>
                <a:latin typeface="Rostelecom Basis Medium" panose="020B0503030604040103" pitchFamily="34" charset="0"/>
              </a:defRPr>
            </a:lvl1pPr>
          </a:lstStyle>
          <a:p>
            <a:r>
              <a:rPr lang="ru-RU" dirty="0"/>
              <a:t>Введите название презентации</a:t>
            </a:r>
          </a:p>
        </p:txBody>
      </p:sp>
      <p:sp>
        <p:nvSpPr>
          <p:cNvPr id="8" name="Text Placeholder 2">
            <a:extLst>
              <a:ext uri="{FF2B5EF4-FFF2-40B4-BE49-F238E27FC236}">
                <a16:creationId xmlns:a16="http://schemas.microsoft.com/office/drawing/2014/main" id="{8FD0DFEE-5D13-674E-908E-717F77648E84}"/>
              </a:ext>
            </a:extLst>
          </p:cNvPr>
          <p:cNvSpPr>
            <a:spLocks noGrp="1"/>
          </p:cNvSpPr>
          <p:nvPr>
            <p:ph type="body" sz="quarter" idx="12" hasCustomPrompt="1"/>
          </p:nvPr>
        </p:nvSpPr>
        <p:spPr>
          <a:xfrm>
            <a:off x="598991" y="3343319"/>
            <a:ext cx="5829300" cy="713317"/>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Введите подзаголовок</a:t>
            </a:r>
          </a:p>
        </p:txBody>
      </p:sp>
      <p:pic>
        <p:nvPicPr>
          <p:cNvPr id="5" name="Рисунок 9">
            <a:extLst>
              <a:ext uri="{FF2B5EF4-FFF2-40B4-BE49-F238E27FC236}">
                <a16:creationId xmlns:a16="http://schemas.microsoft.com/office/drawing/2014/main" id="{DC681AF2-AAF4-3542-8389-05282B5F314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835140" y="6202934"/>
            <a:ext cx="2134821" cy="486889"/>
          </a:xfrm>
          <a:prstGeom prst="rect">
            <a:avLst/>
          </a:prstGeom>
        </p:spPr>
      </p:pic>
    </p:spTree>
    <p:extLst>
      <p:ext uri="{BB962C8B-B14F-4D97-AF65-F5344CB8AC3E}">
        <p14:creationId xmlns:p14="http://schemas.microsoft.com/office/powerpoint/2010/main" val="2784718583"/>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1-10">
    <p:bg>
      <p:bgPr>
        <a:solidFill>
          <a:srgbClr val="FFBE08"/>
        </a:solidFill>
        <a:effectLst/>
      </p:bgPr>
    </p:bg>
    <p:spTree>
      <p:nvGrpSpPr>
        <p:cNvPr id="1" name=""/>
        <p:cNvGrpSpPr/>
        <p:nvPr/>
      </p:nvGrpSpPr>
      <p:grpSpPr>
        <a:xfrm>
          <a:off x="0" y="0"/>
          <a:ext cx="0" cy="0"/>
          <a:chOff x="0" y="0"/>
          <a:chExt cx="0" cy="0"/>
        </a:xfrm>
      </p:grpSpPr>
      <p:sp>
        <p:nvSpPr>
          <p:cNvPr id="7" name="Заголовок 17">
            <a:extLst>
              <a:ext uri="{FF2B5EF4-FFF2-40B4-BE49-F238E27FC236}">
                <a16:creationId xmlns:a16="http://schemas.microsoft.com/office/drawing/2014/main" id="{CC95E4AA-A3F7-FE41-B1B9-7490A9555FDB}"/>
              </a:ext>
            </a:extLst>
          </p:cNvPr>
          <p:cNvSpPr>
            <a:spLocks noGrp="1"/>
          </p:cNvSpPr>
          <p:nvPr>
            <p:ph type="title" hasCustomPrompt="1"/>
          </p:nvPr>
        </p:nvSpPr>
        <p:spPr>
          <a:xfrm>
            <a:off x="598992" y="310797"/>
            <a:ext cx="10914497" cy="2995692"/>
          </a:xfrm>
          <a:prstGeom prst="rect">
            <a:avLst/>
          </a:prstGeom>
        </p:spPr>
        <p:txBody>
          <a:bodyPr lIns="0">
            <a:spAutoFit/>
          </a:bodyPr>
          <a:lstStyle>
            <a:lvl1pPr algn="l">
              <a:defRPr sz="9333" b="0" i="0">
                <a:solidFill>
                  <a:schemeClr val="tx1"/>
                </a:solidFill>
                <a:latin typeface="Rostelecom Basis Medium" panose="020B0503030604040103" pitchFamily="34" charset="0"/>
              </a:defRPr>
            </a:lvl1pPr>
          </a:lstStyle>
          <a:p>
            <a:r>
              <a:rPr lang="ru-RU" dirty="0"/>
              <a:t>Введите название презентации</a:t>
            </a:r>
          </a:p>
        </p:txBody>
      </p:sp>
      <p:sp>
        <p:nvSpPr>
          <p:cNvPr id="8" name="Text Placeholder 2">
            <a:extLst>
              <a:ext uri="{FF2B5EF4-FFF2-40B4-BE49-F238E27FC236}">
                <a16:creationId xmlns:a16="http://schemas.microsoft.com/office/drawing/2014/main" id="{8FD0DFEE-5D13-674E-908E-717F77648E84}"/>
              </a:ext>
            </a:extLst>
          </p:cNvPr>
          <p:cNvSpPr>
            <a:spLocks noGrp="1"/>
          </p:cNvSpPr>
          <p:nvPr>
            <p:ph type="body" sz="quarter" idx="12" hasCustomPrompt="1"/>
          </p:nvPr>
        </p:nvSpPr>
        <p:spPr>
          <a:xfrm>
            <a:off x="598991" y="3343319"/>
            <a:ext cx="5829300" cy="713317"/>
          </a:xfrm>
          <a:prstGeom prst="rect">
            <a:avLst/>
          </a:prstGeom>
        </p:spPr>
        <p:txBody>
          <a:bodyPr lIns="0"/>
          <a:lstStyle>
            <a:lvl1pPr marL="0" indent="0">
              <a:buNone/>
              <a:defRPr sz="2667" b="0" i="0">
                <a:solidFill>
                  <a:schemeClr val="tx1"/>
                </a:solidFill>
                <a:latin typeface="Rostelecom Basis" panose="020B0503030604040103" pitchFamily="34" charset="0"/>
              </a:defRPr>
            </a:lvl1pPr>
          </a:lstStyle>
          <a:p>
            <a:pPr lvl="0"/>
            <a:r>
              <a:rPr lang="ru-RU" dirty="0"/>
              <a:t>Введите подзаголовок</a:t>
            </a:r>
          </a:p>
        </p:txBody>
      </p:sp>
      <p:pic>
        <p:nvPicPr>
          <p:cNvPr id="10" name="Рисунок 9">
            <a:extLst>
              <a:ext uri="{FF2B5EF4-FFF2-40B4-BE49-F238E27FC236}">
                <a16:creationId xmlns:a16="http://schemas.microsoft.com/office/drawing/2014/main" id="{D495414B-F3C9-2042-AA14-54F7C118CFB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9835140" y="6202934"/>
            <a:ext cx="2134821" cy="486889"/>
          </a:xfrm>
          <a:prstGeom prst="rect">
            <a:avLst/>
          </a:prstGeom>
        </p:spPr>
      </p:pic>
    </p:spTree>
    <p:extLst>
      <p:ext uri="{BB962C8B-B14F-4D97-AF65-F5344CB8AC3E}">
        <p14:creationId xmlns:p14="http://schemas.microsoft.com/office/powerpoint/2010/main" val="2159697428"/>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3-7">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17E98B6B-359D-479D-8605-F984C751B1D0}"/>
              </a:ext>
            </a:extLst>
          </p:cNvPr>
          <p:cNvSpPr>
            <a:spLocks noGrp="1"/>
          </p:cNvSpPr>
          <p:nvPr>
            <p:ph type="pic" sz="quarter" idx="10" hasCustomPrompt="1"/>
          </p:nvPr>
        </p:nvSpPr>
        <p:spPr>
          <a:xfrm>
            <a:off x="0" y="0"/>
            <a:ext cx="12192000" cy="6858000"/>
          </a:xfrm>
          <a:prstGeom prst="rect">
            <a:avLst/>
          </a:prstGeom>
          <a:solidFill>
            <a:schemeClr val="bg1">
              <a:lumMod val="95000"/>
            </a:schemeClr>
          </a:solidFill>
        </p:spPr>
        <p:txBody>
          <a:bodyPr wrap="square" lIns="90000" tIns="46800" rIns="90000" bIns="0" anchor="b" anchorCtr="1"/>
          <a:lstStyle>
            <a:lvl1pPr marL="0" marR="0" indent="0" algn="ctr" defTabSz="412740" eaLnBrk="1" fontAlgn="auto" latinLnBrk="0" hangingPunct="1">
              <a:lnSpc>
                <a:spcPct val="100000"/>
              </a:lnSpc>
              <a:spcBef>
                <a:spcPts val="2951"/>
              </a:spcBef>
              <a:spcAft>
                <a:spcPts val="0"/>
              </a:spcAft>
              <a:buClrTx/>
              <a:buSzPct val="125000"/>
              <a:buFontTx/>
              <a:buNone/>
              <a:tabLst/>
              <a:defRPr sz="1333">
                <a:solidFill>
                  <a:schemeClr val="tx1">
                    <a:lumMod val="50000"/>
                    <a:lumOff val="50000"/>
                  </a:schemeClr>
                </a:solidFill>
                <a:latin typeface="+mj-lt"/>
              </a:defRPr>
            </a:lvl1pPr>
          </a:lstStyle>
          <a:p>
            <a:r>
              <a:rPr lang="ru-RU" dirty="0"/>
              <a:t>Кликните иконку для вставки изображения. </a:t>
            </a:r>
            <a:br>
              <a:rPr lang="ru-RU" dirty="0"/>
            </a:br>
            <a:r>
              <a:rPr lang="ru-RU" dirty="0" err="1"/>
              <a:t>Кадрировать</a:t>
            </a:r>
            <a:r>
              <a:rPr lang="ru-RU" dirty="0"/>
              <a:t>, перемещать — в режиме «Обрезать»</a:t>
            </a:r>
          </a:p>
          <a:p>
            <a:endParaRPr lang="ru-RU" dirty="0"/>
          </a:p>
          <a:p>
            <a:endParaRPr lang="ru-RU" dirty="0"/>
          </a:p>
          <a:p>
            <a:endParaRPr lang="ru-RU" dirty="0"/>
          </a:p>
          <a:p>
            <a:endParaRPr lang="ru-RU" dirty="0"/>
          </a:p>
        </p:txBody>
      </p:sp>
      <p:sp>
        <p:nvSpPr>
          <p:cNvPr id="8" name="Рисунок 2">
            <a:extLst>
              <a:ext uri="{FF2B5EF4-FFF2-40B4-BE49-F238E27FC236}">
                <a16:creationId xmlns:a16="http://schemas.microsoft.com/office/drawing/2014/main" id="{C2957328-4643-9A4F-81CC-868EDF5AA0AC}"/>
              </a:ext>
            </a:extLst>
          </p:cNvPr>
          <p:cNvSpPr>
            <a:spLocks noGrp="1"/>
          </p:cNvSpPr>
          <p:nvPr>
            <p:ph type="pic" sz="quarter" idx="13" hasCustomPrompt="1"/>
          </p:nvPr>
        </p:nvSpPr>
        <p:spPr>
          <a:xfrm>
            <a:off x="465667" y="6203379"/>
            <a:ext cx="2145600" cy="489600"/>
          </a:xfrm>
          <a:prstGeom prst="rect">
            <a:avLst/>
          </a:prstGeom>
        </p:spPr>
        <p:txBody>
          <a:bodyPr/>
          <a:lstStyle>
            <a:lvl1pPr marL="0" indent="0">
              <a:buNone/>
              <a:defRPr/>
            </a:lvl1pPr>
          </a:lstStyle>
          <a:p>
            <a:r>
              <a:rPr lang="ru-RU" dirty="0"/>
              <a:t>Добавьте логотип</a:t>
            </a:r>
            <a:br>
              <a:rPr lang="ru-RU" dirty="0"/>
            </a:br>
            <a:r>
              <a:rPr lang="en-US" dirty="0" err="1"/>
              <a:t>Rostelecom-log.svg</a:t>
            </a:r>
            <a:endParaRPr lang="ru-RU" dirty="0"/>
          </a:p>
        </p:txBody>
      </p:sp>
      <p:sp>
        <p:nvSpPr>
          <p:cNvPr id="7" name="Текст 13">
            <a:extLst>
              <a:ext uri="{FF2B5EF4-FFF2-40B4-BE49-F238E27FC236}">
                <a16:creationId xmlns:a16="http://schemas.microsoft.com/office/drawing/2014/main" id="{BA9F7BB9-31D6-CE4F-BED3-F0625BF69056}"/>
              </a:ext>
            </a:extLst>
          </p:cNvPr>
          <p:cNvSpPr>
            <a:spLocks noGrp="1"/>
          </p:cNvSpPr>
          <p:nvPr>
            <p:ph type="body" sz="quarter" idx="11" hasCustomPrompt="1"/>
          </p:nvPr>
        </p:nvSpPr>
        <p:spPr>
          <a:xfrm>
            <a:off x="465973" y="2292743"/>
            <a:ext cx="6524108" cy="943848"/>
          </a:xfrm>
          <a:prstGeom prst="rect">
            <a:avLst/>
          </a:prstGeom>
          <a:solidFill>
            <a:srgbClr val="FFBE08"/>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или цитату</a:t>
            </a:r>
          </a:p>
        </p:txBody>
      </p:sp>
      <p:sp>
        <p:nvSpPr>
          <p:cNvPr id="9" name="Текст 13">
            <a:extLst>
              <a:ext uri="{FF2B5EF4-FFF2-40B4-BE49-F238E27FC236}">
                <a16:creationId xmlns:a16="http://schemas.microsoft.com/office/drawing/2014/main" id="{BF15F118-A242-1C45-B8CC-7349A2EB4ECF}"/>
              </a:ext>
            </a:extLst>
          </p:cNvPr>
          <p:cNvSpPr>
            <a:spLocks noGrp="1"/>
          </p:cNvSpPr>
          <p:nvPr>
            <p:ph type="body" sz="quarter" idx="12" hasCustomPrompt="1"/>
          </p:nvPr>
        </p:nvSpPr>
        <p:spPr>
          <a:xfrm>
            <a:off x="465972" y="1353953"/>
            <a:ext cx="7411936" cy="943848"/>
          </a:xfrm>
          <a:prstGeom prst="rect">
            <a:avLst/>
          </a:prstGeom>
          <a:solidFill>
            <a:srgbClr val="FFBE08"/>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Добавьте тезис</a:t>
            </a:r>
          </a:p>
        </p:txBody>
      </p:sp>
    </p:spTree>
    <p:extLst>
      <p:ext uri="{BB962C8B-B14F-4D97-AF65-F5344CB8AC3E}">
        <p14:creationId xmlns:p14="http://schemas.microsoft.com/office/powerpoint/2010/main" val="185842427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3-1">
    <p:bg>
      <p:bgPr>
        <a:solidFill>
          <a:srgbClr val="57D9B7"/>
        </a:solidFill>
        <a:effectLst/>
      </p:bgPr>
    </p:bg>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35E29D89-2563-4418-BCE3-D94537A2E5C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65972" y="6202934"/>
            <a:ext cx="2134821" cy="487581"/>
          </a:xfrm>
          <a:prstGeom prst="rect">
            <a:avLst/>
          </a:prstGeom>
        </p:spPr>
      </p:pic>
      <p:sp>
        <p:nvSpPr>
          <p:cNvPr id="5" name="Текст 13">
            <a:extLst>
              <a:ext uri="{FF2B5EF4-FFF2-40B4-BE49-F238E27FC236}">
                <a16:creationId xmlns:a16="http://schemas.microsoft.com/office/drawing/2014/main" id="{39F39420-D8DC-754B-9143-295A29D60579}"/>
              </a:ext>
            </a:extLst>
          </p:cNvPr>
          <p:cNvSpPr>
            <a:spLocks noGrp="1"/>
          </p:cNvSpPr>
          <p:nvPr>
            <p:ph type="body" sz="quarter" idx="11" hasCustomPrompt="1"/>
          </p:nvPr>
        </p:nvSpPr>
        <p:spPr>
          <a:xfrm>
            <a:off x="465973" y="2292743"/>
            <a:ext cx="6524108" cy="943848"/>
          </a:xfrm>
          <a:prstGeom prst="rect">
            <a:avLst/>
          </a:prstGeom>
          <a:solidFill>
            <a:srgbClr val="8600FF"/>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или цитату</a:t>
            </a:r>
          </a:p>
        </p:txBody>
      </p:sp>
      <p:sp>
        <p:nvSpPr>
          <p:cNvPr id="6" name="Текст 13">
            <a:extLst>
              <a:ext uri="{FF2B5EF4-FFF2-40B4-BE49-F238E27FC236}">
                <a16:creationId xmlns:a16="http://schemas.microsoft.com/office/drawing/2014/main" id="{DC316CD6-A01B-D24C-A53E-B4D85828A242}"/>
              </a:ext>
            </a:extLst>
          </p:cNvPr>
          <p:cNvSpPr>
            <a:spLocks noGrp="1"/>
          </p:cNvSpPr>
          <p:nvPr>
            <p:ph type="body" sz="quarter" idx="12" hasCustomPrompt="1"/>
          </p:nvPr>
        </p:nvSpPr>
        <p:spPr>
          <a:xfrm>
            <a:off x="465972" y="1353953"/>
            <a:ext cx="7411936" cy="943848"/>
          </a:xfrm>
          <a:prstGeom prst="rect">
            <a:avLst/>
          </a:prstGeom>
          <a:solidFill>
            <a:srgbClr val="8600FF"/>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Добавьте тезис</a:t>
            </a:r>
          </a:p>
        </p:txBody>
      </p:sp>
    </p:spTree>
    <p:extLst>
      <p:ext uri="{BB962C8B-B14F-4D97-AF65-F5344CB8AC3E}">
        <p14:creationId xmlns:p14="http://schemas.microsoft.com/office/powerpoint/2010/main" val="418675460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3-2">
    <p:bg>
      <p:bgPr>
        <a:solidFill>
          <a:srgbClr val="FFBE08"/>
        </a:solidFill>
        <a:effectLst/>
      </p:bgPr>
    </p:bg>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35E29D89-2563-4418-BCE3-D94537A2E5C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65972" y="6202934"/>
            <a:ext cx="2134821" cy="487581"/>
          </a:xfrm>
          <a:prstGeom prst="rect">
            <a:avLst/>
          </a:prstGeom>
        </p:spPr>
      </p:pic>
      <p:sp>
        <p:nvSpPr>
          <p:cNvPr id="7" name="Текст 13">
            <a:extLst>
              <a:ext uri="{FF2B5EF4-FFF2-40B4-BE49-F238E27FC236}">
                <a16:creationId xmlns:a16="http://schemas.microsoft.com/office/drawing/2014/main" id="{AE0FEE89-5861-CA47-9CDD-F1983CD3139B}"/>
              </a:ext>
            </a:extLst>
          </p:cNvPr>
          <p:cNvSpPr>
            <a:spLocks noGrp="1"/>
          </p:cNvSpPr>
          <p:nvPr>
            <p:ph type="body" sz="quarter" idx="11" hasCustomPrompt="1"/>
          </p:nvPr>
        </p:nvSpPr>
        <p:spPr>
          <a:xfrm>
            <a:off x="465973" y="2292743"/>
            <a:ext cx="6524108" cy="943848"/>
          </a:xfrm>
          <a:prstGeom prst="rect">
            <a:avLst/>
          </a:prstGeom>
          <a:solidFill>
            <a:srgbClr val="8600FF"/>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или цитату</a:t>
            </a:r>
          </a:p>
        </p:txBody>
      </p:sp>
      <p:sp>
        <p:nvSpPr>
          <p:cNvPr id="9" name="Текст 13">
            <a:extLst>
              <a:ext uri="{FF2B5EF4-FFF2-40B4-BE49-F238E27FC236}">
                <a16:creationId xmlns:a16="http://schemas.microsoft.com/office/drawing/2014/main" id="{3A6D1F0A-1E4D-7D49-82B2-EE7D3C949A46}"/>
              </a:ext>
            </a:extLst>
          </p:cNvPr>
          <p:cNvSpPr>
            <a:spLocks noGrp="1"/>
          </p:cNvSpPr>
          <p:nvPr>
            <p:ph type="body" sz="quarter" idx="12" hasCustomPrompt="1"/>
          </p:nvPr>
        </p:nvSpPr>
        <p:spPr>
          <a:xfrm>
            <a:off x="465972" y="1353953"/>
            <a:ext cx="7411936" cy="943848"/>
          </a:xfrm>
          <a:prstGeom prst="rect">
            <a:avLst/>
          </a:prstGeom>
          <a:solidFill>
            <a:srgbClr val="8600FF"/>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Добавьте тезис</a:t>
            </a:r>
          </a:p>
        </p:txBody>
      </p:sp>
    </p:spTree>
    <p:extLst>
      <p:ext uri="{BB962C8B-B14F-4D97-AF65-F5344CB8AC3E}">
        <p14:creationId xmlns:p14="http://schemas.microsoft.com/office/powerpoint/2010/main" val="304834480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3-3">
    <p:bg>
      <p:bgPr>
        <a:solidFill>
          <a:srgbClr val="FFBCC1"/>
        </a:solidFill>
        <a:effectLst/>
      </p:bgPr>
    </p:bg>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35E29D89-2563-4418-BCE3-D94537A2E5C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65972" y="6202934"/>
            <a:ext cx="2134821" cy="487581"/>
          </a:xfrm>
          <a:prstGeom prst="rect">
            <a:avLst/>
          </a:prstGeom>
        </p:spPr>
      </p:pic>
      <p:sp>
        <p:nvSpPr>
          <p:cNvPr id="10" name="Текст 13">
            <a:extLst>
              <a:ext uri="{FF2B5EF4-FFF2-40B4-BE49-F238E27FC236}">
                <a16:creationId xmlns:a16="http://schemas.microsoft.com/office/drawing/2014/main" id="{BBC2481A-3D46-3E4B-A8C8-43FE48BCDB59}"/>
              </a:ext>
            </a:extLst>
          </p:cNvPr>
          <p:cNvSpPr>
            <a:spLocks noGrp="1"/>
          </p:cNvSpPr>
          <p:nvPr>
            <p:ph type="body" sz="quarter" idx="11" hasCustomPrompt="1"/>
          </p:nvPr>
        </p:nvSpPr>
        <p:spPr>
          <a:xfrm>
            <a:off x="465973" y="2292743"/>
            <a:ext cx="6524108" cy="943848"/>
          </a:xfrm>
          <a:prstGeom prst="rect">
            <a:avLst/>
          </a:prstGeom>
          <a:solidFill>
            <a:srgbClr val="8600FF"/>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или цитату</a:t>
            </a:r>
          </a:p>
        </p:txBody>
      </p:sp>
      <p:sp>
        <p:nvSpPr>
          <p:cNvPr id="11" name="Текст 13">
            <a:extLst>
              <a:ext uri="{FF2B5EF4-FFF2-40B4-BE49-F238E27FC236}">
                <a16:creationId xmlns:a16="http://schemas.microsoft.com/office/drawing/2014/main" id="{F62473E5-88D7-2241-AEC0-05C556573E6F}"/>
              </a:ext>
            </a:extLst>
          </p:cNvPr>
          <p:cNvSpPr>
            <a:spLocks noGrp="1"/>
          </p:cNvSpPr>
          <p:nvPr>
            <p:ph type="body" sz="quarter" idx="12" hasCustomPrompt="1"/>
          </p:nvPr>
        </p:nvSpPr>
        <p:spPr>
          <a:xfrm>
            <a:off x="465972" y="1353953"/>
            <a:ext cx="7411936" cy="943848"/>
          </a:xfrm>
          <a:prstGeom prst="rect">
            <a:avLst/>
          </a:prstGeom>
          <a:solidFill>
            <a:srgbClr val="8600FF"/>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Добавьте тезис</a:t>
            </a:r>
          </a:p>
        </p:txBody>
      </p:sp>
    </p:spTree>
    <p:extLst>
      <p:ext uri="{BB962C8B-B14F-4D97-AF65-F5344CB8AC3E}">
        <p14:creationId xmlns:p14="http://schemas.microsoft.com/office/powerpoint/2010/main" val="10469035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цитаты/тезисы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3"/>
              </a:lnSpc>
              <a:tabLst>
                <a:tab pos="8776699" algn="l"/>
              </a:tabLst>
              <a:defRPr lang="ru-RU" sz="3527" dirty="0"/>
            </a:lvl1pPr>
          </a:lstStyle>
          <a:p>
            <a:pPr lvl="0">
              <a:lnSpc>
                <a:spcPts val="3703"/>
              </a:lnSpc>
            </a:pPr>
            <a:r>
              <a:rPr lang="ru-RU" dirty="0"/>
              <a:t>Слайд с цитатами/тезисами</a:t>
            </a:r>
            <a:br>
              <a:rPr lang="ru-RU" dirty="0"/>
            </a:br>
            <a:r>
              <a:rPr lang="ru-RU" dirty="0"/>
              <a:t>в две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8"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6205161"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1451785254"/>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3-4">
    <p:bg>
      <p:bgPr>
        <a:solidFill>
          <a:srgbClr val="273A64"/>
        </a:solidFill>
        <a:effectLst/>
      </p:bgPr>
    </p:bg>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35E29D89-2563-4418-BCE3-D94537A2E5C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65972" y="6202934"/>
            <a:ext cx="2134821" cy="487581"/>
          </a:xfrm>
          <a:prstGeom prst="rect">
            <a:avLst/>
          </a:prstGeom>
        </p:spPr>
      </p:pic>
      <p:sp>
        <p:nvSpPr>
          <p:cNvPr id="7" name="Текст 13">
            <a:extLst>
              <a:ext uri="{FF2B5EF4-FFF2-40B4-BE49-F238E27FC236}">
                <a16:creationId xmlns:a16="http://schemas.microsoft.com/office/drawing/2014/main" id="{02922D7C-4045-6F42-8CFA-2FB2EB71FBC0}"/>
              </a:ext>
            </a:extLst>
          </p:cNvPr>
          <p:cNvSpPr>
            <a:spLocks noGrp="1"/>
          </p:cNvSpPr>
          <p:nvPr>
            <p:ph type="body" sz="quarter" idx="11" hasCustomPrompt="1"/>
          </p:nvPr>
        </p:nvSpPr>
        <p:spPr>
          <a:xfrm>
            <a:off x="465973" y="2292743"/>
            <a:ext cx="6524108" cy="943848"/>
          </a:xfrm>
          <a:prstGeom prst="rect">
            <a:avLst/>
          </a:prstGeom>
          <a:solidFill>
            <a:srgbClr val="FFBE08"/>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или цитату</a:t>
            </a:r>
          </a:p>
        </p:txBody>
      </p:sp>
      <p:sp>
        <p:nvSpPr>
          <p:cNvPr id="9" name="Текст 13">
            <a:extLst>
              <a:ext uri="{FF2B5EF4-FFF2-40B4-BE49-F238E27FC236}">
                <a16:creationId xmlns:a16="http://schemas.microsoft.com/office/drawing/2014/main" id="{01AB3E0F-1A42-FC4E-800E-CD9DA8505B20}"/>
              </a:ext>
            </a:extLst>
          </p:cNvPr>
          <p:cNvSpPr>
            <a:spLocks noGrp="1"/>
          </p:cNvSpPr>
          <p:nvPr>
            <p:ph type="body" sz="quarter" idx="12" hasCustomPrompt="1"/>
          </p:nvPr>
        </p:nvSpPr>
        <p:spPr>
          <a:xfrm>
            <a:off x="465972" y="1353953"/>
            <a:ext cx="7411936" cy="943848"/>
          </a:xfrm>
          <a:prstGeom prst="rect">
            <a:avLst/>
          </a:prstGeom>
          <a:solidFill>
            <a:srgbClr val="FFBE08"/>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Добавьте тезис</a:t>
            </a:r>
          </a:p>
        </p:txBody>
      </p:sp>
    </p:spTree>
    <p:extLst>
      <p:ext uri="{BB962C8B-B14F-4D97-AF65-F5344CB8AC3E}">
        <p14:creationId xmlns:p14="http://schemas.microsoft.com/office/powerpoint/2010/main" val="291647253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5">
    <p:bg>
      <p:bgPr>
        <a:solidFill>
          <a:srgbClr val="75939C"/>
        </a:solidFill>
        <a:effectLst/>
      </p:bgPr>
    </p:bg>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35E29D89-2563-4418-BCE3-D94537A2E5C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65972" y="6202934"/>
            <a:ext cx="2134821" cy="487581"/>
          </a:xfrm>
          <a:prstGeom prst="rect">
            <a:avLst/>
          </a:prstGeom>
        </p:spPr>
      </p:pic>
      <p:sp>
        <p:nvSpPr>
          <p:cNvPr id="7" name="Текст 13">
            <a:extLst>
              <a:ext uri="{FF2B5EF4-FFF2-40B4-BE49-F238E27FC236}">
                <a16:creationId xmlns:a16="http://schemas.microsoft.com/office/drawing/2014/main" id="{2406A369-BDD1-094B-9145-4FD86B7F9045}"/>
              </a:ext>
            </a:extLst>
          </p:cNvPr>
          <p:cNvSpPr>
            <a:spLocks noGrp="1"/>
          </p:cNvSpPr>
          <p:nvPr>
            <p:ph type="body" sz="quarter" idx="11" hasCustomPrompt="1"/>
          </p:nvPr>
        </p:nvSpPr>
        <p:spPr>
          <a:xfrm>
            <a:off x="465973" y="2292743"/>
            <a:ext cx="6524108" cy="943848"/>
          </a:xfrm>
          <a:prstGeom prst="rect">
            <a:avLst/>
          </a:prstGeom>
          <a:solidFill>
            <a:srgbClr val="8600FF"/>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или цитату</a:t>
            </a:r>
          </a:p>
        </p:txBody>
      </p:sp>
      <p:sp>
        <p:nvSpPr>
          <p:cNvPr id="9" name="Текст 13">
            <a:extLst>
              <a:ext uri="{FF2B5EF4-FFF2-40B4-BE49-F238E27FC236}">
                <a16:creationId xmlns:a16="http://schemas.microsoft.com/office/drawing/2014/main" id="{1028BD2D-6933-CC49-9F0E-70D5D59B1C83}"/>
              </a:ext>
            </a:extLst>
          </p:cNvPr>
          <p:cNvSpPr>
            <a:spLocks noGrp="1"/>
          </p:cNvSpPr>
          <p:nvPr>
            <p:ph type="body" sz="quarter" idx="12" hasCustomPrompt="1"/>
          </p:nvPr>
        </p:nvSpPr>
        <p:spPr>
          <a:xfrm>
            <a:off x="465972" y="1353953"/>
            <a:ext cx="7411936" cy="943848"/>
          </a:xfrm>
          <a:prstGeom prst="rect">
            <a:avLst/>
          </a:prstGeom>
          <a:solidFill>
            <a:srgbClr val="8600FF"/>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Добавьте тезис</a:t>
            </a:r>
          </a:p>
        </p:txBody>
      </p:sp>
    </p:spTree>
    <p:extLst>
      <p:ext uri="{BB962C8B-B14F-4D97-AF65-F5344CB8AC3E}">
        <p14:creationId xmlns:p14="http://schemas.microsoft.com/office/powerpoint/2010/main" val="252996731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3-6">
    <p:bg>
      <p:bgPr>
        <a:solidFill>
          <a:srgbClr val="323B48"/>
        </a:solidFill>
        <a:effectLst/>
      </p:bgPr>
    </p:bg>
    <p:spTree>
      <p:nvGrpSpPr>
        <p:cNvPr id="1" name=""/>
        <p:cNvGrpSpPr/>
        <p:nvPr/>
      </p:nvGrpSpPr>
      <p:grpSpPr>
        <a:xfrm>
          <a:off x="0" y="0"/>
          <a:ext cx="0" cy="0"/>
          <a:chOff x="0" y="0"/>
          <a:chExt cx="0" cy="0"/>
        </a:xfrm>
      </p:grpSpPr>
      <p:pic>
        <p:nvPicPr>
          <p:cNvPr id="8" name="Рисунок 7">
            <a:extLst>
              <a:ext uri="{FF2B5EF4-FFF2-40B4-BE49-F238E27FC236}">
                <a16:creationId xmlns:a16="http://schemas.microsoft.com/office/drawing/2014/main" id="{35E29D89-2563-4418-BCE3-D94537A2E5C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65972" y="6202934"/>
            <a:ext cx="2134821" cy="487581"/>
          </a:xfrm>
          <a:prstGeom prst="rect">
            <a:avLst/>
          </a:prstGeom>
        </p:spPr>
      </p:pic>
      <p:sp>
        <p:nvSpPr>
          <p:cNvPr id="7" name="Текст 13">
            <a:extLst>
              <a:ext uri="{FF2B5EF4-FFF2-40B4-BE49-F238E27FC236}">
                <a16:creationId xmlns:a16="http://schemas.microsoft.com/office/drawing/2014/main" id="{A347AD39-108B-6C43-BF3D-DDCED6C16684}"/>
              </a:ext>
            </a:extLst>
          </p:cNvPr>
          <p:cNvSpPr>
            <a:spLocks noGrp="1"/>
          </p:cNvSpPr>
          <p:nvPr>
            <p:ph type="body" sz="quarter" idx="11" hasCustomPrompt="1"/>
          </p:nvPr>
        </p:nvSpPr>
        <p:spPr>
          <a:xfrm>
            <a:off x="465973" y="2292743"/>
            <a:ext cx="6524108" cy="943848"/>
          </a:xfrm>
          <a:prstGeom prst="rect">
            <a:avLst/>
          </a:prstGeom>
          <a:solidFill>
            <a:srgbClr val="FF3900"/>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или цитату</a:t>
            </a:r>
          </a:p>
        </p:txBody>
      </p:sp>
      <p:sp>
        <p:nvSpPr>
          <p:cNvPr id="9" name="Текст 13">
            <a:extLst>
              <a:ext uri="{FF2B5EF4-FFF2-40B4-BE49-F238E27FC236}">
                <a16:creationId xmlns:a16="http://schemas.microsoft.com/office/drawing/2014/main" id="{BF01BA5D-90C2-9644-A2CC-002CED3DFC34}"/>
              </a:ext>
            </a:extLst>
          </p:cNvPr>
          <p:cNvSpPr>
            <a:spLocks noGrp="1"/>
          </p:cNvSpPr>
          <p:nvPr>
            <p:ph type="body" sz="quarter" idx="12" hasCustomPrompt="1"/>
          </p:nvPr>
        </p:nvSpPr>
        <p:spPr>
          <a:xfrm>
            <a:off x="465972" y="1353953"/>
            <a:ext cx="7411936" cy="943848"/>
          </a:xfrm>
          <a:prstGeom prst="rect">
            <a:avLst/>
          </a:prstGeom>
          <a:solidFill>
            <a:srgbClr val="FF3900"/>
          </a:solidFill>
        </p:spPr>
        <p:txBody>
          <a:bodyPr tIns="90000" bIns="36000" anchor="ctr"/>
          <a:lstStyle>
            <a:lvl1pPr marL="0" indent="0">
              <a:buNone/>
              <a:defRPr sz="5867" b="0" i="0">
                <a:solidFill>
                  <a:schemeClr val="bg1"/>
                </a:solidFill>
                <a:latin typeface="Rostelecom Basis Medium" panose="020B0503030604040103" pitchFamily="34" charset="0"/>
              </a:defRPr>
            </a:lvl1pPr>
          </a:lstStyle>
          <a:p>
            <a:pPr lvl="0"/>
            <a:r>
              <a:rPr lang="ru-RU" dirty="0"/>
              <a:t>Добавьте тезис</a:t>
            </a:r>
          </a:p>
        </p:txBody>
      </p:sp>
    </p:spTree>
    <p:extLst>
      <p:ext uri="{BB962C8B-B14F-4D97-AF65-F5344CB8AC3E}">
        <p14:creationId xmlns:p14="http://schemas.microsoft.com/office/powerpoint/2010/main" val="363829562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1">
    <p:spTree>
      <p:nvGrpSpPr>
        <p:cNvPr id="1" name=""/>
        <p:cNvGrpSpPr/>
        <p:nvPr/>
      </p:nvGrpSpPr>
      <p:grpSpPr>
        <a:xfrm>
          <a:off x="0" y="0"/>
          <a:ext cx="0" cy="0"/>
          <a:chOff x="0" y="0"/>
          <a:chExt cx="0" cy="0"/>
        </a:xfrm>
      </p:grpSpPr>
      <p:sp>
        <p:nvSpPr>
          <p:cNvPr id="10" name="Прямоугольник 6">
            <a:extLst>
              <a:ext uri="{FF2B5EF4-FFF2-40B4-BE49-F238E27FC236}">
                <a16:creationId xmlns:a16="http://schemas.microsoft.com/office/drawing/2014/main" id="{3EFC1680-A032-4207-9157-B9E97E224CF0}"/>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rgbClr val="57D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13" name="Заголовок 17">
            <a:extLst>
              <a:ext uri="{FF2B5EF4-FFF2-40B4-BE49-F238E27FC236}">
                <a16:creationId xmlns:a16="http://schemas.microsoft.com/office/drawing/2014/main" id="{A66C5929-1129-4D48-A717-BBC8362AD9C2}"/>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pic>
        <p:nvPicPr>
          <p:cNvPr id="6" name="Рисунок 5">
            <a:extLst>
              <a:ext uri="{FF2B5EF4-FFF2-40B4-BE49-F238E27FC236}">
                <a16:creationId xmlns:a16="http://schemas.microsoft.com/office/drawing/2014/main" id="{76756F3C-8A84-124F-94F1-467B166738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238794675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2">
    <p:spTree>
      <p:nvGrpSpPr>
        <p:cNvPr id="1" name=""/>
        <p:cNvGrpSpPr/>
        <p:nvPr/>
      </p:nvGrpSpPr>
      <p:grpSpPr>
        <a:xfrm>
          <a:off x="0" y="0"/>
          <a:ext cx="0" cy="0"/>
          <a:chOff x="0" y="0"/>
          <a:chExt cx="0" cy="0"/>
        </a:xfrm>
      </p:grpSpPr>
      <p:sp>
        <p:nvSpPr>
          <p:cNvPr id="10" name="Прямоугольник 6">
            <a:extLst>
              <a:ext uri="{FF2B5EF4-FFF2-40B4-BE49-F238E27FC236}">
                <a16:creationId xmlns:a16="http://schemas.microsoft.com/office/drawing/2014/main" id="{3EFC1680-A032-4207-9157-B9E97E224CF0}"/>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rgbClr val="57D9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13" name="Заголовок 17">
            <a:extLst>
              <a:ext uri="{FF2B5EF4-FFF2-40B4-BE49-F238E27FC236}">
                <a16:creationId xmlns:a16="http://schemas.microsoft.com/office/drawing/2014/main" id="{A66C5929-1129-4D48-A717-BBC8362AD9C2}"/>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sp>
        <p:nvSpPr>
          <p:cNvPr id="5" name="Text Placeholder 2">
            <a:extLst>
              <a:ext uri="{FF2B5EF4-FFF2-40B4-BE49-F238E27FC236}">
                <a16:creationId xmlns:a16="http://schemas.microsoft.com/office/drawing/2014/main" id="{094D5F81-1456-7648-9725-BFDCAE200E82}"/>
              </a:ext>
            </a:extLst>
          </p:cNvPr>
          <p:cNvSpPr>
            <a:spLocks noGrp="1"/>
          </p:cNvSpPr>
          <p:nvPr>
            <p:ph type="body" sz="quarter" idx="12" hasCustomPrompt="1"/>
          </p:nvPr>
        </p:nvSpPr>
        <p:spPr>
          <a:xfrm>
            <a:off x="658285" y="2255053"/>
            <a:ext cx="7195395" cy="2910743"/>
          </a:xfrm>
          <a:prstGeom prst="rect">
            <a:avLst/>
          </a:prstGeom>
        </p:spPr>
        <p:txBody>
          <a:bodyPr lIns="0"/>
          <a:lstStyle>
            <a:lvl1pPr marL="0" indent="0">
              <a:buNone/>
              <a:defRPr sz="2667" b="0" i="0">
                <a:solidFill>
                  <a:schemeClr val="tx1"/>
                </a:solidFill>
                <a:latin typeface="Rostelecom Basis" panose="020B0503030604040103" pitchFamily="34" charset="0"/>
              </a:defRPr>
            </a:lvl1pPr>
          </a:lstStyle>
          <a:p>
            <a:pPr lvl="0"/>
            <a:r>
              <a:rPr lang="ru-RU" dirty="0"/>
              <a:t>Подзаголовок или описание</a:t>
            </a:r>
            <a:endParaRPr lang="en-US" dirty="0"/>
          </a:p>
        </p:txBody>
      </p:sp>
      <p:pic>
        <p:nvPicPr>
          <p:cNvPr id="6" name="Рисунок 5">
            <a:extLst>
              <a:ext uri="{FF2B5EF4-FFF2-40B4-BE49-F238E27FC236}">
                <a16:creationId xmlns:a16="http://schemas.microsoft.com/office/drawing/2014/main" id="{FA37EAB1-DAE8-4446-A433-6BBE6A9F79A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326054731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8" name="Прямоугольник 6">
            <a:extLst>
              <a:ext uri="{FF2B5EF4-FFF2-40B4-BE49-F238E27FC236}">
                <a16:creationId xmlns:a16="http://schemas.microsoft.com/office/drawing/2014/main" id="{C6B543A0-16F7-4F74-9D58-0DA4DAC9E8AD}"/>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rgbClr val="FFBE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10" name="Заголовок 17">
            <a:extLst>
              <a:ext uri="{FF2B5EF4-FFF2-40B4-BE49-F238E27FC236}">
                <a16:creationId xmlns:a16="http://schemas.microsoft.com/office/drawing/2014/main" id="{F5449528-5AB8-AB40-848A-E34C203C4388}"/>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pic>
        <p:nvPicPr>
          <p:cNvPr id="12" name="Рисунок 11">
            <a:extLst>
              <a:ext uri="{FF2B5EF4-FFF2-40B4-BE49-F238E27FC236}">
                <a16:creationId xmlns:a16="http://schemas.microsoft.com/office/drawing/2014/main" id="{F5FB47E5-8287-B342-8C04-738C39BE277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169426700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4">
    <p:spTree>
      <p:nvGrpSpPr>
        <p:cNvPr id="1" name=""/>
        <p:cNvGrpSpPr/>
        <p:nvPr/>
      </p:nvGrpSpPr>
      <p:grpSpPr>
        <a:xfrm>
          <a:off x="0" y="0"/>
          <a:ext cx="0" cy="0"/>
          <a:chOff x="0" y="0"/>
          <a:chExt cx="0" cy="0"/>
        </a:xfrm>
      </p:grpSpPr>
      <p:sp>
        <p:nvSpPr>
          <p:cNvPr id="10" name="Прямоугольник 6">
            <a:extLst>
              <a:ext uri="{FF2B5EF4-FFF2-40B4-BE49-F238E27FC236}">
                <a16:creationId xmlns:a16="http://schemas.microsoft.com/office/drawing/2014/main" id="{3EFC1680-A032-4207-9157-B9E97E224CF0}"/>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rgbClr val="FFBE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5" name="Заголовок 17">
            <a:extLst>
              <a:ext uri="{FF2B5EF4-FFF2-40B4-BE49-F238E27FC236}">
                <a16:creationId xmlns:a16="http://schemas.microsoft.com/office/drawing/2014/main" id="{1E68466E-2CBE-5749-8C25-D4B55437403D}"/>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sp>
        <p:nvSpPr>
          <p:cNvPr id="6" name="Text Placeholder 2">
            <a:extLst>
              <a:ext uri="{FF2B5EF4-FFF2-40B4-BE49-F238E27FC236}">
                <a16:creationId xmlns:a16="http://schemas.microsoft.com/office/drawing/2014/main" id="{BBB0C22E-BE4B-7447-8A16-3B59D7ECE439}"/>
              </a:ext>
            </a:extLst>
          </p:cNvPr>
          <p:cNvSpPr>
            <a:spLocks noGrp="1"/>
          </p:cNvSpPr>
          <p:nvPr>
            <p:ph type="body" sz="quarter" idx="12" hasCustomPrompt="1"/>
          </p:nvPr>
        </p:nvSpPr>
        <p:spPr>
          <a:xfrm>
            <a:off x="658285" y="2255053"/>
            <a:ext cx="7195395" cy="2910743"/>
          </a:xfrm>
          <a:prstGeom prst="rect">
            <a:avLst/>
          </a:prstGeom>
        </p:spPr>
        <p:txBody>
          <a:bodyPr lIns="0"/>
          <a:lstStyle>
            <a:lvl1pPr marL="0" indent="0">
              <a:buNone/>
              <a:defRPr sz="2667" b="0" i="0">
                <a:solidFill>
                  <a:schemeClr val="tx1"/>
                </a:solidFill>
                <a:latin typeface="Rostelecom Basis" panose="020B0503030604040103" pitchFamily="34" charset="0"/>
              </a:defRPr>
            </a:lvl1pPr>
          </a:lstStyle>
          <a:p>
            <a:pPr lvl="0"/>
            <a:r>
              <a:rPr lang="ru-RU" dirty="0"/>
              <a:t>Подзаголовок или описание</a:t>
            </a:r>
            <a:endParaRPr lang="en-US" dirty="0"/>
          </a:p>
        </p:txBody>
      </p:sp>
      <p:pic>
        <p:nvPicPr>
          <p:cNvPr id="8" name="Рисунок 7">
            <a:extLst>
              <a:ext uri="{FF2B5EF4-FFF2-40B4-BE49-F238E27FC236}">
                <a16:creationId xmlns:a16="http://schemas.microsoft.com/office/drawing/2014/main" id="{186A4304-2F1F-C34D-861A-93373E25275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102733611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5">
    <p:spTree>
      <p:nvGrpSpPr>
        <p:cNvPr id="1" name=""/>
        <p:cNvGrpSpPr/>
        <p:nvPr/>
      </p:nvGrpSpPr>
      <p:grpSpPr>
        <a:xfrm>
          <a:off x="0" y="0"/>
          <a:ext cx="0" cy="0"/>
          <a:chOff x="0" y="0"/>
          <a:chExt cx="0" cy="0"/>
        </a:xfrm>
      </p:grpSpPr>
      <p:sp>
        <p:nvSpPr>
          <p:cNvPr id="8" name="Прямоугольник 6">
            <a:extLst>
              <a:ext uri="{FF2B5EF4-FFF2-40B4-BE49-F238E27FC236}">
                <a16:creationId xmlns:a16="http://schemas.microsoft.com/office/drawing/2014/main" id="{C6B543A0-16F7-4F74-9D58-0DA4DAC9E8AD}"/>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rgbClr val="FFB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10" name="Заголовок 17">
            <a:extLst>
              <a:ext uri="{FF2B5EF4-FFF2-40B4-BE49-F238E27FC236}">
                <a16:creationId xmlns:a16="http://schemas.microsoft.com/office/drawing/2014/main" id="{D754F8D7-ECC1-6845-B020-D3019C3C9B5A}"/>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pic>
        <p:nvPicPr>
          <p:cNvPr id="12" name="Рисунок 11">
            <a:extLst>
              <a:ext uri="{FF2B5EF4-FFF2-40B4-BE49-F238E27FC236}">
                <a16:creationId xmlns:a16="http://schemas.microsoft.com/office/drawing/2014/main" id="{3D82EB8B-32C7-A44A-B569-1538EA8B6F4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159766335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6">
    <p:spTree>
      <p:nvGrpSpPr>
        <p:cNvPr id="1" name=""/>
        <p:cNvGrpSpPr/>
        <p:nvPr/>
      </p:nvGrpSpPr>
      <p:grpSpPr>
        <a:xfrm>
          <a:off x="0" y="0"/>
          <a:ext cx="0" cy="0"/>
          <a:chOff x="0" y="0"/>
          <a:chExt cx="0" cy="0"/>
        </a:xfrm>
      </p:grpSpPr>
      <p:sp>
        <p:nvSpPr>
          <p:cNvPr id="10" name="Прямоугольник 6">
            <a:extLst>
              <a:ext uri="{FF2B5EF4-FFF2-40B4-BE49-F238E27FC236}">
                <a16:creationId xmlns:a16="http://schemas.microsoft.com/office/drawing/2014/main" id="{3EFC1680-A032-4207-9157-B9E97E224CF0}"/>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rgbClr val="FFBC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5" name="Заголовок 17">
            <a:extLst>
              <a:ext uri="{FF2B5EF4-FFF2-40B4-BE49-F238E27FC236}">
                <a16:creationId xmlns:a16="http://schemas.microsoft.com/office/drawing/2014/main" id="{E0103265-39E3-A345-BDAB-9C68B8A7F673}"/>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sp>
        <p:nvSpPr>
          <p:cNvPr id="6" name="Text Placeholder 2">
            <a:extLst>
              <a:ext uri="{FF2B5EF4-FFF2-40B4-BE49-F238E27FC236}">
                <a16:creationId xmlns:a16="http://schemas.microsoft.com/office/drawing/2014/main" id="{98281427-397D-7345-9DCD-1B23481A6AF5}"/>
              </a:ext>
            </a:extLst>
          </p:cNvPr>
          <p:cNvSpPr>
            <a:spLocks noGrp="1"/>
          </p:cNvSpPr>
          <p:nvPr>
            <p:ph type="body" sz="quarter" idx="12" hasCustomPrompt="1"/>
          </p:nvPr>
        </p:nvSpPr>
        <p:spPr>
          <a:xfrm>
            <a:off x="658285" y="2255053"/>
            <a:ext cx="7195395" cy="2910743"/>
          </a:xfrm>
          <a:prstGeom prst="rect">
            <a:avLst/>
          </a:prstGeom>
        </p:spPr>
        <p:txBody>
          <a:bodyPr lIns="0"/>
          <a:lstStyle>
            <a:lvl1pPr marL="0" indent="0">
              <a:buNone/>
              <a:defRPr sz="2667" b="0" i="0">
                <a:solidFill>
                  <a:schemeClr val="tx1"/>
                </a:solidFill>
                <a:latin typeface="Rostelecom Basis" panose="020B0503030604040103" pitchFamily="34" charset="0"/>
              </a:defRPr>
            </a:lvl1pPr>
          </a:lstStyle>
          <a:p>
            <a:pPr lvl="0"/>
            <a:r>
              <a:rPr lang="ru-RU" dirty="0"/>
              <a:t>Подзаголовок или описание</a:t>
            </a:r>
            <a:endParaRPr lang="en-US" dirty="0"/>
          </a:p>
        </p:txBody>
      </p:sp>
      <p:pic>
        <p:nvPicPr>
          <p:cNvPr id="8" name="Рисунок 7">
            <a:extLst>
              <a:ext uri="{FF2B5EF4-FFF2-40B4-BE49-F238E27FC236}">
                <a16:creationId xmlns:a16="http://schemas.microsoft.com/office/drawing/2014/main" id="{B9992D87-91A4-704C-BE62-04EE29E6E87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112723239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7">
    <p:spTree>
      <p:nvGrpSpPr>
        <p:cNvPr id="1" name=""/>
        <p:cNvGrpSpPr/>
        <p:nvPr/>
      </p:nvGrpSpPr>
      <p:grpSpPr>
        <a:xfrm>
          <a:off x="0" y="0"/>
          <a:ext cx="0" cy="0"/>
          <a:chOff x="0" y="0"/>
          <a:chExt cx="0" cy="0"/>
        </a:xfrm>
      </p:grpSpPr>
      <p:sp>
        <p:nvSpPr>
          <p:cNvPr id="8" name="Прямоугольник 6">
            <a:extLst>
              <a:ext uri="{FF2B5EF4-FFF2-40B4-BE49-F238E27FC236}">
                <a16:creationId xmlns:a16="http://schemas.microsoft.com/office/drawing/2014/main" id="{C6B543A0-16F7-4F74-9D58-0DA4DAC9E8AD}"/>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rgbClr val="7593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10" name="Заголовок 17">
            <a:extLst>
              <a:ext uri="{FF2B5EF4-FFF2-40B4-BE49-F238E27FC236}">
                <a16:creationId xmlns:a16="http://schemas.microsoft.com/office/drawing/2014/main" id="{D754F8D7-ECC1-6845-B020-D3019C3C9B5A}"/>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bg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pic>
        <p:nvPicPr>
          <p:cNvPr id="5" name="Рисунок 8">
            <a:extLst>
              <a:ext uri="{FF2B5EF4-FFF2-40B4-BE49-F238E27FC236}">
                <a16:creationId xmlns:a16="http://schemas.microsoft.com/office/drawing/2014/main" id="{1CAEC34D-F7D7-6341-8DD0-B56D7B41C9D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13865229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цитаты/тезисы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06288"/>
          </a:xfrm>
          <a:prstGeom prst="rect">
            <a:avLst/>
          </a:prstGeom>
        </p:spPr>
        <p:txBody>
          <a:bodyPr lIns="0" tIns="0" rIns="0" bIns="0"/>
          <a:lstStyle>
            <a:lvl1pPr>
              <a:lnSpc>
                <a:spcPts val="3703"/>
              </a:lnSpc>
              <a:defRPr lang="ru-RU" sz="3527" dirty="0"/>
            </a:lvl1pPr>
          </a:lstStyle>
          <a:p>
            <a:pPr lvl="0">
              <a:lnSpc>
                <a:spcPts val="3703"/>
              </a:lnSpc>
            </a:pPr>
            <a:r>
              <a:rPr lang="ru-RU" dirty="0"/>
              <a:t>Слайд с цитатами/тезисами</a:t>
            </a:r>
            <a:br>
              <a:rPr lang="ru-RU" dirty="0"/>
            </a:br>
            <a:r>
              <a:rPr lang="ru-RU" dirty="0"/>
              <a:t>в три колонки</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8"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21"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3" y="3189475"/>
            <a:ext cx="3202839"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для блока рекомендуемый объём текста для блока рекомендуемый объём текста для блока</a:t>
            </a:r>
          </a:p>
        </p:txBody>
      </p:sp>
    </p:spTree>
    <p:extLst>
      <p:ext uri="{BB962C8B-B14F-4D97-AF65-F5344CB8AC3E}">
        <p14:creationId xmlns:p14="http://schemas.microsoft.com/office/powerpoint/2010/main" val="147199021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8">
    <p:spTree>
      <p:nvGrpSpPr>
        <p:cNvPr id="1" name=""/>
        <p:cNvGrpSpPr/>
        <p:nvPr/>
      </p:nvGrpSpPr>
      <p:grpSpPr>
        <a:xfrm>
          <a:off x="0" y="0"/>
          <a:ext cx="0" cy="0"/>
          <a:chOff x="0" y="0"/>
          <a:chExt cx="0" cy="0"/>
        </a:xfrm>
      </p:grpSpPr>
      <p:sp>
        <p:nvSpPr>
          <p:cNvPr id="8" name="Прямоугольник 6">
            <a:extLst>
              <a:ext uri="{FF2B5EF4-FFF2-40B4-BE49-F238E27FC236}">
                <a16:creationId xmlns:a16="http://schemas.microsoft.com/office/drawing/2014/main" id="{C6B543A0-16F7-4F74-9D58-0DA4DAC9E8AD}"/>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rgbClr val="7593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10" name="Заголовок 17">
            <a:extLst>
              <a:ext uri="{FF2B5EF4-FFF2-40B4-BE49-F238E27FC236}">
                <a16:creationId xmlns:a16="http://schemas.microsoft.com/office/drawing/2014/main" id="{D754F8D7-ECC1-6845-B020-D3019C3C9B5A}"/>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bg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pic>
        <p:nvPicPr>
          <p:cNvPr id="5" name="Рисунок 8">
            <a:extLst>
              <a:ext uri="{FF2B5EF4-FFF2-40B4-BE49-F238E27FC236}">
                <a16:creationId xmlns:a16="http://schemas.microsoft.com/office/drawing/2014/main" id="{1CAEC34D-F7D7-6341-8DD0-B56D7B41C9D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
        <p:nvSpPr>
          <p:cNvPr id="6" name="Text Placeholder 2">
            <a:extLst>
              <a:ext uri="{FF2B5EF4-FFF2-40B4-BE49-F238E27FC236}">
                <a16:creationId xmlns:a16="http://schemas.microsoft.com/office/drawing/2014/main" id="{3FB4BD2E-1F64-B749-B9EE-6152B2F7241D}"/>
              </a:ext>
            </a:extLst>
          </p:cNvPr>
          <p:cNvSpPr>
            <a:spLocks noGrp="1"/>
          </p:cNvSpPr>
          <p:nvPr>
            <p:ph type="body" sz="quarter" idx="12" hasCustomPrompt="1"/>
          </p:nvPr>
        </p:nvSpPr>
        <p:spPr>
          <a:xfrm>
            <a:off x="658285" y="2255053"/>
            <a:ext cx="7195395" cy="2910743"/>
          </a:xfrm>
          <a:prstGeom prst="rect">
            <a:avLst/>
          </a:prstGeom>
        </p:spPr>
        <p:txBody>
          <a:bodyPr lIns="0"/>
          <a:lstStyle>
            <a:lvl1pPr marL="0" indent="0">
              <a:buNone/>
              <a:defRPr sz="2667" b="0" i="0">
                <a:solidFill>
                  <a:schemeClr val="bg1"/>
                </a:solidFill>
                <a:latin typeface="Rostelecom Basis" panose="020B0503030604040103" pitchFamily="34" charset="0"/>
              </a:defRPr>
            </a:lvl1pPr>
          </a:lstStyle>
          <a:p>
            <a:pPr lvl="0"/>
            <a:r>
              <a:rPr lang="ru-RU" dirty="0"/>
              <a:t>Подзаголовок или описание</a:t>
            </a:r>
            <a:endParaRPr lang="en-US" dirty="0"/>
          </a:p>
        </p:txBody>
      </p:sp>
    </p:spTree>
    <p:extLst>
      <p:ext uri="{BB962C8B-B14F-4D97-AF65-F5344CB8AC3E}">
        <p14:creationId xmlns:p14="http://schemas.microsoft.com/office/powerpoint/2010/main" val="8879465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9">
    <p:spTree>
      <p:nvGrpSpPr>
        <p:cNvPr id="1" name=""/>
        <p:cNvGrpSpPr/>
        <p:nvPr/>
      </p:nvGrpSpPr>
      <p:grpSpPr>
        <a:xfrm>
          <a:off x="0" y="0"/>
          <a:ext cx="0" cy="0"/>
          <a:chOff x="0" y="0"/>
          <a:chExt cx="0" cy="0"/>
        </a:xfrm>
      </p:grpSpPr>
      <p:sp>
        <p:nvSpPr>
          <p:cNvPr id="8" name="Прямоугольник 6">
            <a:extLst>
              <a:ext uri="{FF2B5EF4-FFF2-40B4-BE49-F238E27FC236}">
                <a16:creationId xmlns:a16="http://schemas.microsoft.com/office/drawing/2014/main" id="{C6B543A0-16F7-4F74-9D58-0DA4DAC9E8AD}"/>
              </a:ext>
            </a:extLst>
          </p:cNvPr>
          <p:cNvSpPr/>
          <p:nvPr userDrawn="1"/>
        </p:nvSpPr>
        <p:spPr>
          <a:xfrm>
            <a:off x="1" y="1"/>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10" name="Заголовок 17">
            <a:extLst>
              <a:ext uri="{FF2B5EF4-FFF2-40B4-BE49-F238E27FC236}">
                <a16:creationId xmlns:a16="http://schemas.microsoft.com/office/drawing/2014/main" id="{D754F8D7-ECC1-6845-B020-D3019C3C9B5A}"/>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pic>
        <p:nvPicPr>
          <p:cNvPr id="6" name="Рисунок 7">
            <a:extLst>
              <a:ext uri="{FF2B5EF4-FFF2-40B4-BE49-F238E27FC236}">
                <a16:creationId xmlns:a16="http://schemas.microsoft.com/office/drawing/2014/main" id="{BD294B95-D7B7-534E-BE43-E20E713D0332}"/>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36787784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10">
    <p:spTree>
      <p:nvGrpSpPr>
        <p:cNvPr id="1" name=""/>
        <p:cNvGrpSpPr/>
        <p:nvPr/>
      </p:nvGrpSpPr>
      <p:grpSpPr>
        <a:xfrm>
          <a:off x="0" y="0"/>
          <a:ext cx="0" cy="0"/>
          <a:chOff x="0" y="0"/>
          <a:chExt cx="0" cy="0"/>
        </a:xfrm>
      </p:grpSpPr>
      <p:sp>
        <p:nvSpPr>
          <p:cNvPr id="10" name="Прямоугольник 6">
            <a:extLst>
              <a:ext uri="{FF2B5EF4-FFF2-40B4-BE49-F238E27FC236}">
                <a16:creationId xmlns:a16="http://schemas.microsoft.com/office/drawing/2014/main" id="{3EFC1680-A032-4207-9157-B9E97E224CF0}"/>
              </a:ext>
            </a:extLst>
          </p:cNvPr>
          <p:cNvSpPr/>
          <p:nvPr userDrawn="1"/>
        </p:nvSpPr>
        <p:spPr>
          <a:xfrm>
            <a:off x="1" y="2"/>
            <a:ext cx="7761377" cy="6857999"/>
          </a:xfrm>
          <a:custGeom>
            <a:avLst/>
            <a:gdLst>
              <a:gd name="connsiteX0" fmla="*/ 0 w 6869152"/>
              <a:gd name="connsiteY0" fmla="*/ 0 h 6869152"/>
              <a:gd name="connsiteX1" fmla="*/ 6869152 w 6869152"/>
              <a:gd name="connsiteY1" fmla="*/ 0 h 6869152"/>
              <a:gd name="connsiteX2" fmla="*/ 6869152 w 6869152"/>
              <a:gd name="connsiteY2" fmla="*/ 6869152 h 6869152"/>
              <a:gd name="connsiteX3" fmla="*/ 0 w 6869152"/>
              <a:gd name="connsiteY3" fmla="*/ 6869152 h 6869152"/>
              <a:gd name="connsiteX4" fmla="*/ 0 w 6869152"/>
              <a:gd name="connsiteY4" fmla="*/ 0 h 6869152"/>
              <a:gd name="connsiteX0" fmla="*/ 0 w 6869152"/>
              <a:gd name="connsiteY0" fmla="*/ 0 h 6869152"/>
              <a:gd name="connsiteX1" fmla="*/ 6869152 w 6869152"/>
              <a:gd name="connsiteY1" fmla="*/ 0 h 6869152"/>
              <a:gd name="connsiteX2" fmla="*/ 5274528 w 6869152"/>
              <a:gd name="connsiteY2" fmla="*/ 6858001 h 6869152"/>
              <a:gd name="connsiteX3" fmla="*/ 0 w 6869152"/>
              <a:gd name="connsiteY3" fmla="*/ 6869152 h 6869152"/>
              <a:gd name="connsiteX4" fmla="*/ 0 w 6869152"/>
              <a:gd name="connsiteY4" fmla="*/ 0 h 6869152"/>
              <a:gd name="connsiteX0" fmla="*/ 0 w 6869152"/>
              <a:gd name="connsiteY0" fmla="*/ 0 h 6869153"/>
              <a:gd name="connsiteX1" fmla="*/ 6869152 w 6869152"/>
              <a:gd name="connsiteY1" fmla="*/ 0 h 6869153"/>
              <a:gd name="connsiteX2" fmla="*/ 4334177 w 6869152"/>
              <a:gd name="connsiteY2" fmla="*/ 6869153 h 6869153"/>
              <a:gd name="connsiteX3" fmla="*/ 0 w 6869152"/>
              <a:gd name="connsiteY3" fmla="*/ 6869152 h 6869153"/>
              <a:gd name="connsiteX4" fmla="*/ 0 w 6869152"/>
              <a:gd name="connsiteY4" fmla="*/ 0 h 6869153"/>
              <a:gd name="connsiteX0" fmla="*/ 0 w 6869152"/>
              <a:gd name="connsiteY0" fmla="*/ 0 h 6869153"/>
              <a:gd name="connsiteX1" fmla="*/ 6869152 w 6869152"/>
              <a:gd name="connsiteY1" fmla="*/ 0 h 6869153"/>
              <a:gd name="connsiteX2" fmla="*/ 3966905 w 6869152"/>
              <a:gd name="connsiteY2" fmla="*/ 6869153 h 6869153"/>
              <a:gd name="connsiteX3" fmla="*/ 0 w 6869152"/>
              <a:gd name="connsiteY3" fmla="*/ 6869152 h 6869153"/>
              <a:gd name="connsiteX4" fmla="*/ 0 w 6869152"/>
              <a:gd name="connsiteY4" fmla="*/ 0 h 68691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152" h="6869153">
                <a:moveTo>
                  <a:pt x="0" y="0"/>
                </a:moveTo>
                <a:lnTo>
                  <a:pt x="6869152" y="0"/>
                </a:lnTo>
                <a:lnTo>
                  <a:pt x="3966905" y="6869153"/>
                </a:lnTo>
                <a:lnTo>
                  <a:pt x="0" y="6869152"/>
                </a:ln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p>
        </p:txBody>
      </p:sp>
      <p:sp>
        <p:nvSpPr>
          <p:cNvPr id="5" name="Заголовок 17">
            <a:extLst>
              <a:ext uri="{FF2B5EF4-FFF2-40B4-BE49-F238E27FC236}">
                <a16:creationId xmlns:a16="http://schemas.microsoft.com/office/drawing/2014/main" id="{E0103265-39E3-A345-BDAB-9C68B8A7F673}"/>
              </a:ext>
            </a:extLst>
          </p:cNvPr>
          <p:cNvSpPr>
            <a:spLocks noGrp="1"/>
          </p:cNvSpPr>
          <p:nvPr>
            <p:ph type="title" hasCustomPrompt="1"/>
          </p:nvPr>
        </p:nvSpPr>
        <p:spPr>
          <a:xfrm>
            <a:off x="657745" y="306755"/>
            <a:ext cx="7103633" cy="1770741"/>
          </a:xfrm>
          <a:prstGeom prst="rect">
            <a:avLst/>
          </a:prstGeom>
        </p:spPr>
        <p:txBody>
          <a:bodyPr wrap="square" lIns="0">
            <a:spAutoFit/>
          </a:bodyPr>
          <a:lstStyle>
            <a:lvl1pPr algn="l">
              <a:defRPr sz="5867" b="0" i="0">
                <a:solidFill>
                  <a:schemeClr val="tx1"/>
                </a:solidFill>
                <a:latin typeface="Rostelecom Basis Medium" panose="020B0503030604040103" pitchFamily="34" charset="0"/>
              </a:defRPr>
            </a:lvl1pPr>
          </a:lstStyle>
          <a:p>
            <a:r>
              <a:rPr lang="ru-RU" dirty="0"/>
              <a:t>Заголовок </a:t>
            </a:r>
            <a:r>
              <a:rPr lang="en-US" dirty="0"/>
              <a:t/>
            </a:r>
            <a:br>
              <a:rPr lang="en-US" dirty="0"/>
            </a:br>
            <a:r>
              <a:rPr lang="ru-RU" dirty="0"/>
              <a:t>раздела</a:t>
            </a:r>
          </a:p>
        </p:txBody>
      </p:sp>
      <p:sp>
        <p:nvSpPr>
          <p:cNvPr id="6" name="Text Placeholder 2">
            <a:extLst>
              <a:ext uri="{FF2B5EF4-FFF2-40B4-BE49-F238E27FC236}">
                <a16:creationId xmlns:a16="http://schemas.microsoft.com/office/drawing/2014/main" id="{98281427-397D-7345-9DCD-1B23481A6AF5}"/>
              </a:ext>
            </a:extLst>
          </p:cNvPr>
          <p:cNvSpPr>
            <a:spLocks noGrp="1"/>
          </p:cNvSpPr>
          <p:nvPr>
            <p:ph type="body" sz="quarter" idx="12" hasCustomPrompt="1"/>
          </p:nvPr>
        </p:nvSpPr>
        <p:spPr>
          <a:xfrm>
            <a:off x="658285" y="2255053"/>
            <a:ext cx="7195395" cy="2910743"/>
          </a:xfrm>
          <a:prstGeom prst="rect">
            <a:avLst/>
          </a:prstGeom>
        </p:spPr>
        <p:txBody>
          <a:bodyPr lIns="0"/>
          <a:lstStyle>
            <a:lvl1pPr marL="0" indent="0">
              <a:buNone/>
              <a:defRPr sz="2667" b="0" i="0">
                <a:solidFill>
                  <a:schemeClr val="tx1"/>
                </a:solidFill>
                <a:latin typeface="Rostelecom Basis" panose="020B0503030604040103" pitchFamily="34" charset="0"/>
              </a:defRPr>
            </a:lvl1pPr>
          </a:lstStyle>
          <a:p>
            <a:pPr lvl="0"/>
            <a:r>
              <a:rPr lang="ru-RU" dirty="0"/>
              <a:t>Подзаголовок или описание</a:t>
            </a:r>
            <a:endParaRPr lang="en-US" dirty="0"/>
          </a:p>
        </p:txBody>
      </p:sp>
      <p:pic>
        <p:nvPicPr>
          <p:cNvPr id="8" name="Рисунок 7">
            <a:extLst>
              <a:ext uri="{FF2B5EF4-FFF2-40B4-BE49-F238E27FC236}">
                <a16:creationId xmlns:a16="http://schemas.microsoft.com/office/drawing/2014/main" id="{B9992D87-91A4-704C-BE62-04EE29E6E87A}"/>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305073426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11">
    <p:bg>
      <p:bgPr>
        <a:solidFill>
          <a:srgbClr val="57D9B7"/>
        </a:solidFill>
        <a:effectLst/>
      </p:bgPr>
    </p:bg>
    <p:spTree>
      <p:nvGrpSpPr>
        <p:cNvPr id="1" name=""/>
        <p:cNvGrpSpPr/>
        <p:nvPr/>
      </p:nvGrpSpPr>
      <p:grpSpPr>
        <a:xfrm>
          <a:off x="0" y="0"/>
          <a:ext cx="0" cy="0"/>
          <a:chOff x="0" y="0"/>
          <a:chExt cx="0" cy="0"/>
        </a:xfrm>
      </p:grpSpPr>
      <p:sp>
        <p:nvSpPr>
          <p:cNvPr id="7" name="Заголовок 17">
            <a:extLst>
              <a:ext uri="{FF2B5EF4-FFF2-40B4-BE49-F238E27FC236}">
                <a16:creationId xmlns:a16="http://schemas.microsoft.com/office/drawing/2014/main" id="{4566C180-0A4D-BC4D-B302-834B2F33C6DD}"/>
              </a:ext>
            </a:extLst>
          </p:cNvPr>
          <p:cNvSpPr>
            <a:spLocks noGrp="1"/>
          </p:cNvSpPr>
          <p:nvPr>
            <p:ph type="title" hasCustomPrompt="1"/>
          </p:nvPr>
        </p:nvSpPr>
        <p:spPr>
          <a:xfrm>
            <a:off x="465973" y="1245684"/>
            <a:ext cx="6662504" cy="943848"/>
          </a:xfrm>
          <a:prstGeom prst="rect">
            <a:avLst/>
          </a:prstGeom>
          <a:solidFill>
            <a:srgbClr val="8600FF"/>
          </a:solidFill>
        </p:spPr>
        <p:txBody>
          <a:bodyPr lIns="0" anchor="ctr"/>
          <a:lstStyle>
            <a:lvl1pPr algn="l">
              <a:defRPr sz="5333" b="0" i="0">
                <a:solidFill>
                  <a:schemeClr val="bg1"/>
                </a:solidFill>
                <a:latin typeface="Rostelecom Basis Medium" panose="020B0503030604040103" pitchFamily="34" charset="0"/>
              </a:defRPr>
            </a:lvl1pPr>
          </a:lstStyle>
          <a:p>
            <a:r>
              <a:rPr lang="ru-RU" dirty="0"/>
              <a:t> Введите заголовок</a:t>
            </a:r>
            <a:r>
              <a:rPr lang="en-US" dirty="0"/>
              <a:t>  </a:t>
            </a:r>
            <a:endParaRPr lang="ru-RU" dirty="0"/>
          </a:p>
        </p:txBody>
      </p:sp>
      <p:sp>
        <p:nvSpPr>
          <p:cNvPr id="8" name="Текст 13">
            <a:extLst>
              <a:ext uri="{FF2B5EF4-FFF2-40B4-BE49-F238E27FC236}">
                <a16:creationId xmlns:a16="http://schemas.microsoft.com/office/drawing/2014/main" id="{18D2836E-ABEE-4F4C-9E3D-E74919CCEB88}"/>
              </a:ext>
            </a:extLst>
          </p:cNvPr>
          <p:cNvSpPr>
            <a:spLocks noGrp="1"/>
          </p:cNvSpPr>
          <p:nvPr>
            <p:ph type="body" sz="quarter" idx="11" hasCustomPrompt="1"/>
          </p:nvPr>
        </p:nvSpPr>
        <p:spPr>
          <a:xfrm>
            <a:off x="465972" y="834321"/>
            <a:ext cx="2270455" cy="395942"/>
          </a:xfrm>
          <a:prstGeom prst="rect">
            <a:avLst/>
          </a:prstGeom>
          <a:solidFill>
            <a:srgbClr val="8600FF"/>
          </a:solidFill>
        </p:spPr>
        <p:txBody>
          <a:bodyPr wrap="square" lIns="144000" anchor="ctr">
            <a:spAutoFit/>
          </a:bodyPr>
          <a:lstStyle>
            <a:lvl1pPr marL="0" indent="0">
              <a:buNone/>
              <a:defRPr sz="2133" b="0" i="0">
                <a:solidFill>
                  <a:schemeClr val="bg1"/>
                </a:solidFill>
                <a:latin typeface="Rostelecom Basis Medium" panose="020B0503030604040103" pitchFamily="34" charset="0"/>
              </a:defRPr>
            </a:lvl1pPr>
          </a:lstStyle>
          <a:p>
            <a:pPr lvl="0"/>
            <a:r>
              <a:rPr lang="ru-RU" dirty="0"/>
              <a:t>Подзаголовок </a:t>
            </a:r>
          </a:p>
        </p:txBody>
      </p:sp>
      <p:pic>
        <p:nvPicPr>
          <p:cNvPr id="5" name="Рисунок 4">
            <a:extLst>
              <a:ext uri="{FF2B5EF4-FFF2-40B4-BE49-F238E27FC236}">
                <a16:creationId xmlns:a16="http://schemas.microsoft.com/office/drawing/2014/main" id="{7A8B638E-5B5D-C747-86D4-B83D08020A8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319864843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12">
    <p:bg>
      <p:bgPr>
        <a:solidFill>
          <a:srgbClr val="FFBE08"/>
        </a:solidFill>
        <a:effectLst/>
      </p:bgPr>
    </p:bg>
    <p:spTree>
      <p:nvGrpSpPr>
        <p:cNvPr id="1" name=""/>
        <p:cNvGrpSpPr/>
        <p:nvPr/>
      </p:nvGrpSpPr>
      <p:grpSpPr>
        <a:xfrm>
          <a:off x="0" y="0"/>
          <a:ext cx="0" cy="0"/>
          <a:chOff x="0" y="0"/>
          <a:chExt cx="0" cy="0"/>
        </a:xfrm>
      </p:grpSpPr>
      <p:sp>
        <p:nvSpPr>
          <p:cNvPr id="5" name="Заголовок 17">
            <a:extLst>
              <a:ext uri="{FF2B5EF4-FFF2-40B4-BE49-F238E27FC236}">
                <a16:creationId xmlns:a16="http://schemas.microsoft.com/office/drawing/2014/main" id="{276A4F3D-5A35-3441-A8D8-470DC51D7D06}"/>
              </a:ext>
            </a:extLst>
          </p:cNvPr>
          <p:cNvSpPr>
            <a:spLocks noGrp="1"/>
          </p:cNvSpPr>
          <p:nvPr>
            <p:ph type="title" hasCustomPrompt="1"/>
          </p:nvPr>
        </p:nvSpPr>
        <p:spPr>
          <a:xfrm>
            <a:off x="465973" y="1245684"/>
            <a:ext cx="6662504" cy="943848"/>
          </a:xfrm>
          <a:prstGeom prst="rect">
            <a:avLst/>
          </a:prstGeom>
          <a:solidFill>
            <a:srgbClr val="8600FF"/>
          </a:solidFill>
        </p:spPr>
        <p:txBody>
          <a:bodyPr lIns="0" anchor="ctr"/>
          <a:lstStyle>
            <a:lvl1pPr algn="l">
              <a:defRPr sz="5333" b="0" i="0">
                <a:solidFill>
                  <a:schemeClr val="bg1"/>
                </a:solidFill>
                <a:latin typeface="Rostelecom Basis Medium" panose="020B0503030604040103" pitchFamily="34" charset="0"/>
              </a:defRPr>
            </a:lvl1pPr>
          </a:lstStyle>
          <a:p>
            <a:r>
              <a:rPr lang="ru-RU" dirty="0"/>
              <a:t> Введите заголовок</a:t>
            </a:r>
            <a:r>
              <a:rPr lang="en-US" dirty="0"/>
              <a:t>  </a:t>
            </a:r>
            <a:endParaRPr lang="ru-RU" dirty="0"/>
          </a:p>
        </p:txBody>
      </p:sp>
      <p:sp>
        <p:nvSpPr>
          <p:cNvPr id="6" name="Текст 13">
            <a:extLst>
              <a:ext uri="{FF2B5EF4-FFF2-40B4-BE49-F238E27FC236}">
                <a16:creationId xmlns:a16="http://schemas.microsoft.com/office/drawing/2014/main" id="{1920BFCE-1AE5-0B48-BC0D-3EDF8C6E4756}"/>
              </a:ext>
            </a:extLst>
          </p:cNvPr>
          <p:cNvSpPr>
            <a:spLocks noGrp="1"/>
          </p:cNvSpPr>
          <p:nvPr>
            <p:ph type="body" sz="quarter" idx="11" hasCustomPrompt="1"/>
          </p:nvPr>
        </p:nvSpPr>
        <p:spPr>
          <a:xfrm>
            <a:off x="465972" y="834321"/>
            <a:ext cx="2270455" cy="395942"/>
          </a:xfrm>
          <a:prstGeom prst="rect">
            <a:avLst/>
          </a:prstGeom>
          <a:solidFill>
            <a:srgbClr val="8600FF"/>
          </a:solidFill>
        </p:spPr>
        <p:txBody>
          <a:bodyPr wrap="square" lIns="144000" anchor="ctr">
            <a:spAutoFit/>
          </a:bodyPr>
          <a:lstStyle>
            <a:lvl1pPr marL="0" indent="0">
              <a:buNone/>
              <a:defRPr sz="2133" b="0" i="0">
                <a:solidFill>
                  <a:schemeClr val="bg1"/>
                </a:solidFill>
                <a:latin typeface="Rostelecom Basis Medium" panose="020B0503030604040103" pitchFamily="34" charset="0"/>
              </a:defRPr>
            </a:lvl1pPr>
          </a:lstStyle>
          <a:p>
            <a:pPr lvl="0"/>
            <a:r>
              <a:rPr lang="ru-RU" dirty="0"/>
              <a:t>Подзаголовок </a:t>
            </a:r>
          </a:p>
        </p:txBody>
      </p:sp>
      <p:pic>
        <p:nvPicPr>
          <p:cNvPr id="9" name="Рисунок 8">
            <a:extLst>
              <a:ext uri="{FF2B5EF4-FFF2-40B4-BE49-F238E27FC236}">
                <a16:creationId xmlns:a16="http://schemas.microsoft.com/office/drawing/2014/main" id="{337C766F-A999-0446-9AE1-AEC8196E43E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2513115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13">
    <p:bg>
      <p:bgPr>
        <a:solidFill>
          <a:srgbClr val="FFBCC1"/>
        </a:solidFill>
        <a:effectLst/>
      </p:bgPr>
    </p:bg>
    <p:spTree>
      <p:nvGrpSpPr>
        <p:cNvPr id="1" name=""/>
        <p:cNvGrpSpPr/>
        <p:nvPr/>
      </p:nvGrpSpPr>
      <p:grpSpPr>
        <a:xfrm>
          <a:off x="0" y="0"/>
          <a:ext cx="0" cy="0"/>
          <a:chOff x="0" y="0"/>
          <a:chExt cx="0" cy="0"/>
        </a:xfrm>
      </p:grpSpPr>
      <p:sp>
        <p:nvSpPr>
          <p:cNvPr id="5" name="Заголовок 17">
            <a:extLst>
              <a:ext uri="{FF2B5EF4-FFF2-40B4-BE49-F238E27FC236}">
                <a16:creationId xmlns:a16="http://schemas.microsoft.com/office/drawing/2014/main" id="{C49D8234-ECA5-DA48-B6EC-48D54BE27452}"/>
              </a:ext>
            </a:extLst>
          </p:cNvPr>
          <p:cNvSpPr>
            <a:spLocks noGrp="1"/>
          </p:cNvSpPr>
          <p:nvPr>
            <p:ph type="title" hasCustomPrompt="1"/>
          </p:nvPr>
        </p:nvSpPr>
        <p:spPr>
          <a:xfrm>
            <a:off x="465973" y="1245684"/>
            <a:ext cx="6662504" cy="943848"/>
          </a:xfrm>
          <a:prstGeom prst="rect">
            <a:avLst/>
          </a:prstGeom>
          <a:solidFill>
            <a:srgbClr val="8600FF"/>
          </a:solidFill>
        </p:spPr>
        <p:txBody>
          <a:bodyPr lIns="0" anchor="ctr"/>
          <a:lstStyle>
            <a:lvl1pPr algn="l">
              <a:defRPr sz="5333" b="0" i="0">
                <a:solidFill>
                  <a:schemeClr val="bg1"/>
                </a:solidFill>
                <a:latin typeface="Rostelecom Basis Medium" panose="020B0503030604040103" pitchFamily="34" charset="0"/>
              </a:defRPr>
            </a:lvl1pPr>
          </a:lstStyle>
          <a:p>
            <a:r>
              <a:rPr lang="ru-RU" dirty="0"/>
              <a:t> Введите заголовок</a:t>
            </a:r>
            <a:r>
              <a:rPr lang="en-US" dirty="0"/>
              <a:t>  </a:t>
            </a:r>
            <a:endParaRPr lang="ru-RU" dirty="0"/>
          </a:p>
        </p:txBody>
      </p:sp>
      <p:sp>
        <p:nvSpPr>
          <p:cNvPr id="6" name="Текст 13">
            <a:extLst>
              <a:ext uri="{FF2B5EF4-FFF2-40B4-BE49-F238E27FC236}">
                <a16:creationId xmlns:a16="http://schemas.microsoft.com/office/drawing/2014/main" id="{A130E779-4172-2844-B6BE-B7CB40189A46}"/>
              </a:ext>
            </a:extLst>
          </p:cNvPr>
          <p:cNvSpPr>
            <a:spLocks noGrp="1"/>
          </p:cNvSpPr>
          <p:nvPr>
            <p:ph type="body" sz="quarter" idx="11" hasCustomPrompt="1"/>
          </p:nvPr>
        </p:nvSpPr>
        <p:spPr>
          <a:xfrm>
            <a:off x="465972" y="834321"/>
            <a:ext cx="2270455" cy="395942"/>
          </a:xfrm>
          <a:prstGeom prst="rect">
            <a:avLst/>
          </a:prstGeom>
          <a:solidFill>
            <a:srgbClr val="8600FF"/>
          </a:solidFill>
        </p:spPr>
        <p:txBody>
          <a:bodyPr wrap="square" lIns="144000" anchor="ctr">
            <a:spAutoFit/>
          </a:bodyPr>
          <a:lstStyle>
            <a:lvl1pPr marL="0" indent="0">
              <a:buNone/>
              <a:defRPr sz="2133" b="0" i="0">
                <a:solidFill>
                  <a:schemeClr val="bg1"/>
                </a:solidFill>
                <a:latin typeface="Rostelecom Basis Medium" panose="020B0503030604040103" pitchFamily="34" charset="0"/>
              </a:defRPr>
            </a:lvl1pPr>
          </a:lstStyle>
          <a:p>
            <a:pPr lvl="0"/>
            <a:r>
              <a:rPr lang="ru-RU" dirty="0"/>
              <a:t>Подзаголовок </a:t>
            </a:r>
          </a:p>
        </p:txBody>
      </p:sp>
      <p:pic>
        <p:nvPicPr>
          <p:cNvPr id="9" name="Рисунок 8">
            <a:extLst>
              <a:ext uri="{FF2B5EF4-FFF2-40B4-BE49-F238E27FC236}">
                <a16:creationId xmlns:a16="http://schemas.microsoft.com/office/drawing/2014/main" id="{96CC56C4-02B7-8E4B-9C56-C53D7E6AC28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93380011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14">
    <p:bg>
      <p:bgPr>
        <a:solidFill>
          <a:srgbClr val="213A67"/>
        </a:solidFill>
        <a:effectLst/>
      </p:bgPr>
    </p:bg>
    <p:spTree>
      <p:nvGrpSpPr>
        <p:cNvPr id="1" name=""/>
        <p:cNvGrpSpPr/>
        <p:nvPr/>
      </p:nvGrpSpPr>
      <p:grpSpPr>
        <a:xfrm>
          <a:off x="0" y="0"/>
          <a:ext cx="0" cy="0"/>
          <a:chOff x="0" y="0"/>
          <a:chExt cx="0" cy="0"/>
        </a:xfrm>
      </p:grpSpPr>
      <p:sp>
        <p:nvSpPr>
          <p:cNvPr id="5" name="Заголовок 17">
            <a:extLst>
              <a:ext uri="{FF2B5EF4-FFF2-40B4-BE49-F238E27FC236}">
                <a16:creationId xmlns:a16="http://schemas.microsoft.com/office/drawing/2014/main" id="{8A1CBB54-4883-624C-8058-B2064EDC653A}"/>
              </a:ext>
            </a:extLst>
          </p:cNvPr>
          <p:cNvSpPr>
            <a:spLocks noGrp="1"/>
          </p:cNvSpPr>
          <p:nvPr>
            <p:ph type="title" hasCustomPrompt="1"/>
          </p:nvPr>
        </p:nvSpPr>
        <p:spPr>
          <a:xfrm>
            <a:off x="465973" y="1245684"/>
            <a:ext cx="6662504" cy="943848"/>
          </a:xfrm>
          <a:prstGeom prst="rect">
            <a:avLst/>
          </a:prstGeom>
          <a:solidFill>
            <a:srgbClr val="FFBE08"/>
          </a:solidFill>
        </p:spPr>
        <p:txBody>
          <a:bodyPr lIns="0" anchor="ctr"/>
          <a:lstStyle>
            <a:lvl1pPr algn="l">
              <a:defRPr sz="5333" b="0" i="0">
                <a:solidFill>
                  <a:schemeClr val="bg1"/>
                </a:solidFill>
                <a:latin typeface="Rostelecom Basis Medium" panose="020B0503030604040103" pitchFamily="34" charset="0"/>
              </a:defRPr>
            </a:lvl1pPr>
          </a:lstStyle>
          <a:p>
            <a:r>
              <a:rPr lang="ru-RU" dirty="0"/>
              <a:t> Введите заголовок</a:t>
            </a:r>
            <a:r>
              <a:rPr lang="en-US" dirty="0"/>
              <a:t>  </a:t>
            </a:r>
            <a:endParaRPr lang="ru-RU" dirty="0"/>
          </a:p>
        </p:txBody>
      </p:sp>
      <p:sp>
        <p:nvSpPr>
          <p:cNvPr id="6" name="Текст 13">
            <a:extLst>
              <a:ext uri="{FF2B5EF4-FFF2-40B4-BE49-F238E27FC236}">
                <a16:creationId xmlns:a16="http://schemas.microsoft.com/office/drawing/2014/main" id="{25F98907-E68A-0445-8B43-6950C8ED233F}"/>
              </a:ext>
            </a:extLst>
          </p:cNvPr>
          <p:cNvSpPr>
            <a:spLocks noGrp="1"/>
          </p:cNvSpPr>
          <p:nvPr>
            <p:ph type="body" sz="quarter" idx="11" hasCustomPrompt="1"/>
          </p:nvPr>
        </p:nvSpPr>
        <p:spPr>
          <a:xfrm>
            <a:off x="465972" y="834321"/>
            <a:ext cx="2270455" cy="395942"/>
          </a:xfrm>
          <a:prstGeom prst="rect">
            <a:avLst/>
          </a:prstGeom>
          <a:solidFill>
            <a:srgbClr val="FFBE08"/>
          </a:solidFill>
        </p:spPr>
        <p:txBody>
          <a:bodyPr wrap="square" lIns="144000" anchor="ctr">
            <a:spAutoFit/>
          </a:bodyPr>
          <a:lstStyle>
            <a:lvl1pPr marL="0" indent="0">
              <a:buNone/>
              <a:defRPr sz="2133" b="0" i="0">
                <a:solidFill>
                  <a:schemeClr val="bg1"/>
                </a:solidFill>
                <a:latin typeface="Rostelecom Basis Medium" panose="020B0503030604040103" pitchFamily="34" charset="0"/>
              </a:defRPr>
            </a:lvl1pPr>
          </a:lstStyle>
          <a:p>
            <a:pPr lvl="0"/>
            <a:r>
              <a:rPr lang="ru-RU" dirty="0"/>
              <a:t>Подзаголовок </a:t>
            </a:r>
          </a:p>
        </p:txBody>
      </p:sp>
      <p:pic>
        <p:nvPicPr>
          <p:cNvPr id="9" name="Рисунок 8">
            <a:extLst>
              <a:ext uri="{FF2B5EF4-FFF2-40B4-BE49-F238E27FC236}">
                <a16:creationId xmlns:a16="http://schemas.microsoft.com/office/drawing/2014/main" id="{DC331C31-3F32-E946-833A-0E0C0FEFCE4C}"/>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53654774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15">
    <p:bg>
      <p:bgPr>
        <a:solidFill>
          <a:srgbClr val="75939C"/>
        </a:solidFill>
        <a:effectLst/>
      </p:bgPr>
    </p:bg>
    <p:spTree>
      <p:nvGrpSpPr>
        <p:cNvPr id="1" name=""/>
        <p:cNvGrpSpPr/>
        <p:nvPr/>
      </p:nvGrpSpPr>
      <p:grpSpPr>
        <a:xfrm>
          <a:off x="0" y="0"/>
          <a:ext cx="0" cy="0"/>
          <a:chOff x="0" y="0"/>
          <a:chExt cx="0" cy="0"/>
        </a:xfrm>
      </p:grpSpPr>
      <p:sp>
        <p:nvSpPr>
          <p:cNvPr id="5" name="Заголовок 17">
            <a:extLst>
              <a:ext uri="{FF2B5EF4-FFF2-40B4-BE49-F238E27FC236}">
                <a16:creationId xmlns:a16="http://schemas.microsoft.com/office/drawing/2014/main" id="{839A5E01-4EBF-B943-B794-1778AC07D9E9}"/>
              </a:ext>
            </a:extLst>
          </p:cNvPr>
          <p:cNvSpPr>
            <a:spLocks noGrp="1"/>
          </p:cNvSpPr>
          <p:nvPr>
            <p:ph type="title" hasCustomPrompt="1"/>
          </p:nvPr>
        </p:nvSpPr>
        <p:spPr>
          <a:xfrm>
            <a:off x="465973" y="1245684"/>
            <a:ext cx="6662504" cy="943848"/>
          </a:xfrm>
          <a:prstGeom prst="rect">
            <a:avLst/>
          </a:prstGeom>
          <a:solidFill>
            <a:srgbClr val="8600FF"/>
          </a:solidFill>
        </p:spPr>
        <p:txBody>
          <a:bodyPr lIns="0" anchor="ctr"/>
          <a:lstStyle>
            <a:lvl1pPr algn="l">
              <a:defRPr sz="5333" b="0" i="0">
                <a:solidFill>
                  <a:schemeClr val="bg1"/>
                </a:solidFill>
                <a:latin typeface="Rostelecom Basis Medium" panose="020B0503030604040103" pitchFamily="34" charset="0"/>
              </a:defRPr>
            </a:lvl1pPr>
          </a:lstStyle>
          <a:p>
            <a:r>
              <a:rPr lang="ru-RU" dirty="0"/>
              <a:t> Введите заголовок</a:t>
            </a:r>
            <a:r>
              <a:rPr lang="en-US" dirty="0"/>
              <a:t>  </a:t>
            </a:r>
            <a:endParaRPr lang="ru-RU" dirty="0"/>
          </a:p>
        </p:txBody>
      </p:sp>
      <p:sp>
        <p:nvSpPr>
          <p:cNvPr id="6" name="Текст 13">
            <a:extLst>
              <a:ext uri="{FF2B5EF4-FFF2-40B4-BE49-F238E27FC236}">
                <a16:creationId xmlns:a16="http://schemas.microsoft.com/office/drawing/2014/main" id="{4B7BD359-5BAF-E644-BACF-2A59EF19E3A4}"/>
              </a:ext>
            </a:extLst>
          </p:cNvPr>
          <p:cNvSpPr>
            <a:spLocks noGrp="1"/>
          </p:cNvSpPr>
          <p:nvPr>
            <p:ph type="body" sz="quarter" idx="11" hasCustomPrompt="1"/>
          </p:nvPr>
        </p:nvSpPr>
        <p:spPr>
          <a:xfrm>
            <a:off x="465972" y="834321"/>
            <a:ext cx="2270455" cy="395942"/>
          </a:xfrm>
          <a:prstGeom prst="rect">
            <a:avLst/>
          </a:prstGeom>
          <a:solidFill>
            <a:srgbClr val="8600FF"/>
          </a:solidFill>
        </p:spPr>
        <p:txBody>
          <a:bodyPr wrap="square" lIns="144000" anchor="ctr">
            <a:spAutoFit/>
          </a:bodyPr>
          <a:lstStyle>
            <a:lvl1pPr marL="0" indent="0">
              <a:buNone/>
              <a:defRPr sz="2133" b="0" i="0">
                <a:solidFill>
                  <a:schemeClr val="bg1"/>
                </a:solidFill>
                <a:latin typeface="Rostelecom Basis Medium" panose="020B0503030604040103" pitchFamily="34" charset="0"/>
              </a:defRPr>
            </a:lvl1pPr>
          </a:lstStyle>
          <a:p>
            <a:pPr lvl="0"/>
            <a:r>
              <a:rPr lang="ru-RU" dirty="0"/>
              <a:t>Подзаголовок </a:t>
            </a:r>
          </a:p>
        </p:txBody>
      </p:sp>
      <p:pic>
        <p:nvPicPr>
          <p:cNvPr id="9" name="Рисунок 8">
            <a:extLst>
              <a:ext uri="{FF2B5EF4-FFF2-40B4-BE49-F238E27FC236}">
                <a16:creationId xmlns:a16="http://schemas.microsoft.com/office/drawing/2014/main" id="{526FE44E-F7DC-B34D-815E-4B465CA925CB}"/>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67544309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16">
    <p:bg>
      <p:bgPr>
        <a:solidFill>
          <a:srgbClr val="323B48"/>
        </a:solidFill>
        <a:effectLst/>
      </p:bgPr>
    </p:bg>
    <p:spTree>
      <p:nvGrpSpPr>
        <p:cNvPr id="1" name=""/>
        <p:cNvGrpSpPr/>
        <p:nvPr/>
      </p:nvGrpSpPr>
      <p:grpSpPr>
        <a:xfrm>
          <a:off x="0" y="0"/>
          <a:ext cx="0" cy="0"/>
          <a:chOff x="0" y="0"/>
          <a:chExt cx="0" cy="0"/>
        </a:xfrm>
      </p:grpSpPr>
      <p:sp>
        <p:nvSpPr>
          <p:cNvPr id="5" name="Заголовок 17">
            <a:extLst>
              <a:ext uri="{FF2B5EF4-FFF2-40B4-BE49-F238E27FC236}">
                <a16:creationId xmlns:a16="http://schemas.microsoft.com/office/drawing/2014/main" id="{A5179BD9-3BF4-C740-A571-AE8CDE42FF13}"/>
              </a:ext>
            </a:extLst>
          </p:cNvPr>
          <p:cNvSpPr>
            <a:spLocks noGrp="1"/>
          </p:cNvSpPr>
          <p:nvPr>
            <p:ph type="title" hasCustomPrompt="1"/>
          </p:nvPr>
        </p:nvSpPr>
        <p:spPr>
          <a:xfrm>
            <a:off x="465973" y="1245684"/>
            <a:ext cx="6662504" cy="943848"/>
          </a:xfrm>
          <a:prstGeom prst="rect">
            <a:avLst/>
          </a:prstGeom>
          <a:solidFill>
            <a:srgbClr val="FF3900"/>
          </a:solidFill>
        </p:spPr>
        <p:txBody>
          <a:bodyPr lIns="0" anchor="ctr"/>
          <a:lstStyle>
            <a:lvl1pPr algn="l">
              <a:defRPr sz="5333" b="0" i="0">
                <a:solidFill>
                  <a:schemeClr val="bg1"/>
                </a:solidFill>
                <a:latin typeface="Rostelecom Basis Medium" panose="020B0503030604040103" pitchFamily="34" charset="0"/>
              </a:defRPr>
            </a:lvl1pPr>
          </a:lstStyle>
          <a:p>
            <a:r>
              <a:rPr lang="ru-RU" dirty="0"/>
              <a:t> Введите заголовок</a:t>
            </a:r>
            <a:r>
              <a:rPr lang="en-US" dirty="0"/>
              <a:t>  </a:t>
            </a:r>
            <a:endParaRPr lang="ru-RU" dirty="0"/>
          </a:p>
        </p:txBody>
      </p:sp>
      <p:sp>
        <p:nvSpPr>
          <p:cNvPr id="6" name="Текст 13">
            <a:extLst>
              <a:ext uri="{FF2B5EF4-FFF2-40B4-BE49-F238E27FC236}">
                <a16:creationId xmlns:a16="http://schemas.microsoft.com/office/drawing/2014/main" id="{DD1CBDA3-FEBB-7F4B-A99A-25416C13C6D2}"/>
              </a:ext>
            </a:extLst>
          </p:cNvPr>
          <p:cNvSpPr>
            <a:spLocks noGrp="1"/>
          </p:cNvSpPr>
          <p:nvPr>
            <p:ph type="body" sz="quarter" idx="11" hasCustomPrompt="1"/>
          </p:nvPr>
        </p:nvSpPr>
        <p:spPr>
          <a:xfrm>
            <a:off x="465972" y="834321"/>
            <a:ext cx="2270455" cy="395942"/>
          </a:xfrm>
          <a:prstGeom prst="rect">
            <a:avLst/>
          </a:prstGeom>
          <a:solidFill>
            <a:srgbClr val="FF3900"/>
          </a:solidFill>
        </p:spPr>
        <p:txBody>
          <a:bodyPr wrap="square" lIns="144000" anchor="ctr">
            <a:spAutoFit/>
          </a:bodyPr>
          <a:lstStyle>
            <a:lvl1pPr marL="0" indent="0">
              <a:buNone/>
              <a:defRPr sz="2133" b="0" i="0">
                <a:solidFill>
                  <a:schemeClr val="bg1"/>
                </a:solidFill>
                <a:latin typeface="Rostelecom Basis Medium" panose="020B0503030604040103" pitchFamily="34" charset="0"/>
              </a:defRPr>
            </a:lvl1pPr>
          </a:lstStyle>
          <a:p>
            <a:pPr lvl="0"/>
            <a:r>
              <a:rPr lang="ru-RU" dirty="0"/>
              <a:t>Подзаголовок </a:t>
            </a:r>
          </a:p>
        </p:txBody>
      </p:sp>
      <p:pic>
        <p:nvPicPr>
          <p:cNvPr id="9" name="Рисунок 8">
            <a:extLst>
              <a:ext uri="{FF2B5EF4-FFF2-40B4-BE49-F238E27FC236}">
                <a16:creationId xmlns:a16="http://schemas.microsoft.com/office/drawing/2014/main" id="{6B496F0B-D7B7-534E-8E9E-ACD3E7E5DC2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35133647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17">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75AED8DF-49D6-402F-85EF-26DAEB2F7F6A}"/>
              </a:ext>
            </a:extLst>
          </p:cNvPr>
          <p:cNvSpPr>
            <a:spLocks noGrp="1"/>
          </p:cNvSpPr>
          <p:nvPr>
            <p:ph type="pic" sz="quarter" idx="10" hasCustomPrompt="1"/>
          </p:nvPr>
        </p:nvSpPr>
        <p:spPr>
          <a:xfrm>
            <a:off x="0" y="0"/>
            <a:ext cx="12192000" cy="6858000"/>
          </a:xfrm>
          <a:prstGeom prst="rect">
            <a:avLst/>
          </a:prstGeom>
          <a:solidFill>
            <a:schemeClr val="bg1">
              <a:lumMod val="95000"/>
            </a:schemeClr>
          </a:solidFill>
        </p:spPr>
        <p:txBody>
          <a:bodyPr wrap="square" lIns="90000" tIns="46800" rIns="90000" bIns="0" anchor="b" anchorCtr="1"/>
          <a:lstStyle>
            <a:lvl1pPr marL="0" marR="0" indent="0" algn="ctr" defTabSz="412740" eaLnBrk="1" fontAlgn="auto" latinLnBrk="0" hangingPunct="1">
              <a:lnSpc>
                <a:spcPct val="100000"/>
              </a:lnSpc>
              <a:spcBef>
                <a:spcPts val="2951"/>
              </a:spcBef>
              <a:spcAft>
                <a:spcPts val="0"/>
              </a:spcAft>
              <a:buClrTx/>
              <a:buSzPct val="125000"/>
              <a:buFontTx/>
              <a:buNone/>
              <a:tabLst/>
              <a:defRPr sz="1333">
                <a:solidFill>
                  <a:schemeClr val="tx2">
                    <a:lumMod val="75000"/>
                  </a:schemeClr>
                </a:solidFill>
                <a:latin typeface="+mj-lt"/>
              </a:defRPr>
            </a:lvl1pPr>
          </a:lstStyle>
          <a:p>
            <a:r>
              <a:rPr lang="ru-RU" dirty="0"/>
              <a:t>Кликните иконку для вставки изображения. </a:t>
            </a:r>
            <a:br>
              <a:rPr lang="ru-RU" dirty="0"/>
            </a:br>
            <a:r>
              <a:rPr lang="ru-RU" dirty="0" err="1"/>
              <a:t>Кадрировать</a:t>
            </a:r>
            <a:r>
              <a:rPr lang="ru-RU" dirty="0"/>
              <a:t>, перемещать — в режиме «Обрезать»</a:t>
            </a:r>
          </a:p>
          <a:p>
            <a:endParaRPr lang="ru-RU" dirty="0"/>
          </a:p>
          <a:p>
            <a:endParaRPr lang="ru-RU" dirty="0"/>
          </a:p>
          <a:p>
            <a:endParaRPr lang="ru-RU" dirty="0"/>
          </a:p>
          <a:p>
            <a:endParaRPr lang="ru-RU" dirty="0"/>
          </a:p>
        </p:txBody>
      </p:sp>
      <p:sp>
        <p:nvSpPr>
          <p:cNvPr id="8" name="Рисунок 2">
            <a:extLst>
              <a:ext uri="{FF2B5EF4-FFF2-40B4-BE49-F238E27FC236}">
                <a16:creationId xmlns:a16="http://schemas.microsoft.com/office/drawing/2014/main" id="{9D903169-61D3-9247-8280-1E78242E7634}"/>
              </a:ext>
            </a:extLst>
          </p:cNvPr>
          <p:cNvSpPr>
            <a:spLocks noGrp="1"/>
          </p:cNvSpPr>
          <p:nvPr>
            <p:ph type="pic" sz="quarter" idx="12" hasCustomPrompt="1"/>
          </p:nvPr>
        </p:nvSpPr>
        <p:spPr>
          <a:xfrm>
            <a:off x="465667" y="6203379"/>
            <a:ext cx="2145600" cy="489600"/>
          </a:xfrm>
          <a:prstGeom prst="rect">
            <a:avLst/>
          </a:prstGeom>
        </p:spPr>
        <p:txBody>
          <a:bodyPr/>
          <a:lstStyle>
            <a:lvl1pPr marL="0" indent="0">
              <a:buNone/>
              <a:defRPr/>
            </a:lvl1pPr>
          </a:lstStyle>
          <a:p>
            <a:r>
              <a:rPr lang="ru-RU" dirty="0"/>
              <a:t>Добавьте логотип</a:t>
            </a:r>
            <a:br>
              <a:rPr lang="ru-RU" dirty="0"/>
            </a:br>
            <a:r>
              <a:rPr lang="en-US" dirty="0" err="1"/>
              <a:t>Rostelecom-logo.svg</a:t>
            </a:r>
            <a:endParaRPr lang="ru-RU" dirty="0"/>
          </a:p>
        </p:txBody>
      </p:sp>
      <p:sp>
        <p:nvSpPr>
          <p:cNvPr id="6" name="Заголовок 17">
            <a:extLst>
              <a:ext uri="{FF2B5EF4-FFF2-40B4-BE49-F238E27FC236}">
                <a16:creationId xmlns:a16="http://schemas.microsoft.com/office/drawing/2014/main" id="{2F1F454A-7F19-7347-B0CC-E09197AE4070}"/>
              </a:ext>
            </a:extLst>
          </p:cNvPr>
          <p:cNvSpPr>
            <a:spLocks noGrp="1"/>
          </p:cNvSpPr>
          <p:nvPr>
            <p:ph type="title" hasCustomPrompt="1"/>
          </p:nvPr>
        </p:nvSpPr>
        <p:spPr>
          <a:xfrm>
            <a:off x="465973" y="1245684"/>
            <a:ext cx="6662504" cy="943848"/>
          </a:xfrm>
          <a:prstGeom prst="rect">
            <a:avLst/>
          </a:prstGeom>
          <a:solidFill>
            <a:srgbClr val="8600FF"/>
          </a:solidFill>
        </p:spPr>
        <p:txBody>
          <a:bodyPr lIns="0" anchor="ctr"/>
          <a:lstStyle>
            <a:lvl1pPr algn="l">
              <a:defRPr sz="5333" b="0" i="0">
                <a:solidFill>
                  <a:schemeClr val="bg1"/>
                </a:solidFill>
                <a:latin typeface="Rostelecom Basis Medium" panose="020B0503030604040103" pitchFamily="34" charset="0"/>
              </a:defRPr>
            </a:lvl1pPr>
          </a:lstStyle>
          <a:p>
            <a:r>
              <a:rPr lang="ru-RU" dirty="0"/>
              <a:t> Введите заголовок</a:t>
            </a:r>
            <a:r>
              <a:rPr lang="en-US" dirty="0"/>
              <a:t>  </a:t>
            </a:r>
            <a:endParaRPr lang="ru-RU" dirty="0"/>
          </a:p>
        </p:txBody>
      </p:sp>
      <p:sp>
        <p:nvSpPr>
          <p:cNvPr id="10" name="Текст 13">
            <a:extLst>
              <a:ext uri="{FF2B5EF4-FFF2-40B4-BE49-F238E27FC236}">
                <a16:creationId xmlns:a16="http://schemas.microsoft.com/office/drawing/2014/main" id="{66049484-BFDD-A842-A9B2-44DEF3D050BB}"/>
              </a:ext>
            </a:extLst>
          </p:cNvPr>
          <p:cNvSpPr>
            <a:spLocks noGrp="1"/>
          </p:cNvSpPr>
          <p:nvPr>
            <p:ph type="body" sz="quarter" idx="11" hasCustomPrompt="1"/>
          </p:nvPr>
        </p:nvSpPr>
        <p:spPr>
          <a:xfrm>
            <a:off x="465972" y="834321"/>
            <a:ext cx="2270455" cy="395942"/>
          </a:xfrm>
          <a:prstGeom prst="rect">
            <a:avLst/>
          </a:prstGeom>
          <a:solidFill>
            <a:srgbClr val="8600FF"/>
          </a:solidFill>
        </p:spPr>
        <p:txBody>
          <a:bodyPr wrap="square" lIns="144000" anchor="ctr">
            <a:spAutoFit/>
          </a:bodyPr>
          <a:lstStyle>
            <a:lvl1pPr marL="0" indent="0">
              <a:buNone/>
              <a:defRPr sz="2133" b="0" i="0">
                <a:solidFill>
                  <a:schemeClr val="bg1"/>
                </a:solidFill>
                <a:latin typeface="Rostelecom Basis Medium" panose="020B0503030604040103" pitchFamily="34" charset="0"/>
              </a:defRPr>
            </a:lvl1pPr>
          </a:lstStyle>
          <a:p>
            <a:pPr lvl="0"/>
            <a:r>
              <a:rPr lang="ru-RU" dirty="0"/>
              <a:t>Подзаголовок </a:t>
            </a:r>
          </a:p>
        </p:txBody>
      </p:sp>
    </p:spTree>
    <p:extLst>
      <p:ext uri="{BB962C8B-B14F-4D97-AF65-F5344CB8AC3E}">
        <p14:creationId xmlns:p14="http://schemas.microsoft.com/office/powerpoint/2010/main" val="25124766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1"/>
            <a:ext cx="11366499" cy="92251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8" y="2491351"/>
            <a:ext cx="3202839" cy="1028271"/>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a:p>
            <a:endParaRPr lang="ru-RU" sz="1587" dirty="0"/>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19839" y="5243427"/>
            <a:ext cx="3202839" cy="888432"/>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6969" y="2491351"/>
            <a:ext cx="3202839" cy="1028271"/>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9615" y="2117908"/>
            <a:ext cx="3202839" cy="270289"/>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19836" y="4882459"/>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6967" y="2117908"/>
            <a:ext cx="3202839" cy="270289"/>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AD18AD81-4A32-4BD0-A7E4-3448EB9EA011}"/>
              </a:ext>
            </a:extLst>
          </p:cNvPr>
          <p:cNvSpPr>
            <a:spLocks noGrp="1"/>
          </p:cNvSpPr>
          <p:nvPr>
            <p:ph type="body" sz="quarter" idx="57" hasCustomPrompt="1"/>
          </p:nvPr>
        </p:nvSpPr>
        <p:spPr>
          <a:xfrm>
            <a:off x="8578846" y="5243427"/>
            <a:ext cx="3202839" cy="888432"/>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7" name="Текст 4">
            <a:extLst>
              <a:ext uri="{FF2B5EF4-FFF2-40B4-BE49-F238E27FC236}">
                <a16:creationId xmlns:a16="http://schemas.microsoft.com/office/drawing/2014/main" id="{725D1698-F31C-4B98-B0BE-A3A077544384}"/>
              </a:ext>
            </a:extLst>
          </p:cNvPr>
          <p:cNvSpPr>
            <a:spLocks noGrp="1"/>
          </p:cNvSpPr>
          <p:nvPr>
            <p:ph type="body" sz="quarter" idx="58" hasCustomPrompt="1"/>
          </p:nvPr>
        </p:nvSpPr>
        <p:spPr>
          <a:xfrm>
            <a:off x="8578846" y="4882459"/>
            <a:ext cx="3202839"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C1EB1179-3546-46DE-93F2-D3E56E923F3F}"/>
              </a:ext>
            </a:extLst>
          </p:cNvPr>
          <p:cNvSpPr>
            <a:spLocks noGrp="1"/>
          </p:cNvSpPr>
          <p:nvPr>
            <p:ph type="body" sz="quarter" idx="60" hasCustomPrompt="1"/>
          </p:nvPr>
        </p:nvSpPr>
        <p:spPr>
          <a:xfrm>
            <a:off x="4054205" y="5243427"/>
            <a:ext cx="3621875" cy="888432"/>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9" name="Текст 4">
            <a:extLst>
              <a:ext uri="{FF2B5EF4-FFF2-40B4-BE49-F238E27FC236}">
                <a16:creationId xmlns:a16="http://schemas.microsoft.com/office/drawing/2014/main" id="{1D1227BE-1ADF-49EE-84A6-005D8B8B372E}"/>
              </a:ext>
            </a:extLst>
          </p:cNvPr>
          <p:cNvSpPr>
            <a:spLocks noGrp="1"/>
          </p:cNvSpPr>
          <p:nvPr>
            <p:ph type="body" sz="quarter" idx="61" hasCustomPrompt="1"/>
          </p:nvPr>
        </p:nvSpPr>
        <p:spPr>
          <a:xfrm>
            <a:off x="4054205" y="4882459"/>
            <a:ext cx="3621875" cy="257813"/>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29" name="Рисунок 2">
            <a:extLst>
              <a:ext uri="{FF2B5EF4-FFF2-40B4-BE49-F238E27FC236}">
                <a16:creationId xmlns:a16="http://schemas.microsoft.com/office/drawing/2014/main" id="{DC9492FA-77C8-42D1-AA07-8CA74CE4A086}"/>
              </a:ext>
            </a:extLst>
          </p:cNvPr>
          <p:cNvSpPr>
            <a:spLocks noGrp="1"/>
          </p:cNvSpPr>
          <p:nvPr>
            <p:ph type="pic" sz="quarter" idx="59"/>
          </p:nvPr>
        </p:nvSpPr>
        <p:spPr>
          <a:xfrm>
            <a:off x="4056081" y="1916213"/>
            <a:ext cx="4081715" cy="2473297"/>
          </a:xfrm>
          <a:prstGeom prst="rect">
            <a:avLst/>
          </a:prstGeom>
          <a:solidFill>
            <a:schemeClr val="bg2"/>
          </a:solidFill>
        </p:spPr>
        <p:txBody>
          <a:bodyPr anchor="ctr"/>
          <a:lstStyle>
            <a:lvl1pPr algn="ctr">
              <a:defRPr sz="1763" b="0"/>
            </a:lvl1pPr>
          </a:lstStyle>
          <a:p>
            <a:endParaRPr lang="ru-RU" dirty="0"/>
          </a:p>
        </p:txBody>
      </p:sp>
    </p:spTree>
    <p:extLst>
      <p:ext uri="{BB962C8B-B14F-4D97-AF65-F5344CB8AC3E}">
        <p14:creationId xmlns:p14="http://schemas.microsoft.com/office/powerpoint/2010/main" val="173040045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5-1">
    <p:spTree>
      <p:nvGrpSpPr>
        <p:cNvPr id="1" name=""/>
        <p:cNvGrpSpPr/>
        <p:nvPr/>
      </p:nvGrpSpPr>
      <p:grpSpPr>
        <a:xfrm>
          <a:off x="0" y="0"/>
          <a:ext cx="0" cy="0"/>
          <a:chOff x="0" y="0"/>
          <a:chExt cx="0" cy="0"/>
        </a:xfrm>
      </p:grpSpPr>
      <p:pic>
        <p:nvPicPr>
          <p:cNvPr id="10" name="Рисунок 83">
            <a:extLst>
              <a:ext uri="{FF2B5EF4-FFF2-40B4-BE49-F238E27FC236}">
                <a16:creationId xmlns:a16="http://schemas.microsoft.com/office/drawing/2014/main" id="{6C4E0E5F-208A-40CF-9F3D-9A3A2ED16D65}"/>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rcRect l="3959" t="13079" r="2184" b="7969"/>
          <a:stretch/>
        </p:blipFill>
        <p:spPr>
          <a:xfrm>
            <a:off x="1035017" y="232461"/>
            <a:ext cx="10866348" cy="6460868"/>
          </a:xfrm>
          <a:prstGeom prst="rect">
            <a:avLst/>
          </a:prstGeom>
        </p:spPr>
      </p:pic>
      <p:sp>
        <p:nvSpPr>
          <p:cNvPr id="11" name="5-конечная звезда 84">
            <a:extLst>
              <a:ext uri="{FF2B5EF4-FFF2-40B4-BE49-F238E27FC236}">
                <a16:creationId xmlns:a16="http://schemas.microsoft.com/office/drawing/2014/main" id="{BB89236F-1A1B-4E92-BDA0-EE4926DDC10A}"/>
              </a:ext>
            </a:extLst>
          </p:cNvPr>
          <p:cNvSpPr/>
          <p:nvPr/>
        </p:nvSpPr>
        <p:spPr>
          <a:xfrm>
            <a:off x="3349382" y="3008058"/>
            <a:ext cx="246012" cy="246012"/>
          </a:xfrm>
          <a:prstGeom prst="star5">
            <a:avLst>
              <a:gd name="adj" fmla="val 22955"/>
              <a:gd name="hf" fmla="val 105146"/>
              <a:gd name="vf" fmla="val 110557"/>
            </a:avLst>
          </a:prstGeom>
          <a:solidFill>
            <a:srgbClr val="FF3900"/>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13" name="Овал 86">
            <a:extLst>
              <a:ext uri="{FF2B5EF4-FFF2-40B4-BE49-F238E27FC236}">
                <a16:creationId xmlns:a16="http://schemas.microsoft.com/office/drawing/2014/main" id="{D2655918-C5DB-43F0-80C4-5CF0805BC2CD}"/>
              </a:ext>
            </a:extLst>
          </p:cNvPr>
          <p:cNvSpPr/>
          <p:nvPr/>
        </p:nvSpPr>
        <p:spPr>
          <a:xfrm>
            <a:off x="2148484" y="4763025"/>
            <a:ext cx="112168" cy="112168"/>
          </a:xfrm>
          <a:prstGeom prst="ellips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14" name="Овал 87">
            <a:extLst>
              <a:ext uri="{FF2B5EF4-FFF2-40B4-BE49-F238E27FC236}">
                <a16:creationId xmlns:a16="http://schemas.microsoft.com/office/drawing/2014/main" id="{6AD50906-DA36-45A6-A3A7-026F88F37E99}"/>
              </a:ext>
            </a:extLst>
          </p:cNvPr>
          <p:cNvSpPr/>
          <p:nvPr/>
        </p:nvSpPr>
        <p:spPr>
          <a:xfrm>
            <a:off x="2470311" y="3832989"/>
            <a:ext cx="112168" cy="112168"/>
          </a:xfrm>
          <a:prstGeom prst="ellips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15" name="Овал 88">
            <a:extLst>
              <a:ext uri="{FF2B5EF4-FFF2-40B4-BE49-F238E27FC236}">
                <a16:creationId xmlns:a16="http://schemas.microsoft.com/office/drawing/2014/main" id="{3FB3D2A8-C717-414A-8A1E-C5AC0AFC56F7}"/>
              </a:ext>
            </a:extLst>
          </p:cNvPr>
          <p:cNvSpPr/>
          <p:nvPr/>
        </p:nvSpPr>
        <p:spPr>
          <a:xfrm>
            <a:off x="3164255" y="4296739"/>
            <a:ext cx="112168" cy="112168"/>
          </a:xfrm>
          <a:prstGeom prst="ellips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16" name="Овал 89">
            <a:extLst>
              <a:ext uri="{FF2B5EF4-FFF2-40B4-BE49-F238E27FC236}">
                <a16:creationId xmlns:a16="http://schemas.microsoft.com/office/drawing/2014/main" id="{D4CDEBF8-43D1-4D02-A18E-F32280015EDF}"/>
              </a:ext>
            </a:extLst>
          </p:cNvPr>
          <p:cNvSpPr/>
          <p:nvPr/>
        </p:nvSpPr>
        <p:spPr>
          <a:xfrm>
            <a:off x="4175749" y="3213301"/>
            <a:ext cx="112168" cy="112168"/>
          </a:xfrm>
          <a:prstGeom prst="ellips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17" name="TextBox 16">
            <a:extLst>
              <a:ext uri="{FF2B5EF4-FFF2-40B4-BE49-F238E27FC236}">
                <a16:creationId xmlns:a16="http://schemas.microsoft.com/office/drawing/2014/main" id="{6BEC0027-7D3C-41F0-880E-B04834EE7004}"/>
              </a:ext>
            </a:extLst>
          </p:cNvPr>
          <p:cNvSpPr txBox="1"/>
          <p:nvPr/>
        </p:nvSpPr>
        <p:spPr>
          <a:xfrm>
            <a:off x="3056005" y="3195805"/>
            <a:ext cx="852108" cy="25654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Москва</a:t>
            </a:r>
          </a:p>
        </p:txBody>
      </p:sp>
      <p:sp>
        <p:nvSpPr>
          <p:cNvPr id="18" name="TextBox 17">
            <a:extLst>
              <a:ext uri="{FF2B5EF4-FFF2-40B4-BE49-F238E27FC236}">
                <a16:creationId xmlns:a16="http://schemas.microsoft.com/office/drawing/2014/main" id="{B36705A8-F75B-4143-9CDE-E861454DF17B}"/>
              </a:ext>
            </a:extLst>
          </p:cNvPr>
          <p:cNvSpPr txBox="1"/>
          <p:nvPr/>
        </p:nvSpPr>
        <p:spPr>
          <a:xfrm>
            <a:off x="3652513" y="3288279"/>
            <a:ext cx="1176092" cy="42075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Нижний Новгород</a:t>
            </a:r>
          </a:p>
        </p:txBody>
      </p:sp>
      <p:sp>
        <p:nvSpPr>
          <p:cNvPr id="20" name="TextBox 19">
            <a:extLst>
              <a:ext uri="{FF2B5EF4-FFF2-40B4-BE49-F238E27FC236}">
                <a16:creationId xmlns:a16="http://schemas.microsoft.com/office/drawing/2014/main" id="{CEEE573C-6F00-4190-853C-55CD91D40F81}"/>
              </a:ext>
            </a:extLst>
          </p:cNvPr>
          <p:cNvSpPr txBox="1"/>
          <p:nvPr/>
        </p:nvSpPr>
        <p:spPr>
          <a:xfrm>
            <a:off x="1847930" y="4888808"/>
            <a:ext cx="622381" cy="25654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Сочи</a:t>
            </a:r>
          </a:p>
        </p:txBody>
      </p:sp>
      <p:sp>
        <p:nvSpPr>
          <p:cNvPr id="21" name="TextBox 20">
            <a:extLst>
              <a:ext uri="{FF2B5EF4-FFF2-40B4-BE49-F238E27FC236}">
                <a16:creationId xmlns:a16="http://schemas.microsoft.com/office/drawing/2014/main" id="{30B1AE2F-288E-4196-9EBE-D826DFE301E9}"/>
              </a:ext>
            </a:extLst>
          </p:cNvPr>
          <p:cNvSpPr txBox="1"/>
          <p:nvPr/>
        </p:nvSpPr>
        <p:spPr>
          <a:xfrm>
            <a:off x="2737378" y="4521772"/>
            <a:ext cx="1078089" cy="25654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Волгоград</a:t>
            </a:r>
          </a:p>
        </p:txBody>
      </p:sp>
      <p:sp>
        <p:nvSpPr>
          <p:cNvPr id="22" name="TextBox 21">
            <a:extLst>
              <a:ext uri="{FF2B5EF4-FFF2-40B4-BE49-F238E27FC236}">
                <a16:creationId xmlns:a16="http://schemas.microsoft.com/office/drawing/2014/main" id="{7DF90B46-4A0D-4330-967D-C1DACE4FD196}"/>
              </a:ext>
            </a:extLst>
          </p:cNvPr>
          <p:cNvSpPr txBox="1"/>
          <p:nvPr/>
        </p:nvSpPr>
        <p:spPr>
          <a:xfrm>
            <a:off x="1845667" y="3552817"/>
            <a:ext cx="1426012" cy="25654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Ростов-на-Дону</a:t>
            </a:r>
          </a:p>
        </p:txBody>
      </p:sp>
      <p:sp>
        <p:nvSpPr>
          <p:cNvPr id="23" name="Овал 96">
            <a:extLst>
              <a:ext uri="{FF2B5EF4-FFF2-40B4-BE49-F238E27FC236}">
                <a16:creationId xmlns:a16="http://schemas.microsoft.com/office/drawing/2014/main" id="{934D7A5B-E527-4659-AA70-FFFCDF196B68}"/>
              </a:ext>
            </a:extLst>
          </p:cNvPr>
          <p:cNvSpPr/>
          <p:nvPr/>
        </p:nvSpPr>
        <p:spPr>
          <a:xfrm>
            <a:off x="4631447" y="3848387"/>
            <a:ext cx="112168" cy="112168"/>
          </a:xfrm>
          <a:prstGeom prst="ellips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24" name="TextBox 23">
            <a:extLst>
              <a:ext uri="{FF2B5EF4-FFF2-40B4-BE49-F238E27FC236}">
                <a16:creationId xmlns:a16="http://schemas.microsoft.com/office/drawing/2014/main" id="{A6184607-6CC9-471F-BA5E-7E1531D99765}"/>
              </a:ext>
            </a:extLst>
          </p:cNvPr>
          <p:cNvSpPr txBox="1"/>
          <p:nvPr/>
        </p:nvSpPr>
        <p:spPr>
          <a:xfrm>
            <a:off x="4017773" y="3948689"/>
            <a:ext cx="1370585" cy="25654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Самара</a:t>
            </a:r>
          </a:p>
        </p:txBody>
      </p:sp>
      <p:sp>
        <p:nvSpPr>
          <p:cNvPr id="25" name="Овал 98">
            <a:extLst>
              <a:ext uri="{FF2B5EF4-FFF2-40B4-BE49-F238E27FC236}">
                <a16:creationId xmlns:a16="http://schemas.microsoft.com/office/drawing/2014/main" id="{BF2322CF-C84C-4713-8D8A-D952CB885C6A}"/>
              </a:ext>
            </a:extLst>
          </p:cNvPr>
          <p:cNvSpPr/>
          <p:nvPr/>
        </p:nvSpPr>
        <p:spPr>
          <a:xfrm>
            <a:off x="3868901" y="3846008"/>
            <a:ext cx="112168" cy="112168"/>
          </a:xfrm>
          <a:prstGeom prst="ellips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26" name="TextBox 25">
            <a:extLst>
              <a:ext uri="{FF2B5EF4-FFF2-40B4-BE49-F238E27FC236}">
                <a16:creationId xmlns:a16="http://schemas.microsoft.com/office/drawing/2014/main" id="{93AE1822-DF44-4BED-B505-A0CB26D72619}"/>
              </a:ext>
            </a:extLst>
          </p:cNvPr>
          <p:cNvSpPr txBox="1"/>
          <p:nvPr/>
        </p:nvSpPr>
        <p:spPr>
          <a:xfrm>
            <a:off x="3344638" y="3925790"/>
            <a:ext cx="1176092" cy="25654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Саранск</a:t>
            </a:r>
          </a:p>
        </p:txBody>
      </p:sp>
      <p:sp>
        <p:nvSpPr>
          <p:cNvPr id="27" name="Овал 100">
            <a:extLst>
              <a:ext uri="{FF2B5EF4-FFF2-40B4-BE49-F238E27FC236}">
                <a16:creationId xmlns:a16="http://schemas.microsoft.com/office/drawing/2014/main" id="{70023559-49B1-4F9A-85C2-76E6B28CA424}"/>
              </a:ext>
            </a:extLst>
          </p:cNvPr>
          <p:cNvSpPr/>
          <p:nvPr/>
        </p:nvSpPr>
        <p:spPr>
          <a:xfrm>
            <a:off x="5571628" y="3516819"/>
            <a:ext cx="112168" cy="112168"/>
          </a:xfrm>
          <a:prstGeom prst="ellips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28" name="TextBox 27">
            <a:extLst>
              <a:ext uri="{FF2B5EF4-FFF2-40B4-BE49-F238E27FC236}">
                <a16:creationId xmlns:a16="http://schemas.microsoft.com/office/drawing/2014/main" id="{6F1B6776-D5F1-4AB3-BAFC-0AC2E31E62C5}"/>
              </a:ext>
            </a:extLst>
          </p:cNvPr>
          <p:cNvSpPr txBox="1"/>
          <p:nvPr/>
        </p:nvSpPr>
        <p:spPr>
          <a:xfrm>
            <a:off x="4942420" y="3619499"/>
            <a:ext cx="1370585" cy="256545"/>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Екатеринбург</a:t>
            </a:r>
          </a:p>
        </p:txBody>
      </p:sp>
      <p:sp>
        <p:nvSpPr>
          <p:cNvPr id="7" name="Text Placeholder 6">
            <a:extLst>
              <a:ext uri="{FF2B5EF4-FFF2-40B4-BE49-F238E27FC236}">
                <a16:creationId xmlns:a16="http://schemas.microsoft.com/office/drawing/2014/main" id="{89F74582-6304-4990-98A3-13A733D0D7FB}"/>
              </a:ext>
            </a:extLst>
          </p:cNvPr>
          <p:cNvSpPr>
            <a:spLocks noGrp="1"/>
          </p:cNvSpPr>
          <p:nvPr>
            <p:ph type="body" sz="quarter" idx="20" hasCustomPrompt="1"/>
          </p:nvPr>
        </p:nvSpPr>
        <p:spPr>
          <a:xfrm>
            <a:off x="2027923" y="2054267"/>
            <a:ext cx="366184" cy="585866"/>
          </a:xfrm>
          <a:prstGeom prst="rect">
            <a:avLst/>
          </a:prstGeom>
        </p:spPr>
        <p:txBody>
          <a:bodyPr anchor="ctr" anchorCtr="1">
            <a:spAutoFit/>
          </a:bodyPr>
          <a:lstStyle>
            <a:lvl1pPr marL="0" indent="0">
              <a:buNone/>
              <a:defRPr sz="3467" b="1">
                <a:solidFill>
                  <a:srgbClr val="7700FF"/>
                </a:solidFill>
              </a:defRPr>
            </a:lvl1pPr>
          </a:lstStyle>
          <a:p>
            <a:pPr lvl="0"/>
            <a:r>
              <a:rPr lang="ru-RU" dirty="0"/>
              <a:t>•</a:t>
            </a:r>
          </a:p>
        </p:txBody>
      </p:sp>
      <p:sp>
        <p:nvSpPr>
          <p:cNvPr id="3" name="Text Placeholder 2">
            <a:extLst>
              <a:ext uri="{FF2B5EF4-FFF2-40B4-BE49-F238E27FC236}">
                <a16:creationId xmlns:a16="http://schemas.microsoft.com/office/drawing/2014/main" id="{7F6D7A5A-FA6E-4A5B-8010-87249290CB4D}"/>
              </a:ext>
            </a:extLst>
          </p:cNvPr>
          <p:cNvSpPr>
            <a:spLocks noGrp="1"/>
          </p:cNvSpPr>
          <p:nvPr>
            <p:ph type="body" sz="quarter" idx="19" hasCustomPrompt="1"/>
          </p:nvPr>
        </p:nvSpPr>
        <p:spPr>
          <a:xfrm>
            <a:off x="1635798" y="2405279"/>
            <a:ext cx="1145117" cy="244234"/>
          </a:xfrm>
          <a:prstGeom prst="rect">
            <a:avLst/>
          </a:prstGeom>
        </p:spPr>
        <p:txBody>
          <a:bodyPr>
            <a:spAutoFit/>
          </a:bodyPr>
          <a:lstStyle>
            <a:lvl1pPr marL="0" marR="0" indent="0" algn="ctr" defTabSz="1219170" rtl="0" eaLnBrk="1" fontAlgn="auto" latinLnBrk="0" hangingPunct="1">
              <a:lnSpc>
                <a:spcPct val="90000"/>
              </a:lnSpc>
              <a:spcBef>
                <a:spcPts val="1333"/>
              </a:spcBef>
              <a:spcAft>
                <a:spcPts val="0"/>
              </a:spcAft>
              <a:buClrTx/>
              <a:buSzTx/>
              <a:buFont typeface="Arial" panose="020B0604020202020204" pitchFamily="34" charset="0"/>
              <a:buNone/>
              <a:tabLst/>
              <a:defRPr sz="1067">
                <a:latin typeface="+mj-lt"/>
              </a:defRPr>
            </a:lvl1pPr>
          </a:lstStyle>
          <a:p>
            <a:pPr marL="0" marR="0" lvl="0" indent="0" algn="l" defTabSz="1219170" rtl="0" eaLnBrk="1" fontAlgn="auto" latinLnBrk="0" hangingPunct="1">
              <a:lnSpc>
                <a:spcPct val="90000"/>
              </a:lnSpc>
              <a:spcBef>
                <a:spcPts val="1333"/>
              </a:spcBef>
              <a:spcAft>
                <a:spcPts val="0"/>
              </a:spcAft>
              <a:buClrTx/>
              <a:buSzTx/>
              <a:buFont typeface="Arial" panose="020B0604020202020204" pitchFamily="34" charset="0"/>
              <a:buNone/>
              <a:tabLst/>
              <a:defRPr/>
            </a:pPr>
            <a:r>
              <a:rPr kumimoji="0" lang="ru-RU" sz="1067" b="0" i="0" u="none" strike="noStrike" kern="0" cap="none" spc="0" normalizeH="0" baseline="0" noProof="0" dirty="0">
                <a:ln>
                  <a:noFill/>
                </a:ln>
                <a:solidFill>
                  <a:sysClr val="windowText" lastClr="000000"/>
                </a:solidFill>
                <a:effectLst/>
                <a:uLnTx/>
                <a:uFillTx/>
                <a:latin typeface="Basis Grotesque Pro Medium" panose="02000603030000020004" pitchFamily="50" charset="0"/>
                <a:sym typeface="Helvetica Neue"/>
              </a:rPr>
              <a:t>Калининград</a:t>
            </a:r>
          </a:p>
        </p:txBody>
      </p:sp>
      <p:sp>
        <p:nvSpPr>
          <p:cNvPr id="30" name="Заголовок 17">
            <a:extLst>
              <a:ext uri="{FF2B5EF4-FFF2-40B4-BE49-F238E27FC236}">
                <a16:creationId xmlns:a16="http://schemas.microsoft.com/office/drawing/2014/main" id="{47F0E57A-9D6A-D145-84E3-CC1E8B3DE671}"/>
              </a:ext>
            </a:extLst>
          </p:cNvPr>
          <p:cNvSpPr>
            <a:spLocks noGrp="1"/>
          </p:cNvSpPr>
          <p:nvPr>
            <p:ph type="title" hasCustomPrompt="1"/>
          </p:nvPr>
        </p:nvSpPr>
        <p:spPr>
          <a:xfrm>
            <a:off x="580139" y="306755"/>
            <a:ext cx="10959997" cy="547842"/>
          </a:xfrm>
          <a:prstGeom prst="rect">
            <a:avLst/>
          </a:prstGeom>
        </p:spPr>
        <p:txBody>
          <a:bodyPr wrap="square" lIns="0">
            <a:spAutoFit/>
          </a:bodyPr>
          <a:lstStyle>
            <a:lvl1pPr algn="l">
              <a:defRPr sz="3200" b="0" i="0">
                <a:solidFill>
                  <a:schemeClr val="tx1"/>
                </a:solidFill>
                <a:latin typeface="Rostelecom Basis Medium" panose="020B0503030604040103" pitchFamily="34" charset="0"/>
              </a:defRPr>
            </a:lvl1pPr>
          </a:lstStyle>
          <a:p>
            <a:r>
              <a:rPr lang="ru-RU" dirty="0"/>
              <a:t>Заголовок</a:t>
            </a:r>
            <a:r>
              <a:rPr lang="en-US" dirty="0"/>
              <a:t> </a:t>
            </a:r>
            <a:r>
              <a:rPr lang="ru-RU" dirty="0"/>
              <a:t>слайда</a:t>
            </a:r>
          </a:p>
        </p:txBody>
      </p:sp>
      <p:pic>
        <p:nvPicPr>
          <p:cNvPr id="32" name="Рисунок 31">
            <a:extLst>
              <a:ext uri="{FF2B5EF4-FFF2-40B4-BE49-F238E27FC236}">
                <a16:creationId xmlns:a16="http://schemas.microsoft.com/office/drawing/2014/main" id="{2292E323-5974-2647-8FB7-85A115DC7567}"/>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392523876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5-2">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8E9A33CB-6E72-4D59-8F43-53EF1DAC45C6}"/>
              </a:ext>
            </a:extLst>
          </p:cNvPr>
          <p:cNvSpPr>
            <a:spLocks noGrp="1" noChangeAspect="1"/>
          </p:cNvSpPr>
          <p:nvPr>
            <p:ph type="pic" sz="quarter" idx="14" hasCustomPrompt="1"/>
          </p:nvPr>
        </p:nvSpPr>
        <p:spPr>
          <a:xfrm>
            <a:off x="582568" y="2292525"/>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1" name="Picture Placeholder 2">
            <a:extLst>
              <a:ext uri="{FF2B5EF4-FFF2-40B4-BE49-F238E27FC236}">
                <a16:creationId xmlns:a16="http://schemas.microsoft.com/office/drawing/2014/main" id="{55D3F2D1-ABB7-41C0-8D68-4ADBDAE08C27}"/>
              </a:ext>
            </a:extLst>
          </p:cNvPr>
          <p:cNvSpPr>
            <a:spLocks noGrp="1" noChangeAspect="1"/>
          </p:cNvSpPr>
          <p:nvPr>
            <p:ph type="pic" sz="quarter" idx="19" hasCustomPrompt="1"/>
          </p:nvPr>
        </p:nvSpPr>
        <p:spPr>
          <a:xfrm>
            <a:off x="581352" y="3342595"/>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2" name="Picture Placeholder 2">
            <a:extLst>
              <a:ext uri="{FF2B5EF4-FFF2-40B4-BE49-F238E27FC236}">
                <a16:creationId xmlns:a16="http://schemas.microsoft.com/office/drawing/2014/main" id="{8B6F4245-DCB9-493F-A627-533EBF8CFB03}"/>
              </a:ext>
            </a:extLst>
          </p:cNvPr>
          <p:cNvSpPr>
            <a:spLocks noGrp="1" noChangeAspect="1"/>
          </p:cNvSpPr>
          <p:nvPr>
            <p:ph type="pic" sz="quarter" idx="20" hasCustomPrompt="1"/>
          </p:nvPr>
        </p:nvSpPr>
        <p:spPr>
          <a:xfrm>
            <a:off x="580139" y="4385356"/>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3" name="Picture Placeholder 2">
            <a:extLst>
              <a:ext uri="{FF2B5EF4-FFF2-40B4-BE49-F238E27FC236}">
                <a16:creationId xmlns:a16="http://schemas.microsoft.com/office/drawing/2014/main" id="{5829AE06-A076-471C-BCF7-2DEAF29E11CC}"/>
              </a:ext>
            </a:extLst>
          </p:cNvPr>
          <p:cNvSpPr>
            <a:spLocks noGrp="1" noChangeAspect="1"/>
          </p:cNvSpPr>
          <p:nvPr>
            <p:ph type="pic" sz="quarter" idx="21" hasCustomPrompt="1"/>
          </p:nvPr>
        </p:nvSpPr>
        <p:spPr>
          <a:xfrm>
            <a:off x="4328856" y="2291312"/>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4" name="Picture Placeholder 2">
            <a:extLst>
              <a:ext uri="{FF2B5EF4-FFF2-40B4-BE49-F238E27FC236}">
                <a16:creationId xmlns:a16="http://schemas.microsoft.com/office/drawing/2014/main" id="{B85FBA92-0725-49C8-BD91-4D7A18EF516A}"/>
              </a:ext>
            </a:extLst>
          </p:cNvPr>
          <p:cNvSpPr>
            <a:spLocks noGrp="1" noChangeAspect="1"/>
          </p:cNvSpPr>
          <p:nvPr>
            <p:ph type="pic" sz="quarter" idx="22" hasCustomPrompt="1"/>
          </p:nvPr>
        </p:nvSpPr>
        <p:spPr>
          <a:xfrm>
            <a:off x="4327640" y="3341381"/>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5" name="Picture Placeholder 2">
            <a:extLst>
              <a:ext uri="{FF2B5EF4-FFF2-40B4-BE49-F238E27FC236}">
                <a16:creationId xmlns:a16="http://schemas.microsoft.com/office/drawing/2014/main" id="{0BD2CEA5-B3E3-4DB1-BDCA-F3424E731C18}"/>
              </a:ext>
            </a:extLst>
          </p:cNvPr>
          <p:cNvSpPr>
            <a:spLocks noGrp="1" noChangeAspect="1"/>
          </p:cNvSpPr>
          <p:nvPr>
            <p:ph type="pic" sz="quarter" idx="23" hasCustomPrompt="1"/>
          </p:nvPr>
        </p:nvSpPr>
        <p:spPr>
          <a:xfrm>
            <a:off x="4326427" y="4384143"/>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6" name="Picture Placeholder 2">
            <a:extLst>
              <a:ext uri="{FF2B5EF4-FFF2-40B4-BE49-F238E27FC236}">
                <a16:creationId xmlns:a16="http://schemas.microsoft.com/office/drawing/2014/main" id="{BFD6960B-4F98-4144-9879-B029808DA76D}"/>
              </a:ext>
            </a:extLst>
          </p:cNvPr>
          <p:cNvSpPr>
            <a:spLocks noGrp="1" noChangeAspect="1"/>
          </p:cNvSpPr>
          <p:nvPr>
            <p:ph type="pic" sz="quarter" idx="24" hasCustomPrompt="1"/>
          </p:nvPr>
        </p:nvSpPr>
        <p:spPr>
          <a:xfrm>
            <a:off x="8080027" y="2290101"/>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7" name="Picture Placeholder 2">
            <a:extLst>
              <a:ext uri="{FF2B5EF4-FFF2-40B4-BE49-F238E27FC236}">
                <a16:creationId xmlns:a16="http://schemas.microsoft.com/office/drawing/2014/main" id="{07A5CF51-A89A-45AE-99CD-DB86EA28B34C}"/>
              </a:ext>
            </a:extLst>
          </p:cNvPr>
          <p:cNvSpPr>
            <a:spLocks noGrp="1" noChangeAspect="1"/>
          </p:cNvSpPr>
          <p:nvPr>
            <p:ph type="pic" sz="quarter" idx="25" hasCustomPrompt="1"/>
          </p:nvPr>
        </p:nvSpPr>
        <p:spPr>
          <a:xfrm>
            <a:off x="8078811" y="3340171"/>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8" name="Picture Placeholder 2">
            <a:extLst>
              <a:ext uri="{FF2B5EF4-FFF2-40B4-BE49-F238E27FC236}">
                <a16:creationId xmlns:a16="http://schemas.microsoft.com/office/drawing/2014/main" id="{0E7EA7A7-F2E2-4CAA-B3C3-E50D17FD34DA}"/>
              </a:ext>
            </a:extLst>
          </p:cNvPr>
          <p:cNvSpPr>
            <a:spLocks noGrp="1" noChangeAspect="1"/>
          </p:cNvSpPr>
          <p:nvPr>
            <p:ph type="pic" sz="quarter" idx="26" hasCustomPrompt="1"/>
          </p:nvPr>
        </p:nvSpPr>
        <p:spPr>
          <a:xfrm>
            <a:off x="8077597" y="4382932"/>
            <a:ext cx="480000" cy="480000"/>
          </a:xfrm>
          <a:prstGeom prst="rect">
            <a:avLst/>
          </a:prstGeom>
          <a:solidFill>
            <a:schemeClr val="bg1"/>
          </a:solidFill>
        </p:spPr>
        <p:txBody>
          <a:bodyPr lIns="0" tIns="0" rIns="0"/>
          <a:lstStyle>
            <a:lvl1pPr marL="0" indent="0" algn="ctr">
              <a:buNone/>
              <a:defRPr sz="933">
                <a:latin typeface="Basis Grotesque Pro Medium" panose="02000603030000020004" pitchFamily="50" charset="0"/>
              </a:defRPr>
            </a:lvl1pPr>
          </a:lstStyle>
          <a:p>
            <a:r>
              <a:rPr lang="ru-RU" dirty="0"/>
              <a:t>иконка</a:t>
            </a:r>
          </a:p>
        </p:txBody>
      </p:sp>
      <p:sp>
        <p:nvSpPr>
          <p:cNvPr id="3" name="Text Placeholder 2">
            <a:extLst>
              <a:ext uri="{FF2B5EF4-FFF2-40B4-BE49-F238E27FC236}">
                <a16:creationId xmlns:a16="http://schemas.microsoft.com/office/drawing/2014/main" id="{7A1B27E7-A134-40ED-A38C-BF6286B3CD30}"/>
              </a:ext>
            </a:extLst>
          </p:cNvPr>
          <p:cNvSpPr>
            <a:spLocks noGrp="1"/>
          </p:cNvSpPr>
          <p:nvPr>
            <p:ph type="body" sz="quarter" idx="27" hasCustomPrompt="1"/>
          </p:nvPr>
        </p:nvSpPr>
        <p:spPr>
          <a:xfrm>
            <a:off x="1228671" y="2294767"/>
            <a:ext cx="2550811" cy="466666"/>
          </a:xfrm>
          <a:prstGeom prst="rect">
            <a:avLst/>
          </a:prstGeom>
        </p:spPr>
        <p:txBody>
          <a:bodyPr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39" name="Text Placeholder 2">
            <a:extLst>
              <a:ext uri="{FF2B5EF4-FFF2-40B4-BE49-F238E27FC236}">
                <a16:creationId xmlns:a16="http://schemas.microsoft.com/office/drawing/2014/main" id="{38ED9EA7-B1A9-4DEC-8DEB-29994D36176B}"/>
              </a:ext>
            </a:extLst>
          </p:cNvPr>
          <p:cNvSpPr>
            <a:spLocks noGrp="1"/>
          </p:cNvSpPr>
          <p:nvPr>
            <p:ph type="body" sz="quarter" idx="28" hasCustomPrompt="1"/>
          </p:nvPr>
        </p:nvSpPr>
        <p:spPr>
          <a:xfrm>
            <a:off x="1234763" y="3344829"/>
            <a:ext cx="2550811" cy="466666"/>
          </a:xfrm>
          <a:prstGeom prst="rect">
            <a:avLst/>
          </a:prstGeom>
        </p:spPr>
        <p:txBody>
          <a:bodyPr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40" name="Text Placeholder 2">
            <a:extLst>
              <a:ext uri="{FF2B5EF4-FFF2-40B4-BE49-F238E27FC236}">
                <a16:creationId xmlns:a16="http://schemas.microsoft.com/office/drawing/2014/main" id="{7ABB1AC9-5E60-4EDC-A4BE-EA9E039F1D21}"/>
              </a:ext>
            </a:extLst>
          </p:cNvPr>
          <p:cNvSpPr>
            <a:spLocks noGrp="1"/>
          </p:cNvSpPr>
          <p:nvPr>
            <p:ph type="body" sz="quarter" idx="29" hasCustomPrompt="1"/>
          </p:nvPr>
        </p:nvSpPr>
        <p:spPr>
          <a:xfrm>
            <a:off x="1234755" y="4381511"/>
            <a:ext cx="2550811" cy="466666"/>
          </a:xfrm>
          <a:prstGeom prst="rect">
            <a:avLst/>
          </a:prstGeom>
        </p:spPr>
        <p:txBody>
          <a:bodyPr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41" name="Text Placeholder 2">
            <a:extLst>
              <a:ext uri="{FF2B5EF4-FFF2-40B4-BE49-F238E27FC236}">
                <a16:creationId xmlns:a16="http://schemas.microsoft.com/office/drawing/2014/main" id="{A139CC07-D3B6-47BA-9E4C-8585D00E86C5}"/>
              </a:ext>
            </a:extLst>
          </p:cNvPr>
          <p:cNvSpPr>
            <a:spLocks noGrp="1"/>
          </p:cNvSpPr>
          <p:nvPr>
            <p:ph type="body" sz="quarter" idx="30" hasCustomPrompt="1"/>
          </p:nvPr>
        </p:nvSpPr>
        <p:spPr>
          <a:xfrm>
            <a:off x="4967665" y="2293557"/>
            <a:ext cx="2556903" cy="466666"/>
          </a:xfrm>
          <a:prstGeom prst="rect">
            <a:avLst/>
          </a:prstGeom>
        </p:spPr>
        <p:txBody>
          <a:bodyPr wrap="square"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42" name="Text Placeholder 2">
            <a:extLst>
              <a:ext uri="{FF2B5EF4-FFF2-40B4-BE49-F238E27FC236}">
                <a16:creationId xmlns:a16="http://schemas.microsoft.com/office/drawing/2014/main" id="{993E0DE1-C1EF-4457-878C-8AB1BF8B88B5}"/>
              </a:ext>
            </a:extLst>
          </p:cNvPr>
          <p:cNvSpPr>
            <a:spLocks noGrp="1"/>
          </p:cNvSpPr>
          <p:nvPr>
            <p:ph type="body" sz="quarter" idx="31" hasCustomPrompt="1"/>
          </p:nvPr>
        </p:nvSpPr>
        <p:spPr>
          <a:xfrm>
            <a:off x="4973757" y="3343618"/>
            <a:ext cx="2550811" cy="466666"/>
          </a:xfrm>
          <a:prstGeom prst="rect">
            <a:avLst/>
          </a:prstGeom>
        </p:spPr>
        <p:txBody>
          <a:bodyPr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43" name="Text Placeholder 2">
            <a:extLst>
              <a:ext uri="{FF2B5EF4-FFF2-40B4-BE49-F238E27FC236}">
                <a16:creationId xmlns:a16="http://schemas.microsoft.com/office/drawing/2014/main" id="{AA5CCEFC-99B1-47A4-A992-5359BF3A2BCA}"/>
              </a:ext>
            </a:extLst>
          </p:cNvPr>
          <p:cNvSpPr>
            <a:spLocks noGrp="1"/>
          </p:cNvSpPr>
          <p:nvPr>
            <p:ph type="body" sz="quarter" idx="32" hasCustomPrompt="1"/>
          </p:nvPr>
        </p:nvSpPr>
        <p:spPr>
          <a:xfrm>
            <a:off x="4973749" y="4380301"/>
            <a:ext cx="2550817" cy="466666"/>
          </a:xfrm>
          <a:prstGeom prst="rect">
            <a:avLst/>
          </a:prstGeom>
        </p:spPr>
        <p:txBody>
          <a:bodyPr wrap="square"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44" name="Text Placeholder 2">
            <a:extLst>
              <a:ext uri="{FF2B5EF4-FFF2-40B4-BE49-F238E27FC236}">
                <a16:creationId xmlns:a16="http://schemas.microsoft.com/office/drawing/2014/main" id="{19C4C3AD-2D68-4706-BDF7-9BB5B07C62FD}"/>
              </a:ext>
            </a:extLst>
          </p:cNvPr>
          <p:cNvSpPr>
            <a:spLocks noGrp="1"/>
          </p:cNvSpPr>
          <p:nvPr>
            <p:ph type="body" sz="quarter" idx="33" hasCustomPrompt="1"/>
          </p:nvPr>
        </p:nvSpPr>
        <p:spPr>
          <a:xfrm>
            <a:off x="8718840" y="2292343"/>
            <a:ext cx="2550811" cy="466666"/>
          </a:xfrm>
          <a:prstGeom prst="rect">
            <a:avLst/>
          </a:prstGeom>
        </p:spPr>
        <p:txBody>
          <a:bodyPr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45" name="Text Placeholder 2">
            <a:extLst>
              <a:ext uri="{FF2B5EF4-FFF2-40B4-BE49-F238E27FC236}">
                <a16:creationId xmlns:a16="http://schemas.microsoft.com/office/drawing/2014/main" id="{DB3CB25D-EB39-4E8E-8804-9D0C936F8270}"/>
              </a:ext>
            </a:extLst>
          </p:cNvPr>
          <p:cNvSpPr>
            <a:spLocks noGrp="1"/>
          </p:cNvSpPr>
          <p:nvPr>
            <p:ph type="body" sz="quarter" idx="34" hasCustomPrompt="1"/>
          </p:nvPr>
        </p:nvSpPr>
        <p:spPr>
          <a:xfrm>
            <a:off x="8724932" y="3342405"/>
            <a:ext cx="2550811" cy="466666"/>
          </a:xfrm>
          <a:prstGeom prst="rect">
            <a:avLst/>
          </a:prstGeom>
        </p:spPr>
        <p:txBody>
          <a:bodyPr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46" name="Text Placeholder 2">
            <a:extLst>
              <a:ext uri="{FF2B5EF4-FFF2-40B4-BE49-F238E27FC236}">
                <a16:creationId xmlns:a16="http://schemas.microsoft.com/office/drawing/2014/main" id="{F8AEB003-464C-4011-9C93-7F141601A2B1}"/>
              </a:ext>
            </a:extLst>
          </p:cNvPr>
          <p:cNvSpPr>
            <a:spLocks noGrp="1"/>
          </p:cNvSpPr>
          <p:nvPr>
            <p:ph type="body" sz="quarter" idx="35" hasCustomPrompt="1"/>
          </p:nvPr>
        </p:nvSpPr>
        <p:spPr>
          <a:xfrm>
            <a:off x="8724924" y="4379087"/>
            <a:ext cx="2550811" cy="466666"/>
          </a:xfrm>
          <a:prstGeom prst="rect">
            <a:avLst/>
          </a:prstGeom>
        </p:spPr>
        <p:txBody>
          <a:bodyPr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22" name="Заголовок 17">
            <a:extLst>
              <a:ext uri="{FF2B5EF4-FFF2-40B4-BE49-F238E27FC236}">
                <a16:creationId xmlns:a16="http://schemas.microsoft.com/office/drawing/2014/main" id="{1979CB05-B189-8247-B6D0-11F5A94801A9}"/>
              </a:ext>
            </a:extLst>
          </p:cNvPr>
          <p:cNvSpPr>
            <a:spLocks noGrp="1"/>
          </p:cNvSpPr>
          <p:nvPr>
            <p:ph type="title" hasCustomPrompt="1"/>
          </p:nvPr>
        </p:nvSpPr>
        <p:spPr>
          <a:xfrm>
            <a:off x="580139" y="306755"/>
            <a:ext cx="10959997" cy="547842"/>
          </a:xfrm>
          <a:prstGeom prst="rect">
            <a:avLst/>
          </a:prstGeom>
        </p:spPr>
        <p:txBody>
          <a:bodyPr wrap="square" lIns="0">
            <a:spAutoFit/>
          </a:bodyPr>
          <a:lstStyle>
            <a:lvl1pPr algn="l">
              <a:defRPr sz="3200" b="0" i="0">
                <a:solidFill>
                  <a:schemeClr val="tx1"/>
                </a:solidFill>
                <a:latin typeface="Rostelecom Basis Medium" panose="020B0503030604040103" pitchFamily="34" charset="0"/>
              </a:defRPr>
            </a:lvl1pPr>
          </a:lstStyle>
          <a:p>
            <a:r>
              <a:rPr lang="ru-RU" dirty="0"/>
              <a:t>Заголовок</a:t>
            </a:r>
            <a:r>
              <a:rPr lang="en-US" dirty="0"/>
              <a:t> </a:t>
            </a:r>
            <a:r>
              <a:rPr lang="ru-RU" dirty="0"/>
              <a:t>слайда</a:t>
            </a:r>
          </a:p>
        </p:txBody>
      </p:sp>
      <p:pic>
        <p:nvPicPr>
          <p:cNvPr id="23" name="Рисунок 22">
            <a:extLst>
              <a:ext uri="{FF2B5EF4-FFF2-40B4-BE49-F238E27FC236}">
                <a16:creationId xmlns:a16="http://schemas.microsoft.com/office/drawing/2014/main" id="{4DE73C27-F15A-3943-98CE-958AD8D2634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349329890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5-5">
    <p:spTree>
      <p:nvGrpSpPr>
        <p:cNvPr id="1" name=""/>
        <p:cNvGrpSpPr/>
        <p:nvPr/>
      </p:nvGrpSpPr>
      <p:grpSpPr>
        <a:xfrm>
          <a:off x="0" y="0"/>
          <a:ext cx="0" cy="0"/>
          <a:chOff x="0" y="0"/>
          <a:chExt cx="0" cy="0"/>
        </a:xfrm>
      </p:grpSpPr>
      <p:sp>
        <p:nvSpPr>
          <p:cNvPr id="17" name="Прямоугольник 15">
            <a:extLst>
              <a:ext uri="{FF2B5EF4-FFF2-40B4-BE49-F238E27FC236}">
                <a16:creationId xmlns:a16="http://schemas.microsoft.com/office/drawing/2014/main" id="{7E5F154A-D40D-4DCE-A405-401F2F25378A}"/>
              </a:ext>
            </a:extLst>
          </p:cNvPr>
          <p:cNvSpPr/>
          <p:nvPr/>
        </p:nvSpPr>
        <p:spPr>
          <a:xfrm>
            <a:off x="3385054" y="2509723"/>
            <a:ext cx="2283817" cy="2055988"/>
          </a:xfrm>
          <a:prstGeom prst="rect">
            <a:avLst/>
          </a:prstGeom>
          <a:solidFill>
            <a:srgbClr val="00DDB4"/>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20" name="Прямоугольник 18">
            <a:extLst>
              <a:ext uri="{FF2B5EF4-FFF2-40B4-BE49-F238E27FC236}">
                <a16:creationId xmlns:a16="http://schemas.microsoft.com/office/drawing/2014/main" id="{34A8B8BA-46B0-478F-BCCE-4658C512E644}"/>
              </a:ext>
            </a:extLst>
          </p:cNvPr>
          <p:cNvSpPr/>
          <p:nvPr/>
        </p:nvSpPr>
        <p:spPr>
          <a:xfrm>
            <a:off x="6272221" y="2509723"/>
            <a:ext cx="2283817" cy="2055988"/>
          </a:xfrm>
          <a:prstGeom prst="rect">
            <a:avLst/>
          </a:prstGeom>
          <a:solidFill>
            <a:srgbClr val="F4B400"/>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23" name="Прямоугольник 21">
            <a:extLst>
              <a:ext uri="{FF2B5EF4-FFF2-40B4-BE49-F238E27FC236}">
                <a16:creationId xmlns:a16="http://schemas.microsoft.com/office/drawing/2014/main" id="{C07872DE-014D-412D-9C1C-784AC26D4166}"/>
              </a:ext>
            </a:extLst>
          </p:cNvPr>
          <p:cNvSpPr/>
          <p:nvPr/>
        </p:nvSpPr>
        <p:spPr>
          <a:xfrm>
            <a:off x="9085156" y="2509723"/>
            <a:ext cx="2283817" cy="2055988"/>
          </a:xfrm>
          <a:prstGeom prst="rect">
            <a:avLst/>
          </a:prstGeom>
          <a:solidFill>
            <a:srgbClr val="FF3900"/>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14" name="Прямоугольник 11">
            <a:extLst>
              <a:ext uri="{FF2B5EF4-FFF2-40B4-BE49-F238E27FC236}">
                <a16:creationId xmlns:a16="http://schemas.microsoft.com/office/drawing/2014/main" id="{656EFCE6-7335-4BDB-9399-8ACE14D07B18}"/>
              </a:ext>
            </a:extLst>
          </p:cNvPr>
          <p:cNvSpPr/>
          <p:nvPr/>
        </p:nvSpPr>
        <p:spPr>
          <a:xfrm>
            <a:off x="580140" y="2509723"/>
            <a:ext cx="2283817" cy="2055988"/>
          </a:xfrm>
          <a:prstGeom prst="rect">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16" name="Прямоугольник 13">
            <a:extLst>
              <a:ext uri="{FF2B5EF4-FFF2-40B4-BE49-F238E27FC236}">
                <a16:creationId xmlns:a16="http://schemas.microsoft.com/office/drawing/2014/main" id="{EEE8AD33-774C-4A79-8EA1-69DF96953614}"/>
              </a:ext>
            </a:extLst>
          </p:cNvPr>
          <p:cNvSpPr/>
          <p:nvPr/>
        </p:nvSpPr>
        <p:spPr>
          <a:xfrm>
            <a:off x="633082" y="2626581"/>
            <a:ext cx="426997" cy="6258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ru-RU" sz="3467" b="0" i="0" u="none" strike="noStrike" kern="1200" cap="none" spc="0" normalizeH="0" baseline="0" noProof="0" dirty="0">
                <a:ln>
                  <a:noFill/>
                </a:ln>
                <a:solidFill>
                  <a:prstClr val="white"/>
                </a:solidFill>
                <a:effectLst/>
                <a:uLnTx/>
                <a:uFillTx/>
                <a:latin typeface="Rostelecom Basis Medium" panose="020B0503030604040103" pitchFamily="34" charset="0"/>
                <a:ea typeface="Chevin Pro Medium" charset="0"/>
                <a:cs typeface="Chevin Pro Medium" charset="0"/>
                <a:sym typeface="Helvetica Neue"/>
              </a:rPr>
              <a:t>1</a:t>
            </a:r>
            <a:endParaRPr kumimoji="0" lang="ru-RU" sz="3467" b="0" i="0" u="none" strike="noStrike" kern="1200" cap="none" spc="0" normalizeH="0" baseline="0" noProof="0" dirty="0">
              <a:ln>
                <a:noFill/>
              </a:ln>
              <a:solidFill>
                <a:prstClr val="white"/>
              </a:solidFill>
              <a:effectLst/>
              <a:uLnTx/>
              <a:uFillTx/>
              <a:latin typeface="Rostelecom Basis Medium" panose="020B0503030604040103" pitchFamily="34" charset="0"/>
              <a:ea typeface="+mn-ea"/>
              <a:cs typeface="+mn-cs"/>
              <a:sym typeface="Helvetica Neue"/>
            </a:endParaRPr>
          </a:p>
        </p:txBody>
      </p:sp>
      <p:sp>
        <p:nvSpPr>
          <p:cNvPr id="19" name="Прямоугольник 17">
            <a:extLst>
              <a:ext uri="{FF2B5EF4-FFF2-40B4-BE49-F238E27FC236}">
                <a16:creationId xmlns:a16="http://schemas.microsoft.com/office/drawing/2014/main" id="{54BFDCDA-B448-4727-B7D2-0F8918B4FA09}"/>
              </a:ext>
            </a:extLst>
          </p:cNvPr>
          <p:cNvSpPr/>
          <p:nvPr/>
        </p:nvSpPr>
        <p:spPr>
          <a:xfrm>
            <a:off x="3447375" y="2626581"/>
            <a:ext cx="426997" cy="6258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ru-RU" sz="3467" b="0" i="0" u="none" strike="noStrike" kern="1200" cap="none" spc="0" normalizeH="0" baseline="0" noProof="0" dirty="0">
                <a:ln>
                  <a:noFill/>
                </a:ln>
                <a:solidFill>
                  <a:prstClr val="white"/>
                </a:solidFill>
                <a:effectLst/>
                <a:uLnTx/>
                <a:uFillTx/>
                <a:latin typeface="Rostelecom Basis Medium" panose="020B0503030604040103" pitchFamily="34" charset="0"/>
                <a:ea typeface="Chevin Pro Medium" charset="0"/>
                <a:cs typeface="Chevin Pro Medium" charset="0"/>
                <a:sym typeface="Helvetica Neue"/>
              </a:rPr>
              <a:t>2</a:t>
            </a:r>
            <a:endParaRPr kumimoji="0" lang="ru-RU" sz="3467" b="0" i="0" u="none" strike="noStrike" kern="1200" cap="none" spc="0" normalizeH="0" baseline="0" noProof="0" dirty="0">
              <a:ln>
                <a:noFill/>
              </a:ln>
              <a:solidFill>
                <a:prstClr val="white"/>
              </a:solidFill>
              <a:effectLst/>
              <a:uLnTx/>
              <a:uFillTx/>
              <a:latin typeface="Rostelecom Basis Medium" panose="020B0503030604040103" pitchFamily="34" charset="0"/>
              <a:ea typeface="+mn-ea"/>
              <a:cs typeface="+mn-cs"/>
              <a:sym typeface="Helvetica Neue"/>
            </a:endParaRPr>
          </a:p>
        </p:txBody>
      </p:sp>
      <p:sp>
        <p:nvSpPr>
          <p:cNvPr id="22" name="Прямоугольник 20">
            <a:extLst>
              <a:ext uri="{FF2B5EF4-FFF2-40B4-BE49-F238E27FC236}">
                <a16:creationId xmlns:a16="http://schemas.microsoft.com/office/drawing/2014/main" id="{C8AAE6E9-DC14-41C2-B040-2166C8C89CD9}"/>
              </a:ext>
            </a:extLst>
          </p:cNvPr>
          <p:cNvSpPr/>
          <p:nvPr/>
        </p:nvSpPr>
        <p:spPr>
          <a:xfrm>
            <a:off x="6325164" y="2626581"/>
            <a:ext cx="426997" cy="6258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ru-RU" sz="3467" b="0" i="0" u="none" strike="noStrike" kern="1200" cap="none" spc="0" normalizeH="0" baseline="0" noProof="0" dirty="0">
                <a:ln>
                  <a:noFill/>
                </a:ln>
                <a:solidFill>
                  <a:prstClr val="white"/>
                </a:solidFill>
                <a:effectLst/>
                <a:uLnTx/>
                <a:uFillTx/>
                <a:latin typeface="Rostelecom Basis Medium" panose="020B0503030604040103" pitchFamily="34" charset="0"/>
                <a:ea typeface="Chevin Pro Medium" charset="0"/>
                <a:cs typeface="Chevin Pro Medium" charset="0"/>
                <a:sym typeface="Helvetica Neue"/>
              </a:rPr>
              <a:t>3</a:t>
            </a:r>
            <a:endParaRPr kumimoji="0" lang="ru-RU" sz="3467" b="0" i="0" u="none" strike="noStrike" kern="1200" cap="none" spc="0" normalizeH="0" baseline="0" noProof="0" dirty="0">
              <a:ln>
                <a:noFill/>
              </a:ln>
              <a:solidFill>
                <a:prstClr val="white"/>
              </a:solidFill>
              <a:effectLst/>
              <a:uLnTx/>
              <a:uFillTx/>
              <a:latin typeface="Rostelecom Basis Medium" panose="020B0503030604040103" pitchFamily="34" charset="0"/>
              <a:ea typeface="+mn-ea"/>
              <a:cs typeface="+mn-cs"/>
              <a:sym typeface="Helvetica Neue"/>
            </a:endParaRPr>
          </a:p>
        </p:txBody>
      </p:sp>
      <p:sp>
        <p:nvSpPr>
          <p:cNvPr id="25" name="Прямоугольник 23">
            <a:extLst>
              <a:ext uri="{FF2B5EF4-FFF2-40B4-BE49-F238E27FC236}">
                <a16:creationId xmlns:a16="http://schemas.microsoft.com/office/drawing/2014/main" id="{A85D6D4B-E77B-4246-9BC0-C77A93BEE9CB}"/>
              </a:ext>
            </a:extLst>
          </p:cNvPr>
          <p:cNvSpPr/>
          <p:nvPr/>
        </p:nvSpPr>
        <p:spPr>
          <a:xfrm>
            <a:off x="9156855" y="2626581"/>
            <a:ext cx="426997" cy="625877"/>
          </a:xfrm>
          <a:prstGeom prst="rect">
            <a:avLst/>
          </a:prstGeom>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ru-RU" sz="3467" b="0" i="0" u="none" strike="noStrike" kern="1200" cap="none" spc="0" normalizeH="0" baseline="0" noProof="0" dirty="0">
                <a:ln>
                  <a:noFill/>
                </a:ln>
                <a:solidFill>
                  <a:prstClr val="white"/>
                </a:solidFill>
                <a:effectLst/>
                <a:uLnTx/>
                <a:uFillTx/>
                <a:latin typeface="Rostelecom Basis Medium" panose="020B0503030604040103" pitchFamily="34" charset="0"/>
                <a:ea typeface="Chevin Pro Medium" charset="0"/>
                <a:cs typeface="Chevin Pro Medium" charset="0"/>
                <a:sym typeface="Helvetica Neue"/>
              </a:rPr>
              <a:t>4</a:t>
            </a:r>
            <a:endParaRPr kumimoji="0" lang="ru-RU" sz="3467" b="0" i="0" u="none" strike="noStrike" kern="1200" cap="none" spc="0" normalizeH="0" baseline="0" noProof="0" dirty="0">
              <a:ln>
                <a:noFill/>
              </a:ln>
              <a:solidFill>
                <a:prstClr val="white"/>
              </a:solidFill>
              <a:effectLst/>
              <a:uLnTx/>
              <a:uFillTx/>
              <a:latin typeface="Rostelecom Basis Medium" panose="020B0503030604040103" pitchFamily="34" charset="0"/>
              <a:ea typeface="+mn-ea"/>
              <a:cs typeface="+mn-cs"/>
              <a:sym typeface="Helvetica Neue"/>
            </a:endParaRPr>
          </a:p>
        </p:txBody>
      </p:sp>
      <p:sp>
        <p:nvSpPr>
          <p:cNvPr id="26" name="Треугольник 2">
            <a:extLst>
              <a:ext uri="{FF2B5EF4-FFF2-40B4-BE49-F238E27FC236}">
                <a16:creationId xmlns:a16="http://schemas.microsoft.com/office/drawing/2014/main" id="{CDE19D12-D53A-4453-9052-0D4C4627E3C4}"/>
              </a:ext>
            </a:extLst>
          </p:cNvPr>
          <p:cNvSpPr/>
          <p:nvPr/>
        </p:nvSpPr>
        <p:spPr>
          <a:xfrm rot="5400000">
            <a:off x="2744044" y="2780517"/>
            <a:ext cx="479097" cy="255443"/>
          </a:xfrm>
          <a:prstGeom prst="triangl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27" name="Треугольник 24">
            <a:extLst>
              <a:ext uri="{FF2B5EF4-FFF2-40B4-BE49-F238E27FC236}">
                <a16:creationId xmlns:a16="http://schemas.microsoft.com/office/drawing/2014/main" id="{D433C6B3-5DE0-40FB-B028-C61DFFEA39E5}"/>
              </a:ext>
            </a:extLst>
          </p:cNvPr>
          <p:cNvSpPr/>
          <p:nvPr/>
        </p:nvSpPr>
        <p:spPr>
          <a:xfrm rot="5400000">
            <a:off x="5556049" y="2780517"/>
            <a:ext cx="479097" cy="255443"/>
          </a:xfrm>
          <a:prstGeom prst="triangle">
            <a:avLst/>
          </a:prstGeom>
          <a:solidFill>
            <a:srgbClr val="00DDB4"/>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28" name="Треугольник 25">
            <a:extLst>
              <a:ext uri="{FF2B5EF4-FFF2-40B4-BE49-F238E27FC236}">
                <a16:creationId xmlns:a16="http://schemas.microsoft.com/office/drawing/2014/main" id="{6E2E79B7-63FA-46C8-93B0-C10955A9B661}"/>
              </a:ext>
            </a:extLst>
          </p:cNvPr>
          <p:cNvSpPr/>
          <p:nvPr/>
        </p:nvSpPr>
        <p:spPr>
          <a:xfrm rot="5400000">
            <a:off x="8443217" y="2780517"/>
            <a:ext cx="479097" cy="255443"/>
          </a:xfrm>
          <a:prstGeom prst="triangle">
            <a:avLst/>
          </a:prstGeom>
          <a:solidFill>
            <a:srgbClr val="F4B400"/>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3" name="Text Placeholder 2">
            <a:extLst>
              <a:ext uri="{FF2B5EF4-FFF2-40B4-BE49-F238E27FC236}">
                <a16:creationId xmlns:a16="http://schemas.microsoft.com/office/drawing/2014/main" id="{8051964B-5742-47D3-B28B-20D075FBF51F}"/>
              </a:ext>
            </a:extLst>
          </p:cNvPr>
          <p:cNvSpPr>
            <a:spLocks noGrp="1"/>
          </p:cNvSpPr>
          <p:nvPr>
            <p:ph type="body" sz="quarter" idx="19" hasCustomPrompt="1"/>
          </p:nvPr>
        </p:nvSpPr>
        <p:spPr>
          <a:xfrm>
            <a:off x="580139" y="3697818"/>
            <a:ext cx="2275797" cy="867833"/>
          </a:xfrm>
          <a:prstGeom prst="rect">
            <a:avLst/>
          </a:prstGeom>
        </p:spPr>
        <p:txBody>
          <a:bodyPr/>
          <a:lstStyle>
            <a:lvl1pPr marL="0" indent="0">
              <a:buNone/>
              <a:defRPr sz="1600" b="0" i="0">
                <a:solidFill>
                  <a:schemeClr val="bg1"/>
                </a:solidFill>
                <a:latin typeface="Rostelecom Basis Medium" panose="020B0503030604040103" pitchFamily="34" charset="0"/>
              </a:defRPr>
            </a:lvl1pPr>
          </a:lstStyle>
          <a:p>
            <a:pPr lvl="0"/>
            <a:r>
              <a:rPr lang="ru-RU" dirty="0"/>
              <a:t>Небольшое описание опции</a:t>
            </a:r>
          </a:p>
        </p:txBody>
      </p:sp>
      <p:sp>
        <p:nvSpPr>
          <p:cNvPr id="31" name="Text Placeholder 2">
            <a:extLst>
              <a:ext uri="{FF2B5EF4-FFF2-40B4-BE49-F238E27FC236}">
                <a16:creationId xmlns:a16="http://schemas.microsoft.com/office/drawing/2014/main" id="{27B9CF0C-D9F3-4CA5-942A-22B49094BDE7}"/>
              </a:ext>
            </a:extLst>
          </p:cNvPr>
          <p:cNvSpPr>
            <a:spLocks noGrp="1"/>
          </p:cNvSpPr>
          <p:nvPr>
            <p:ph type="body" sz="quarter" idx="20" hasCustomPrompt="1"/>
          </p:nvPr>
        </p:nvSpPr>
        <p:spPr>
          <a:xfrm>
            <a:off x="3389554" y="3696608"/>
            <a:ext cx="2275797" cy="867833"/>
          </a:xfrm>
          <a:prstGeom prst="rect">
            <a:avLst/>
          </a:prstGeom>
        </p:spPr>
        <p:txBody>
          <a:bodyPr/>
          <a:lstStyle>
            <a:lvl1pPr marL="0" indent="0">
              <a:buNone/>
              <a:defRPr sz="1600" b="0" i="0">
                <a:solidFill>
                  <a:schemeClr val="bg1"/>
                </a:solidFill>
                <a:latin typeface="Rostelecom Basis Medium" panose="020B0503030604040103" pitchFamily="34" charset="0"/>
              </a:defRPr>
            </a:lvl1pPr>
          </a:lstStyle>
          <a:p>
            <a:pPr lvl="0"/>
            <a:r>
              <a:rPr lang="ru-RU" dirty="0"/>
              <a:t>Небольшое описание опции</a:t>
            </a:r>
          </a:p>
        </p:txBody>
      </p:sp>
      <p:sp>
        <p:nvSpPr>
          <p:cNvPr id="32" name="Text Placeholder 2">
            <a:extLst>
              <a:ext uri="{FF2B5EF4-FFF2-40B4-BE49-F238E27FC236}">
                <a16:creationId xmlns:a16="http://schemas.microsoft.com/office/drawing/2014/main" id="{8D7D0175-D3FD-4A0C-9B8B-39D4ADB1DB3F}"/>
              </a:ext>
            </a:extLst>
          </p:cNvPr>
          <p:cNvSpPr>
            <a:spLocks noGrp="1"/>
          </p:cNvSpPr>
          <p:nvPr>
            <p:ph type="body" sz="quarter" idx="21" hasCustomPrompt="1"/>
          </p:nvPr>
        </p:nvSpPr>
        <p:spPr>
          <a:xfrm>
            <a:off x="6277408" y="3696609"/>
            <a:ext cx="2275797" cy="867833"/>
          </a:xfrm>
          <a:prstGeom prst="rect">
            <a:avLst/>
          </a:prstGeom>
        </p:spPr>
        <p:txBody>
          <a:bodyPr/>
          <a:lstStyle>
            <a:lvl1pPr marL="0" indent="0">
              <a:buNone/>
              <a:defRPr sz="1600" b="0" i="0">
                <a:solidFill>
                  <a:schemeClr val="bg1"/>
                </a:solidFill>
                <a:latin typeface="Rostelecom Basis Medium" panose="020B0503030604040103" pitchFamily="34" charset="0"/>
              </a:defRPr>
            </a:lvl1pPr>
          </a:lstStyle>
          <a:p>
            <a:pPr lvl="0"/>
            <a:r>
              <a:rPr lang="ru-RU" dirty="0"/>
              <a:t>Небольшое описание опции</a:t>
            </a:r>
          </a:p>
        </p:txBody>
      </p:sp>
      <p:sp>
        <p:nvSpPr>
          <p:cNvPr id="33" name="Text Placeholder 2">
            <a:extLst>
              <a:ext uri="{FF2B5EF4-FFF2-40B4-BE49-F238E27FC236}">
                <a16:creationId xmlns:a16="http://schemas.microsoft.com/office/drawing/2014/main" id="{FF8873CF-9A96-481B-BAF2-7ABEC56BEBF1}"/>
              </a:ext>
            </a:extLst>
          </p:cNvPr>
          <p:cNvSpPr>
            <a:spLocks noGrp="1"/>
          </p:cNvSpPr>
          <p:nvPr>
            <p:ph type="body" sz="quarter" idx="22" hasCustomPrompt="1"/>
          </p:nvPr>
        </p:nvSpPr>
        <p:spPr>
          <a:xfrm>
            <a:off x="9088328" y="3696608"/>
            <a:ext cx="2275797" cy="867833"/>
          </a:xfrm>
          <a:prstGeom prst="rect">
            <a:avLst/>
          </a:prstGeom>
        </p:spPr>
        <p:txBody>
          <a:bodyPr/>
          <a:lstStyle>
            <a:lvl1pPr marL="0" indent="0">
              <a:buNone/>
              <a:defRPr sz="1600" b="0" i="0">
                <a:solidFill>
                  <a:schemeClr val="bg1"/>
                </a:solidFill>
                <a:latin typeface="Rostelecom Basis Medium" panose="020B0503030604040103" pitchFamily="34" charset="0"/>
              </a:defRPr>
            </a:lvl1pPr>
          </a:lstStyle>
          <a:p>
            <a:pPr lvl="0"/>
            <a:r>
              <a:rPr lang="ru-RU" dirty="0"/>
              <a:t>Небольшое описание опции</a:t>
            </a:r>
          </a:p>
        </p:txBody>
      </p:sp>
      <p:sp>
        <p:nvSpPr>
          <p:cNvPr id="21" name="Заголовок 17">
            <a:extLst>
              <a:ext uri="{FF2B5EF4-FFF2-40B4-BE49-F238E27FC236}">
                <a16:creationId xmlns:a16="http://schemas.microsoft.com/office/drawing/2014/main" id="{A88E3F70-ACB9-E247-AF03-B61C7D623AFF}"/>
              </a:ext>
            </a:extLst>
          </p:cNvPr>
          <p:cNvSpPr>
            <a:spLocks noGrp="1"/>
          </p:cNvSpPr>
          <p:nvPr>
            <p:ph type="title" hasCustomPrompt="1"/>
          </p:nvPr>
        </p:nvSpPr>
        <p:spPr>
          <a:xfrm>
            <a:off x="580139" y="306755"/>
            <a:ext cx="10959997" cy="547842"/>
          </a:xfrm>
          <a:prstGeom prst="rect">
            <a:avLst/>
          </a:prstGeom>
        </p:spPr>
        <p:txBody>
          <a:bodyPr wrap="square" lIns="0">
            <a:spAutoFit/>
          </a:bodyPr>
          <a:lstStyle>
            <a:lvl1pPr algn="l">
              <a:defRPr sz="3200" b="0" i="0">
                <a:solidFill>
                  <a:schemeClr val="tx1"/>
                </a:solidFill>
                <a:latin typeface="Rostelecom Basis Medium" panose="020B0503030604040103" pitchFamily="34" charset="0"/>
              </a:defRPr>
            </a:lvl1pPr>
          </a:lstStyle>
          <a:p>
            <a:r>
              <a:rPr lang="ru-RU" dirty="0"/>
              <a:t>Заголовок</a:t>
            </a:r>
            <a:r>
              <a:rPr lang="en-US" dirty="0"/>
              <a:t> </a:t>
            </a:r>
            <a:r>
              <a:rPr lang="ru-RU" dirty="0"/>
              <a:t>слайда</a:t>
            </a:r>
          </a:p>
        </p:txBody>
      </p:sp>
      <p:pic>
        <p:nvPicPr>
          <p:cNvPr id="24" name="Рисунок 23">
            <a:extLst>
              <a:ext uri="{FF2B5EF4-FFF2-40B4-BE49-F238E27FC236}">
                <a16:creationId xmlns:a16="http://schemas.microsoft.com/office/drawing/2014/main" id="{245BED4C-9DD3-A647-8F50-9DDC204E7BF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69917430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5-6">
    <p:spTree>
      <p:nvGrpSpPr>
        <p:cNvPr id="1" name=""/>
        <p:cNvGrpSpPr/>
        <p:nvPr/>
      </p:nvGrpSpPr>
      <p:grpSpPr>
        <a:xfrm>
          <a:off x="0" y="0"/>
          <a:ext cx="0" cy="0"/>
          <a:chOff x="0" y="0"/>
          <a:chExt cx="0" cy="0"/>
        </a:xfrm>
      </p:grpSpPr>
      <p:sp>
        <p:nvSpPr>
          <p:cNvPr id="16" name="Овал 32">
            <a:extLst>
              <a:ext uri="{FF2B5EF4-FFF2-40B4-BE49-F238E27FC236}">
                <a16:creationId xmlns:a16="http://schemas.microsoft.com/office/drawing/2014/main" id="{E26EE956-26B4-4C4F-97EA-2F68E70432E6}"/>
              </a:ext>
            </a:extLst>
          </p:cNvPr>
          <p:cNvSpPr/>
          <p:nvPr/>
        </p:nvSpPr>
        <p:spPr>
          <a:xfrm>
            <a:off x="6313005" y="3151121"/>
            <a:ext cx="678036" cy="678036"/>
          </a:xfrm>
          <a:prstGeom prst="ellipse">
            <a:avLst/>
          </a:prstGeom>
          <a:solidFill>
            <a:srgbClr val="213967"/>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17" name="Овал 33">
            <a:extLst>
              <a:ext uri="{FF2B5EF4-FFF2-40B4-BE49-F238E27FC236}">
                <a16:creationId xmlns:a16="http://schemas.microsoft.com/office/drawing/2014/main" id="{3326985F-9D11-4C2F-951E-D64755B3A349}"/>
              </a:ext>
            </a:extLst>
          </p:cNvPr>
          <p:cNvSpPr/>
          <p:nvPr/>
        </p:nvSpPr>
        <p:spPr>
          <a:xfrm>
            <a:off x="6313005" y="4302117"/>
            <a:ext cx="678036" cy="678036"/>
          </a:xfrm>
          <a:prstGeom prst="ellipse">
            <a:avLst/>
          </a:prstGeom>
          <a:solidFill>
            <a:srgbClr val="43BBE4"/>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18" name="Овал 34">
            <a:extLst>
              <a:ext uri="{FF2B5EF4-FFF2-40B4-BE49-F238E27FC236}">
                <a16:creationId xmlns:a16="http://schemas.microsoft.com/office/drawing/2014/main" id="{ADDAB263-C884-45E2-9BF2-3529EFE9DE8C}"/>
              </a:ext>
            </a:extLst>
          </p:cNvPr>
          <p:cNvSpPr/>
          <p:nvPr/>
        </p:nvSpPr>
        <p:spPr>
          <a:xfrm>
            <a:off x="6313005" y="1991681"/>
            <a:ext cx="678036" cy="678036"/>
          </a:xfrm>
          <a:prstGeom prst="ellipse">
            <a:avLst/>
          </a:prstGeom>
          <a:solidFill>
            <a:srgbClr val="8600FF"/>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19" name="Овал 35">
            <a:extLst>
              <a:ext uri="{FF2B5EF4-FFF2-40B4-BE49-F238E27FC236}">
                <a16:creationId xmlns:a16="http://schemas.microsoft.com/office/drawing/2014/main" id="{CC91249E-8532-45EE-83D5-2E758F6F240A}"/>
              </a:ext>
            </a:extLst>
          </p:cNvPr>
          <p:cNvSpPr/>
          <p:nvPr/>
        </p:nvSpPr>
        <p:spPr>
          <a:xfrm>
            <a:off x="580138" y="3151121"/>
            <a:ext cx="678036" cy="678036"/>
          </a:xfrm>
          <a:prstGeom prst="ellipse">
            <a:avLst/>
          </a:prstGeom>
          <a:solidFill>
            <a:srgbClr val="FF3900"/>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20" name="Овал 36">
            <a:extLst>
              <a:ext uri="{FF2B5EF4-FFF2-40B4-BE49-F238E27FC236}">
                <a16:creationId xmlns:a16="http://schemas.microsoft.com/office/drawing/2014/main" id="{A09A41AC-3361-4C2E-ADF2-632947C0405D}"/>
              </a:ext>
            </a:extLst>
          </p:cNvPr>
          <p:cNvSpPr/>
          <p:nvPr/>
        </p:nvSpPr>
        <p:spPr>
          <a:xfrm>
            <a:off x="580139" y="4302117"/>
            <a:ext cx="678036" cy="678036"/>
          </a:xfrm>
          <a:prstGeom prst="ellipse">
            <a:avLst/>
          </a:prstGeom>
          <a:solidFill>
            <a:srgbClr val="CD0148"/>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a:ln>
                <a:noFill/>
              </a:ln>
              <a:solidFill>
                <a:prstClr val="white"/>
              </a:solidFill>
              <a:effectLst/>
              <a:uLnTx/>
              <a:uFillTx/>
              <a:latin typeface="Calibri" panose="020F0502020204030204"/>
              <a:ea typeface="+mn-ea"/>
              <a:cs typeface="+mn-cs"/>
              <a:sym typeface="Helvetica Neue"/>
            </a:endParaRPr>
          </a:p>
        </p:txBody>
      </p:sp>
      <p:sp>
        <p:nvSpPr>
          <p:cNvPr id="21" name="Овал 37">
            <a:extLst>
              <a:ext uri="{FF2B5EF4-FFF2-40B4-BE49-F238E27FC236}">
                <a16:creationId xmlns:a16="http://schemas.microsoft.com/office/drawing/2014/main" id="{8D56F92E-2CF3-4D09-9854-AA5D25272AEE}"/>
              </a:ext>
            </a:extLst>
          </p:cNvPr>
          <p:cNvSpPr/>
          <p:nvPr/>
        </p:nvSpPr>
        <p:spPr>
          <a:xfrm>
            <a:off x="580139" y="1991681"/>
            <a:ext cx="678036" cy="678036"/>
          </a:xfrm>
          <a:prstGeom prst="ellipse">
            <a:avLst/>
          </a:prstGeom>
          <a:solidFill>
            <a:srgbClr val="F4B400"/>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Calibri" panose="020F0502020204030204"/>
              <a:ea typeface="+mn-ea"/>
              <a:cs typeface="+mn-cs"/>
              <a:sym typeface="Helvetica Neue"/>
            </a:endParaRPr>
          </a:p>
        </p:txBody>
      </p:sp>
      <p:sp>
        <p:nvSpPr>
          <p:cNvPr id="24" name="Text Placeholder 2">
            <a:extLst>
              <a:ext uri="{FF2B5EF4-FFF2-40B4-BE49-F238E27FC236}">
                <a16:creationId xmlns:a16="http://schemas.microsoft.com/office/drawing/2014/main" id="{3D506683-10D3-43E3-9112-A87B51DD1272}"/>
              </a:ext>
            </a:extLst>
          </p:cNvPr>
          <p:cNvSpPr>
            <a:spLocks noGrp="1"/>
          </p:cNvSpPr>
          <p:nvPr>
            <p:ph type="body" sz="quarter" idx="27" hasCustomPrompt="1"/>
          </p:nvPr>
        </p:nvSpPr>
        <p:spPr>
          <a:xfrm>
            <a:off x="1482464" y="2083057"/>
            <a:ext cx="3806517" cy="466666"/>
          </a:xfrm>
          <a:prstGeom prst="rect">
            <a:avLst/>
          </a:prstGeom>
        </p:spPr>
        <p:txBody>
          <a:bodyPr wrap="square"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25" name="Text Placeholder 2">
            <a:extLst>
              <a:ext uri="{FF2B5EF4-FFF2-40B4-BE49-F238E27FC236}">
                <a16:creationId xmlns:a16="http://schemas.microsoft.com/office/drawing/2014/main" id="{E9A3DEDB-1A69-4DB8-9347-FE08A05443D8}"/>
              </a:ext>
            </a:extLst>
          </p:cNvPr>
          <p:cNvSpPr>
            <a:spLocks noGrp="1"/>
          </p:cNvSpPr>
          <p:nvPr>
            <p:ph type="body" sz="quarter" idx="28" hasCustomPrompt="1"/>
          </p:nvPr>
        </p:nvSpPr>
        <p:spPr>
          <a:xfrm>
            <a:off x="1488555" y="3242622"/>
            <a:ext cx="3800427" cy="466666"/>
          </a:xfrm>
          <a:prstGeom prst="rect">
            <a:avLst/>
          </a:prstGeom>
        </p:spPr>
        <p:txBody>
          <a:bodyPr wrap="square"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26" name="Text Placeholder 2">
            <a:extLst>
              <a:ext uri="{FF2B5EF4-FFF2-40B4-BE49-F238E27FC236}">
                <a16:creationId xmlns:a16="http://schemas.microsoft.com/office/drawing/2014/main" id="{8EC96C00-1486-447E-95D1-E0D5E165D439}"/>
              </a:ext>
            </a:extLst>
          </p:cNvPr>
          <p:cNvSpPr>
            <a:spLocks noGrp="1"/>
          </p:cNvSpPr>
          <p:nvPr>
            <p:ph type="body" sz="quarter" idx="29" hasCustomPrompt="1"/>
          </p:nvPr>
        </p:nvSpPr>
        <p:spPr>
          <a:xfrm>
            <a:off x="1488547" y="4410711"/>
            <a:ext cx="3800435" cy="466666"/>
          </a:xfrm>
          <a:prstGeom prst="rect">
            <a:avLst/>
          </a:prstGeom>
        </p:spPr>
        <p:txBody>
          <a:bodyPr wrap="square"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27" name="Text Placeholder 2">
            <a:extLst>
              <a:ext uri="{FF2B5EF4-FFF2-40B4-BE49-F238E27FC236}">
                <a16:creationId xmlns:a16="http://schemas.microsoft.com/office/drawing/2014/main" id="{0329B9A0-C7A3-4EAA-A80C-9730341C9A7A}"/>
              </a:ext>
            </a:extLst>
          </p:cNvPr>
          <p:cNvSpPr>
            <a:spLocks noGrp="1"/>
          </p:cNvSpPr>
          <p:nvPr>
            <p:ph type="body" sz="quarter" idx="30" hasCustomPrompt="1"/>
          </p:nvPr>
        </p:nvSpPr>
        <p:spPr>
          <a:xfrm>
            <a:off x="7201538" y="2081846"/>
            <a:ext cx="3559545" cy="466666"/>
          </a:xfrm>
          <a:prstGeom prst="rect">
            <a:avLst/>
          </a:prstGeom>
        </p:spPr>
        <p:txBody>
          <a:bodyPr wrap="square"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28" name="Text Placeholder 2">
            <a:extLst>
              <a:ext uri="{FF2B5EF4-FFF2-40B4-BE49-F238E27FC236}">
                <a16:creationId xmlns:a16="http://schemas.microsoft.com/office/drawing/2014/main" id="{D159FEE5-D4AA-483B-8FC2-4ABAC89FCB48}"/>
              </a:ext>
            </a:extLst>
          </p:cNvPr>
          <p:cNvSpPr>
            <a:spLocks noGrp="1"/>
          </p:cNvSpPr>
          <p:nvPr>
            <p:ph type="body" sz="quarter" idx="31" hasCustomPrompt="1"/>
          </p:nvPr>
        </p:nvSpPr>
        <p:spPr>
          <a:xfrm>
            <a:off x="7207630" y="3241411"/>
            <a:ext cx="3553453" cy="466666"/>
          </a:xfrm>
          <a:prstGeom prst="rect">
            <a:avLst/>
          </a:prstGeom>
        </p:spPr>
        <p:txBody>
          <a:bodyPr wrap="square"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29" name="Text Placeholder 2">
            <a:extLst>
              <a:ext uri="{FF2B5EF4-FFF2-40B4-BE49-F238E27FC236}">
                <a16:creationId xmlns:a16="http://schemas.microsoft.com/office/drawing/2014/main" id="{0401D86F-30F9-4E22-B3A5-92F95E97842F}"/>
              </a:ext>
            </a:extLst>
          </p:cNvPr>
          <p:cNvSpPr>
            <a:spLocks noGrp="1"/>
          </p:cNvSpPr>
          <p:nvPr>
            <p:ph type="body" sz="quarter" idx="32" hasCustomPrompt="1"/>
          </p:nvPr>
        </p:nvSpPr>
        <p:spPr>
          <a:xfrm>
            <a:off x="7207622" y="4409501"/>
            <a:ext cx="3553461" cy="466666"/>
          </a:xfrm>
          <a:prstGeom prst="rect">
            <a:avLst/>
          </a:prstGeom>
        </p:spPr>
        <p:txBody>
          <a:bodyPr wrap="square" lIns="0">
            <a:spAutoFit/>
          </a:bodyPr>
          <a:lstStyle>
            <a:lvl1pPr marL="0" indent="0">
              <a:buNone/>
              <a:defRPr sz="1333" b="0" i="0">
                <a:latin typeface="Rostelecom Basis" panose="020B0503030604040103" pitchFamily="34" charset="0"/>
              </a:defRPr>
            </a:lvl1pPr>
          </a:lstStyle>
          <a:p>
            <a:pPr lvl="0"/>
            <a:r>
              <a:rPr lang="ru-RU" dirty="0"/>
              <a:t>Тезис </a:t>
            </a:r>
            <a:br>
              <a:rPr lang="ru-RU" dirty="0"/>
            </a:br>
            <a:r>
              <a:rPr lang="ru-RU" dirty="0"/>
              <a:t>или краткое описание </a:t>
            </a:r>
          </a:p>
        </p:txBody>
      </p:sp>
      <p:sp>
        <p:nvSpPr>
          <p:cNvPr id="22" name="Заголовок 17">
            <a:extLst>
              <a:ext uri="{FF2B5EF4-FFF2-40B4-BE49-F238E27FC236}">
                <a16:creationId xmlns:a16="http://schemas.microsoft.com/office/drawing/2014/main" id="{5D0F0935-07F3-7746-9552-3965198876AB}"/>
              </a:ext>
            </a:extLst>
          </p:cNvPr>
          <p:cNvSpPr>
            <a:spLocks noGrp="1"/>
          </p:cNvSpPr>
          <p:nvPr>
            <p:ph type="title" hasCustomPrompt="1"/>
          </p:nvPr>
        </p:nvSpPr>
        <p:spPr>
          <a:xfrm>
            <a:off x="580139" y="306755"/>
            <a:ext cx="10959997" cy="547842"/>
          </a:xfrm>
          <a:prstGeom prst="rect">
            <a:avLst/>
          </a:prstGeom>
        </p:spPr>
        <p:txBody>
          <a:bodyPr wrap="square" lIns="0">
            <a:spAutoFit/>
          </a:bodyPr>
          <a:lstStyle>
            <a:lvl1pPr algn="l">
              <a:defRPr sz="3200" b="0" i="0">
                <a:solidFill>
                  <a:schemeClr val="tx1"/>
                </a:solidFill>
                <a:latin typeface="Rostelecom Basis Medium" panose="020B0503030604040103" pitchFamily="34" charset="0"/>
              </a:defRPr>
            </a:lvl1pPr>
          </a:lstStyle>
          <a:p>
            <a:r>
              <a:rPr lang="ru-RU" dirty="0"/>
              <a:t>Заголовок</a:t>
            </a:r>
            <a:r>
              <a:rPr lang="en-US" dirty="0"/>
              <a:t> </a:t>
            </a:r>
            <a:r>
              <a:rPr lang="ru-RU" dirty="0"/>
              <a:t>слайда</a:t>
            </a:r>
          </a:p>
        </p:txBody>
      </p:sp>
      <p:pic>
        <p:nvPicPr>
          <p:cNvPr id="30" name="Рисунок 29">
            <a:extLst>
              <a:ext uri="{FF2B5EF4-FFF2-40B4-BE49-F238E27FC236}">
                <a16:creationId xmlns:a16="http://schemas.microsoft.com/office/drawing/2014/main" id="{E8ECDBFD-9F83-374E-B8B8-1A9E88F3160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5972" y="6202934"/>
            <a:ext cx="2134821" cy="486889"/>
          </a:xfrm>
          <a:prstGeom prst="rect">
            <a:avLst/>
          </a:prstGeom>
        </p:spPr>
      </p:pic>
    </p:spTree>
    <p:extLst>
      <p:ext uri="{BB962C8B-B14F-4D97-AF65-F5344CB8AC3E}">
        <p14:creationId xmlns:p14="http://schemas.microsoft.com/office/powerpoint/2010/main" val="226550117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90603138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69871817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5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400755842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9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11" name="Текст 18">
            <a:extLst>
              <a:ext uri="{FF2B5EF4-FFF2-40B4-BE49-F238E27FC236}">
                <a16:creationId xmlns:a16="http://schemas.microsoft.com/office/drawing/2014/main" id="{34EC2EFA-8F79-4034-AF13-CE07370EF8A8}"/>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45563204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0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83647257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1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12" name="Текст 18">
            <a:extLst>
              <a:ext uri="{FF2B5EF4-FFF2-40B4-BE49-F238E27FC236}">
                <a16:creationId xmlns:a16="http://schemas.microsoft.com/office/drawing/2014/main" id="{C1660F90-F5B2-402E-A0AE-F6574F66AF15}"/>
              </a:ext>
            </a:extLst>
          </p:cNvPr>
          <p:cNvSpPr>
            <a:spLocks noGrp="1"/>
          </p:cNvSpPr>
          <p:nvPr>
            <p:ph type="body" sz="quarter" idx="15" hasCustomPrompt="1"/>
          </p:nvPr>
        </p:nvSpPr>
        <p:spPr>
          <a:xfrm>
            <a:off x="7174054" y="6279912"/>
            <a:ext cx="4599512" cy="244714"/>
          </a:xfrm>
          <a:prstGeom prst="rect">
            <a:avLst/>
          </a:prstGeom>
        </p:spPr>
        <p:txBody>
          <a:bodyPr lIns="0" tIns="0" rIns="0" bIns="0"/>
          <a:lstStyle>
            <a:lvl1pPr algn="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814539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1" y="1709744"/>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51" y="4589468"/>
            <a:ext cx="10515600" cy="1500187"/>
          </a:xfrm>
        </p:spPr>
        <p:txBody>
          <a:bodyPr/>
          <a:lstStyle>
            <a:lvl1pPr marL="0" indent="0">
              <a:buNone/>
              <a:defRPr sz="2400">
                <a:solidFill>
                  <a:schemeClr val="tx1">
                    <a:tint val="75000"/>
                  </a:schemeClr>
                </a:solidFill>
              </a:defRPr>
            </a:lvl1pPr>
            <a:lvl2pPr marL="457187" indent="0">
              <a:buNone/>
              <a:defRPr sz="2000">
                <a:solidFill>
                  <a:schemeClr val="tx1">
                    <a:tint val="75000"/>
                  </a:schemeClr>
                </a:solidFill>
              </a:defRPr>
            </a:lvl2pPr>
            <a:lvl3pPr marL="914377" indent="0">
              <a:buNone/>
              <a:defRPr sz="1801">
                <a:solidFill>
                  <a:schemeClr val="tx1">
                    <a:tint val="75000"/>
                  </a:schemeClr>
                </a:solidFill>
              </a:defRPr>
            </a:lvl3pPr>
            <a:lvl4pPr marL="1371566" indent="0">
              <a:buNone/>
              <a:defRPr sz="1600">
                <a:solidFill>
                  <a:schemeClr val="tx1">
                    <a:tint val="75000"/>
                  </a:schemeClr>
                </a:solidFill>
              </a:defRPr>
            </a:lvl4pPr>
            <a:lvl5pPr marL="1828756" indent="0">
              <a:buNone/>
              <a:defRPr sz="1600">
                <a:solidFill>
                  <a:schemeClr val="tx1">
                    <a:tint val="75000"/>
                  </a:schemeClr>
                </a:solidFill>
              </a:defRPr>
            </a:lvl5pPr>
            <a:lvl6pPr marL="2285943" indent="0">
              <a:buNone/>
              <a:defRPr sz="1600">
                <a:solidFill>
                  <a:schemeClr val="tx1">
                    <a:tint val="75000"/>
                  </a:schemeClr>
                </a:solidFill>
              </a:defRPr>
            </a:lvl6pPr>
            <a:lvl7pPr marL="2743133" indent="0">
              <a:buNone/>
              <a:defRPr sz="1600">
                <a:solidFill>
                  <a:schemeClr val="tx1">
                    <a:tint val="75000"/>
                  </a:schemeClr>
                </a:solidFill>
              </a:defRPr>
            </a:lvl7pPr>
            <a:lvl8pPr marL="3200320" indent="0">
              <a:buNone/>
              <a:defRPr sz="1600">
                <a:solidFill>
                  <a:schemeClr val="tx1">
                    <a:tint val="75000"/>
                  </a:schemeClr>
                </a:solidFill>
              </a:defRPr>
            </a:lvl8pPr>
            <a:lvl9pPr marL="3657507"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18783089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с перимуществами без иконок с фото">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902344"/>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цитатами/тезисами</a:t>
            </a:r>
            <a:br>
              <a:rPr lang="ru-RU" dirty="0"/>
            </a:br>
            <a:r>
              <a:rPr lang="ru-RU" dirty="0"/>
              <a:t>с имиджем</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8" y="2696525"/>
            <a:ext cx="3202839" cy="807643"/>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8571651" y="5291564"/>
            <a:ext cx="3202839" cy="807643"/>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571653" y="2696321"/>
            <a:ext cx="3202839" cy="807643"/>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8" y="2105619"/>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8571651"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571651" y="2105413"/>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7" name="Текст 4">
            <a:extLst>
              <a:ext uri="{FF2B5EF4-FFF2-40B4-BE49-F238E27FC236}">
                <a16:creationId xmlns:a16="http://schemas.microsoft.com/office/drawing/2014/main" id="{52F34850-B661-4A1C-BF75-3880F1B4B63B}"/>
              </a:ext>
            </a:extLst>
          </p:cNvPr>
          <p:cNvSpPr>
            <a:spLocks noGrp="1"/>
          </p:cNvSpPr>
          <p:nvPr>
            <p:ph type="body" sz="quarter" idx="60" hasCustomPrompt="1"/>
          </p:nvPr>
        </p:nvSpPr>
        <p:spPr>
          <a:xfrm>
            <a:off x="4048608" y="5291564"/>
            <a:ext cx="3430949" cy="807643"/>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18" name="Текст 4">
            <a:extLst>
              <a:ext uri="{FF2B5EF4-FFF2-40B4-BE49-F238E27FC236}">
                <a16:creationId xmlns:a16="http://schemas.microsoft.com/office/drawing/2014/main" id="{EE2CC11D-1A00-4340-A9AD-C34BC4C99B85}"/>
              </a:ext>
            </a:extLst>
          </p:cNvPr>
          <p:cNvSpPr>
            <a:spLocks noGrp="1"/>
          </p:cNvSpPr>
          <p:nvPr>
            <p:ph type="body" sz="quarter" idx="61" hasCustomPrompt="1"/>
          </p:nvPr>
        </p:nvSpPr>
        <p:spPr>
          <a:xfrm>
            <a:off x="4048608" y="4700657"/>
            <a:ext cx="343094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BCB8D6B8-C245-4151-901A-517D93A51235}"/>
              </a:ext>
            </a:extLst>
          </p:cNvPr>
          <p:cNvSpPr>
            <a:spLocks noGrp="1"/>
          </p:cNvSpPr>
          <p:nvPr>
            <p:ph type="body" sz="quarter" idx="62" hasCustomPrompt="1"/>
          </p:nvPr>
        </p:nvSpPr>
        <p:spPr>
          <a:xfrm>
            <a:off x="417519" y="5291564"/>
            <a:ext cx="3202839" cy="807643"/>
          </a:xfrm>
          <a:prstGeom prst="rect">
            <a:avLst/>
          </a:prstGeom>
        </p:spPr>
        <p:txBody>
          <a:bodyPr lIns="0" tIns="0" rIns="0" bIns="0"/>
          <a:lstStyle>
            <a:lvl1pPr>
              <a:lnSpc>
                <a:spcPts val="1675"/>
              </a:lnSpc>
              <a:spcBef>
                <a:spcPts val="0"/>
              </a:spcBef>
              <a:defRPr lang="ru-RU" sz="1411" b="0" dirty="0">
                <a:latin typeface="+mn-lt"/>
              </a:defRPr>
            </a:lvl1pPr>
          </a:lstStyle>
          <a:p>
            <a:pPr marL="0" marR="0" lvl="0" indent="0" algn="l" defTabSz="806024" rtl="0" eaLnBrk="1" fontAlgn="auto" latinLnBrk="0" hangingPunct="1">
              <a:lnSpc>
                <a:spcPts val="1675"/>
              </a:lnSpc>
              <a:spcBef>
                <a:spcPts val="0"/>
              </a:spcBef>
              <a:spcAft>
                <a:spcPts val="0"/>
              </a:spcAft>
              <a:buClrTx/>
              <a:buSzTx/>
              <a:buFont typeface="Rostelecom Basis" panose="020B0604020202020204" pitchFamily="34" charset="0"/>
              <a:buNone/>
              <a:tabLst/>
              <a:defRPr/>
            </a:pP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Рекомендуемый объём текста  </a:t>
            </a:r>
            <a:br>
              <a:rPr kumimoji="0" lang="ru-RU" sz="1411" b="0" i="0" u="none" strike="noStrike" kern="1200" cap="none" spc="0" normalizeH="0" baseline="0" noProof="0" dirty="0">
                <a:ln>
                  <a:noFill/>
                </a:ln>
                <a:solidFill>
                  <a:srgbClr val="272F3D"/>
                </a:solidFill>
                <a:effectLst/>
                <a:uLnTx/>
                <a:uFillTx/>
                <a:latin typeface="Rostelecom Basis"/>
                <a:ea typeface="+mn-ea"/>
                <a:cs typeface="+mn-cs"/>
              </a:rPr>
            </a:br>
            <a:r>
              <a:rPr kumimoji="0" lang="ru-RU" sz="1411" b="0" i="0" u="none" strike="noStrike" kern="1200" cap="none" spc="0" normalizeH="0" baseline="0" noProof="0" dirty="0">
                <a:ln>
                  <a:noFill/>
                </a:ln>
                <a:solidFill>
                  <a:srgbClr val="272F3D"/>
                </a:solidFill>
                <a:effectLst/>
                <a:uLnTx/>
                <a:uFillTx/>
                <a:latin typeface="Rostelecom Basis"/>
                <a:ea typeface="+mn-ea"/>
                <a:cs typeface="+mn-cs"/>
              </a:rPr>
              <a:t>для блока, рекомендуемый объём текста для блока, рекомендуемый объём текста</a:t>
            </a:r>
          </a:p>
        </p:txBody>
      </p:sp>
      <p:sp>
        <p:nvSpPr>
          <p:cNvPr id="20" name="Текст 4">
            <a:extLst>
              <a:ext uri="{FF2B5EF4-FFF2-40B4-BE49-F238E27FC236}">
                <a16:creationId xmlns:a16="http://schemas.microsoft.com/office/drawing/2014/main" id="{47DA447E-777A-412D-9BCE-2405CEB66B83}"/>
              </a:ext>
            </a:extLst>
          </p:cNvPr>
          <p:cNvSpPr>
            <a:spLocks noGrp="1"/>
          </p:cNvSpPr>
          <p:nvPr>
            <p:ph type="body" sz="quarter" idx="63" hasCustomPrompt="1"/>
          </p:nvPr>
        </p:nvSpPr>
        <p:spPr>
          <a:xfrm>
            <a:off x="417518" y="4700657"/>
            <a:ext cx="3202839" cy="487744"/>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 </a:t>
            </a:r>
            <a:br>
              <a:rPr lang="ru-RU" dirty="0"/>
            </a:br>
            <a:r>
              <a:rPr lang="ru-RU" dirty="0"/>
              <a:t>две строки</a:t>
            </a:r>
          </a:p>
        </p:txBody>
      </p:sp>
      <p:sp>
        <p:nvSpPr>
          <p:cNvPr id="22" name="Рисунок 2">
            <a:extLst>
              <a:ext uri="{FF2B5EF4-FFF2-40B4-BE49-F238E27FC236}">
                <a16:creationId xmlns:a16="http://schemas.microsoft.com/office/drawing/2014/main" id="{4F0C5866-E98A-4019-9E53-159821C81FF7}"/>
              </a:ext>
            </a:extLst>
          </p:cNvPr>
          <p:cNvSpPr>
            <a:spLocks noGrp="1"/>
          </p:cNvSpPr>
          <p:nvPr>
            <p:ph type="pic" sz="quarter" idx="59"/>
          </p:nvPr>
        </p:nvSpPr>
        <p:spPr>
          <a:xfrm>
            <a:off x="4070699" y="1916212"/>
            <a:ext cx="4050607" cy="2339165"/>
          </a:xfrm>
          <a:prstGeom prst="rect">
            <a:avLst/>
          </a:prstGeom>
          <a:solidFill>
            <a:schemeClr val="bg2"/>
          </a:solidFill>
        </p:spPr>
        <p:txBody>
          <a:bodyPr anchor="ctr"/>
          <a:lstStyle>
            <a:lvl1pPr algn="ctr">
              <a:defRPr sz="1763" b="0"/>
            </a:lvl1pPr>
          </a:lstStyle>
          <a:p>
            <a:endParaRPr lang="ru-RU" dirty="0"/>
          </a:p>
        </p:txBody>
      </p:sp>
    </p:spTree>
    <p:extLst>
      <p:ext uri="{BB962C8B-B14F-4D97-AF65-F5344CB8AC3E}">
        <p14:creationId xmlns:p14="http://schemas.microsoft.com/office/powerpoint/2010/main" val="289463934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5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05650469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6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6F1591DC-C29F-4CF6-A136-C504407CE3E7}"/>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13774018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7_обложка">
    <p:spTree>
      <p:nvGrpSpPr>
        <p:cNvPr id="1" name=""/>
        <p:cNvGrpSpPr/>
        <p:nvPr/>
      </p:nvGrpSpPr>
      <p:grpSpPr>
        <a:xfrm>
          <a:off x="0" y="0"/>
          <a:ext cx="0" cy="0"/>
          <a:chOff x="0" y="0"/>
          <a:chExt cx="0" cy="0"/>
        </a:xfrm>
      </p:grpSpPr>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074D241D-2857-4CB0-8CC6-C1536CA2882D}"/>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71688703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6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317333697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7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77115238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8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solidFill>
        </p:spPr>
        <p:txBody>
          <a:bodyPr lIns="0" tIns="0" rIns="0" bIns="0" anchor="ctr"/>
          <a:lstStyle>
            <a:lvl1pPr algn="ctr">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tx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tx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tx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44077670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2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313039"/>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3" y="2660456"/>
            <a:ext cx="5892281" cy="624258"/>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 презентаци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2969237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3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3854733"/>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lvl="0"/>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191817" cy="1167393"/>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lvl="0"/>
            <a:r>
              <a:rPr lang="ru-RU" dirty="0"/>
              <a:t>Заголовок</a:t>
            </a:r>
            <a:br>
              <a:rPr lang="ru-RU" dirty="0"/>
            </a:br>
            <a:r>
              <a:rPr lang="ru-RU" dirty="0"/>
              <a:t>в две строки</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256280697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4_обложка">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bg2">
              <a:lumMod val="25000"/>
            </a:schemeClr>
          </a:solidFill>
        </p:spPr>
        <p:txBody>
          <a:bodyPr lIns="0" tIns="0" rIns="0" bIns="0" anchor="ctr"/>
          <a:lstStyle>
            <a:lvl1pPr algn="ctr">
              <a:defRPr>
                <a:solidFill>
                  <a:schemeClr val="bg1"/>
                </a:solidFill>
              </a:defRPr>
            </a:lvl1pPr>
          </a:lstStyle>
          <a:p>
            <a:endParaRPr lang="ru-RU" dirty="0"/>
          </a:p>
        </p:txBody>
      </p:sp>
      <p:sp>
        <p:nvSpPr>
          <p:cNvPr id="4" name="Текст 18">
            <a:extLst>
              <a:ext uri="{FF2B5EF4-FFF2-40B4-BE49-F238E27FC236}">
                <a16:creationId xmlns:a16="http://schemas.microsoft.com/office/drawing/2014/main" id="{DDF134DE-CDE2-4BDC-B581-07AC756B98A6}"/>
              </a:ext>
            </a:extLst>
          </p:cNvPr>
          <p:cNvSpPr>
            <a:spLocks noGrp="1"/>
          </p:cNvSpPr>
          <p:nvPr>
            <p:ph type="body" sz="quarter" idx="13" hasCustomPrompt="1"/>
          </p:nvPr>
        </p:nvSpPr>
        <p:spPr>
          <a:xfrm>
            <a:off x="417513" y="4406618"/>
            <a:ext cx="4012884" cy="406128"/>
          </a:xfrm>
          <a:prstGeom prst="rect">
            <a:avLst/>
          </a:prstGeom>
          <a:noFill/>
        </p:spPr>
        <p:txBody>
          <a:bodyPr wrap="none" lIns="0" tIns="72000" rIns="72000" bIns="0">
            <a:spAutoFit/>
          </a:bodyPr>
          <a:lstStyle>
            <a:lvl1pPr>
              <a:lnSpc>
                <a:spcPts val="2556"/>
              </a:lnSpc>
              <a:spcBef>
                <a:spcPts val="0"/>
              </a:spcBef>
              <a:defRPr sz="2380" b="0">
                <a:solidFill>
                  <a:schemeClr val="bg1"/>
                </a:solidFill>
                <a:latin typeface="Rostelecom Basis" panose="020B0503030604040103" pitchFamily="34" charset="0"/>
              </a:defRPr>
            </a:lvl1pPr>
          </a:lstStyle>
          <a:p>
            <a:pPr marL="0" marR="0" lvl="0" indent="0" algn="l" defTabSz="806044" rtl="0" eaLnBrk="1" fontAlgn="auto" latinLnBrk="0" hangingPunct="1">
              <a:lnSpc>
                <a:spcPts val="2556"/>
              </a:lnSpc>
              <a:spcBef>
                <a:spcPts val="0"/>
              </a:spcBef>
              <a:spcAft>
                <a:spcPts val="0"/>
              </a:spcAft>
              <a:buClrTx/>
              <a:buSzTx/>
              <a:buFont typeface="Rostelecom Basis" panose="020B0604020202020204" pitchFamily="34" charset="0"/>
              <a:buNone/>
              <a:tabLst/>
              <a:defRPr/>
            </a:pPr>
            <a:r>
              <a:rPr lang="ru-RU" dirty="0"/>
              <a:t>Подзаголовок презентации</a:t>
            </a:r>
          </a:p>
        </p:txBody>
      </p:sp>
      <p:sp>
        <p:nvSpPr>
          <p:cNvPr id="5" name="Текст 22">
            <a:extLst>
              <a:ext uri="{FF2B5EF4-FFF2-40B4-BE49-F238E27FC236}">
                <a16:creationId xmlns:a16="http://schemas.microsoft.com/office/drawing/2014/main" id="{3DF79742-3BF2-4E36-B8ED-D9100A099A8B}"/>
              </a:ext>
            </a:extLst>
          </p:cNvPr>
          <p:cNvSpPr>
            <a:spLocks noGrp="1"/>
          </p:cNvSpPr>
          <p:nvPr>
            <p:ph type="body" sz="quarter" idx="14" hasCustomPrompt="1"/>
          </p:nvPr>
        </p:nvSpPr>
        <p:spPr>
          <a:xfrm>
            <a:off x="417514" y="2660457"/>
            <a:ext cx="3277106" cy="1688530"/>
          </a:xfrm>
          <a:prstGeom prst="rect">
            <a:avLst/>
          </a:prstGeom>
          <a:noFill/>
        </p:spPr>
        <p:txBody>
          <a:bodyPr wrap="none" lIns="0" tIns="72000" rIns="72000" bIns="0">
            <a:spAutoFit/>
          </a:bodyPr>
          <a:lstStyle>
            <a:lvl1pPr>
              <a:lnSpc>
                <a:spcPts val="4231"/>
              </a:lnSpc>
              <a:spcBef>
                <a:spcPts val="0"/>
              </a:spcBef>
              <a:defRPr sz="3967" b="0">
                <a:solidFill>
                  <a:schemeClr val="bg1"/>
                </a:solidFill>
                <a:latin typeface="Rostelecom Basis Medium" panose="020B0603030604040103" pitchFamily="34" charset="0"/>
              </a:defRPr>
            </a:lvl1pPr>
          </a:lstStyle>
          <a:p>
            <a:pPr marL="0" marR="0" lvl="0" indent="0" algn="l" defTabSz="806044" rtl="0" eaLnBrk="1" fontAlgn="auto" latinLnBrk="0" hangingPunct="1">
              <a:lnSpc>
                <a:spcPts val="4231"/>
              </a:lnSpc>
              <a:spcBef>
                <a:spcPts val="0"/>
              </a:spcBef>
              <a:spcAft>
                <a:spcPts val="0"/>
              </a:spcAft>
              <a:buClrTx/>
              <a:buSzTx/>
              <a:buFont typeface="Rostelecom Basis" panose="020B0604020202020204" pitchFamily="34" charset="0"/>
              <a:buNone/>
              <a:tabLst/>
              <a:defRPr/>
            </a:pPr>
            <a:r>
              <a:rPr lang="ru-RU" dirty="0"/>
              <a:t>Заголовок</a:t>
            </a:r>
            <a:br>
              <a:rPr lang="ru-RU" dirty="0"/>
            </a:br>
            <a:r>
              <a:rPr lang="ru-RU" dirty="0"/>
              <a:t>презентации</a:t>
            </a:r>
            <a:br>
              <a:rPr lang="ru-RU" dirty="0"/>
            </a:br>
            <a:r>
              <a:rPr lang="ru-RU" dirty="0"/>
              <a:t>в три строки </a:t>
            </a:r>
          </a:p>
        </p:txBody>
      </p:sp>
      <p:sp>
        <p:nvSpPr>
          <p:cNvPr id="6" name="Текст 18">
            <a:extLst>
              <a:ext uri="{FF2B5EF4-FFF2-40B4-BE49-F238E27FC236}">
                <a16:creationId xmlns:a16="http://schemas.microsoft.com/office/drawing/2014/main" id="{DF999C6C-8FB7-4CBE-B3ED-54F8E49FBEFC}"/>
              </a:ext>
            </a:extLst>
          </p:cNvPr>
          <p:cNvSpPr>
            <a:spLocks noGrp="1"/>
          </p:cNvSpPr>
          <p:nvPr>
            <p:ph type="body" sz="quarter" idx="15" hasCustomPrompt="1"/>
          </p:nvPr>
        </p:nvSpPr>
        <p:spPr>
          <a:xfrm>
            <a:off x="417514" y="6279912"/>
            <a:ext cx="4599512" cy="244714"/>
          </a:xfrm>
          <a:prstGeom prst="rect">
            <a:avLst/>
          </a:prstGeom>
        </p:spPr>
        <p:txBody>
          <a:bodyPr lIns="0" tIns="0" rIns="0" bIns="0"/>
          <a:lstStyle>
            <a:lvl1pPr>
              <a:spcBef>
                <a:spcPts val="0"/>
              </a:spcBef>
              <a:defRPr sz="1587" b="0">
                <a:solidFill>
                  <a:schemeClr val="bg1"/>
                </a:solidFill>
                <a:latin typeface="Rostelecom Basis" panose="020B0503030604040103" pitchFamily="34" charset="0"/>
              </a:defRPr>
            </a:lvl1pPr>
          </a:lstStyle>
          <a:p>
            <a:pPr lvl="0"/>
            <a:r>
              <a:rPr lang="ru-RU" dirty="0"/>
              <a:t>Дополнительный текст</a:t>
            </a:r>
          </a:p>
        </p:txBody>
      </p:sp>
    </p:spTree>
    <p:extLst>
      <p:ext uri="{BB962C8B-B14F-4D97-AF65-F5344CB8AC3E}">
        <p14:creationId xmlns:p14="http://schemas.microsoft.com/office/powerpoint/2010/main" val="116411658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solidFill>
            <a:schemeClr val="accent1"/>
          </a:solidFill>
        </p:spPr>
        <p:txBody>
          <a:bodyPr wrap="none" lIns="72000" tIns="72000" rIns="72000" bIns="0">
            <a:spAutoFit/>
          </a:bodyPr>
          <a:lstStyle>
            <a:lvl1pPr>
              <a:lnSpc>
                <a:spcPts val="3702"/>
              </a:lnSpc>
              <a:defRPr sz="3526">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18702"/>
            <a:ext cx="2851256" cy="502400"/>
          </a:xfrm>
          <a:prstGeom prst="rect">
            <a:avLst/>
          </a:prstGeom>
          <a:solidFill>
            <a:schemeClr val="accent1"/>
          </a:solidFill>
        </p:spPr>
        <p:txBody>
          <a:bodyPr wrap="none" lIns="72000" tIns="0" rIns="72000" bIns="0">
            <a:spAutoFit/>
          </a:bodyPr>
          <a:lstStyle>
            <a:lvl1pPr>
              <a:defRPr lang="ru-RU" sz="3526"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33825922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цитаты/тезисы">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Почему Ростелеком?</a:t>
            </a:r>
          </a:p>
        </p:txBody>
      </p:sp>
      <p:sp>
        <p:nvSpPr>
          <p:cNvPr id="15" name="Текст 14">
            <a:extLst>
              <a:ext uri="{FF2B5EF4-FFF2-40B4-BE49-F238E27FC236}">
                <a16:creationId xmlns:a16="http://schemas.microsoft.com/office/drawing/2014/main" id="{B2922329-D75E-4206-B92B-65F7F3038B89}"/>
              </a:ext>
            </a:extLst>
          </p:cNvPr>
          <p:cNvSpPr>
            <a:spLocks noGrp="1"/>
          </p:cNvSpPr>
          <p:nvPr>
            <p:ph type="body" sz="quarter" idx="27" hasCustomPrompt="1"/>
          </p:nvPr>
        </p:nvSpPr>
        <p:spPr>
          <a:xfrm>
            <a:off x="417038" y="2659998"/>
            <a:ext cx="10617620" cy="2524079"/>
          </a:xfrm>
          <a:prstGeom prst="rect">
            <a:avLst/>
          </a:prstGeom>
        </p:spPr>
        <p:txBody>
          <a:bodyPr lIns="0" tIns="0" rIns="0" bIns="0"/>
          <a:lstStyle>
            <a:lvl1pPr>
              <a:lnSpc>
                <a:spcPts val="3703"/>
              </a:lnSpc>
              <a:spcBef>
                <a:spcPts val="0"/>
              </a:spcBef>
              <a:defRPr sz="3527" b="0">
                <a:solidFill>
                  <a:schemeClr val="tx1"/>
                </a:solidFill>
                <a:latin typeface="Rostelecom Basis Medium" panose="020B0603030604040103" pitchFamily="34" charset="0"/>
                <a:ea typeface="Rostelecom Basis" panose="020B0503040504020204" pitchFamily="34" charset="-52"/>
              </a:defRPr>
            </a:lvl1pPr>
          </a:lstStyle>
          <a:p>
            <a:pPr marL="0" marR="0" lvl="0" indent="0" algn="l" defTabSz="806024" rtl="0" eaLnBrk="1" fontAlgn="auto" latinLnBrk="0" hangingPunct="1">
              <a:lnSpc>
                <a:spcPts val="3703"/>
              </a:lnSpc>
              <a:spcBef>
                <a:spcPts val="0"/>
              </a:spcBef>
              <a:spcAft>
                <a:spcPts val="0"/>
              </a:spcAft>
              <a:buClrTx/>
              <a:buSzTx/>
              <a:buFont typeface="Rostelecom Basis" panose="020B0604020202020204" pitchFamily="34" charset="0"/>
              <a:buNone/>
              <a:tabLst/>
              <a:defRPr/>
            </a:pPr>
            <a:r>
              <a:rPr lang="ru-RU" sz="3527" dirty="0"/>
              <a:t>Рекомендуемый объём текста этого блока рекомендуемый объём текста блока рекомендуемый объём текста блока</a:t>
            </a:r>
            <a:br>
              <a:rPr lang="ru-RU" sz="3527" dirty="0"/>
            </a:br>
            <a:r>
              <a:rPr lang="ru-RU" sz="3527" dirty="0"/>
              <a:t>рекомендуемый объём текста блока</a:t>
            </a:r>
          </a:p>
        </p:txBody>
      </p:sp>
    </p:spTree>
    <p:extLst>
      <p:ext uri="{BB962C8B-B14F-4D97-AF65-F5344CB8AC3E}">
        <p14:creationId xmlns:p14="http://schemas.microsoft.com/office/powerpoint/2010/main" val="161714814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5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solidFill>
            <a:schemeClr val="accent1"/>
          </a:solidFill>
        </p:spPr>
        <p:txBody>
          <a:bodyPr wrap="none" lIns="72000" tIns="72000" rIns="72000" bIns="0">
            <a:spAutoFit/>
          </a:bodyPr>
          <a:lstStyle>
            <a:lvl1pPr>
              <a:lnSpc>
                <a:spcPts val="3702"/>
              </a:lnSpc>
              <a:defRPr sz="3526">
                <a:solidFill>
                  <a:schemeClr val="bg1"/>
                </a:solidFill>
              </a:defRPr>
            </a:lvl1pPr>
          </a:lstStyle>
          <a:p>
            <a:r>
              <a:rPr lang="ru-RU" dirty="0"/>
              <a:t>Заголовок раздела</a:t>
            </a:r>
          </a:p>
        </p:txBody>
      </p:sp>
      <p:sp>
        <p:nvSpPr>
          <p:cNvPr id="10" name="Текст 9">
            <a:extLst>
              <a:ext uri="{FF2B5EF4-FFF2-40B4-BE49-F238E27FC236}">
                <a16:creationId xmlns:a16="http://schemas.microsoft.com/office/drawing/2014/main" id="{C929FECF-9AD9-4682-BA55-B4B492D5DA1B}"/>
              </a:ext>
            </a:extLst>
          </p:cNvPr>
          <p:cNvSpPr>
            <a:spLocks noGrp="1"/>
          </p:cNvSpPr>
          <p:nvPr>
            <p:ph type="body" sz="quarter" idx="11" hasCustomPrompt="1"/>
          </p:nvPr>
        </p:nvSpPr>
        <p:spPr>
          <a:xfrm>
            <a:off x="417036" y="1718702"/>
            <a:ext cx="2851256" cy="502400"/>
          </a:xfrm>
          <a:prstGeom prst="rect">
            <a:avLst/>
          </a:prstGeom>
          <a:solidFill>
            <a:schemeClr val="accent1"/>
          </a:solidFill>
        </p:spPr>
        <p:txBody>
          <a:bodyPr wrap="none" lIns="72000" tIns="0" rIns="72000" bIns="0">
            <a:spAutoFit/>
          </a:bodyPr>
          <a:lstStyle>
            <a:lvl1pPr>
              <a:defRPr lang="ru-RU" sz="3526" b="0" smtClean="0">
                <a:solidFill>
                  <a:schemeClr val="bg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spTree>
    <p:extLst>
      <p:ext uri="{BB962C8B-B14F-4D97-AF65-F5344CB8AC3E}">
        <p14:creationId xmlns:p14="http://schemas.microsoft.com/office/powerpoint/2010/main" val="352691177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4" y="1166813"/>
            <a:ext cx="4253066" cy="556366"/>
          </a:xfrm>
          <a:prstGeom prst="rect">
            <a:avLst/>
          </a:prstGeom>
          <a:solidFill>
            <a:schemeClr val="bg1"/>
          </a:solidFill>
        </p:spPr>
        <p:txBody>
          <a:bodyPr wrap="none" lIns="72000" tIns="72000" rIns="72000" bIns="0">
            <a:spAutoFit/>
          </a:bodyPr>
          <a:lstStyle>
            <a:lvl1pPr>
              <a:lnSpc>
                <a:spcPts val="3702"/>
              </a:lnSpc>
              <a:defRPr sz="3526">
                <a:solidFill>
                  <a:schemeClr val="tx1"/>
                </a:solidFill>
              </a:defRPr>
            </a:lvl1pPr>
          </a:lstStyle>
          <a:p>
            <a:r>
              <a:rPr lang="ru-RU" dirty="0"/>
              <a:t>Заголовок раздела</a:t>
            </a:r>
          </a:p>
        </p:txBody>
      </p:sp>
      <p:sp>
        <p:nvSpPr>
          <p:cNvPr id="5" name="Текст 9">
            <a:extLst>
              <a:ext uri="{FF2B5EF4-FFF2-40B4-BE49-F238E27FC236}">
                <a16:creationId xmlns:a16="http://schemas.microsoft.com/office/drawing/2014/main" id="{B7CA871B-387E-4CC6-A5FD-EBE782541D5D}"/>
              </a:ext>
            </a:extLst>
          </p:cNvPr>
          <p:cNvSpPr>
            <a:spLocks noGrp="1"/>
          </p:cNvSpPr>
          <p:nvPr>
            <p:ph type="body" sz="quarter" idx="11" hasCustomPrompt="1"/>
          </p:nvPr>
        </p:nvSpPr>
        <p:spPr>
          <a:xfrm>
            <a:off x="417036" y="1720804"/>
            <a:ext cx="2851256" cy="502400"/>
          </a:xfrm>
          <a:prstGeom prst="rect">
            <a:avLst/>
          </a:prstGeom>
          <a:solidFill>
            <a:schemeClr val="bg1"/>
          </a:solidFill>
        </p:spPr>
        <p:txBody>
          <a:bodyPr wrap="none" lIns="72000" tIns="0" rIns="72000" bIns="0">
            <a:spAutoFit/>
          </a:bodyPr>
          <a:lstStyle>
            <a:lvl1pPr>
              <a:defRPr lang="ru-RU" sz="3526" b="0" smtClean="0">
                <a:solidFill>
                  <a:schemeClr val="tx1"/>
                </a:solidFill>
                <a:latin typeface="+mj-lt"/>
                <a:ea typeface="+mj-ea"/>
                <a:cs typeface="+mj-cs"/>
              </a:defRPr>
            </a:lvl1pPr>
            <a:lvl2pPr>
              <a:defRPr lang="ru-RU" sz="1799" smtClean="0"/>
            </a:lvl2pPr>
            <a:lvl3pPr>
              <a:defRPr lang="ru-RU" sz="1799" smtClean="0"/>
            </a:lvl3pPr>
            <a:lvl4pPr>
              <a:defRPr lang="ru-RU" sz="1799" smtClean="0"/>
            </a:lvl4pPr>
            <a:lvl5pPr>
              <a:defRPr lang="ru-RU" sz="1799"/>
            </a:lvl5pPr>
          </a:lstStyle>
          <a:p>
            <a:r>
              <a:rPr lang="ru-RU" dirty="0"/>
              <a:t>в две строки</a:t>
            </a:r>
          </a:p>
        </p:txBody>
      </p:sp>
      <p:grpSp>
        <p:nvGrpSpPr>
          <p:cNvPr id="2" name="Группа 1">
            <a:extLst>
              <a:ext uri="{FF2B5EF4-FFF2-40B4-BE49-F238E27FC236}">
                <a16:creationId xmlns:a16="http://schemas.microsoft.com/office/drawing/2014/main" id="{184AE344-B5F3-4225-8535-B40AFFEB73B4}"/>
              </a:ext>
            </a:extLst>
          </p:cNvPr>
          <p:cNvGrpSpPr/>
          <p:nvPr userDrawn="1"/>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66328949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12351546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0" y="0"/>
            <a:ext cx="12192000" cy="6858000"/>
          </a:xfrm>
          <a:prstGeom prst="rect">
            <a:avLst/>
          </a:prstGeom>
          <a:solidFill>
            <a:schemeClr val="bg2">
              <a:lumMod val="25000"/>
            </a:schemeClr>
          </a:solidFill>
        </p:spPr>
        <p:txBody>
          <a:bodyPr anchor="ctr"/>
          <a:lstStyle>
            <a:lvl1pPr algn="ctr">
              <a:defRPr>
                <a:solidFill>
                  <a:schemeClr val="bg1"/>
                </a:solidFill>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bg1"/>
                </a:solidFill>
              </a:defRPr>
            </a:lvl1pPr>
          </a:lstStyle>
          <a:p>
            <a:r>
              <a:rPr lang="ru-RU" dirty="0"/>
              <a:t>Заголовок раздела</a:t>
            </a:r>
          </a:p>
        </p:txBody>
      </p:sp>
    </p:spTree>
    <p:extLst>
      <p:ext uri="{BB962C8B-B14F-4D97-AF65-F5344CB8AC3E}">
        <p14:creationId xmlns:p14="http://schemas.microsoft.com/office/powerpoint/2010/main" val="213798195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Титул_2">
    <p:bg>
      <p:bgPr>
        <a:solidFill>
          <a:schemeClr val="accent2"/>
        </a:solidFill>
        <a:effectLst/>
      </p:bgPr>
    </p:bg>
    <p:spTree>
      <p:nvGrpSpPr>
        <p:cNvPr id="1" name=""/>
        <p:cNvGrpSpPr/>
        <p:nvPr/>
      </p:nvGrpSpPr>
      <p:grpSpPr>
        <a:xfrm>
          <a:off x="0" y="0"/>
          <a:ext cx="0" cy="0"/>
          <a:chOff x="0" y="0"/>
          <a:chExt cx="0" cy="0"/>
        </a:xfrm>
      </p:grpSpPr>
      <p:sp>
        <p:nvSpPr>
          <p:cNvPr id="3" name="Заголовок 1">
            <a:extLst>
              <a:ext uri="{FF2B5EF4-FFF2-40B4-BE49-F238E27FC236}">
                <a16:creationId xmlns:a16="http://schemas.microsoft.com/office/drawing/2014/main" id="{3A53D98D-3206-41D6-B4C4-53297D855AE2}"/>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bg1"/>
                </a:solidFill>
              </a:defRPr>
            </a:lvl1pPr>
          </a:lstStyle>
          <a:p>
            <a:r>
              <a:rPr lang="ru-RU" dirty="0"/>
              <a:t>Заголовок раздела</a:t>
            </a:r>
          </a:p>
        </p:txBody>
      </p:sp>
      <p:grpSp>
        <p:nvGrpSpPr>
          <p:cNvPr id="2" name="Группа 1">
            <a:extLst>
              <a:ext uri="{FF2B5EF4-FFF2-40B4-BE49-F238E27FC236}">
                <a16:creationId xmlns:a16="http://schemas.microsoft.com/office/drawing/2014/main" id="{6FEBC6B2-51B5-4E2F-ADB0-C45F51C04056}"/>
              </a:ext>
            </a:extLst>
          </p:cNvPr>
          <p:cNvGrpSpPr/>
          <p:nvPr userDrawn="1"/>
        </p:nvGrpSpPr>
        <p:grpSpPr>
          <a:xfrm>
            <a:off x="10217687" y="6227345"/>
            <a:ext cx="1555226" cy="397708"/>
            <a:chOff x="11590689" y="7057657"/>
            <a:chExt cx="1764210" cy="450736"/>
          </a:xfrm>
        </p:grpSpPr>
        <p:grpSp>
          <p:nvGrpSpPr>
            <p:cNvPr id="6" name="Рисунок 3">
              <a:extLst>
                <a:ext uri="{FF2B5EF4-FFF2-40B4-BE49-F238E27FC236}">
                  <a16:creationId xmlns:a16="http://schemas.microsoft.com/office/drawing/2014/main" id="{9698A90A-8580-4721-8F67-6BDCD3D35040}"/>
                </a:ext>
              </a:extLst>
            </p:cNvPr>
            <p:cNvGrpSpPr/>
            <p:nvPr/>
          </p:nvGrpSpPr>
          <p:grpSpPr>
            <a:xfrm>
              <a:off x="11911948" y="7197820"/>
              <a:ext cx="1442951" cy="310573"/>
              <a:chOff x="11911948" y="7197820"/>
              <a:chExt cx="1442951" cy="310573"/>
            </a:xfrm>
            <a:solidFill>
              <a:schemeClr val="bg1"/>
            </a:solidFill>
          </p:grpSpPr>
          <p:grpSp>
            <p:nvGrpSpPr>
              <p:cNvPr id="7" name="Рисунок 3">
                <a:extLst>
                  <a:ext uri="{FF2B5EF4-FFF2-40B4-BE49-F238E27FC236}">
                    <a16:creationId xmlns:a16="http://schemas.microsoft.com/office/drawing/2014/main" id="{9698A90A-8580-4721-8F67-6BDCD3D35040}"/>
                  </a:ext>
                </a:extLst>
              </p:cNvPr>
              <p:cNvGrpSpPr/>
              <p:nvPr/>
            </p:nvGrpSpPr>
            <p:grpSpPr>
              <a:xfrm>
                <a:off x="11911948" y="7197820"/>
                <a:ext cx="1442951" cy="187008"/>
                <a:chOff x="11911948" y="7197820"/>
                <a:chExt cx="1442951" cy="187008"/>
              </a:xfrm>
              <a:grpFill/>
            </p:grpSpPr>
            <p:sp>
              <p:nvSpPr>
                <p:cNvPr id="8" name="Полилиния: фигура 7">
                  <a:extLst>
                    <a:ext uri="{FF2B5EF4-FFF2-40B4-BE49-F238E27FC236}">
                      <a16:creationId xmlns:a16="http://schemas.microsoft.com/office/drawing/2014/main" id="{198D7C20-6C42-4877-BB4A-046EEF40C9E8}"/>
                    </a:ext>
                  </a:extLst>
                </p:cNvPr>
                <p:cNvSpPr/>
                <p:nvPr/>
              </p:nvSpPr>
              <p:spPr>
                <a:xfrm>
                  <a:off x="12923527" y="7251304"/>
                  <a:ext cx="120245" cy="129836"/>
                </a:xfrm>
                <a:custGeom>
                  <a:avLst/>
                  <a:gdLst>
                    <a:gd name="connsiteX0" fmla="*/ 118770 w 120245"/>
                    <a:gd name="connsiteY0" fmla="*/ 0 h 129836"/>
                    <a:gd name="connsiteX1" fmla="*/ 79672 w 120245"/>
                    <a:gd name="connsiteY1" fmla="*/ 0 h 129836"/>
                    <a:gd name="connsiteX2" fmla="*/ 33012 w 120245"/>
                    <a:gd name="connsiteY2" fmla="*/ 47029 h 129836"/>
                    <a:gd name="connsiteX3" fmla="*/ 33012 w 120245"/>
                    <a:gd name="connsiteY3" fmla="*/ 0 h 129836"/>
                    <a:gd name="connsiteX4" fmla="*/ 0 w 120245"/>
                    <a:gd name="connsiteY4" fmla="*/ 0 h 129836"/>
                    <a:gd name="connsiteX5" fmla="*/ 0 w 120245"/>
                    <a:gd name="connsiteY5" fmla="*/ 129836 h 129836"/>
                    <a:gd name="connsiteX6" fmla="*/ 33012 w 120245"/>
                    <a:gd name="connsiteY6" fmla="*/ 129836 h 129836"/>
                    <a:gd name="connsiteX7" fmla="*/ 33012 w 120245"/>
                    <a:gd name="connsiteY7" fmla="*/ 76168 h 129836"/>
                    <a:gd name="connsiteX8" fmla="*/ 80410 w 120245"/>
                    <a:gd name="connsiteY8" fmla="*/ 129836 h 129836"/>
                    <a:gd name="connsiteX9" fmla="*/ 120246 w 120245"/>
                    <a:gd name="connsiteY9" fmla="*/ 129836 h 129836"/>
                    <a:gd name="connsiteX10" fmla="*/ 59016 w 120245"/>
                    <a:gd name="connsiteY10" fmla="*/ 60123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245" h="129836">
                      <a:moveTo>
                        <a:pt x="118770" y="0"/>
                      </a:moveTo>
                      <a:lnTo>
                        <a:pt x="79672" y="0"/>
                      </a:lnTo>
                      <a:lnTo>
                        <a:pt x="33012" y="47029"/>
                      </a:lnTo>
                      <a:lnTo>
                        <a:pt x="33012" y="0"/>
                      </a:lnTo>
                      <a:lnTo>
                        <a:pt x="0" y="0"/>
                      </a:lnTo>
                      <a:lnTo>
                        <a:pt x="0" y="129836"/>
                      </a:lnTo>
                      <a:lnTo>
                        <a:pt x="33012" y="129836"/>
                      </a:lnTo>
                      <a:lnTo>
                        <a:pt x="33012" y="76168"/>
                      </a:lnTo>
                      <a:lnTo>
                        <a:pt x="80410" y="129836"/>
                      </a:lnTo>
                      <a:lnTo>
                        <a:pt x="120246" y="129836"/>
                      </a:lnTo>
                      <a:lnTo>
                        <a:pt x="59016" y="60123"/>
                      </a:lnTo>
                      <a:close/>
                    </a:path>
                  </a:pathLst>
                </a:custGeom>
                <a:grpFill/>
                <a:ln w="184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893DFC0-70D7-4FB0-AB4D-EDFDB4930CAB}"/>
                    </a:ext>
                  </a:extLst>
                </p:cNvPr>
                <p:cNvSpPr/>
                <p:nvPr/>
              </p:nvSpPr>
              <p:spPr>
                <a:xfrm>
                  <a:off x="11911948" y="7197820"/>
                  <a:ext cx="151968" cy="183504"/>
                </a:xfrm>
                <a:custGeom>
                  <a:avLst/>
                  <a:gdLst>
                    <a:gd name="connsiteX0" fmla="*/ 83361 w 151968"/>
                    <a:gd name="connsiteY0" fmla="*/ 0 h 183504"/>
                    <a:gd name="connsiteX1" fmla="*/ 0 w 151968"/>
                    <a:gd name="connsiteY1" fmla="*/ 0 h 183504"/>
                    <a:gd name="connsiteX2" fmla="*/ 0 w 151968"/>
                    <a:gd name="connsiteY2" fmla="*/ 183504 h 183504"/>
                    <a:gd name="connsiteX3" fmla="*/ 34672 w 151968"/>
                    <a:gd name="connsiteY3" fmla="*/ 183504 h 183504"/>
                    <a:gd name="connsiteX4" fmla="*/ 34672 w 151968"/>
                    <a:gd name="connsiteY4" fmla="*/ 119508 h 183504"/>
                    <a:gd name="connsiteX5" fmla="*/ 83361 w 151968"/>
                    <a:gd name="connsiteY5" fmla="*/ 119508 h 183504"/>
                    <a:gd name="connsiteX6" fmla="*/ 151967 w 151968"/>
                    <a:gd name="connsiteY6" fmla="*/ 59754 h 183504"/>
                    <a:gd name="connsiteX7" fmla="*/ 83361 w 151968"/>
                    <a:gd name="connsiteY7" fmla="*/ 0 h 183504"/>
                    <a:gd name="connsiteX8" fmla="*/ 82439 w 151968"/>
                    <a:gd name="connsiteY8" fmla="*/ 88525 h 183504"/>
                    <a:gd name="connsiteX9" fmla="*/ 34672 w 151968"/>
                    <a:gd name="connsiteY9" fmla="*/ 88525 h 183504"/>
                    <a:gd name="connsiteX10" fmla="*/ 34672 w 151968"/>
                    <a:gd name="connsiteY10" fmla="*/ 30799 h 183504"/>
                    <a:gd name="connsiteX11" fmla="*/ 82439 w 151968"/>
                    <a:gd name="connsiteY11" fmla="*/ 30799 h 183504"/>
                    <a:gd name="connsiteX12" fmla="*/ 117480 w 151968"/>
                    <a:gd name="connsiteY12" fmla="*/ 59570 h 183504"/>
                    <a:gd name="connsiteX13" fmla="*/ 82439 w 151968"/>
                    <a:gd name="connsiteY13" fmla="*/ 88525 h 183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68" h="183504">
                      <a:moveTo>
                        <a:pt x="83361" y="0"/>
                      </a:moveTo>
                      <a:lnTo>
                        <a:pt x="0" y="0"/>
                      </a:lnTo>
                      <a:lnTo>
                        <a:pt x="0" y="183504"/>
                      </a:lnTo>
                      <a:lnTo>
                        <a:pt x="34672" y="183504"/>
                      </a:lnTo>
                      <a:lnTo>
                        <a:pt x="34672" y="119508"/>
                      </a:lnTo>
                      <a:lnTo>
                        <a:pt x="83361" y="119508"/>
                      </a:lnTo>
                      <a:cubicBezTo>
                        <a:pt x="124857" y="119508"/>
                        <a:pt x="151967" y="98299"/>
                        <a:pt x="151967" y="59754"/>
                      </a:cubicBezTo>
                      <a:cubicBezTo>
                        <a:pt x="152152" y="21209"/>
                        <a:pt x="124857" y="0"/>
                        <a:pt x="83361" y="0"/>
                      </a:cubicBezTo>
                      <a:moveTo>
                        <a:pt x="82439" y="88525"/>
                      </a:moveTo>
                      <a:lnTo>
                        <a:pt x="34672" y="88525"/>
                      </a:lnTo>
                      <a:lnTo>
                        <a:pt x="34672" y="30799"/>
                      </a:lnTo>
                      <a:lnTo>
                        <a:pt x="82439" y="30799"/>
                      </a:lnTo>
                      <a:cubicBezTo>
                        <a:pt x="106598" y="30799"/>
                        <a:pt x="117480" y="42418"/>
                        <a:pt x="117480" y="59570"/>
                      </a:cubicBezTo>
                      <a:cubicBezTo>
                        <a:pt x="117480" y="77090"/>
                        <a:pt x="106414" y="88525"/>
                        <a:pt x="82439" y="88525"/>
                      </a:cubicBezTo>
                    </a:path>
                  </a:pathLst>
                </a:custGeom>
                <a:grpFill/>
                <a:ln w="184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55376CA-CA53-47AA-9063-42BF4CE3496C}"/>
                    </a:ext>
                  </a:extLst>
                </p:cNvPr>
                <p:cNvSpPr/>
                <p:nvPr/>
              </p:nvSpPr>
              <p:spPr>
                <a:xfrm>
                  <a:off x="12071108"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816"/>
                        <a:pt x="51639" y="30799"/>
                        <a:pt x="71004" y="30799"/>
                      </a:cubicBezTo>
                      <a:cubicBezTo>
                        <a:pt x="90369" y="30799"/>
                        <a:pt x="108443" y="44631"/>
                        <a:pt x="108443" y="68607"/>
                      </a:cubicBezTo>
                      <a:cubicBezTo>
                        <a:pt x="108443" y="92398"/>
                        <a:pt x="90369" y="106414"/>
                        <a:pt x="71004" y="106414"/>
                      </a:cubicBezTo>
                    </a:path>
                  </a:pathLst>
                </a:custGeom>
                <a:grpFill/>
                <a:ln w="184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EB307EA5-27D9-40D3-B539-97C70FD107CC}"/>
                    </a:ext>
                  </a:extLst>
                </p:cNvPr>
                <p:cNvSpPr/>
                <p:nvPr/>
              </p:nvSpPr>
              <p:spPr>
                <a:xfrm>
                  <a:off x="12229161" y="7247616"/>
                  <a:ext cx="127991" cy="137213"/>
                </a:xfrm>
                <a:custGeom>
                  <a:avLst/>
                  <a:gdLst>
                    <a:gd name="connsiteX0" fmla="*/ 68238 w 127991"/>
                    <a:gd name="connsiteY0" fmla="*/ 106414 h 137213"/>
                    <a:gd name="connsiteX1" fmla="*/ 33566 w 127991"/>
                    <a:gd name="connsiteY1" fmla="*/ 68607 h 137213"/>
                    <a:gd name="connsiteX2" fmla="*/ 68238 w 127991"/>
                    <a:gd name="connsiteY2" fmla="*/ 30799 h 137213"/>
                    <a:gd name="connsiteX3" fmla="*/ 98299 w 127991"/>
                    <a:gd name="connsiteY3" fmla="*/ 48689 h 137213"/>
                    <a:gd name="connsiteX4" fmla="*/ 126516 w 127991"/>
                    <a:gd name="connsiteY4" fmla="*/ 32459 h 137213"/>
                    <a:gd name="connsiteX5" fmla="*/ 68422 w 127991"/>
                    <a:gd name="connsiteY5" fmla="*/ 0 h 137213"/>
                    <a:gd name="connsiteX6" fmla="*/ 0 w 127991"/>
                    <a:gd name="connsiteY6" fmla="*/ 68607 h 137213"/>
                    <a:gd name="connsiteX7" fmla="*/ 68422 w 127991"/>
                    <a:gd name="connsiteY7" fmla="*/ 137213 h 137213"/>
                    <a:gd name="connsiteX8" fmla="*/ 127992 w 127991"/>
                    <a:gd name="connsiteY8" fmla="*/ 102357 h 137213"/>
                    <a:gd name="connsiteX9" fmla="*/ 100697 w 127991"/>
                    <a:gd name="connsiteY9" fmla="*/ 87418 h 137213"/>
                    <a:gd name="connsiteX10" fmla="*/ 68238 w 127991"/>
                    <a:gd name="connsiteY10"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91" h="137213">
                      <a:moveTo>
                        <a:pt x="68238" y="106414"/>
                      </a:moveTo>
                      <a:cubicBezTo>
                        <a:pt x="48320" y="106414"/>
                        <a:pt x="33566" y="92029"/>
                        <a:pt x="33566" y="68607"/>
                      </a:cubicBezTo>
                      <a:cubicBezTo>
                        <a:pt x="33566" y="45553"/>
                        <a:pt x="48689" y="30799"/>
                        <a:pt x="68238" y="30799"/>
                      </a:cubicBezTo>
                      <a:cubicBezTo>
                        <a:pt x="80041" y="30799"/>
                        <a:pt x="90184" y="36332"/>
                        <a:pt x="98299" y="48689"/>
                      </a:cubicBezTo>
                      <a:lnTo>
                        <a:pt x="126516" y="32459"/>
                      </a:lnTo>
                      <a:cubicBezTo>
                        <a:pt x="117111" y="12357"/>
                        <a:pt x="96639" y="0"/>
                        <a:pt x="68422" y="0"/>
                      </a:cubicBezTo>
                      <a:cubicBezTo>
                        <a:pt x="31537" y="0"/>
                        <a:pt x="0" y="27295"/>
                        <a:pt x="0" y="68607"/>
                      </a:cubicBezTo>
                      <a:cubicBezTo>
                        <a:pt x="0" y="110102"/>
                        <a:pt x="29877" y="137213"/>
                        <a:pt x="68422" y="137213"/>
                      </a:cubicBezTo>
                      <a:cubicBezTo>
                        <a:pt x="96271" y="137213"/>
                        <a:pt x="114898" y="124672"/>
                        <a:pt x="127992" y="102357"/>
                      </a:cubicBezTo>
                      <a:lnTo>
                        <a:pt x="100697" y="87418"/>
                      </a:lnTo>
                      <a:cubicBezTo>
                        <a:pt x="92951" y="98484"/>
                        <a:pt x="84652" y="106414"/>
                        <a:pt x="68238" y="106414"/>
                      </a:cubicBezTo>
                    </a:path>
                  </a:pathLst>
                </a:custGeom>
                <a:grpFill/>
                <a:ln w="184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6941D1B-E5A1-4D34-A4E7-DA41809D2590}"/>
                    </a:ext>
                  </a:extLst>
                </p:cNvPr>
                <p:cNvSpPr/>
                <p:nvPr/>
              </p:nvSpPr>
              <p:spPr>
                <a:xfrm>
                  <a:off x="12626785" y="7251304"/>
                  <a:ext cx="126332" cy="131495"/>
                </a:xfrm>
                <a:custGeom>
                  <a:avLst/>
                  <a:gdLst>
                    <a:gd name="connsiteX0" fmla="*/ 22316 w 126332"/>
                    <a:gd name="connsiteY0" fmla="*/ 73586 h 131495"/>
                    <a:gd name="connsiteX1" fmla="*/ 9959 w 126332"/>
                    <a:gd name="connsiteY1" fmla="*/ 97930 h 131495"/>
                    <a:gd name="connsiteX2" fmla="*/ 0 w 126332"/>
                    <a:gd name="connsiteY2" fmla="*/ 96639 h 131495"/>
                    <a:gd name="connsiteX3" fmla="*/ 184 w 126332"/>
                    <a:gd name="connsiteY3" fmla="*/ 130205 h 131495"/>
                    <a:gd name="connsiteX4" fmla="*/ 11803 w 126332"/>
                    <a:gd name="connsiteY4" fmla="*/ 131496 h 131495"/>
                    <a:gd name="connsiteX5" fmla="*/ 52930 w 126332"/>
                    <a:gd name="connsiteY5" fmla="*/ 74877 h 131495"/>
                    <a:gd name="connsiteX6" fmla="*/ 56066 w 126332"/>
                    <a:gd name="connsiteY6" fmla="*/ 29508 h 131495"/>
                    <a:gd name="connsiteX7" fmla="*/ 93320 w 126332"/>
                    <a:gd name="connsiteY7" fmla="*/ 29508 h 131495"/>
                    <a:gd name="connsiteX8" fmla="*/ 93320 w 126332"/>
                    <a:gd name="connsiteY8" fmla="*/ 129652 h 131495"/>
                    <a:gd name="connsiteX9" fmla="*/ 126332 w 126332"/>
                    <a:gd name="connsiteY9" fmla="*/ 129652 h 131495"/>
                    <a:gd name="connsiteX10" fmla="*/ 126332 w 126332"/>
                    <a:gd name="connsiteY10" fmla="*/ 0 h 131495"/>
                    <a:gd name="connsiteX11" fmla="*/ 27848 w 126332"/>
                    <a:gd name="connsiteY11" fmla="*/ 0 h 131495"/>
                    <a:gd name="connsiteX12" fmla="*/ 22316 w 126332"/>
                    <a:gd name="connsiteY12" fmla="*/ 73586 h 13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332" h="131495">
                      <a:moveTo>
                        <a:pt x="22316" y="73586"/>
                      </a:moveTo>
                      <a:cubicBezTo>
                        <a:pt x="20656" y="93504"/>
                        <a:pt x="16783" y="97930"/>
                        <a:pt x="9959" y="97930"/>
                      </a:cubicBezTo>
                      <a:cubicBezTo>
                        <a:pt x="5348" y="97930"/>
                        <a:pt x="3135" y="97377"/>
                        <a:pt x="0" y="96639"/>
                      </a:cubicBezTo>
                      <a:lnTo>
                        <a:pt x="184" y="130205"/>
                      </a:lnTo>
                      <a:cubicBezTo>
                        <a:pt x="184" y="130205"/>
                        <a:pt x="4242" y="131496"/>
                        <a:pt x="11803" y="131496"/>
                      </a:cubicBezTo>
                      <a:cubicBezTo>
                        <a:pt x="39836" y="131496"/>
                        <a:pt x="50348" y="113422"/>
                        <a:pt x="52930" y="74877"/>
                      </a:cubicBezTo>
                      <a:lnTo>
                        <a:pt x="56066" y="29508"/>
                      </a:lnTo>
                      <a:lnTo>
                        <a:pt x="93320" y="29508"/>
                      </a:lnTo>
                      <a:lnTo>
                        <a:pt x="93320" y="129652"/>
                      </a:lnTo>
                      <a:lnTo>
                        <a:pt x="126332" y="129652"/>
                      </a:lnTo>
                      <a:lnTo>
                        <a:pt x="126332" y="0"/>
                      </a:lnTo>
                      <a:lnTo>
                        <a:pt x="27848" y="0"/>
                      </a:lnTo>
                      <a:lnTo>
                        <a:pt x="22316" y="73586"/>
                      </a:lnTo>
                      <a:close/>
                    </a:path>
                  </a:pathLst>
                </a:custGeom>
                <a:grpFill/>
                <a:ln w="184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1A3EF30-E713-4A0F-8129-5CD2E752BF99}"/>
                    </a:ext>
                  </a:extLst>
                </p:cNvPr>
                <p:cNvSpPr/>
                <p:nvPr/>
              </p:nvSpPr>
              <p:spPr>
                <a:xfrm>
                  <a:off x="1248698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6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6"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C49E98EC-2C9B-40DA-8F8B-05AB9A939298}"/>
                    </a:ext>
                  </a:extLst>
                </p:cNvPr>
                <p:cNvSpPr/>
                <p:nvPr/>
              </p:nvSpPr>
              <p:spPr>
                <a:xfrm>
                  <a:off x="12771559" y="7247616"/>
                  <a:ext cx="131864" cy="137213"/>
                </a:xfrm>
                <a:custGeom>
                  <a:avLst/>
                  <a:gdLst>
                    <a:gd name="connsiteX0" fmla="*/ 68422 w 131864"/>
                    <a:gd name="connsiteY0" fmla="*/ 0 h 137213"/>
                    <a:gd name="connsiteX1" fmla="*/ 0 w 131864"/>
                    <a:gd name="connsiteY1" fmla="*/ 68607 h 137213"/>
                    <a:gd name="connsiteX2" fmla="*/ 66762 w 131864"/>
                    <a:gd name="connsiteY2" fmla="*/ 137213 h 137213"/>
                    <a:gd name="connsiteX3" fmla="*/ 126517 w 131864"/>
                    <a:gd name="connsiteY3" fmla="*/ 104201 h 137213"/>
                    <a:gd name="connsiteX4" fmla="*/ 100328 w 131864"/>
                    <a:gd name="connsiteY4" fmla="*/ 91107 h 137213"/>
                    <a:gd name="connsiteX5" fmla="*/ 67316 w 131864"/>
                    <a:gd name="connsiteY5" fmla="*/ 108996 h 137213"/>
                    <a:gd name="connsiteX6" fmla="*/ 31721 w 131864"/>
                    <a:gd name="connsiteY6" fmla="*/ 76537 h 137213"/>
                    <a:gd name="connsiteX7" fmla="*/ 131865 w 131864"/>
                    <a:gd name="connsiteY7" fmla="*/ 76537 h 137213"/>
                    <a:gd name="connsiteX8" fmla="*/ 131865 w 131864"/>
                    <a:gd name="connsiteY8" fmla="*/ 64918 h 137213"/>
                    <a:gd name="connsiteX9" fmla="*/ 68422 w 131864"/>
                    <a:gd name="connsiteY9" fmla="*/ 0 h 137213"/>
                    <a:gd name="connsiteX10" fmla="*/ 32275 w 131864"/>
                    <a:gd name="connsiteY10" fmla="*/ 51270 h 137213"/>
                    <a:gd name="connsiteX11" fmla="*/ 67316 w 131864"/>
                    <a:gd name="connsiteY11" fmla="*/ 25082 h 137213"/>
                    <a:gd name="connsiteX12" fmla="*/ 101066 w 131864"/>
                    <a:gd name="connsiteY12" fmla="*/ 51270 h 137213"/>
                    <a:gd name="connsiteX13" fmla="*/ 32275 w 131864"/>
                    <a:gd name="connsiteY13" fmla="*/ 51270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864" h="137213">
                      <a:moveTo>
                        <a:pt x="68422" y="0"/>
                      </a:moveTo>
                      <a:cubicBezTo>
                        <a:pt x="30615" y="0"/>
                        <a:pt x="0" y="27480"/>
                        <a:pt x="0" y="68607"/>
                      </a:cubicBezTo>
                      <a:cubicBezTo>
                        <a:pt x="0" y="109734"/>
                        <a:pt x="30615" y="137213"/>
                        <a:pt x="66762" y="137213"/>
                      </a:cubicBezTo>
                      <a:cubicBezTo>
                        <a:pt x="95348" y="137213"/>
                        <a:pt x="113422" y="126516"/>
                        <a:pt x="126517" y="104201"/>
                      </a:cubicBezTo>
                      <a:lnTo>
                        <a:pt x="100328" y="91107"/>
                      </a:lnTo>
                      <a:cubicBezTo>
                        <a:pt x="92213" y="101250"/>
                        <a:pt x="84836" y="108996"/>
                        <a:pt x="67316" y="108996"/>
                      </a:cubicBezTo>
                      <a:cubicBezTo>
                        <a:pt x="47951" y="108996"/>
                        <a:pt x="33750" y="96455"/>
                        <a:pt x="31721" y="76537"/>
                      </a:cubicBezTo>
                      <a:lnTo>
                        <a:pt x="131865" y="76537"/>
                      </a:lnTo>
                      <a:lnTo>
                        <a:pt x="131865" y="64918"/>
                      </a:lnTo>
                      <a:cubicBezTo>
                        <a:pt x="131865" y="26926"/>
                        <a:pt x="105676" y="0"/>
                        <a:pt x="68422" y="0"/>
                      </a:cubicBezTo>
                      <a:moveTo>
                        <a:pt x="32275" y="51270"/>
                      </a:moveTo>
                      <a:cubicBezTo>
                        <a:pt x="37070" y="36516"/>
                        <a:pt x="50164" y="25082"/>
                        <a:pt x="67316" y="25082"/>
                      </a:cubicBezTo>
                      <a:cubicBezTo>
                        <a:pt x="85574" y="25082"/>
                        <a:pt x="97930" y="35041"/>
                        <a:pt x="101066" y="51270"/>
                      </a:cubicBezTo>
                      <a:lnTo>
                        <a:pt x="32275" y="51270"/>
                      </a:lnTo>
                      <a:close/>
                    </a:path>
                  </a:pathLst>
                </a:custGeom>
                <a:grpFill/>
                <a:ln w="1841" cap="flat">
                  <a:noFill/>
                  <a:prstDash val="solid"/>
                  <a:miter/>
                </a:ln>
              </p:spPr>
              <p:txBody>
                <a:bodyPr rtlCol="0" anchor="ctr"/>
                <a:lstStyle/>
                <a:p>
                  <a:endParaRPr lang="ru-RU" sz="1587"/>
                </a:p>
              </p:txBody>
            </p:sp>
            <p:sp>
              <p:nvSpPr>
                <p:cNvPr id="15" name="Полилиния: фигура 14">
                  <a:extLst>
                    <a:ext uri="{FF2B5EF4-FFF2-40B4-BE49-F238E27FC236}">
                      <a16:creationId xmlns:a16="http://schemas.microsoft.com/office/drawing/2014/main" id="{09E17D3B-5945-46CB-8720-9C1DA10CB65A}"/>
                    </a:ext>
                  </a:extLst>
                </p:cNvPr>
                <p:cNvSpPr/>
                <p:nvPr/>
              </p:nvSpPr>
              <p:spPr>
                <a:xfrm>
                  <a:off x="12367481" y="7251304"/>
                  <a:ext cx="110655" cy="129836"/>
                </a:xfrm>
                <a:custGeom>
                  <a:avLst/>
                  <a:gdLst>
                    <a:gd name="connsiteX0" fmla="*/ 0 w 110655"/>
                    <a:gd name="connsiteY0" fmla="*/ 28770 h 129836"/>
                    <a:gd name="connsiteX1" fmla="*/ 38730 w 110655"/>
                    <a:gd name="connsiteY1" fmla="*/ 28770 h 129836"/>
                    <a:gd name="connsiteX2" fmla="*/ 38730 w 110655"/>
                    <a:gd name="connsiteY2" fmla="*/ 129836 h 129836"/>
                    <a:gd name="connsiteX3" fmla="*/ 71742 w 110655"/>
                    <a:gd name="connsiteY3" fmla="*/ 129836 h 129836"/>
                    <a:gd name="connsiteX4" fmla="*/ 71742 w 110655"/>
                    <a:gd name="connsiteY4" fmla="*/ 28770 h 129836"/>
                    <a:gd name="connsiteX5" fmla="*/ 110656 w 110655"/>
                    <a:gd name="connsiteY5" fmla="*/ 28770 h 129836"/>
                    <a:gd name="connsiteX6" fmla="*/ 110656 w 110655"/>
                    <a:gd name="connsiteY6" fmla="*/ 0 h 129836"/>
                    <a:gd name="connsiteX7" fmla="*/ 0 w 110655"/>
                    <a:gd name="connsiteY7"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55" h="129836">
                      <a:moveTo>
                        <a:pt x="0" y="28770"/>
                      </a:moveTo>
                      <a:lnTo>
                        <a:pt x="38730" y="28770"/>
                      </a:lnTo>
                      <a:lnTo>
                        <a:pt x="38730" y="129836"/>
                      </a:lnTo>
                      <a:lnTo>
                        <a:pt x="71742" y="129836"/>
                      </a:lnTo>
                      <a:lnTo>
                        <a:pt x="71742" y="28770"/>
                      </a:lnTo>
                      <a:lnTo>
                        <a:pt x="110656" y="28770"/>
                      </a:lnTo>
                      <a:lnTo>
                        <a:pt x="110656" y="0"/>
                      </a:lnTo>
                      <a:lnTo>
                        <a:pt x="0" y="0"/>
                      </a:lnTo>
                      <a:close/>
                    </a:path>
                  </a:pathLst>
                </a:custGeom>
                <a:grpFill/>
                <a:ln w="1841" cap="flat">
                  <a:noFill/>
                  <a:prstDash val="solid"/>
                  <a:miter/>
                </a:ln>
              </p:spPr>
              <p:txBody>
                <a:bodyPr rtlCol="0" anchor="ctr"/>
                <a:lstStyle/>
                <a:p>
                  <a:endParaRPr lang="ru-RU" sz="1587"/>
                </a:p>
              </p:txBody>
            </p:sp>
            <p:sp>
              <p:nvSpPr>
                <p:cNvPr id="16" name="Полилиния: фигура 15">
                  <a:extLst>
                    <a:ext uri="{FF2B5EF4-FFF2-40B4-BE49-F238E27FC236}">
                      <a16:creationId xmlns:a16="http://schemas.microsoft.com/office/drawing/2014/main" id="{E8171595-6C0B-44E9-A89F-0BFD13036B26}"/>
                    </a:ext>
                  </a:extLst>
                </p:cNvPr>
                <p:cNvSpPr/>
                <p:nvPr/>
              </p:nvSpPr>
              <p:spPr>
                <a:xfrm>
                  <a:off x="13038424" y="7247616"/>
                  <a:ext cx="142008" cy="137213"/>
                </a:xfrm>
                <a:custGeom>
                  <a:avLst/>
                  <a:gdLst>
                    <a:gd name="connsiteX0" fmla="*/ 71004 w 142008"/>
                    <a:gd name="connsiteY0" fmla="*/ 0 h 137213"/>
                    <a:gd name="connsiteX1" fmla="*/ 0 w 142008"/>
                    <a:gd name="connsiteY1" fmla="*/ 68607 h 137213"/>
                    <a:gd name="connsiteX2" fmla="*/ 71004 w 142008"/>
                    <a:gd name="connsiteY2" fmla="*/ 137213 h 137213"/>
                    <a:gd name="connsiteX3" fmla="*/ 142008 w 142008"/>
                    <a:gd name="connsiteY3" fmla="*/ 68607 h 137213"/>
                    <a:gd name="connsiteX4" fmla="*/ 71004 w 142008"/>
                    <a:gd name="connsiteY4" fmla="*/ 0 h 137213"/>
                    <a:gd name="connsiteX5" fmla="*/ 71004 w 142008"/>
                    <a:gd name="connsiteY5" fmla="*/ 106414 h 137213"/>
                    <a:gd name="connsiteX6" fmla="*/ 33566 w 142008"/>
                    <a:gd name="connsiteY6" fmla="*/ 68607 h 137213"/>
                    <a:gd name="connsiteX7" fmla="*/ 71004 w 142008"/>
                    <a:gd name="connsiteY7" fmla="*/ 30799 h 137213"/>
                    <a:gd name="connsiteX8" fmla="*/ 108443 w 142008"/>
                    <a:gd name="connsiteY8" fmla="*/ 68607 h 137213"/>
                    <a:gd name="connsiteX9" fmla="*/ 71004 w 142008"/>
                    <a:gd name="connsiteY9" fmla="*/ 106414 h 1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008" h="137213">
                      <a:moveTo>
                        <a:pt x="71004" y="0"/>
                      </a:moveTo>
                      <a:cubicBezTo>
                        <a:pt x="35410" y="0"/>
                        <a:pt x="0" y="23053"/>
                        <a:pt x="0" y="68607"/>
                      </a:cubicBezTo>
                      <a:cubicBezTo>
                        <a:pt x="0" y="114160"/>
                        <a:pt x="35410" y="137213"/>
                        <a:pt x="71004" y="137213"/>
                      </a:cubicBezTo>
                      <a:cubicBezTo>
                        <a:pt x="106598" y="137213"/>
                        <a:pt x="142008" y="114160"/>
                        <a:pt x="142008" y="68607"/>
                      </a:cubicBezTo>
                      <a:cubicBezTo>
                        <a:pt x="142008" y="23053"/>
                        <a:pt x="106598" y="0"/>
                        <a:pt x="71004" y="0"/>
                      </a:cubicBezTo>
                      <a:moveTo>
                        <a:pt x="71004" y="106414"/>
                      </a:moveTo>
                      <a:cubicBezTo>
                        <a:pt x="51639" y="106414"/>
                        <a:pt x="33566" y="92582"/>
                        <a:pt x="33566" y="68607"/>
                      </a:cubicBezTo>
                      <a:cubicBezTo>
                        <a:pt x="33566" y="44631"/>
                        <a:pt x="51639" y="30799"/>
                        <a:pt x="71004" y="30799"/>
                      </a:cubicBezTo>
                      <a:cubicBezTo>
                        <a:pt x="90369" y="30799"/>
                        <a:pt x="108443" y="44631"/>
                        <a:pt x="108443" y="68607"/>
                      </a:cubicBezTo>
                      <a:cubicBezTo>
                        <a:pt x="108443" y="92582"/>
                        <a:pt x="90369" y="106414"/>
                        <a:pt x="71004" y="106414"/>
                      </a:cubicBezTo>
                    </a:path>
                  </a:pathLst>
                </a:custGeom>
                <a:grpFill/>
                <a:ln w="184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69518AEA-A121-45E0-813C-605B0721B3CC}"/>
                    </a:ext>
                  </a:extLst>
                </p:cNvPr>
                <p:cNvSpPr/>
                <p:nvPr/>
              </p:nvSpPr>
              <p:spPr>
                <a:xfrm>
                  <a:off x="13197031" y="7251120"/>
                  <a:ext cx="157868" cy="129836"/>
                </a:xfrm>
                <a:custGeom>
                  <a:avLst/>
                  <a:gdLst>
                    <a:gd name="connsiteX0" fmla="*/ 114713 w 157868"/>
                    <a:gd name="connsiteY0" fmla="*/ 0 h 129836"/>
                    <a:gd name="connsiteX1" fmla="*/ 78934 w 157868"/>
                    <a:gd name="connsiteY1" fmla="*/ 91107 h 129836"/>
                    <a:gd name="connsiteX2" fmla="*/ 43156 w 157868"/>
                    <a:gd name="connsiteY2" fmla="*/ 0 h 129836"/>
                    <a:gd name="connsiteX3" fmla="*/ 0 w 157868"/>
                    <a:gd name="connsiteY3" fmla="*/ 0 h 129836"/>
                    <a:gd name="connsiteX4" fmla="*/ 0 w 157868"/>
                    <a:gd name="connsiteY4" fmla="*/ 129836 h 129836"/>
                    <a:gd name="connsiteX5" fmla="*/ 31352 w 157868"/>
                    <a:gd name="connsiteY5" fmla="*/ 129836 h 129836"/>
                    <a:gd name="connsiteX6" fmla="*/ 31352 w 157868"/>
                    <a:gd name="connsiteY6" fmla="*/ 47766 h 129836"/>
                    <a:gd name="connsiteX7" fmla="*/ 66025 w 157868"/>
                    <a:gd name="connsiteY7" fmla="*/ 129836 h 129836"/>
                    <a:gd name="connsiteX8" fmla="*/ 91660 w 157868"/>
                    <a:gd name="connsiteY8" fmla="*/ 129836 h 129836"/>
                    <a:gd name="connsiteX9" fmla="*/ 126516 w 157868"/>
                    <a:gd name="connsiteY9" fmla="*/ 47766 h 129836"/>
                    <a:gd name="connsiteX10" fmla="*/ 126516 w 157868"/>
                    <a:gd name="connsiteY10" fmla="*/ 129836 h 129836"/>
                    <a:gd name="connsiteX11" fmla="*/ 157869 w 157868"/>
                    <a:gd name="connsiteY11" fmla="*/ 129836 h 129836"/>
                    <a:gd name="connsiteX12" fmla="*/ 157869 w 157868"/>
                    <a:gd name="connsiteY12" fmla="*/ 0 h 12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868" h="129836">
                      <a:moveTo>
                        <a:pt x="114713" y="0"/>
                      </a:moveTo>
                      <a:lnTo>
                        <a:pt x="78934" y="91107"/>
                      </a:lnTo>
                      <a:lnTo>
                        <a:pt x="43156" y="0"/>
                      </a:lnTo>
                      <a:lnTo>
                        <a:pt x="0" y="0"/>
                      </a:lnTo>
                      <a:lnTo>
                        <a:pt x="0" y="129836"/>
                      </a:lnTo>
                      <a:lnTo>
                        <a:pt x="31352" y="129836"/>
                      </a:lnTo>
                      <a:lnTo>
                        <a:pt x="31352" y="47766"/>
                      </a:lnTo>
                      <a:lnTo>
                        <a:pt x="66025" y="129836"/>
                      </a:lnTo>
                      <a:lnTo>
                        <a:pt x="91660" y="129836"/>
                      </a:lnTo>
                      <a:lnTo>
                        <a:pt x="126516" y="47766"/>
                      </a:lnTo>
                      <a:lnTo>
                        <a:pt x="126516" y="129836"/>
                      </a:lnTo>
                      <a:lnTo>
                        <a:pt x="157869" y="129836"/>
                      </a:lnTo>
                      <a:lnTo>
                        <a:pt x="157869" y="0"/>
                      </a:lnTo>
                      <a:close/>
                    </a:path>
                  </a:pathLst>
                </a:custGeom>
                <a:grpFill/>
                <a:ln w="1841" cap="flat">
                  <a:noFill/>
                  <a:prstDash val="solid"/>
                  <a:miter/>
                </a:ln>
              </p:spPr>
              <p:txBody>
                <a:bodyPr rtlCol="0" anchor="ctr"/>
                <a:lstStyle/>
                <a:p>
                  <a:endParaRPr lang="ru-RU" sz="1587"/>
                </a:p>
              </p:txBody>
            </p:sp>
          </p:grpSp>
          <p:grpSp>
            <p:nvGrpSpPr>
              <p:cNvPr id="18" name="Рисунок 3">
                <a:extLst>
                  <a:ext uri="{FF2B5EF4-FFF2-40B4-BE49-F238E27FC236}">
                    <a16:creationId xmlns:a16="http://schemas.microsoft.com/office/drawing/2014/main" id="{9698A90A-8580-4721-8F67-6BDCD3D35040}"/>
                  </a:ext>
                </a:extLst>
              </p:cNvPr>
              <p:cNvGrpSpPr/>
              <p:nvPr/>
            </p:nvGrpSpPr>
            <p:grpSpPr>
              <a:xfrm>
                <a:off x="11911948" y="7420792"/>
                <a:ext cx="1442951" cy="87602"/>
                <a:chOff x="11911948" y="7420792"/>
                <a:chExt cx="1442951" cy="87602"/>
              </a:xfrm>
              <a:grpFill/>
            </p:grpSpPr>
            <p:sp>
              <p:nvSpPr>
                <p:cNvPr id="19" name="Полилиния: фигура 18">
                  <a:extLst>
                    <a:ext uri="{FF2B5EF4-FFF2-40B4-BE49-F238E27FC236}">
                      <a16:creationId xmlns:a16="http://schemas.microsoft.com/office/drawing/2014/main" id="{0B190FA6-0335-4D0A-93EA-C28AC748125D}"/>
                    </a:ext>
                  </a:extLst>
                </p:cNvPr>
                <p:cNvSpPr/>
                <p:nvPr/>
              </p:nvSpPr>
              <p:spPr>
                <a:xfrm>
                  <a:off x="11911948" y="7420792"/>
                  <a:ext cx="66024" cy="85758"/>
                </a:xfrm>
                <a:custGeom>
                  <a:avLst/>
                  <a:gdLst>
                    <a:gd name="connsiteX0" fmla="*/ 26373 w 66024"/>
                    <a:gd name="connsiteY0" fmla="*/ 12172 h 85758"/>
                    <a:gd name="connsiteX1" fmla="*/ 0 w 66024"/>
                    <a:gd name="connsiteY1" fmla="*/ 12172 h 85758"/>
                    <a:gd name="connsiteX2" fmla="*/ 0 w 66024"/>
                    <a:gd name="connsiteY2" fmla="*/ 0 h 85758"/>
                    <a:gd name="connsiteX3" fmla="*/ 66025 w 66024"/>
                    <a:gd name="connsiteY3" fmla="*/ 0 h 85758"/>
                    <a:gd name="connsiteX4" fmla="*/ 66025 w 66024"/>
                    <a:gd name="connsiteY4" fmla="*/ 12172 h 85758"/>
                    <a:gd name="connsiteX5" fmla="*/ 39467 w 66024"/>
                    <a:gd name="connsiteY5" fmla="*/ 12172 h 85758"/>
                    <a:gd name="connsiteX6" fmla="*/ 39467 w 66024"/>
                    <a:gd name="connsiteY6" fmla="*/ 85758 h 85758"/>
                    <a:gd name="connsiteX7" fmla="*/ 26189 w 66024"/>
                    <a:gd name="connsiteY7" fmla="*/ 85758 h 85758"/>
                    <a:gd name="connsiteX8" fmla="*/ 26189 w 66024"/>
                    <a:gd name="connsiteY8" fmla="*/ 12172 h 8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024" h="85758">
                      <a:moveTo>
                        <a:pt x="26373" y="12172"/>
                      </a:moveTo>
                      <a:lnTo>
                        <a:pt x="0" y="12172"/>
                      </a:lnTo>
                      <a:lnTo>
                        <a:pt x="0" y="0"/>
                      </a:lnTo>
                      <a:lnTo>
                        <a:pt x="66025" y="0"/>
                      </a:lnTo>
                      <a:lnTo>
                        <a:pt x="66025" y="12172"/>
                      </a:lnTo>
                      <a:lnTo>
                        <a:pt x="39467" y="12172"/>
                      </a:lnTo>
                      <a:lnTo>
                        <a:pt x="39467" y="85758"/>
                      </a:lnTo>
                      <a:lnTo>
                        <a:pt x="26189" y="85758"/>
                      </a:lnTo>
                      <a:lnTo>
                        <a:pt x="26189" y="12172"/>
                      </a:lnTo>
                      <a:close/>
                    </a:path>
                  </a:pathLst>
                </a:custGeom>
                <a:grpFill/>
                <a:ln w="1841" cap="flat">
                  <a:noFill/>
                  <a:prstDash val="solid"/>
                  <a:miter/>
                </a:ln>
              </p:spPr>
              <p:txBody>
                <a:bodyPr rtlCol="0" anchor="ctr"/>
                <a:lstStyle/>
                <a:p>
                  <a:endParaRPr lang="ru-RU" sz="1587"/>
                </a:p>
              </p:txBody>
            </p:sp>
            <p:sp>
              <p:nvSpPr>
                <p:cNvPr id="20" name="Полилиния: фигура 19">
                  <a:extLst>
                    <a:ext uri="{FF2B5EF4-FFF2-40B4-BE49-F238E27FC236}">
                      <a16:creationId xmlns:a16="http://schemas.microsoft.com/office/drawing/2014/main" id="{2B4CBCE8-5B2F-46EA-BFB4-3FB087AD1758}"/>
                    </a:ext>
                  </a:extLst>
                </p:cNvPr>
                <p:cNvSpPr/>
                <p:nvPr/>
              </p:nvSpPr>
              <p:spPr>
                <a:xfrm>
                  <a:off x="11967276"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578" y="9959"/>
                        <a:pt x="14570" y="16414"/>
                        <a:pt x="12541" y="24898"/>
                      </a:cubicBezTo>
                      <a:close/>
                    </a:path>
                  </a:pathLst>
                </a:custGeom>
                <a:grpFill/>
                <a:ln w="1841" cap="flat">
                  <a:noFill/>
                  <a:prstDash val="solid"/>
                  <a:miter/>
                </a:ln>
              </p:spPr>
              <p:txBody>
                <a:bodyPr rtlCol="0" anchor="ctr"/>
                <a:lstStyle/>
                <a:p>
                  <a:endParaRPr lang="ru-RU" sz="1587"/>
                </a:p>
              </p:txBody>
            </p:sp>
            <p:sp>
              <p:nvSpPr>
                <p:cNvPr id="21" name="Полилиния: фигура 20">
                  <a:extLst>
                    <a:ext uri="{FF2B5EF4-FFF2-40B4-BE49-F238E27FC236}">
                      <a16:creationId xmlns:a16="http://schemas.microsoft.com/office/drawing/2014/main" id="{E97D8C50-01BC-427A-80A4-1AE5F9F0E64A}"/>
                    </a:ext>
                  </a:extLst>
                </p:cNvPr>
                <p:cNvSpPr/>
                <p:nvPr/>
              </p:nvSpPr>
              <p:spPr>
                <a:xfrm>
                  <a:off x="12026292" y="7445874"/>
                  <a:ext cx="57909" cy="60860"/>
                </a:xfrm>
                <a:custGeom>
                  <a:avLst/>
                  <a:gdLst>
                    <a:gd name="connsiteX0" fmla="*/ 40758 w 57909"/>
                    <a:gd name="connsiteY0" fmla="*/ 0 h 60860"/>
                    <a:gd name="connsiteX1" fmla="*/ 55143 w 57909"/>
                    <a:gd name="connsiteY1" fmla="*/ 0 h 60860"/>
                    <a:gd name="connsiteX2" fmla="*/ 36516 w 57909"/>
                    <a:gd name="connsiteY2" fmla="*/ 28217 h 60860"/>
                    <a:gd name="connsiteX3" fmla="*/ 57910 w 57909"/>
                    <a:gd name="connsiteY3" fmla="*/ 60861 h 60860"/>
                    <a:gd name="connsiteX4" fmla="*/ 43340 w 57909"/>
                    <a:gd name="connsiteY4" fmla="*/ 60861 h 60860"/>
                    <a:gd name="connsiteX5" fmla="*/ 29139 w 57909"/>
                    <a:gd name="connsiteY5" fmla="*/ 38361 h 60860"/>
                    <a:gd name="connsiteX6" fmla="*/ 14754 w 57909"/>
                    <a:gd name="connsiteY6" fmla="*/ 60861 h 60860"/>
                    <a:gd name="connsiteX7" fmla="*/ 0 w 57909"/>
                    <a:gd name="connsiteY7" fmla="*/ 60861 h 60860"/>
                    <a:gd name="connsiteX8" fmla="*/ 22131 w 57909"/>
                    <a:gd name="connsiteY8" fmla="*/ 28586 h 60860"/>
                    <a:gd name="connsiteX9" fmla="*/ 2951 w 57909"/>
                    <a:gd name="connsiteY9" fmla="*/ 0 h 60860"/>
                    <a:gd name="connsiteX10" fmla="*/ 17336 w 57909"/>
                    <a:gd name="connsiteY10" fmla="*/ 0 h 60860"/>
                    <a:gd name="connsiteX11" fmla="*/ 28955 w 57909"/>
                    <a:gd name="connsiteY11" fmla="*/ 18443 h 60860"/>
                    <a:gd name="connsiteX12" fmla="*/ 40758 w 57909"/>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0860">
                      <a:moveTo>
                        <a:pt x="40758" y="0"/>
                      </a:moveTo>
                      <a:lnTo>
                        <a:pt x="55143" y="0"/>
                      </a:lnTo>
                      <a:lnTo>
                        <a:pt x="36516" y="28217"/>
                      </a:lnTo>
                      <a:lnTo>
                        <a:pt x="57910" y="60861"/>
                      </a:lnTo>
                      <a:lnTo>
                        <a:pt x="43340" y="60861"/>
                      </a:lnTo>
                      <a:lnTo>
                        <a:pt x="29139" y="38361"/>
                      </a:lnTo>
                      <a:lnTo>
                        <a:pt x="14754" y="60861"/>
                      </a:lnTo>
                      <a:lnTo>
                        <a:pt x="0" y="60861"/>
                      </a:lnTo>
                      <a:lnTo>
                        <a:pt x="22131" y="28586"/>
                      </a:lnTo>
                      <a:lnTo>
                        <a:pt x="2951" y="0"/>
                      </a:lnTo>
                      <a:lnTo>
                        <a:pt x="17336" y="0"/>
                      </a:lnTo>
                      <a:lnTo>
                        <a:pt x="28955" y="18443"/>
                      </a:lnTo>
                      <a:lnTo>
                        <a:pt x="40758" y="0"/>
                      </a:lnTo>
                      <a:close/>
                    </a:path>
                  </a:pathLst>
                </a:custGeom>
                <a:grpFill/>
                <a:ln w="1841" cap="flat">
                  <a:noFill/>
                  <a:prstDash val="solid"/>
                  <a:miter/>
                </a:ln>
              </p:spPr>
              <p:txBody>
                <a:bodyPr rtlCol="0" anchor="ctr"/>
                <a:lstStyle/>
                <a:p>
                  <a:endParaRPr lang="ru-RU" sz="1587"/>
                </a:p>
              </p:txBody>
            </p:sp>
            <p:sp>
              <p:nvSpPr>
                <p:cNvPr id="22" name="Полилиния: фигура 21">
                  <a:extLst>
                    <a:ext uri="{FF2B5EF4-FFF2-40B4-BE49-F238E27FC236}">
                      <a16:creationId xmlns:a16="http://schemas.microsoft.com/office/drawing/2014/main" id="{6972B164-13EF-414F-B7E4-1CFA371C39CB}"/>
                    </a:ext>
                  </a:extLst>
                </p:cNvPr>
                <p:cNvSpPr/>
                <p:nvPr/>
              </p:nvSpPr>
              <p:spPr>
                <a:xfrm>
                  <a:off x="12088444"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23" name="Полилиния: фигура 22">
                  <a:extLst>
                    <a:ext uri="{FF2B5EF4-FFF2-40B4-BE49-F238E27FC236}">
                      <a16:creationId xmlns:a16="http://schemas.microsoft.com/office/drawing/2014/main" id="{463D5A5E-390D-4018-8675-2AAA74ED59D3}"/>
                    </a:ext>
                  </a:extLst>
                </p:cNvPr>
                <p:cNvSpPr/>
                <p:nvPr/>
              </p:nvSpPr>
              <p:spPr>
                <a:xfrm>
                  <a:off x="1215041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4" name="Полилиния: фигура 23">
                  <a:extLst>
                    <a:ext uri="{FF2B5EF4-FFF2-40B4-BE49-F238E27FC236}">
                      <a16:creationId xmlns:a16="http://schemas.microsoft.com/office/drawing/2014/main" id="{08EC37DB-8B96-495F-A31E-6D967563302D}"/>
                    </a:ext>
                  </a:extLst>
                </p:cNvPr>
                <p:cNvSpPr/>
                <p:nvPr/>
              </p:nvSpPr>
              <p:spPr>
                <a:xfrm>
                  <a:off x="12216989" y="7446058"/>
                  <a:ext cx="57909" cy="61782"/>
                </a:xfrm>
                <a:custGeom>
                  <a:avLst/>
                  <a:gdLst>
                    <a:gd name="connsiteX0" fmla="*/ 0 w 57909"/>
                    <a:gd name="connsiteY0" fmla="*/ 60676 h 61782"/>
                    <a:gd name="connsiteX1" fmla="*/ 0 w 57909"/>
                    <a:gd name="connsiteY1" fmla="*/ 49611 h 61782"/>
                    <a:gd name="connsiteX2" fmla="*/ 4242 w 57909"/>
                    <a:gd name="connsiteY2" fmla="*/ 50348 h 61782"/>
                    <a:gd name="connsiteX3" fmla="*/ 10697 w 57909"/>
                    <a:gd name="connsiteY3" fmla="*/ 36148 h 61782"/>
                    <a:gd name="connsiteX4" fmla="*/ 12725 w 57909"/>
                    <a:gd name="connsiteY4" fmla="*/ 0 h 61782"/>
                    <a:gd name="connsiteX5" fmla="*/ 57910 w 57909"/>
                    <a:gd name="connsiteY5" fmla="*/ 0 h 61782"/>
                    <a:gd name="connsiteX6" fmla="*/ 57910 w 57909"/>
                    <a:gd name="connsiteY6" fmla="*/ 60861 h 61782"/>
                    <a:gd name="connsiteX7" fmla="*/ 45369 w 57909"/>
                    <a:gd name="connsiteY7" fmla="*/ 60861 h 61782"/>
                    <a:gd name="connsiteX8" fmla="*/ 45369 w 57909"/>
                    <a:gd name="connsiteY8" fmla="*/ 11434 h 61782"/>
                    <a:gd name="connsiteX9" fmla="*/ 23791 w 57909"/>
                    <a:gd name="connsiteY9" fmla="*/ 11434 h 61782"/>
                    <a:gd name="connsiteX10" fmla="*/ 22500 w 57909"/>
                    <a:gd name="connsiteY10" fmla="*/ 36701 h 61782"/>
                    <a:gd name="connsiteX11" fmla="*/ 5164 w 57909"/>
                    <a:gd name="connsiteY11" fmla="*/ 61783 h 61782"/>
                    <a:gd name="connsiteX12" fmla="*/ 0 w 57909"/>
                    <a:gd name="connsiteY12" fmla="*/ 60676 h 61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09" h="61782">
                      <a:moveTo>
                        <a:pt x="0" y="60676"/>
                      </a:moveTo>
                      <a:lnTo>
                        <a:pt x="0" y="49611"/>
                      </a:lnTo>
                      <a:cubicBezTo>
                        <a:pt x="0" y="49611"/>
                        <a:pt x="1660" y="50348"/>
                        <a:pt x="4242" y="50348"/>
                      </a:cubicBezTo>
                      <a:cubicBezTo>
                        <a:pt x="8115" y="50348"/>
                        <a:pt x="9959" y="47951"/>
                        <a:pt x="10697" y="36148"/>
                      </a:cubicBezTo>
                      <a:lnTo>
                        <a:pt x="12725" y="0"/>
                      </a:lnTo>
                      <a:lnTo>
                        <a:pt x="57910" y="0"/>
                      </a:lnTo>
                      <a:lnTo>
                        <a:pt x="57910" y="60861"/>
                      </a:lnTo>
                      <a:lnTo>
                        <a:pt x="45369" y="60861"/>
                      </a:lnTo>
                      <a:lnTo>
                        <a:pt x="45369" y="11434"/>
                      </a:lnTo>
                      <a:lnTo>
                        <a:pt x="23791" y="11434"/>
                      </a:lnTo>
                      <a:lnTo>
                        <a:pt x="22500" y="36701"/>
                      </a:lnTo>
                      <a:cubicBezTo>
                        <a:pt x="21578" y="54037"/>
                        <a:pt x="17152" y="61783"/>
                        <a:pt x="5164" y="61783"/>
                      </a:cubicBezTo>
                      <a:cubicBezTo>
                        <a:pt x="2582" y="61414"/>
                        <a:pt x="0" y="60676"/>
                        <a:pt x="0" y="60676"/>
                      </a:cubicBezTo>
                      <a:close/>
                    </a:path>
                  </a:pathLst>
                </a:custGeom>
                <a:grpFill/>
                <a:ln w="1841"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BEAE28B7-51FA-4257-88A8-A1C1B2DB8B53}"/>
                    </a:ext>
                  </a:extLst>
                </p:cNvPr>
                <p:cNvSpPr/>
                <p:nvPr/>
              </p:nvSpPr>
              <p:spPr>
                <a:xfrm>
                  <a:off x="12283383"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377 w 65102"/>
                    <a:gd name="connsiteY5" fmla="*/ 32090 h 64180"/>
                    <a:gd name="connsiteX6" fmla="*/ 32828 w 65102"/>
                    <a:gd name="connsiteY6" fmla="*/ 11619 h 64180"/>
                    <a:gd name="connsiteX7" fmla="*/ 13094 w 65102"/>
                    <a:gd name="connsiteY7" fmla="*/ 32090 h 64180"/>
                    <a:gd name="connsiteX8" fmla="*/ 32828 w 65102"/>
                    <a:gd name="connsiteY8" fmla="*/ 52561 h 64180"/>
                    <a:gd name="connsiteX9" fmla="*/ 52377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377" y="32090"/>
                      </a:moveTo>
                      <a:cubicBezTo>
                        <a:pt x="52377" y="19549"/>
                        <a:pt x="43340" y="11619"/>
                        <a:pt x="32828" y="11619"/>
                      </a:cubicBezTo>
                      <a:cubicBezTo>
                        <a:pt x="22131" y="11619"/>
                        <a:pt x="13094" y="19549"/>
                        <a:pt x="13094" y="32090"/>
                      </a:cubicBezTo>
                      <a:cubicBezTo>
                        <a:pt x="13094" y="44631"/>
                        <a:pt x="22131" y="52561"/>
                        <a:pt x="32828" y="52561"/>
                      </a:cubicBezTo>
                      <a:cubicBezTo>
                        <a:pt x="43156" y="52561"/>
                        <a:pt x="52377" y="44631"/>
                        <a:pt x="52377" y="32090"/>
                      </a:cubicBezTo>
                      <a:close/>
                    </a:path>
                  </a:pathLst>
                </a:custGeom>
                <a:grpFill/>
                <a:ln w="1841" cap="flat">
                  <a:noFill/>
                  <a:prstDash val="solid"/>
                  <a:miter/>
                </a:ln>
              </p:spPr>
              <p:txBody>
                <a:bodyPr rtlCol="0" anchor="ctr"/>
                <a:lstStyle/>
                <a:p>
                  <a:endParaRPr lang="ru-RU" sz="1587"/>
                </a:p>
              </p:txBody>
            </p:sp>
            <p:sp>
              <p:nvSpPr>
                <p:cNvPr id="26" name="Полилиния: фигура 25">
                  <a:extLst>
                    <a:ext uri="{FF2B5EF4-FFF2-40B4-BE49-F238E27FC236}">
                      <a16:creationId xmlns:a16="http://schemas.microsoft.com/office/drawing/2014/main" id="{366624C8-F16F-4F43-93EF-1F5EC05051B8}"/>
                    </a:ext>
                  </a:extLst>
                </p:cNvPr>
                <p:cNvSpPr/>
                <p:nvPr/>
              </p:nvSpPr>
              <p:spPr>
                <a:xfrm>
                  <a:off x="12356969" y="7445874"/>
                  <a:ext cx="39651" cy="60860"/>
                </a:xfrm>
                <a:custGeom>
                  <a:avLst/>
                  <a:gdLst>
                    <a:gd name="connsiteX0" fmla="*/ 0 w 39651"/>
                    <a:gd name="connsiteY0" fmla="*/ 0 h 60860"/>
                    <a:gd name="connsiteX1" fmla="*/ 39652 w 39651"/>
                    <a:gd name="connsiteY1" fmla="*/ 0 h 60860"/>
                    <a:gd name="connsiteX2" fmla="*/ 39652 w 39651"/>
                    <a:gd name="connsiteY2" fmla="*/ 11434 h 60860"/>
                    <a:gd name="connsiteX3" fmla="*/ 12725 w 39651"/>
                    <a:gd name="connsiteY3" fmla="*/ 11434 h 60860"/>
                    <a:gd name="connsiteX4" fmla="*/ 12725 w 39651"/>
                    <a:gd name="connsiteY4" fmla="*/ 60861 h 60860"/>
                    <a:gd name="connsiteX5" fmla="*/ 184 w 39651"/>
                    <a:gd name="connsiteY5" fmla="*/ 60861 h 60860"/>
                    <a:gd name="connsiteX6" fmla="*/ 184 w 39651"/>
                    <a:gd name="connsiteY6"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651" h="60860">
                      <a:moveTo>
                        <a:pt x="0" y="0"/>
                      </a:moveTo>
                      <a:lnTo>
                        <a:pt x="39652" y="0"/>
                      </a:lnTo>
                      <a:lnTo>
                        <a:pt x="39652" y="11434"/>
                      </a:lnTo>
                      <a:lnTo>
                        <a:pt x="12725" y="11434"/>
                      </a:lnTo>
                      <a:lnTo>
                        <a:pt x="12725" y="60861"/>
                      </a:lnTo>
                      <a:lnTo>
                        <a:pt x="184" y="60861"/>
                      </a:lnTo>
                      <a:lnTo>
                        <a:pt x="184" y="0"/>
                      </a:lnTo>
                      <a:close/>
                    </a:path>
                  </a:pathLst>
                </a:custGeom>
                <a:grpFill/>
                <a:ln w="1841" cap="flat">
                  <a:noFill/>
                  <a:prstDash val="solid"/>
                  <a:miter/>
                </a:ln>
              </p:spPr>
              <p:txBody>
                <a:bodyPr rtlCol="0" anchor="ctr"/>
                <a:lstStyle/>
                <a:p>
                  <a:endParaRPr lang="ru-RU" sz="1587"/>
                </a:p>
              </p:txBody>
            </p:sp>
            <p:sp>
              <p:nvSpPr>
                <p:cNvPr id="27" name="Полилиния: фигура 26">
                  <a:extLst>
                    <a:ext uri="{FF2B5EF4-FFF2-40B4-BE49-F238E27FC236}">
                      <a16:creationId xmlns:a16="http://schemas.microsoft.com/office/drawing/2014/main" id="{F0A33BAE-A2E5-4F3C-BDB7-20B1F52932F5}"/>
                    </a:ext>
                  </a:extLst>
                </p:cNvPr>
                <p:cNvSpPr/>
                <p:nvPr/>
              </p:nvSpPr>
              <p:spPr>
                <a:xfrm>
                  <a:off x="1240492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8" name="Полилиния: фигура 27">
                  <a:extLst>
                    <a:ext uri="{FF2B5EF4-FFF2-40B4-BE49-F238E27FC236}">
                      <a16:creationId xmlns:a16="http://schemas.microsoft.com/office/drawing/2014/main" id="{1EC917C9-3A84-4756-9D15-D37944DE43D8}"/>
                    </a:ext>
                  </a:extLst>
                </p:cNvPr>
                <p:cNvSpPr/>
                <p:nvPr/>
              </p:nvSpPr>
              <p:spPr>
                <a:xfrm>
                  <a:off x="12470760" y="7445874"/>
                  <a:ext cx="54405" cy="60860"/>
                </a:xfrm>
                <a:custGeom>
                  <a:avLst/>
                  <a:gdLst>
                    <a:gd name="connsiteX0" fmla="*/ 0 w 54405"/>
                    <a:gd name="connsiteY0" fmla="*/ 0 h 60860"/>
                    <a:gd name="connsiteX1" fmla="*/ 12172 w 54405"/>
                    <a:gd name="connsiteY1" fmla="*/ 0 h 60860"/>
                    <a:gd name="connsiteX2" fmla="*/ 12172 w 54405"/>
                    <a:gd name="connsiteY2" fmla="*/ 43893 h 60860"/>
                    <a:gd name="connsiteX3" fmla="*/ 41127 w 54405"/>
                    <a:gd name="connsiteY3" fmla="*/ 0 h 60860"/>
                    <a:gd name="connsiteX4" fmla="*/ 54406 w 54405"/>
                    <a:gd name="connsiteY4" fmla="*/ 0 h 60860"/>
                    <a:gd name="connsiteX5" fmla="*/ 54406 w 54405"/>
                    <a:gd name="connsiteY5" fmla="*/ 60861 h 60860"/>
                    <a:gd name="connsiteX6" fmla="*/ 42234 w 54405"/>
                    <a:gd name="connsiteY6" fmla="*/ 60861 h 60860"/>
                    <a:gd name="connsiteX7" fmla="*/ 42234 w 54405"/>
                    <a:gd name="connsiteY7" fmla="*/ 16967 h 60860"/>
                    <a:gd name="connsiteX8" fmla="*/ 13279 w 54405"/>
                    <a:gd name="connsiteY8" fmla="*/ 60861 h 60860"/>
                    <a:gd name="connsiteX9" fmla="*/ 0 w 54405"/>
                    <a:gd name="connsiteY9" fmla="*/ 60861 h 60860"/>
                    <a:gd name="connsiteX10" fmla="*/ 0 w 54405"/>
                    <a:gd name="connsiteY10"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405" h="60860">
                      <a:moveTo>
                        <a:pt x="0" y="0"/>
                      </a:moveTo>
                      <a:lnTo>
                        <a:pt x="12172" y="0"/>
                      </a:lnTo>
                      <a:lnTo>
                        <a:pt x="12172" y="43893"/>
                      </a:lnTo>
                      <a:lnTo>
                        <a:pt x="41127" y="0"/>
                      </a:lnTo>
                      <a:lnTo>
                        <a:pt x="54406" y="0"/>
                      </a:lnTo>
                      <a:lnTo>
                        <a:pt x="54406" y="60861"/>
                      </a:lnTo>
                      <a:lnTo>
                        <a:pt x="42234" y="60861"/>
                      </a:lnTo>
                      <a:lnTo>
                        <a:pt x="42234" y="16967"/>
                      </a:lnTo>
                      <a:lnTo>
                        <a:pt x="13279" y="60861"/>
                      </a:lnTo>
                      <a:lnTo>
                        <a:pt x="0" y="60861"/>
                      </a:lnTo>
                      <a:lnTo>
                        <a:pt x="0" y="0"/>
                      </a:lnTo>
                      <a:close/>
                    </a:path>
                  </a:pathLst>
                </a:custGeom>
                <a:grpFill/>
                <a:ln w="1841" cap="flat">
                  <a:noFill/>
                  <a:prstDash val="solid"/>
                  <a:miter/>
                </a:ln>
              </p:spPr>
              <p:txBody>
                <a:bodyPr rtlCol="0" anchor="ctr"/>
                <a:lstStyle/>
                <a:p>
                  <a:endParaRPr lang="ru-RU" sz="1587"/>
                </a:p>
              </p:txBody>
            </p:sp>
            <p:sp>
              <p:nvSpPr>
                <p:cNvPr id="29" name="Полилиния: фигура 28">
                  <a:extLst>
                    <a:ext uri="{FF2B5EF4-FFF2-40B4-BE49-F238E27FC236}">
                      <a16:creationId xmlns:a16="http://schemas.microsoft.com/office/drawing/2014/main" id="{65C097CC-D76B-487E-9C7A-27867D3824C7}"/>
                    </a:ext>
                  </a:extLst>
                </p:cNvPr>
                <p:cNvSpPr/>
                <p:nvPr/>
              </p:nvSpPr>
              <p:spPr>
                <a:xfrm>
                  <a:off x="12567584" y="7445874"/>
                  <a:ext cx="50163" cy="60860"/>
                </a:xfrm>
                <a:custGeom>
                  <a:avLst/>
                  <a:gdLst>
                    <a:gd name="connsiteX0" fmla="*/ 0 w 50163"/>
                    <a:gd name="connsiteY0" fmla="*/ 0 h 60860"/>
                    <a:gd name="connsiteX1" fmla="*/ 27664 w 50163"/>
                    <a:gd name="connsiteY1" fmla="*/ 0 h 60860"/>
                    <a:gd name="connsiteX2" fmla="*/ 47951 w 50163"/>
                    <a:gd name="connsiteY2" fmla="*/ 15123 h 60860"/>
                    <a:gd name="connsiteX3" fmla="*/ 38730 w 50163"/>
                    <a:gd name="connsiteY3" fmla="*/ 28771 h 60860"/>
                    <a:gd name="connsiteX4" fmla="*/ 50164 w 50163"/>
                    <a:gd name="connsiteY4" fmla="*/ 43340 h 60860"/>
                    <a:gd name="connsiteX5" fmla="*/ 28402 w 50163"/>
                    <a:gd name="connsiteY5" fmla="*/ 60861 h 60860"/>
                    <a:gd name="connsiteX6" fmla="*/ 0 w 50163"/>
                    <a:gd name="connsiteY6" fmla="*/ 60861 h 60860"/>
                    <a:gd name="connsiteX7" fmla="*/ 0 w 50163"/>
                    <a:gd name="connsiteY7" fmla="*/ 0 h 60860"/>
                    <a:gd name="connsiteX8" fmla="*/ 26557 w 50163"/>
                    <a:gd name="connsiteY8" fmla="*/ 24344 h 60860"/>
                    <a:gd name="connsiteX9" fmla="*/ 35594 w 50163"/>
                    <a:gd name="connsiteY9" fmla="*/ 17152 h 60860"/>
                    <a:gd name="connsiteX10" fmla="*/ 26557 w 50163"/>
                    <a:gd name="connsiteY10" fmla="*/ 9959 h 60860"/>
                    <a:gd name="connsiteX11" fmla="*/ 12172 w 50163"/>
                    <a:gd name="connsiteY11" fmla="*/ 9959 h 60860"/>
                    <a:gd name="connsiteX12" fmla="*/ 12172 w 50163"/>
                    <a:gd name="connsiteY12" fmla="*/ 24344 h 60860"/>
                    <a:gd name="connsiteX13" fmla="*/ 26557 w 50163"/>
                    <a:gd name="connsiteY13" fmla="*/ 24344 h 60860"/>
                    <a:gd name="connsiteX14" fmla="*/ 27479 w 50163"/>
                    <a:gd name="connsiteY14" fmla="*/ 50902 h 60860"/>
                    <a:gd name="connsiteX15" fmla="*/ 37254 w 50163"/>
                    <a:gd name="connsiteY15" fmla="*/ 42418 h 60860"/>
                    <a:gd name="connsiteX16" fmla="*/ 27479 w 50163"/>
                    <a:gd name="connsiteY16" fmla="*/ 34119 h 60860"/>
                    <a:gd name="connsiteX17" fmla="*/ 12357 w 50163"/>
                    <a:gd name="connsiteY17" fmla="*/ 34119 h 60860"/>
                    <a:gd name="connsiteX18" fmla="*/ 12357 w 50163"/>
                    <a:gd name="connsiteY18" fmla="*/ 50902 h 60860"/>
                    <a:gd name="connsiteX19" fmla="*/ 27479 w 50163"/>
                    <a:gd name="connsiteY19" fmla="*/ 50902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163" h="60860">
                      <a:moveTo>
                        <a:pt x="0" y="0"/>
                      </a:moveTo>
                      <a:lnTo>
                        <a:pt x="27664" y="0"/>
                      </a:lnTo>
                      <a:cubicBezTo>
                        <a:pt x="40574" y="0"/>
                        <a:pt x="47951" y="6824"/>
                        <a:pt x="47951" y="15123"/>
                      </a:cubicBezTo>
                      <a:cubicBezTo>
                        <a:pt x="47951" y="22131"/>
                        <a:pt x="44262" y="26189"/>
                        <a:pt x="38730" y="28771"/>
                      </a:cubicBezTo>
                      <a:cubicBezTo>
                        <a:pt x="45184" y="30799"/>
                        <a:pt x="50164" y="35594"/>
                        <a:pt x="50164" y="43340"/>
                      </a:cubicBezTo>
                      <a:cubicBezTo>
                        <a:pt x="50164" y="53668"/>
                        <a:pt x="41127" y="60861"/>
                        <a:pt x="28402" y="60861"/>
                      </a:cubicBezTo>
                      <a:lnTo>
                        <a:pt x="0" y="60861"/>
                      </a:lnTo>
                      <a:lnTo>
                        <a:pt x="0" y="0"/>
                      </a:lnTo>
                      <a:close/>
                      <a:moveTo>
                        <a:pt x="26557" y="24344"/>
                      </a:moveTo>
                      <a:cubicBezTo>
                        <a:pt x="32275" y="24344"/>
                        <a:pt x="35594" y="22131"/>
                        <a:pt x="35594" y="17152"/>
                      </a:cubicBezTo>
                      <a:cubicBezTo>
                        <a:pt x="35594" y="12172"/>
                        <a:pt x="32090" y="9959"/>
                        <a:pt x="26557" y="9959"/>
                      </a:cubicBezTo>
                      <a:lnTo>
                        <a:pt x="12172" y="9959"/>
                      </a:lnTo>
                      <a:lnTo>
                        <a:pt x="12172" y="24344"/>
                      </a:lnTo>
                      <a:lnTo>
                        <a:pt x="26557" y="24344"/>
                      </a:lnTo>
                      <a:close/>
                      <a:moveTo>
                        <a:pt x="27479" y="50902"/>
                      </a:moveTo>
                      <a:cubicBezTo>
                        <a:pt x="33934" y="50902"/>
                        <a:pt x="37254" y="47582"/>
                        <a:pt x="37254" y="42418"/>
                      </a:cubicBezTo>
                      <a:cubicBezTo>
                        <a:pt x="37254" y="37254"/>
                        <a:pt x="33934" y="34119"/>
                        <a:pt x="27479" y="34119"/>
                      </a:cubicBezTo>
                      <a:lnTo>
                        <a:pt x="12357" y="34119"/>
                      </a:lnTo>
                      <a:lnTo>
                        <a:pt x="12357" y="50902"/>
                      </a:lnTo>
                      <a:lnTo>
                        <a:pt x="27479" y="50902"/>
                      </a:lnTo>
                      <a:close/>
                    </a:path>
                  </a:pathLst>
                </a:custGeom>
                <a:grpFill/>
                <a:ln w="1841" cap="flat">
                  <a:noFill/>
                  <a:prstDash val="solid"/>
                  <a:miter/>
                </a:ln>
              </p:spPr>
              <p:txBody>
                <a:bodyPr rtlCol="0" anchor="ctr"/>
                <a:lstStyle/>
                <a:p>
                  <a:endParaRPr lang="ru-RU" sz="1587"/>
                </a:p>
              </p:txBody>
            </p:sp>
            <p:sp>
              <p:nvSpPr>
                <p:cNvPr id="30" name="Полилиния: фигура 29">
                  <a:extLst>
                    <a:ext uri="{FF2B5EF4-FFF2-40B4-BE49-F238E27FC236}">
                      <a16:creationId xmlns:a16="http://schemas.microsoft.com/office/drawing/2014/main" id="{A882105C-E112-4991-AE07-393D89CEE5E4}"/>
                    </a:ext>
                  </a:extLst>
                </p:cNvPr>
                <p:cNvSpPr/>
                <p:nvPr/>
              </p:nvSpPr>
              <p:spPr>
                <a:xfrm>
                  <a:off x="1262162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1" name="Полилиния: фигура 30">
                  <a:extLst>
                    <a:ext uri="{FF2B5EF4-FFF2-40B4-BE49-F238E27FC236}">
                      <a16:creationId xmlns:a16="http://schemas.microsoft.com/office/drawing/2014/main" id="{F57322B0-5075-4A3F-B79E-E158035857A5}"/>
                    </a:ext>
                  </a:extLst>
                </p:cNvPr>
                <p:cNvSpPr/>
                <p:nvPr/>
              </p:nvSpPr>
              <p:spPr>
                <a:xfrm>
                  <a:off x="12692440" y="7444214"/>
                  <a:ext cx="49610" cy="64180"/>
                </a:xfrm>
                <a:custGeom>
                  <a:avLst/>
                  <a:gdLst>
                    <a:gd name="connsiteX0" fmla="*/ 49611 w 49610"/>
                    <a:gd name="connsiteY0" fmla="*/ 44816 h 64180"/>
                    <a:gd name="connsiteX1" fmla="*/ 23975 w 49610"/>
                    <a:gd name="connsiteY1" fmla="*/ 64180 h 64180"/>
                    <a:gd name="connsiteX2" fmla="*/ 0 w 49610"/>
                    <a:gd name="connsiteY2" fmla="*/ 45184 h 64180"/>
                    <a:gd name="connsiteX3" fmla="*/ 1475 w 49610"/>
                    <a:gd name="connsiteY3" fmla="*/ 38361 h 64180"/>
                    <a:gd name="connsiteX4" fmla="*/ 12172 w 49610"/>
                    <a:gd name="connsiteY4" fmla="*/ 41865 h 64180"/>
                    <a:gd name="connsiteX5" fmla="*/ 11619 w 49610"/>
                    <a:gd name="connsiteY5" fmla="*/ 45000 h 64180"/>
                    <a:gd name="connsiteX6" fmla="*/ 23975 w 49610"/>
                    <a:gd name="connsiteY6" fmla="*/ 54037 h 64180"/>
                    <a:gd name="connsiteX7" fmla="*/ 37254 w 49610"/>
                    <a:gd name="connsiteY7" fmla="*/ 44447 h 64180"/>
                    <a:gd name="connsiteX8" fmla="*/ 24713 w 49610"/>
                    <a:gd name="connsiteY8" fmla="*/ 35779 h 64180"/>
                    <a:gd name="connsiteX9" fmla="*/ 19549 w 49610"/>
                    <a:gd name="connsiteY9" fmla="*/ 35779 h 64180"/>
                    <a:gd name="connsiteX10" fmla="*/ 19549 w 49610"/>
                    <a:gd name="connsiteY10" fmla="*/ 25635 h 64180"/>
                    <a:gd name="connsiteX11" fmla="*/ 24529 w 49610"/>
                    <a:gd name="connsiteY11" fmla="*/ 25635 h 64180"/>
                    <a:gd name="connsiteX12" fmla="*/ 35225 w 49610"/>
                    <a:gd name="connsiteY12" fmla="*/ 17336 h 64180"/>
                    <a:gd name="connsiteX13" fmla="*/ 24898 w 49610"/>
                    <a:gd name="connsiteY13" fmla="*/ 9775 h 64180"/>
                    <a:gd name="connsiteX14" fmla="*/ 13463 w 49610"/>
                    <a:gd name="connsiteY14" fmla="*/ 16598 h 64180"/>
                    <a:gd name="connsiteX15" fmla="*/ 13832 w 49610"/>
                    <a:gd name="connsiteY15" fmla="*/ 19180 h 64180"/>
                    <a:gd name="connsiteX16" fmla="*/ 2951 w 49610"/>
                    <a:gd name="connsiteY16" fmla="*/ 22869 h 64180"/>
                    <a:gd name="connsiteX17" fmla="*/ 1844 w 49610"/>
                    <a:gd name="connsiteY17" fmla="*/ 16967 h 64180"/>
                    <a:gd name="connsiteX18" fmla="*/ 25082 w 49610"/>
                    <a:gd name="connsiteY18" fmla="*/ 0 h 64180"/>
                    <a:gd name="connsiteX19" fmla="*/ 47213 w 49610"/>
                    <a:gd name="connsiteY19" fmla="*/ 16229 h 64180"/>
                    <a:gd name="connsiteX20" fmla="*/ 36885 w 49610"/>
                    <a:gd name="connsiteY20" fmla="*/ 30246 h 64180"/>
                    <a:gd name="connsiteX21" fmla="*/ 49611 w 49610"/>
                    <a:gd name="connsiteY21" fmla="*/ 44816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9610" h="64180">
                      <a:moveTo>
                        <a:pt x="49611" y="44816"/>
                      </a:moveTo>
                      <a:cubicBezTo>
                        <a:pt x="49611" y="55697"/>
                        <a:pt x="40574" y="64180"/>
                        <a:pt x="23975" y="64180"/>
                      </a:cubicBezTo>
                      <a:cubicBezTo>
                        <a:pt x="8852" y="64180"/>
                        <a:pt x="0" y="56066"/>
                        <a:pt x="0" y="45184"/>
                      </a:cubicBezTo>
                      <a:cubicBezTo>
                        <a:pt x="0" y="42418"/>
                        <a:pt x="922" y="39652"/>
                        <a:pt x="1475" y="38361"/>
                      </a:cubicBezTo>
                      <a:lnTo>
                        <a:pt x="12172" y="41865"/>
                      </a:lnTo>
                      <a:cubicBezTo>
                        <a:pt x="11803" y="42787"/>
                        <a:pt x="11619" y="43709"/>
                        <a:pt x="11619" y="45000"/>
                      </a:cubicBezTo>
                      <a:cubicBezTo>
                        <a:pt x="11619" y="51086"/>
                        <a:pt x="17705" y="54037"/>
                        <a:pt x="23975" y="54037"/>
                      </a:cubicBezTo>
                      <a:cubicBezTo>
                        <a:pt x="32643" y="54037"/>
                        <a:pt x="37254" y="49979"/>
                        <a:pt x="37254" y="44447"/>
                      </a:cubicBezTo>
                      <a:cubicBezTo>
                        <a:pt x="37254" y="39098"/>
                        <a:pt x="32643" y="35779"/>
                        <a:pt x="24713" y="35779"/>
                      </a:cubicBezTo>
                      <a:lnTo>
                        <a:pt x="19549" y="35779"/>
                      </a:lnTo>
                      <a:lnTo>
                        <a:pt x="19549" y="25635"/>
                      </a:lnTo>
                      <a:lnTo>
                        <a:pt x="24529" y="25635"/>
                      </a:lnTo>
                      <a:cubicBezTo>
                        <a:pt x="32090" y="25635"/>
                        <a:pt x="35225" y="22131"/>
                        <a:pt x="35225" y="17336"/>
                      </a:cubicBezTo>
                      <a:cubicBezTo>
                        <a:pt x="35225" y="12725"/>
                        <a:pt x="31721" y="9775"/>
                        <a:pt x="24898" y="9775"/>
                      </a:cubicBezTo>
                      <a:cubicBezTo>
                        <a:pt x="17705" y="9775"/>
                        <a:pt x="13463" y="12910"/>
                        <a:pt x="13463" y="16598"/>
                      </a:cubicBezTo>
                      <a:cubicBezTo>
                        <a:pt x="13463" y="17889"/>
                        <a:pt x="13647" y="18627"/>
                        <a:pt x="13832" y="19180"/>
                      </a:cubicBezTo>
                      <a:lnTo>
                        <a:pt x="2951" y="22869"/>
                      </a:lnTo>
                      <a:cubicBezTo>
                        <a:pt x="2398" y="21578"/>
                        <a:pt x="1844" y="19734"/>
                        <a:pt x="1844" y="16967"/>
                      </a:cubicBezTo>
                      <a:cubicBezTo>
                        <a:pt x="1844" y="7377"/>
                        <a:pt x="10512" y="0"/>
                        <a:pt x="25082" y="0"/>
                      </a:cubicBezTo>
                      <a:cubicBezTo>
                        <a:pt x="40389" y="0"/>
                        <a:pt x="47213" y="7193"/>
                        <a:pt x="47213" y="16229"/>
                      </a:cubicBezTo>
                      <a:cubicBezTo>
                        <a:pt x="47213" y="23238"/>
                        <a:pt x="43340" y="27848"/>
                        <a:pt x="36885" y="30246"/>
                      </a:cubicBezTo>
                      <a:cubicBezTo>
                        <a:pt x="44262" y="32459"/>
                        <a:pt x="49611" y="37070"/>
                        <a:pt x="49611" y="44816"/>
                      </a:cubicBezTo>
                      <a:close/>
                    </a:path>
                  </a:pathLst>
                </a:custGeom>
                <a:grpFill/>
                <a:ln w="1841" cap="flat">
                  <a:noFill/>
                  <a:prstDash val="solid"/>
                  <a:miter/>
                </a:ln>
              </p:spPr>
              <p:txBody>
                <a:bodyPr rtlCol="0" anchor="ctr"/>
                <a:lstStyle/>
                <a:p>
                  <a:endParaRPr lang="ru-RU" sz="1587"/>
                </a:p>
              </p:txBody>
            </p:sp>
            <p:sp>
              <p:nvSpPr>
                <p:cNvPr id="32" name="Полилиния: фигура 31">
                  <a:extLst>
                    <a:ext uri="{FF2B5EF4-FFF2-40B4-BE49-F238E27FC236}">
                      <a16:creationId xmlns:a16="http://schemas.microsoft.com/office/drawing/2014/main" id="{A1703C5D-ED45-463E-8E5E-91C1C7D2CC68}"/>
                    </a:ext>
                  </a:extLst>
                </p:cNvPr>
                <p:cNvSpPr/>
                <p:nvPr/>
              </p:nvSpPr>
              <p:spPr>
                <a:xfrm>
                  <a:off x="12750166" y="7445874"/>
                  <a:ext cx="70266" cy="60860"/>
                </a:xfrm>
                <a:custGeom>
                  <a:avLst/>
                  <a:gdLst>
                    <a:gd name="connsiteX0" fmla="*/ 0 w 70266"/>
                    <a:gd name="connsiteY0" fmla="*/ 0 h 60860"/>
                    <a:gd name="connsiteX1" fmla="*/ 17152 w 70266"/>
                    <a:gd name="connsiteY1" fmla="*/ 0 h 60860"/>
                    <a:gd name="connsiteX2" fmla="*/ 35041 w 70266"/>
                    <a:gd name="connsiteY2" fmla="*/ 46291 h 60860"/>
                    <a:gd name="connsiteX3" fmla="*/ 52930 w 70266"/>
                    <a:gd name="connsiteY3" fmla="*/ 0 h 60860"/>
                    <a:gd name="connsiteX4" fmla="*/ 70266 w 70266"/>
                    <a:gd name="connsiteY4" fmla="*/ 0 h 60860"/>
                    <a:gd name="connsiteX5" fmla="*/ 70266 w 70266"/>
                    <a:gd name="connsiteY5" fmla="*/ 60861 h 60860"/>
                    <a:gd name="connsiteX6" fmla="*/ 58094 w 70266"/>
                    <a:gd name="connsiteY6" fmla="*/ 60861 h 60860"/>
                    <a:gd name="connsiteX7" fmla="*/ 58094 w 70266"/>
                    <a:gd name="connsiteY7" fmla="*/ 17889 h 60860"/>
                    <a:gd name="connsiteX8" fmla="*/ 40574 w 70266"/>
                    <a:gd name="connsiteY8" fmla="*/ 60861 h 60860"/>
                    <a:gd name="connsiteX9" fmla="*/ 29877 w 70266"/>
                    <a:gd name="connsiteY9" fmla="*/ 60861 h 60860"/>
                    <a:gd name="connsiteX10" fmla="*/ 12172 w 70266"/>
                    <a:gd name="connsiteY10" fmla="*/ 17705 h 60860"/>
                    <a:gd name="connsiteX11" fmla="*/ 12172 w 70266"/>
                    <a:gd name="connsiteY11" fmla="*/ 60861 h 60860"/>
                    <a:gd name="connsiteX12" fmla="*/ 0 w 70266"/>
                    <a:gd name="connsiteY12" fmla="*/ 60861 h 60860"/>
                    <a:gd name="connsiteX13" fmla="*/ 0 w 70266"/>
                    <a:gd name="connsiteY13"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266" h="60860">
                      <a:moveTo>
                        <a:pt x="0" y="0"/>
                      </a:moveTo>
                      <a:lnTo>
                        <a:pt x="17152" y="0"/>
                      </a:lnTo>
                      <a:lnTo>
                        <a:pt x="35041" y="46291"/>
                      </a:lnTo>
                      <a:lnTo>
                        <a:pt x="52930" y="0"/>
                      </a:lnTo>
                      <a:lnTo>
                        <a:pt x="70266" y="0"/>
                      </a:lnTo>
                      <a:lnTo>
                        <a:pt x="70266" y="60861"/>
                      </a:lnTo>
                      <a:lnTo>
                        <a:pt x="58094" y="60861"/>
                      </a:lnTo>
                      <a:lnTo>
                        <a:pt x="58094" y="17889"/>
                      </a:lnTo>
                      <a:lnTo>
                        <a:pt x="40574" y="60861"/>
                      </a:lnTo>
                      <a:lnTo>
                        <a:pt x="29877" y="60861"/>
                      </a:lnTo>
                      <a:lnTo>
                        <a:pt x="12172" y="17705"/>
                      </a:lnTo>
                      <a:lnTo>
                        <a:pt x="12172" y="60861"/>
                      </a:lnTo>
                      <a:lnTo>
                        <a:pt x="0" y="60861"/>
                      </a:lnTo>
                      <a:lnTo>
                        <a:pt x="0" y="0"/>
                      </a:lnTo>
                      <a:close/>
                    </a:path>
                  </a:pathLst>
                </a:custGeom>
                <a:grpFill/>
                <a:ln w="1841" cap="flat">
                  <a:noFill/>
                  <a:prstDash val="solid"/>
                  <a:miter/>
                </a:ln>
              </p:spPr>
              <p:txBody>
                <a:bodyPr rtlCol="0" anchor="ctr"/>
                <a:lstStyle/>
                <a:p>
                  <a:endParaRPr lang="ru-RU" sz="1587"/>
                </a:p>
              </p:txBody>
            </p:sp>
            <p:sp>
              <p:nvSpPr>
                <p:cNvPr id="33" name="Полилиния: фигура 32">
                  <a:extLst>
                    <a:ext uri="{FF2B5EF4-FFF2-40B4-BE49-F238E27FC236}">
                      <a16:creationId xmlns:a16="http://schemas.microsoft.com/office/drawing/2014/main" id="{6BE1A9CC-416C-4101-9B8C-7B59151B8C0C}"/>
                    </a:ext>
                  </a:extLst>
                </p:cNvPr>
                <p:cNvSpPr/>
                <p:nvPr/>
              </p:nvSpPr>
              <p:spPr>
                <a:xfrm>
                  <a:off x="12828731"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242"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4" name="Полилиния: фигура 33">
                  <a:extLst>
                    <a:ext uri="{FF2B5EF4-FFF2-40B4-BE49-F238E27FC236}">
                      <a16:creationId xmlns:a16="http://schemas.microsoft.com/office/drawing/2014/main" id="{2C704B2C-7004-4D71-BB18-18E92FE590A4}"/>
                    </a:ext>
                  </a:extLst>
                </p:cNvPr>
                <p:cNvSpPr/>
                <p:nvPr/>
              </p:nvSpPr>
              <p:spPr>
                <a:xfrm>
                  <a:off x="12897154" y="7445689"/>
                  <a:ext cx="84651" cy="61045"/>
                </a:xfrm>
                <a:custGeom>
                  <a:avLst/>
                  <a:gdLst>
                    <a:gd name="connsiteX0" fmla="*/ 69160 w 84651"/>
                    <a:gd name="connsiteY0" fmla="*/ 61045 h 61045"/>
                    <a:gd name="connsiteX1" fmla="*/ 48504 w 84651"/>
                    <a:gd name="connsiteY1" fmla="*/ 34303 h 61045"/>
                    <a:gd name="connsiteX2" fmla="*/ 48504 w 84651"/>
                    <a:gd name="connsiteY2" fmla="*/ 60861 h 61045"/>
                    <a:gd name="connsiteX3" fmla="*/ 35963 w 84651"/>
                    <a:gd name="connsiteY3" fmla="*/ 60861 h 61045"/>
                    <a:gd name="connsiteX4" fmla="*/ 35963 w 84651"/>
                    <a:gd name="connsiteY4" fmla="*/ 33934 h 61045"/>
                    <a:gd name="connsiteX5" fmla="*/ 15307 w 84651"/>
                    <a:gd name="connsiteY5" fmla="*/ 60861 h 61045"/>
                    <a:gd name="connsiteX6" fmla="*/ 0 w 84651"/>
                    <a:gd name="connsiteY6" fmla="*/ 60861 h 61045"/>
                    <a:gd name="connsiteX7" fmla="*/ 25451 w 84651"/>
                    <a:gd name="connsiteY7" fmla="*/ 28586 h 61045"/>
                    <a:gd name="connsiteX8" fmla="*/ 369 w 84651"/>
                    <a:gd name="connsiteY8" fmla="*/ 0 h 61045"/>
                    <a:gd name="connsiteX9" fmla="*/ 16598 w 84651"/>
                    <a:gd name="connsiteY9" fmla="*/ 0 h 61045"/>
                    <a:gd name="connsiteX10" fmla="*/ 35963 w 84651"/>
                    <a:gd name="connsiteY10" fmla="*/ 23607 h 61045"/>
                    <a:gd name="connsiteX11" fmla="*/ 35963 w 84651"/>
                    <a:gd name="connsiteY11" fmla="*/ 0 h 61045"/>
                    <a:gd name="connsiteX12" fmla="*/ 48504 w 84651"/>
                    <a:gd name="connsiteY12" fmla="*/ 0 h 61045"/>
                    <a:gd name="connsiteX13" fmla="*/ 48504 w 84651"/>
                    <a:gd name="connsiteY13" fmla="*/ 23607 h 61045"/>
                    <a:gd name="connsiteX14" fmla="*/ 67869 w 84651"/>
                    <a:gd name="connsiteY14" fmla="*/ 0 h 61045"/>
                    <a:gd name="connsiteX15" fmla="*/ 84098 w 84651"/>
                    <a:gd name="connsiteY15" fmla="*/ 0 h 61045"/>
                    <a:gd name="connsiteX16" fmla="*/ 59201 w 84651"/>
                    <a:gd name="connsiteY16" fmla="*/ 28771 h 61045"/>
                    <a:gd name="connsiteX17" fmla="*/ 84652 w 84651"/>
                    <a:gd name="connsiteY17" fmla="*/ 61045 h 61045"/>
                    <a:gd name="connsiteX18" fmla="*/ 69160 w 84651"/>
                    <a:gd name="connsiteY18" fmla="*/ 61045 h 61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651" h="61045">
                      <a:moveTo>
                        <a:pt x="69160" y="61045"/>
                      </a:moveTo>
                      <a:lnTo>
                        <a:pt x="48504" y="34303"/>
                      </a:lnTo>
                      <a:lnTo>
                        <a:pt x="48504" y="60861"/>
                      </a:lnTo>
                      <a:lnTo>
                        <a:pt x="35963" y="60861"/>
                      </a:lnTo>
                      <a:lnTo>
                        <a:pt x="35963" y="33934"/>
                      </a:lnTo>
                      <a:lnTo>
                        <a:pt x="15307" y="60861"/>
                      </a:lnTo>
                      <a:lnTo>
                        <a:pt x="0" y="60861"/>
                      </a:lnTo>
                      <a:lnTo>
                        <a:pt x="25451" y="28586"/>
                      </a:lnTo>
                      <a:lnTo>
                        <a:pt x="369" y="0"/>
                      </a:lnTo>
                      <a:lnTo>
                        <a:pt x="16598" y="0"/>
                      </a:lnTo>
                      <a:lnTo>
                        <a:pt x="35963" y="23607"/>
                      </a:lnTo>
                      <a:lnTo>
                        <a:pt x="35963" y="0"/>
                      </a:lnTo>
                      <a:lnTo>
                        <a:pt x="48504" y="0"/>
                      </a:lnTo>
                      <a:lnTo>
                        <a:pt x="48504" y="23607"/>
                      </a:lnTo>
                      <a:lnTo>
                        <a:pt x="67869" y="0"/>
                      </a:lnTo>
                      <a:lnTo>
                        <a:pt x="84098" y="0"/>
                      </a:lnTo>
                      <a:lnTo>
                        <a:pt x="59201" y="28771"/>
                      </a:lnTo>
                      <a:lnTo>
                        <a:pt x="84652" y="61045"/>
                      </a:lnTo>
                      <a:lnTo>
                        <a:pt x="69160" y="61045"/>
                      </a:lnTo>
                      <a:close/>
                    </a:path>
                  </a:pathLst>
                </a:custGeom>
                <a:grpFill/>
                <a:ln w="1841" cap="flat">
                  <a:noFill/>
                  <a:prstDash val="solid"/>
                  <a:miter/>
                </a:ln>
              </p:spPr>
              <p:txBody>
                <a:bodyPr rtlCol="0" anchor="ctr"/>
                <a:lstStyle/>
                <a:p>
                  <a:endParaRPr lang="ru-RU" sz="1587"/>
                </a:p>
              </p:txBody>
            </p:sp>
            <p:sp>
              <p:nvSpPr>
                <p:cNvPr id="35" name="Полилиния: фигура 34">
                  <a:extLst>
                    <a:ext uri="{FF2B5EF4-FFF2-40B4-BE49-F238E27FC236}">
                      <a16:creationId xmlns:a16="http://schemas.microsoft.com/office/drawing/2014/main" id="{92DB1D54-69F4-48C9-B461-A96CC82680F2}"/>
                    </a:ext>
                  </a:extLst>
                </p:cNvPr>
                <p:cNvSpPr/>
                <p:nvPr/>
              </p:nvSpPr>
              <p:spPr>
                <a:xfrm>
                  <a:off x="12988260" y="7445874"/>
                  <a:ext cx="53483" cy="60860"/>
                </a:xfrm>
                <a:custGeom>
                  <a:avLst/>
                  <a:gdLst>
                    <a:gd name="connsiteX0" fmla="*/ 0 w 53483"/>
                    <a:gd name="connsiteY0" fmla="*/ 0 h 60860"/>
                    <a:gd name="connsiteX1" fmla="*/ 12541 w 53483"/>
                    <a:gd name="connsiteY1" fmla="*/ 0 h 60860"/>
                    <a:gd name="connsiteX2" fmla="*/ 12541 w 53483"/>
                    <a:gd name="connsiteY2" fmla="*/ 23607 h 60860"/>
                    <a:gd name="connsiteX3" fmla="*/ 40943 w 53483"/>
                    <a:gd name="connsiteY3" fmla="*/ 23607 h 60860"/>
                    <a:gd name="connsiteX4" fmla="*/ 40943 w 53483"/>
                    <a:gd name="connsiteY4" fmla="*/ 0 h 60860"/>
                    <a:gd name="connsiteX5" fmla="*/ 53484 w 53483"/>
                    <a:gd name="connsiteY5" fmla="*/ 0 h 60860"/>
                    <a:gd name="connsiteX6" fmla="*/ 53484 w 53483"/>
                    <a:gd name="connsiteY6" fmla="*/ 60861 h 60860"/>
                    <a:gd name="connsiteX7" fmla="*/ 40943 w 53483"/>
                    <a:gd name="connsiteY7" fmla="*/ 60861 h 60860"/>
                    <a:gd name="connsiteX8" fmla="*/ 40943 w 53483"/>
                    <a:gd name="connsiteY8" fmla="*/ 34672 h 60860"/>
                    <a:gd name="connsiteX9" fmla="*/ 12541 w 53483"/>
                    <a:gd name="connsiteY9" fmla="*/ 34672 h 60860"/>
                    <a:gd name="connsiteX10" fmla="*/ 12541 w 53483"/>
                    <a:gd name="connsiteY10" fmla="*/ 60861 h 60860"/>
                    <a:gd name="connsiteX11" fmla="*/ 0 w 53483"/>
                    <a:gd name="connsiteY11" fmla="*/ 60861 h 60860"/>
                    <a:gd name="connsiteX12" fmla="*/ 0 w 53483"/>
                    <a:gd name="connsiteY12" fmla="*/ 0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83" h="60860">
                      <a:moveTo>
                        <a:pt x="0" y="0"/>
                      </a:moveTo>
                      <a:lnTo>
                        <a:pt x="12541" y="0"/>
                      </a:lnTo>
                      <a:lnTo>
                        <a:pt x="12541" y="23607"/>
                      </a:lnTo>
                      <a:lnTo>
                        <a:pt x="40943" y="23607"/>
                      </a:lnTo>
                      <a:lnTo>
                        <a:pt x="40943" y="0"/>
                      </a:lnTo>
                      <a:lnTo>
                        <a:pt x="53484" y="0"/>
                      </a:lnTo>
                      <a:lnTo>
                        <a:pt x="53484" y="60861"/>
                      </a:lnTo>
                      <a:lnTo>
                        <a:pt x="40943" y="60861"/>
                      </a:lnTo>
                      <a:lnTo>
                        <a:pt x="40943" y="34672"/>
                      </a:lnTo>
                      <a:lnTo>
                        <a:pt x="12541" y="34672"/>
                      </a:lnTo>
                      <a:lnTo>
                        <a:pt x="12541" y="60861"/>
                      </a:lnTo>
                      <a:lnTo>
                        <a:pt x="0" y="60861"/>
                      </a:lnTo>
                      <a:lnTo>
                        <a:pt x="0" y="0"/>
                      </a:lnTo>
                      <a:close/>
                    </a:path>
                  </a:pathLst>
                </a:custGeom>
                <a:grpFill/>
                <a:ln w="1841" cap="flat">
                  <a:noFill/>
                  <a:prstDash val="solid"/>
                  <a:miter/>
                </a:ln>
              </p:spPr>
              <p:txBody>
                <a:bodyPr rtlCol="0" anchor="ctr"/>
                <a:lstStyle/>
                <a:p>
                  <a:endParaRPr lang="ru-RU" sz="1587"/>
                </a:p>
              </p:txBody>
            </p:sp>
            <p:sp>
              <p:nvSpPr>
                <p:cNvPr id="36" name="Полилиния: фигура 35">
                  <a:extLst>
                    <a:ext uri="{FF2B5EF4-FFF2-40B4-BE49-F238E27FC236}">
                      <a16:creationId xmlns:a16="http://schemas.microsoft.com/office/drawing/2014/main" id="{502934F0-0784-4624-A5C4-DDBC95B6DE6F}"/>
                    </a:ext>
                  </a:extLst>
                </p:cNvPr>
                <p:cNvSpPr/>
                <p:nvPr/>
              </p:nvSpPr>
              <p:spPr>
                <a:xfrm>
                  <a:off x="13050228" y="7444214"/>
                  <a:ext cx="65102" cy="64180"/>
                </a:xfrm>
                <a:custGeom>
                  <a:avLst/>
                  <a:gdLst>
                    <a:gd name="connsiteX0" fmla="*/ 32643 w 65102"/>
                    <a:gd name="connsiteY0" fmla="*/ 64180 h 64180"/>
                    <a:gd name="connsiteX1" fmla="*/ 0 w 65102"/>
                    <a:gd name="connsiteY1" fmla="*/ 32090 h 64180"/>
                    <a:gd name="connsiteX2" fmla="*/ 32643 w 65102"/>
                    <a:gd name="connsiteY2" fmla="*/ 0 h 64180"/>
                    <a:gd name="connsiteX3" fmla="*/ 65102 w 65102"/>
                    <a:gd name="connsiteY3" fmla="*/ 32090 h 64180"/>
                    <a:gd name="connsiteX4" fmla="*/ 32643 w 65102"/>
                    <a:gd name="connsiteY4" fmla="*/ 64180 h 64180"/>
                    <a:gd name="connsiteX5" fmla="*/ 52193 w 65102"/>
                    <a:gd name="connsiteY5" fmla="*/ 32090 h 64180"/>
                    <a:gd name="connsiteX6" fmla="*/ 32643 w 65102"/>
                    <a:gd name="connsiteY6" fmla="*/ 11619 h 64180"/>
                    <a:gd name="connsiteX7" fmla="*/ 12910 w 65102"/>
                    <a:gd name="connsiteY7" fmla="*/ 32090 h 64180"/>
                    <a:gd name="connsiteX8" fmla="*/ 32643 w 65102"/>
                    <a:gd name="connsiteY8" fmla="*/ 52561 h 64180"/>
                    <a:gd name="connsiteX9" fmla="*/ 52193 w 65102"/>
                    <a:gd name="connsiteY9" fmla="*/ 3209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02" h="64180">
                      <a:moveTo>
                        <a:pt x="32643" y="64180"/>
                      </a:moveTo>
                      <a:cubicBezTo>
                        <a:pt x="16045" y="64180"/>
                        <a:pt x="0" y="53115"/>
                        <a:pt x="0" y="32090"/>
                      </a:cubicBezTo>
                      <a:cubicBezTo>
                        <a:pt x="0" y="11066"/>
                        <a:pt x="15861" y="0"/>
                        <a:pt x="32643" y="0"/>
                      </a:cubicBezTo>
                      <a:cubicBezTo>
                        <a:pt x="49242" y="0"/>
                        <a:pt x="65102" y="11066"/>
                        <a:pt x="65102" y="32090"/>
                      </a:cubicBezTo>
                      <a:cubicBezTo>
                        <a:pt x="65102" y="52930"/>
                        <a:pt x="49057" y="64180"/>
                        <a:pt x="32643" y="64180"/>
                      </a:cubicBezTo>
                      <a:close/>
                      <a:moveTo>
                        <a:pt x="52193" y="32090"/>
                      </a:moveTo>
                      <a:cubicBezTo>
                        <a:pt x="52193" y="19549"/>
                        <a:pt x="43156" y="11619"/>
                        <a:pt x="32643" y="11619"/>
                      </a:cubicBezTo>
                      <a:cubicBezTo>
                        <a:pt x="21947" y="11619"/>
                        <a:pt x="12910" y="19549"/>
                        <a:pt x="12910" y="32090"/>
                      </a:cubicBezTo>
                      <a:cubicBezTo>
                        <a:pt x="12910" y="44631"/>
                        <a:pt x="21947" y="52561"/>
                        <a:pt x="32643" y="52561"/>
                      </a:cubicBezTo>
                      <a:cubicBezTo>
                        <a:pt x="43156" y="52561"/>
                        <a:pt x="52193" y="44631"/>
                        <a:pt x="52193" y="32090"/>
                      </a:cubicBezTo>
                      <a:close/>
                    </a:path>
                  </a:pathLst>
                </a:custGeom>
                <a:grpFill/>
                <a:ln w="1841" cap="flat">
                  <a:noFill/>
                  <a:prstDash val="solid"/>
                  <a:miter/>
                </a:ln>
              </p:spPr>
              <p:txBody>
                <a:bodyPr rtlCol="0" anchor="ctr"/>
                <a:lstStyle/>
                <a:p>
                  <a:endParaRPr lang="ru-RU" sz="1587"/>
                </a:p>
              </p:txBody>
            </p:sp>
            <p:sp>
              <p:nvSpPr>
                <p:cNvPr id="37" name="Полилиния: фигура 36">
                  <a:extLst>
                    <a:ext uri="{FF2B5EF4-FFF2-40B4-BE49-F238E27FC236}">
                      <a16:creationId xmlns:a16="http://schemas.microsoft.com/office/drawing/2014/main" id="{2B7AB697-2852-4B50-BA86-D6B2C9CD51EE}"/>
                    </a:ext>
                  </a:extLst>
                </p:cNvPr>
                <p:cNvSpPr/>
                <p:nvPr/>
              </p:nvSpPr>
              <p:spPr>
                <a:xfrm>
                  <a:off x="13120310" y="7444214"/>
                  <a:ext cx="58647" cy="64180"/>
                </a:xfrm>
                <a:custGeom>
                  <a:avLst/>
                  <a:gdLst>
                    <a:gd name="connsiteX0" fmla="*/ 31537 w 58647"/>
                    <a:gd name="connsiteY0" fmla="*/ 64180 h 64180"/>
                    <a:gd name="connsiteX1" fmla="*/ 0 w 58647"/>
                    <a:gd name="connsiteY1" fmla="*/ 32090 h 64180"/>
                    <a:gd name="connsiteX2" fmla="*/ 31537 w 58647"/>
                    <a:gd name="connsiteY2" fmla="*/ 0 h 64180"/>
                    <a:gd name="connsiteX3" fmla="*/ 58279 w 58647"/>
                    <a:gd name="connsiteY3" fmla="*/ 15307 h 64180"/>
                    <a:gd name="connsiteX4" fmla="*/ 47766 w 58647"/>
                    <a:gd name="connsiteY4" fmla="*/ 21393 h 64180"/>
                    <a:gd name="connsiteX5" fmla="*/ 31537 w 58647"/>
                    <a:gd name="connsiteY5" fmla="*/ 11803 h 64180"/>
                    <a:gd name="connsiteX6" fmla="*/ 12910 w 58647"/>
                    <a:gd name="connsiteY6" fmla="*/ 32090 h 64180"/>
                    <a:gd name="connsiteX7" fmla="*/ 31537 w 58647"/>
                    <a:gd name="connsiteY7" fmla="*/ 52377 h 64180"/>
                    <a:gd name="connsiteX8" fmla="*/ 48504 w 58647"/>
                    <a:gd name="connsiteY8" fmla="*/ 42602 h 64180"/>
                    <a:gd name="connsiteX9" fmla="*/ 58648 w 58647"/>
                    <a:gd name="connsiteY9" fmla="*/ 48320 h 64180"/>
                    <a:gd name="connsiteX10" fmla="*/ 31537 w 58647"/>
                    <a:gd name="connsiteY10" fmla="*/ 64180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647" h="64180">
                      <a:moveTo>
                        <a:pt x="31537" y="64180"/>
                      </a:moveTo>
                      <a:cubicBezTo>
                        <a:pt x="13463" y="64180"/>
                        <a:pt x="0" y="51270"/>
                        <a:pt x="0" y="32090"/>
                      </a:cubicBezTo>
                      <a:cubicBezTo>
                        <a:pt x="0" y="12910"/>
                        <a:pt x="14570" y="0"/>
                        <a:pt x="31537" y="0"/>
                      </a:cubicBezTo>
                      <a:cubicBezTo>
                        <a:pt x="44631" y="0"/>
                        <a:pt x="53852" y="5717"/>
                        <a:pt x="58279" y="15307"/>
                      </a:cubicBezTo>
                      <a:lnTo>
                        <a:pt x="47766" y="21393"/>
                      </a:lnTo>
                      <a:cubicBezTo>
                        <a:pt x="43709" y="14754"/>
                        <a:pt x="38176" y="11803"/>
                        <a:pt x="31537" y="11803"/>
                      </a:cubicBezTo>
                      <a:cubicBezTo>
                        <a:pt x="21209" y="11803"/>
                        <a:pt x="12910" y="19734"/>
                        <a:pt x="12910" y="32090"/>
                      </a:cubicBezTo>
                      <a:cubicBezTo>
                        <a:pt x="12910" y="44631"/>
                        <a:pt x="20840" y="52377"/>
                        <a:pt x="31537" y="52377"/>
                      </a:cubicBezTo>
                      <a:cubicBezTo>
                        <a:pt x="40020" y="52377"/>
                        <a:pt x="44447" y="48320"/>
                        <a:pt x="48504" y="42602"/>
                      </a:cubicBezTo>
                      <a:lnTo>
                        <a:pt x="58648" y="48320"/>
                      </a:lnTo>
                      <a:cubicBezTo>
                        <a:pt x="52746" y="58094"/>
                        <a:pt x="44262" y="64180"/>
                        <a:pt x="31537" y="64180"/>
                      </a:cubicBezTo>
                      <a:close/>
                    </a:path>
                  </a:pathLst>
                </a:custGeom>
                <a:grpFill/>
                <a:ln w="1841" cap="flat">
                  <a:noFill/>
                  <a:prstDash val="solid"/>
                  <a:miter/>
                </a:ln>
              </p:spPr>
              <p:txBody>
                <a:bodyPr rtlCol="0" anchor="ctr"/>
                <a:lstStyle/>
                <a:p>
                  <a:endParaRPr lang="ru-RU" sz="1587"/>
                </a:p>
              </p:txBody>
            </p:sp>
            <p:sp>
              <p:nvSpPr>
                <p:cNvPr id="38" name="Полилиния: фигура 37">
                  <a:extLst>
                    <a:ext uri="{FF2B5EF4-FFF2-40B4-BE49-F238E27FC236}">
                      <a16:creationId xmlns:a16="http://schemas.microsoft.com/office/drawing/2014/main" id="{3F0DBDE7-CDDA-4DED-9055-D0D89641FF4C}"/>
                    </a:ext>
                  </a:extLst>
                </p:cNvPr>
                <p:cNvSpPr/>
                <p:nvPr/>
              </p:nvSpPr>
              <p:spPr>
                <a:xfrm>
                  <a:off x="13179879" y="7445874"/>
                  <a:ext cx="50717" cy="60860"/>
                </a:xfrm>
                <a:custGeom>
                  <a:avLst/>
                  <a:gdLst>
                    <a:gd name="connsiteX0" fmla="*/ 19180 w 50717"/>
                    <a:gd name="connsiteY0" fmla="*/ 11434 h 60860"/>
                    <a:gd name="connsiteX1" fmla="*/ 0 w 50717"/>
                    <a:gd name="connsiteY1" fmla="*/ 11434 h 60860"/>
                    <a:gd name="connsiteX2" fmla="*/ 0 w 50717"/>
                    <a:gd name="connsiteY2" fmla="*/ 0 h 60860"/>
                    <a:gd name="connsiteX3" fmla="*/ 50717 w 50717"/>
                    <a:gd name="connsiteY3" fmla="*/ 0 h 60860"/>
                    <a:gd name="connsiteX4" fmla="*/ 50717 w 50717"/>
                    <a:gd name="connsiteY4" fmla="*/ 11434 h 60860"/>
                    <a:gd name="connsiteX5" fmla="*/ 31906 w 50717"/>
                    <a:gd name="connsiteY5" fmla="*/ 11434 h 60860"/>
                    <a:gd name="connsiteX6" fmla="*/ 31906 w 50717"/>
                    <a:gd name="connsiteY6" fmla="*/ 60861 h 60860"/>
                    <a:gd name="connsiteX7" fmla="*/ 19365 w 50717"/>
                    <a:gd name="connsiteY7" fmla="*/ 60861 h 60860"/>
                    <a:gd name="connsiteX8" fmla="*/ 19365 w 50717"/>
                    <a:gd name="connsiteY8" fmla="*/ 11434 h 6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717" h="60860">
                      <a:moveTo>
                        <a:pt x="19180" y="11434"/>
                      </a:moveTo>
                      <a:lnTo>
                        <a:pt x="0" y="11434"/>
                      </a:lnTo>
                      <a:lnTo>
                        <a:pt x="0" y="0"/>
                      </a:lnTo>
                      <a:lnTo>
                        <a:pt x="50717" y="0"/>
                      </a:lnTo>
                      <a:lnTo>
                        <a:pt x="50717" y="11434"/>
                      </a:lnTo>
                      <a:lnTo>
                        <a:pt x="31906" y="11434"/>
                      </a:lnTo>
                      <a:lnTo>
                        <a:pt x="31906" y="60861"/>
                      </a:lnTo>
                      <a:lnTo>
                        <a:pt x="19365" y="60861"/>
                      </a:lnTo>
                      <a:lnTo>
                        <a:pt x="19365" y="11434"/>
                      </a:lnTo>
                      <a:close/>
                    </a:path>
                  </a:pathLst>
                </a:custGeom>
                <a:grpFill/>
                <a:ln w="1841" cap="flat">
                  <a:noFill/>
                  <a:prstDash val="solid"/>
                  <a:miter/>
                </a:ln>
              </p:spPr>
              <p:txBody>
                <a:bodyPr rtlCol="0" anchor="ctr"/>
                <a:lstStyle/>
                <a:p>
                  <a:endParaRPr lang="ru-RU" sz="1587"/>
                </a:p>
              </p:txBody>
            </p:sp>
            <p:sp>
              <p:nvSpPr>
                <p:cNvPr id="39" name="Полилиния: фигура 38">
                  <a:extLst>
                    <a:ext uri="{FF2B5EF4-FFF2-40B4-BE49-F238E27FC236}">
                      <a16:creationId xmlns:a16="http://schemas.microsoft.com/office/drawing/2014/main" id="{A55A6521-C97A-42B3-81CE-1023680ADFBB}"/>
                    </a:ext>
                  </a:extLst>
                </p:cNvPr>
                <p:cNvSpPr/>
                <p:nvPr/>
              </p:nvSpPr>
              <p:spPr>
                <a:xfrm>
                  <a:off x="13231150" y="7444214"/>
                  <a:ext cx="60676" cy="64180"/>
                </a:xfrm>
                <a:custGeom>
                  <a:avLst/>
                  <a:gdLst>
                    <a:gd name="connsiteX0" fmla="*/ 30984 w 60676"/>
                    <a:gd name="connsiteY0" fmla="*/ 53299 h 64180"/>
                    <a:gd name="connsiteX1" fmla="*/ 48320 w 60676"/>
                    <a:gd name="connsiteY1" fmla="*/ 43709 h 64180"/>
                    <a:gd name="connsiteX2" fmla="*/ 58279 w 60676"/>
                    <a:gd name="connsiteY2" fmla="*/ 49057 h 64180"/>
                    <a:gd name="connsiteX3" fmla="*/ 30799 w 60676"/>
                    <a:gd name="connsiteY3" fmla="*/ 64180 h 64180"/>
                    <a:gd name="connsiteX4" fmla="*/ 0 w 60676"/>
                    <a:gd name="connsiteY4" fmla="*/ 32090 h 64180"/>
                    <a:gd name="connsiteX5" fmla="*/ 31352 w 60676"/>
                    <a:gd name="connsiteY5" fmla="*/ 0 h 64180"/>
                    <a:gd name="connsiteX6" fmla="*/ 60676 w 60676"/>
                    <a:gd name="connsiteY6" fmla="*/ 30430 h 64180"/>
                    <a:gd name="connsiteX7" fmla="*/ 60676 w 60676"/>
                    <a:gd name="connsiteY7" fmla="*/ 34857 h 64180"/>
                    <a:gd name="connsiteX8" fmla="*/ 12172 w 60676"/>
                    <a:gd name="connsiteY8" fmla="*/ 34857 h 64180"/>
                    <a:gd name="connsiteX9" fmla="*/ 30984 w 60676"/>
                    <a:gd name="connsiteY9" fmla="*/ 53299 h 64180"/>
                    <a:gd name="connsiteX10" fmla="*/ 12541 w 60676"/>
                    <a:gd name="connsiteY10" fmla="*/ 24898 h 64180"/>
                    <a:gd name="connsiteX11" fmla="*/ 48689 w 60676"/>
                    <a:gd name="connsiteY11" fmla="*/ 24898 h 64180"/>
                    <a:gd name="connsiteX12" fmla="*/ 30984 w 60676"/>
                    <a:gd name="connsiteY12" fmla="*/ 9959 h 64180"/>
                    <a:gd name="connsiteX13" fmla="*/ 12541 w 60676"/>
                    <a:gd name="connsiteY13" fmla="*/ 24898 h 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676" h="64180">
                      <a:moveTo>
                        <a:pt x="30984" y="53299"/>
                      </a:moveTo>
                      <a:cubicBezTo>
                        <a:pt x="40389" y="53299"/>
                        <a:pt x="44262" y="49057"/>
                        <a:pt x="48320" y="43709"/>
                      </a:cubicBezTo>
                      <a:lnTo>
                        <a:pt x="58279" y="49057"/>
                      </a:lnTo>
                      <a:cubicBezTo>
                        <a:pt x="52562" y="58648"/>
                        <a:pt x="44262" y="64180"/>
                        <a:pt x="30799" y="64180"/>
                      </a:cubicBezTo>
                      <a:cubicBezTo>
                        <a:pt x="14016" y="64180"/>
                        <a:pt x="0" y="51270"/>
                        <a:pt x="0" y="32090"/>
                      </a:cubicBezTo>
                      <a:cubicBezTo>
                        <a:pt x="0" y="13094"/>
                        <a:pt x="14016" y="0"/>
                        <a:pt x="31352" y="0"/>
                      </a:cubicBezTo>
                      <a:cubicBezTo>
                        <a:pt x="49057" y="0"/>
                        <a:pt x="60676" y="12541"/>
                        <a:pt x="60676" y="30430"/>
                      </a:cubicBezTo>
                      <a:lnTo>
                        <a:pt x="60676" y="34857"/>
                      </a:lnTo>
                      <a:lnTo>
                        <a:pt x="12172" y="34857"/>
                      </a:lnTo>
                      <a:cubicBezTo>
                        <a:pt x="13094" y="45553"/>
                        <a:pt x="20471" y="53299"/>
                        <a:pt x="30984" y="53299"/>
                      </a:cubicBezTo>
                      <a:close/>
                      <a:moveTo>
                        <a:pt x="12541" y="24898"/>
                      </a:moveTo>
                      <a:lnTo>
                        <a:pt x="48689" y="24898"/>
                      </a:lnTo>
                      <a:cubicBezTo>
                        <a:pt x="47766" y="15307"/>
                        <a:pt x="40389" y="9959"/>
                        <a:pt x="30984" y="9959"/>
                      </a:cubicBezTo>
                      <a:cubicBezTo>
                        <a:pt x="21762" y="9775"/>
                        <a:pt x="14570" y="16414"/>
                        <a:pt x="12541" y="24898"/>
                      </a:cubicBezTo>
                      <a:close/>
                    </a:path>
                  </a:pathLst>
                </a:custGeom>
                <a:grpFill/>
                <a:ln w="1841" cap="flat">
                  <a:noFill/>
                  <a:prstDash val="solid"/>
                  <a:miter/>
                </a:ln>
              </p:spPr>
              <p:txBody>
                <a:bodyPr rtlCol="0" anchor="ctr"/>
                <a:lstStyle/>
                <a:p>
                  <a:endParaRPr lang="ru-RU" sz="1587"/>
                </a:p>
              </p:txBody>
            </p:sp>
            <p:sp>
              <p:nvSpPr>
                <p:cNvPr id="40" name="Полилиния: фигура 39">
                  <a:extLst>
                    <a:ext uri="{FF2B5EF4-FFF2-40B4-BE49-F238E27FC236}">
                      <a16:creationId xmlns:a16="http://schemas.microsoft.com/office/drawing/2014/main" id="{FE2BF73B-7247-4776-BDBE-8D23D6D459D1}"/>
                    </a:ext>
                  </a:extLst>
                </p:cNvPr>
                <p:cNvSpPr/>
                <p:nvPr/>
              </p:nvSpPr>
              <p:spPr>
                <a:xfrm>
                  <a:off x="13300494" y="7424111"/>
                  <a:ext cx="54405" cy="82622"/>
                </a:xfrm>
                <a:custGeom>
                  <a:avLst/>
                  <a:gdLst>
                    <a:gd name="connsiteX0" fmla="*/ 0 w 54405"/>
                    <a:gd name="connsiteY0" fmla="*/ 21762 h 82622"/>
                    <a:gd name="connsiteX1" fmla="*/ 12172 w 54405"/>
                    <a:gd name="connsiteY1" fmla="*/ 21762 h 82622"/>
                    <a:gd name="connsiteX2" fmla="*/ 12172 w 54405"/>
                    <a:gd name="connsiteY2" fmla="*/ 65656 h 82622"/>
                    <a:gd name="connsiteX3" fmla="*/ 41127 w 54405"/>
                    <a:gd name="connsiteY3" fmla="*/ 21762 h 82622"/>
                    <a:gd name="connsiteX4" fmla="*/ 54406 w 54405"/>
                    <a:gd name="connsiteY4" fmla="*/ 21762 h 82622"/>
                    <a:gd name="connsiteX5" fmla="*/ 54406 w 54405"/>
                    <a:gd name="connsiteY5" fmla="*/ 82623 h 82622"/>
                    <a:gd name="connsiteX6" fmla="*/ 42234 w 54405"/>
                    <a:gd name="connsiteY6" fmla="*/ 82623 h 82622"/>
                    <a:gd name="connsiteX7" fmla="*/ 42234 w 54405"/>
                    <a:gd name="connsiteY7" fmla="*/ 38730 h 82622"/>
                    <a:gd name="connsiteX8" fmla="*/ 13279 w 54405"/>
                    <a:gd name="connsiteY8" fmla="*/ 82623 h 82622"/>
                    <a:gd name="connsiteX9" fmla="*/ 0 w 54405"/>
                    <a:gd name="connsiteY9" fmla="*/ 82623 h 82622"/>
                    <a:gd name="connsiteX10" fmla="*/ 0 w 54405"/>
                    <a:gd name="connsiteY10" fmla="*/ 21762 h 82622"/>
                    <a:gd name="connsiteX11" fmla="*/ 13832 w 54405"/>
                    <a:gd name="connsiteY11" fmla="*/ 0 h 82622"/>
                    <a:gd name="connsiteX12" fmla="*/ 22500 w 54405"/>
                    <a:gd name="connsiteY12" fmla="*/ 0 h 82622"/>
                    <a:gd name="connsiteX13" fmla="*/ 27111 w 54405"/>
                    <a:gd name="connsiteY13" fmla="*/ 5348 h 82622"/>
                    <a:gd name="connsiteX14" fmla="*/ 31906 w 54405"/>
                    <a:gd name="connsiteY14" fmla="*/ 0 h 82622"/>
                    <a:gd name="connsiteX15" fmla="*/ 40574 w 54405"/>
                    <a:gd name="connsiteY15" fmla="*/ 0 h 82622"/>
                    <a:gd name="connsiteX16" fmla="*/ 27295 w 54405"/>
                    <a:gd name="connsiteY16" fmla="*/ 13279 h 82622"/>
                    <a:gd name="connsiteX17" fmla="*/ 13832 w 54405"/>
                    <a:gd name="connsiteY17" fmla="*/ 0 h 8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405" h="82622">
                      <a:moveTo>
                        <a:pt x="0" y="21762"/>
                      </a:moveTo>
                      <a:lnTo>
                        <a:pt x="12172" y="21762"/>
                      </a:lnTo>
                      <a:lnTo>
                        <a:pt x="12172" y="65656"/>
                      </a:lnTo>
                      <a:lnTo>
                        <a:pt x="41127" y="21762"/>
                      </a:lnTo>
                      <a:lnTo>
                        <a:pt x="54406" y="21762"/>
                      </a:lnTo>
                      <a:lnTo>
                        <a:pt x="54406" y="82623"/>
                      </a:lnTo>
                      <a:lnTo>
                        <a:pt x="42234" y="82623"/>
                      </a:lnTo>
                      <a:lnTo>
                        <a:pt x="42234" y="38730"/>
                      </a:lnTo>
                      <a:lnTo>
                        <a:pt x="13279" y="82623"/>
                      </a:lnTo>
                      <a:lnTo>
                        <a:pt x="0" y="82623"/>
                      </a:lnTo>
                      <a:lnTo>
                        <a:pt x="0" y="21762"/>
                      </a:lnTo>
                      <a:close/>
                      <a:moveTo>
                        <a:pt x="13832" y="0"/>
                      </a:moveTo>
                      <a:lnTo>
                        <a:pt x="22500" y="0"/>
                      </a:lnTo>
                      <a:cubicBezTo>
                        <a:pt x="22500" y="3135"/>
                        <a:pt x="24160" y="5348"/>
                        <a:pt x="27111" y="5348"/>
                      </a:cubicBezTo>
                      <a:cubicBezTo>
                        <a:pt x="30246" y="5348"/>
                        <a:pt x="31906" y="3135"/>
                        <a:pt x="31906" y="0"/>
                      </a:cubicBezTo>
                      <a:lnTo>
                        <a:pt x="40574" y="0"/>
                      </a:lnTo>
                      <a:cubicBezTo>
                        <a:pt x="40574" y="7746"/>
                        <a:pt x="35225" y="13279"/>
                        <a:pt x="27295" y="13279"/>
                      </a:cubicBezTo>
                      <a:cubicBezTo>
                        <a:pt x="19180" y="13094"/>
                        <a:pt x="13832" y="7746"/>
                        <a:pt x="13832" y="0"/>
                      </a:cubicBezTo>
                      <a:close/>
                    </a:path>
                  </a:pathLst>
                </a:custGeom>
                <a:grpFill/>
                <a:ln w="1841" cap="flat">
                  <a:noFill/>
                  <a:prstDash val="solid"/>
                  <a:miter/>
                </a:ln>
              </p:spPr>
              <p:txBody>
                <a:bodyPr rtlCol="0" anchor="ctr"/>
                <a:lstStyle/>
                <a:p>
                  <a:endParaRPr lang="ru-RU" sz="1587"/>
                </a:p>
              </p:txBody>
            </p:sp>
          </p:grpSp>
        </p:grpSp>
        <p:grpSp>
          <p:nvGrpSpPr>
            <p:cNvPr id="41" name="Рисунок 3">
              <a:extLst>
                <a:ext uri="{FF2B5EF4-FFF2-40B4-BE49-F238E27FC236}">
                  <a16:creationId xmlns:a16="http://schemas.microsoft.com/office/drawing/2014/main" id="{9698A90A-8580-4721-8F67-6BDCD3D35040}"/>
                </a:ext>
              </a:extLst>
            </p:cNvPr>
            <p:cNvGrpSpPr/>
            <p:nvPr/>
          </p:nvGrpSpPr>
          <p:grpSpPr>
            <a:xfrm>
              <a:off x="11590689" y="7057657"/>
              <a:ext cx="270357" cy="448893"/>
              <a:chOff x="11590689" y="7057657"/>
              <a:chExt cx="270357" cy="448893"/>
            </a:xfrm>
          </p:grpSpPr>
          <p:sp>
            <p:nvSpPr>
              <p:cNvPr id="42" name="Полилиния: фигура 41">
                <a:extLst>
                  <a:ext uri="{FF2B5EF4-FFF2-40B4-BE49-F238E27FC236}">
                    <a16:creationId xmlns:a16="http://schemas.microsoft.com/office/drawing/2014/main" id="{6FF3FA61-53BB-4781-8998-56475D981F47}"/>
                  </a:ext>
                </a:extLst>
              </p:cNvPr>
              <p:cNvSpPr/>
              <p:nvPr/>
            </p:nvSpPr>
            <p:spPr>
              <a:xfrm>
                <a:off x="11599894" y="7391284"/>
                <a:ext cx="200107" cy="115266"/>
              </a:xfrm>
              <a:custGeom>
                <a:avLst/>
                <a:gdLst>
                  <a:gd name="connsiteX0" fmla="*/ 12914 w 200107"/>
                  <a:gd name="connsiteY0" fmla="*/ 113238 h 115266"/>
                  <a:gd name="connsiteX1" fmla="*/ 12914 w 200107"/>
                  <a:gd name="connsiteY1" fmla="*/ 113238 h 115266"/>
                  <a:gd name="connsiteX2" fmla="*/ 12914 w 200107"/>
                  <a:gd name="connsiteY2" fmla="*/ 113238 h 115266"/>
                  <a:gd name="connsiteX3" fmla="*/ 12914 w 200107"/>
                  <a:gd name="connsiteY3" fmla="*/ 113238 h 115266"/>
                  <a:gd name="connsiteX4" fmla="*/ 13652 w 200107"/>
                  <a:gd name="connsiteY4" fmla="*/ 113607 h 115266"/>
                  <a:gd name="connsiteX5" fmla="*/ 14574 w 200107"/>
                  <a:gd name="connsiteY5" fmla="*/ 113791 h 115266"/>
                  <a:gd name="connsiteX6" fmla="*/ 24533 w 200107"/>
                  <a:gd name="connsiteY6" fmla="*/ 115266 h 115266"/>
                  <a:gd name="connsiteX7" fmla="*/ 42054 w 200107"/>
                  <a:gd name="connsiteY7" fmla="*/ 115266 h 115266"/>
                  <a:gd name="connsiteX8" fmla="*/ 110292 w 200107"/>
                  <a:gd name="connsiteY8" fmla="*/ 115266 h 115266"/>
                  <a:gd name="connsiteX9" fmla="*/ 200107 w 200107"/>
                  <a:gd name="connsiteY9" fmla="*/ 115266 h 115266"/>
                  <a:gd name="connsiteX10" fmla="*/ 85025 w 200107"/>
                  <a:gd name="connsiteY10" fmla="*/ 0 h 115266"/>
                  <a:gd name="connsiteX11" fmla="*/ 85025 w 200107"/>
                  <a:gd name="connsiteY11" fmla="*/ 0 h 115266"/>
                  <a:gd name="connsiteX12" fmla="*/ 85025 w 200107"/>
                  <a:gd name="connsiteY12" fmla="*/ 0 h 115266"/>
                  <a:gd name="connsiteX13" fmla="*/ 39287 w 200107"/>
                  <a:gd name="connsiteY13" fmla="*/ 45369 h 115266"/>
                  <a:gd name="connsiteX14" fmla="*/ 17894 w 200107"/>
                  <a:gd name="connsiteY14" fmla="*/ 66762 h 115266"/>
                  <a:gd name="connsiteX15" fmla="*/ 5722 w 200107"/>
                  <a:gd name="connsiteY15" fmla="*/ 78934 h 115266"/>
                  <a:gd name="connsiteX16" fmla="*/ 5722 w 200107"/>
                  <a:gd name="connsiteY16" fmla="*/ 78934 h 115266"/>
                  <a:gd name="connsiteX17" fmla="*/ 5722 w 200107"/>
                  <a:gd name="connsiteY17" fmla="*/ 78934 h 115266"/>
                  <a:gd name="connsiteX18" fmla="*/ 5 w 200107"/>
                  <a:gd name="connsiteY18" fmla="*/ 93873 h 115266"/>
                  <a:gd name="connsiteX19" fmla="*/ 12914 w 200107"/>
                  <a:gd name="connsiteY19" fmla="*/ 113238 h 11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0107" h="115266">
                    <a:moveTo>
                      <a:pt x="12914" y="113238"/>
                    </a:moveTo>
                    <a:lnTo>
                      <a:pt x="12914" y="113238"/>
                    </a:lnTo>
                    <a:lnTo>
                      <a:pt x="12914" y="113238"/>
                    </a:lnTo>
                    <a:cubicBezTo>
                      <a:pt x="12914" y="113238"/>
                      <a:pt x="12914" y="113238"/>
                      <a:pt x="12914" y="113238"/>
                    </a:cubicBezTo>
                    <a:cubicBezTo>
                      <a:pt x="13283" y="113422"/>
                      <a:pt x="13468" y="113422"/>
                      <a:pt x="13652" y="113607"/>
                    </a:cubicBezTo>
                    <a:cubicBezTo>
                      <a:pt x="13837" y="113607"/>
                      <a:pt x="14205" y="113791"/>
                      <a:pt x="14574" y="113791"/>
                    </a:cubicBezTo>
                    <a:cubicBezTo>
                      <a:pt x="17710" y="114713"/>
                      <a:pt x="21029" y="115266"/>
                      <a:pt x="24533" y="115266"/>
                    </a:cubicBezTo>
                    <a:cubicBezTo>
                      <a:pt x="24533" y="115266"/>
                      <a:pt x="31173" y="115266"/>
                      <a:pt x="42054" y="115266"/>
                    </a:cubicBezTo>
                    <a:cubicBezTo>
                      <a:pt x="58468" y="115266"/>
                      <a:pt x="84287" y="115266"/>
                      <a:pt x="110292" y="115266"/>
                    </a:cubicBezTo>
                    <a:cubicBezTo>
                      <a:pt x="154738" y="115266"/>
                      <a:pt x="200107" y="115266"/>
                      <a:pt x="200107" y="115266"/>
                    </a:cubicBezTo>
                    <a:lnTo>
                      <a:pt x="85025" y="0"/>
                    </a:lnTo>
                    <a:lnTo>
                      <a:pt x="85025" y="0"/>
                    </a:lnTo>
                    <a:cubicBezTo>
                      <a:pt x="85025" y="0"/>
                      <a:pt x="85025" y="0"/>
                      <a:pt x="85025" y="0"/>
                    </a:cubicBezTo>
                    <a:cubicBezTo>
                      <a:pt x="63816" y="21209"/>
                      <a:pt x="49615" y="35041"/>
                      <a:pt x="39287" y="45369"/>
                    </a:cubicBezTo>
                    <a:cubicBezTo>
                      <a:pt x="30066" y="54590"/>
                      <a:pt x="23796" y="60861"/>
                      <a:pt x="17894" y="66762"/>
                    </a:cubicBezTo>
                    <a:cubicBezTo>
                      <a:pt x="10517" y="74139"/>
                      <a:pt x="5722" y="78934"/>
                      <a:pt x="5722" y="78934"/>
                    </a:cubicBezTo>
                    <a:lnTo>
                      <a:pt x="5722" y="78934"/>
                    </a:lnTo>
                    <a:cubicBezTo>
                      <a:pt x="5722" y="78934"/>
                      <a:pt x="5722" y="78934"/>
                      <a:pt x="5722" y="78934"/>
                    </a:cubicBezTo>
                    <a:cubicBezTo>
                      <a:pt x="2218" y="82807"/>
                      <a:pt x="5" y="88156"/>
                      <a:pt x="5" y="93873"/>
                    </a:cubicBezTo>
                    <a:cubicBezTo>
                      <a:pt x="-180" y="102910"/>
                      <a:pt x="5169" y="110102"/>
                      <a:pt x="12914" y="113238"/>
                    </a:cubicBezTo>
                    <a:close/>
                  </a:path>
                </a:pathLst>
              </a:custGeom>
              <a:solidFill>
                <a:schemeClr val="bg1"/>
              </a:solidFill>
              <a:ln w="1841" cap="flat">
                <a:noFill/>
                <a:prstDash val="solid"/>
                <a:miter/>
              </a:ln>
            </p:spPr>
            <p:txBody>
              <a:bodyPr rtlCol="0" anchor="ctr"/>
              <a:lstStyle/>
              <a:p>
                <a:endParaRPr lang="ru-RU" sz="1587"/>
              </a:p>
            </p:txBody>
          </p:sp>
          <p:sp>
            <p:nvSpPr>
              <p:cNvPr id="43" name="Полилиния: фигура 42">
                <a:extLst>
                  <a:ext uri="{FF2B5EF4-FFF2-40B4-BE49-F238E27FC236}">
                    <a16:creationId xmlns:a16="http://schemas.microsoft.com/office/drawing/2014/main" id="{A15E3FE0-83B0-444D-A10B-EA610AD02830}"/>
                  </a:ext>
                </a:extLst>
              </p:cNvPr>
              <p:cNvSpPr/>
              <p:nvPr/>
            </p:nvSpPr>
            <p:spPr>
              <a:xfrm>
                <a:off x="11590689" y="7057657"/>
                <a:ext cx="270357" cy="446864"/>
              </a:xfrm>
              <a:custGeom>
                <a:avLst/>
                <a:gdLst>
                  <a:gd name="connsiteX0" fmla="*/ 9025 w 270357"/>
                  <a:gd name="connsiteY0" fmla="*/ 427684 h 446864"/>
                  <a:gd name="connsiteX1" fmla="*/ 14742 w 270357"/>
                  <a:gd name="connsiteY1" fmla="*/ 412746 h 446864"/>
                  <a:gd name="connsiteX2" fmla="*/ 14742 w 270357"/>
                  <a:gd name="connsiteY2" fmla="*/ 412746 h 446864"/>
                  <a:gd name="connsiteX3" fmla="*/ 14742 w 270357"/>
                  <a:gd name="connsiteY3" fmla="*/ 412746 h 446864"/>
                  <a:gd name="connsiteX4" fmla="*/ 26914 w 270357"/>
                  <a:gd name="connsiteY4" fmla="*/ 400574 h 446864"/>
                  <a:gd name="connsiteX5" fmla="*/ 48308 w 270357"/>
                  <a:gd name="connsiteY5" fmla="*/ 379180 h 446864"/>
                  <a:gd name="connsiteX6" fmla="*/ 94045 w 270357"/>
                  <a:gd name="connsiteY6" fmla="*/ 333811 h 446864"/>
                  <a:gd name="connsiteX7" fmla="*/ 94045 w 270357"/>
                  <a:gd name="connsiteY7" fmla="*/ 333811 h 446864"/>
                  <a:gd name="connsiteX8" fmla="*/ 94045 w 270357"/>
                  <a:gd name="connsiteY8" fmla="*/ 333811 h 446864"/>
                  <a:gd name="connsiteX9" fmla="*/ 114701 w 270357"/>
                  <a:gd name="connsiteY9" fmla="*/ 313156 h 446864"/>
                  <a:gd name="connsiteX10" fmla="*/ 115070 w 270357"/>
                  <a:gd name="connsiteY10" fmla="*/ 312787 h 446864"/>
                  <a:gd name="connsiteX11" fmla="*/ 270357 w 270357"/>
                  <a:gd name="connsiteY11" fmla="*/ 158053 h 446864"/>
                  <a:gd name="connsiteX12" fmla="*/ 112673 w 270357"/>
                  <a:gd name="connsiteY12" fmla="*/ 0 h 446864"/>
                  <a:gd name="connsiteX13" fmla="*/ 23226 w 270357"/>
                  <a:gd name="connsiteY13" fmla="*/ 89447 h 446864"/>
                  <a:gd name="connsiteX14" fmla="*/ 172 w 270357"/>
                  <a:gd name="connsiteY14" fmla="*/ 169672 h 446864"/>
                  <a:gd name="connsiteX15" fmla="*/ 172 w 270357"/>
                  <a:gd name="connsiteY15" fmla="*/ 415328 h 446864"/>
                  <a:gd name="connsiteX16" fmla="*/ 22119 w 270357"/>
                  <a:gd name="connsiteY16" fmla="*/ 446865 h 446864"/>
                  <a:gd name="connsiteX17" fmla="*/ 22119 w 270357"/>
                  <a:gd name="connsiteY17" fmla="*/ 446865 h 446864"/>
                  <a:gd name="connsiteX18" fmla="*/ 9025 w 270357"/>
                  <a:gd name="connsiteY18" fmla="*/ 427684 h 44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0357" h="446864">
                    <a:moveTo>
                      <a:pt x="9025" y="427684"/>
                    </a:moveTo>
                    <a:cubicBezTo>
                      <a:pt x="9025" y="422152"/>
                      <a:pt x="11238" y="416619"/>
                      <a:pt x="14742" y="412746"/>
                    </a:cubicBezTo>
                    <a:cubicBezTo>
                      <a:pt x="14742" y="412746"/>
                      <a:pt x="14742" y="412746"/>
                      <a:pt x="14742" y="412746"/>
                    </a:cubicBezTo>
                    <a:lnTo>
                      <a:pt x="14742" y="412746"/>
                    </a:lnTo>
                    <a:cubicBezTo>
                      <a:pt x="14742" y="412746"/>
                      <a:pt x="19722" y="407766"/>
                      <a:pt x="26914" y="400574"/>
                    </a:cubicBezTo>
                    <a:cubicBezTo>
                      <a:pt x="32816" y="394672"/>
                      <a:pt x="39086" y="388402"/>
                      <a:pt x="48308" y="379180"/>
                    </a:cubicBezTo>
                    <a:cubicBezTo>
                      <a:pt x="58820" y="368852"/>
                      <a:pt x="72836" y="354836"/>
                      <a:pt x="94045" y="333811"/>
                    </a:cubicBezTo>
                    <a:cubicBezTo>
                      <a:pt x="94045" y="333811"/>
                      <a:pt x="94045" y="333811"/>
                      <a:pt x="94045" y="333811"/>
                    </a:cubicBezTo>
                    <a:lnTo>
                      <a:pt x="94045" y="333811"/>
                    </a:lnTo>
                    <a:cubicBezTo>
                      <a:pt x="100316" y="327541"/>
                      <a:pt x="107140" y="320717"/>
                      <a:pt x="114701" y="313156"/>
                    </a:cubicBezTo>
                    <a:cubicBezTo>
                      <a:pt x="114886" y="312971"/>
                      <a:pt x="115070" y="312971"/>
                      <a:pt x="115070" y="312787"/>
                    </a:cubicBezTo>
                    <a:cubicBezTo>
                      <a:pt x="149558" y="278484"/>
                      <a:pt x="198615" y="229795"/>
                      <a:pt x="270357" y="158053"/>
                    </a:cubicBezTo>
                    <a:lnTo>
                      <a:pt x="112673" y="0"/>
                    </a:lnTo>
                    <a:lnTo>
                      <a:pt x="23226" y="89447"/>
                    </a:lnTo>
                    <a:cubicBezTo>
                      <a:pt x="-3516" y="116189"/>
                      <a:pt x="172" y="133709"/>
                      <a:pt x="172" y="169672"/>
                    </a:cubicBezTo>
                    <a:cubicBezTo>
                      <a:pt x="172" y="205635"/>
                      <a:pt x="172" y="415328"/>
                      <a:pt x="172" y="415328"/>
                    </a:cubicBezTo>
                    <a:cubicBezTo>
                      <a:pt x="172" y="429898"/>
                      <a:pt x="9394" y="442254"/>
                      <a:pt x="22119" y="446865"/>
                    </a:cubicBezTo>
                    <a:lnTo>
                      <a:pt x="22119" y="446865"/>
                    </a:lnTo>
                    <a:cubicBezTo>
                      <a:pt x="14373" y="443730"/>
                      <a:pt x="9025" y="436537"/>
                      <a:pt x="9025" y="427684"/>
                    </a:cubicBezTo>
                    <a:close/>
                  </a:path>
                </a:pathLst>
              </a:custGeom>
              <a:solidFill>
                <a:srgbClr val="7700FF"/>
              </a:solidFill>
              <a:ln w="1841"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41931452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solidFill>
        </p:spPr>
        <p:txBody>
          <a:bodyPr anchor="ctr"/>
          <a:lstStyle>
            <a:lvl1pPr algn="ctr">
              <a:defRPr/>
            </a:lvl1pPr>
          </a:lstStyle>
          <a:p>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237925958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4_Титул">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7B18C5BD-0E0F-4FDB-96F4-4050167F7DC1}"/>
              </a:ext>
            </a:extLst>
          </p:cNvPr>
          <p:cNvSpPr>
            <a:spLocks noGrp="1"/>
          </p:cNvSpPr>
          <p:nvPr>
            <p:ph type="pic" sz="quarter" idx="10"/>
          </p:nvPr>
        </p:nvSpPr>
        <p:spPr>
          <a:xfrm>
            <a:off x="6205157" y="0"/>
            <a:ext cx="5986843" cy="6858000"/>
          </a:xfrm>
          <a:prstGeom prst="rect">
            <a:avLst/>
          </a:prstGeom>
          <a:solidFill>
            <a:schemeClr val="bg2">
              <a:lumMod val="25000"/>
            </a:schemeClr>
          </a:solidFill>
        </p:spPr>
        <p:txBody>
          <a:bodyPr anchor="ctr"/>
          <a:lstStyle>
            <a:lvl1pPr algn="ctr">
              <a:defRPr lang="ru-RU" dirty="0">
                <a:solidFill>
                  <a:schemeClr val="bg1"/>
                </a:solidFill>
              </a:defRPr>
            </a:lvl1pPr>
          </a:lstStyle>
          <a:p>
            <a:pPr lvl="0" algn="ctr"/>
            <a:endParaRPr lang="ru-RU" dirty="0"/>
          </a:p>
        </p:txBody>
      </p:sp>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4" y="1166813"/>
            <a:ext cx="4253066" cy="556366"/>
          </a:xfrm>
          <a:prstGeom prst="rect">
            <a:avLst/>
          </a:prstGeom>
          <a:noFill/>
        </p:spPr>
        <p:txBody>
          <a:bodyPr wrap="none" lIns="0" tIns="72000" rIns="72000" bIns="0">
            <a:spAutoFit/>
          </a:bodyPr>
          <a:lstStyle>
            <a:lvl1pPr>
              <a:lnSpc>
                <a:spcPts val="3702"/>
              </a:lnSpc>
              <a:defRPr sz="3526">
                <a:solidFill>
                  <a:schemeClr val="tx1"/>
                </a:solidFill>
              </a:defRPr>
            </a:lvl1pPr>
          </a:lstStyle>
          <a:p>
            <a:r>
              <a:rPr lang="ru-RU" dirty="0"/>
              <a:t>Заголовок раздела</a:t>
            </a:r>
          </a:p>
        </p:txBody>
      </p:sp>
    </p:spTree>
    <p:extLst>
      <p:ext uri="{BB962C8B-B14F-4D97-AF65-F5344CB8AC3E}">
        <p14:creationId xmlns:p14="http://schemas.microsoft.com/office/powerpoint/2010/main" val="415343913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контакты с картой">
    <p:spTree>
      <p:nvGrpSpPr>
        <p:cNvPr id="1" name=""/>
        <p:cNvGrpSpPr/>
        <p:nvPr/>
      </p:nvGrpSpPr>
      <p:grpSpPr>
        <a:xfrm>
          <a:off x="0" y="0"/>
          <a:ext cx="0" cy="0"/>
          <a:chOff x="0" y="0"/>
          <a:chExt cx="0" cy="0"/>
        </a:xfrm>
      </p:grpSpPr>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1385788" y="2809969"/>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Центральный офис </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1385788" y="3215136"/>
            <a:ext cx="4591260" cy="456641"/>
          </a:xfrm>
          <a:prstGeom prst="rect">
            <a:avLst/>
          </a:prstGeom>
        </p:spPr>
        <p:txBody>
          <a:bodyPr lIns="0" tIns="0" rIns="0" bIns="0"/>
          <a:lstStyle>
            <a:lvl1pPr>
              <a:lnSpc>
                <a:spcPct val="100000"/>
              </a:lnSpc>
              <a:spcBef>
                <a:spcPts val="0"/>
              </a:spcBef>
              <a:defRPr sz="2468" b="0" strike="noStrike">
                <a:solidFill>
                  <a:schemeClr val="tx1"/>
                </a:solidFill>
                <a:latin typeface="+mj-lt"/>
                <a:ea typeface="Rostelecom Basis" panose="020B0503040504020204" pitchFamily="34" charset="-52"/>
              </a:defRPr>
            </a:lvl1pPr>
          </a:lstStyle>
          <a:p>
            <a:pPr lvl="0"/>
            <a:r>
              <a:rPr lang="ru-RU" dirty="0"/>
              <a:t>Москва, ул. Гончарная, 30с1</a:t>
            </a:r>
          </a:p>
        </p:txBody>
      </p:sp>
      <p:pic>
        <p:nvPicPr>
          <p:cNvPr id="2" name="Рисунок 1">
            <a:extLst>
              <a:ext uri="{FF2B5EF4-FFF2-40B4-BE49-F238E27FC236}">
                <a16:creationId xmlns:a16="http://schemas.microsoft.com/office/drawing/2014/main" id="{E3E2A300-4F5C-4EAD-85A6-F5191BA3FE3C}"/>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417514" y="418821"/>
            <a:ext cx="3316778" cy="849518"/>
          </a:xfrm>
          <a:prstGeom prst="rect">
            <a:avLst/>
          </a:prstGeom>
        </p:spPr>
      </p:pic>
      <p:sp>
        <p:nvSpPr>
          <p:cNvPr id="12" name="Текст 14">
            <a:extLst>
              <a:ext uri="{FF2B5EF4-FFF2-40B4-BE49-F238E27FC236}">
                <a16:creationId xmlns:a16="http://schemas.microsoft.com/office/drawing/2014/main" id="{343F05C0-34A6-46C3-BA12-9FFF1BB86C43}"/>
              </a:ext>
            </a:extLst>
          </p:cNvPr>
          <p:cNvSpPr>
            <a:spLocks noGrp="1"/>
          </p:cNvSpPr>
          <p:nvPr>
            <p:ph type="body" sz="quarter" idx="69" hasCustomPrompt="1"/>
          </p:nvPr>
        </p:nvSpPr>
        <p:spPr>
          <a:xfrm>
            <a:off x="1385788" y="403232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ru-RU" dirty="0"/>
              <a:t>+7 (499) 999-82-83 </a:t>
            </a:r>
          </a:p>
        </p:txBody>
      </p:sp>
      <p:sp>
        <p:nvSpPr>
          <p:cNvPr id="18" name="Текст 14">
            <a:extLst>
              <a:ext uri="{FF2B5EF4-FFF2-40B4-BE49-F238E27FC236}">
                <a16:creationId xmlns:a16="http://schemas.microsoft.com/office/drawing/2014/main" id="{CB2D70F3-7DAB-4B7D-954C-321676FD680D}"/>
              </a:ext>
            </a:extLst>
          </p:cNvPr>
          <p:cNvSpPr>
            <a:spLocks noGrp="1"/>
          </p:cNvSpPr>
          <p:nvPr>
            <p:ph type="body" sz="quarter" idx="70" hasCustomPrompt="1"/>
          </p:nvPr>
        </p:nvSpPr>
        <p:spPr>
          <a:xfrm>
            <a:off x="1385788" y="4331766"/>
            <a:ext cx="4591260" cy="293108"/>
          </a:xfrm>
          <a:prstGeom prst="rect">
            <a:avLst/>
          </a:prstGeom>
        </p:spPr>
        <p:txBody>
          <a:bodyPr lIns="0" tIns="0" rIns="0" bIns="0"/>
          <a:lstStyle>
            <a:lvl1pPr>
              <a:lnSpc>
                <a:spcPct val="100000"/>
              </a:lnSpc>
              <a:spcBef>
                <a:spcPts val="0"/>
              </a:spcBef>
              <a:defRPr sz="1763" b="0" strike="noStrike">
                <a:solidFill>
                  <a:schemeClr val="tx1"/>
                </a:solidFill>
                <a:latin typeface="+mn-lt"/>
                <a:ea typeface="Rostelecom Basis" panose="020B0503040504020204" pitchFamily="34" charset="-52"/>
              </a:defRPr>
            </a:lvl1pPr>
          </a:lstStyle>
          <a:p>
            <a:pPr lvl="0"/>
            <a:r>
              <a:rPr lang="en-US" dirty="0"/>
              <a:t>rostelecom@rt.ru </a:t>
            </a:r>
            <a:endParaRPr lang="ru-RU" dirty="0"/>
          </a:p>
        </p:txBody>
      </p:sp>
      <p:sp>
        <p:nvSpPr>
          <p:cNvPr id="19" name="Рисунок 3">
            <a:extLst>
              <a:ext uri="{FF2B5EF4-FFF2-40B4-BE49-F238E27FC236}">
                <a16:creationId xmlns:a16="http://schemas.microsoft.com/office/drawing/2014/main" id="{37EC9C42-BA90-4460-97F7-383718696CE0}"/>
              </a:ext>
            </a:extLst>
          </p:cNvPr>
          <p:cNvSpPr>
            <a:spLocks noGrp="1"/>
          </p:cNvSpPr>
          <p:nvPr>
            <p:ph type="pic" sz="quarter" idx="57" hasCustomPrompt="1"/>
          </p:nvPr>
        </p:nvSpPr>
        <p:spPr>
          <a:xfrm>
            <a:off x="6205157" y="0"/>
            <a:ext cx="5986843" cy="6858000"/>
          </a:xfrm>
          <a:prstGeom prst="rect">
            <a:avLst/>
          </a:prstGeom>
          <a:solidFill>
            <a:schemeClr val="bg1">
              <a:lumMod val="95000"/>
            </a:schemeClr>
          </a:solidFill>
        </p:spPr>
        <p:txBody>
          <a:bodyPr anchor="ctr"/>
          <a:lstStyle>
            <a:lvl1pPr algn="ctr">
              <a:defRPr sz="1763" b="0"/>
            </a:lvl1pPr>
          </a:lstStyle>
          <a:p>
            <a:r>
              <a:rPr lang="ru-RU" dirty="0"/>
              <a:t>Карта</a:t>
            </a:r>
          </a:p>
        </p:txBody>
      </p:sp>
      <p:pic>
        <p:nvPicPr>
          <p:cNvPr id="3" name="Рисунок 2">
            <a:extLst>
              <a:ext uri="{FF2B5EF4-FFF2-40B4-BE49-F238E27FC236}">
                <a16:creationId xmlns:a16="http://schemas.microsoft.com/office/drawing/2014/main" id="{19FA6A69-DE07-4644-B415-61DA402D5C9D}"/>
              </a:ext>
            </a:extLst>
          </p:cNvPr>
          <p:cNvPicPr>
            <a:picLocks noChangeAspect="1"/>
          </p:cNvPicPr>
          <p:nvPr userDrawn="1"/>
        </p:nvPicPr>
        <p:blipFill>
          <a:blip r:embed="rId4">
            <a:extLst>
              <a:ext uri="{96DAC541-7B7A-43D3-8B79-37D633B846F1}">
                <asvg:svgBlip xmlns="" xmlns:asvg="http://schemas.microsoft.com/office/drawing/2016/SVG/main" r:embed="rId5"/>
              </a:ext>
            </a:extLst>
          </a:blip>
          <a:stretch>
            <a:fillRect/>
          </a:stretch>
        </p:blipFill>
        <p:spPr>
          <a:xfrm>
            <a:off x="538651" y="2809969"/>
            <a:ext cx="446704" cy="670672"/>
          </a:xfrm>
          <a:prstGeom prst="rect">
            <a:avLst/>
          </a:prstGeom>
        </p:spPr>
      </p:pic>
    </p:spTree>
    <p:extLst>
      <p:ext uri="{BB962C8B-B14F-4D97-AF65-F5344CB8AC3E}">
        <p14:creationId xmlns:p14="http://schemas.microsoft.com/office/powerpoint/2010/main" val="256244170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контакты">
    <p:spTree>
      <p:nvGrpSpPr>
        <p:cNvPr id="1" name=""/>
        <p:cNvGrpSpPr/>
        <p:nvPr/>
      </p:nvGrpSpPr>
      <p:grpSpPr>
        <a:xfrm>
          <a:off x="0" y="0"/>
          <a:ext cx="0" cy="0"/>
          <a:chOff x="0" y="0"/>
          <a:chExt cx="0" cy="0"/>
        </a:xfrm>
      </p:grpSpPr>
      <p:sp>
        <p:nvSpPr>
          <p:cNvPr id="73" name="Рисунок 12">
            <a:extLst>
              <a:ext uri="{FF2B5EF4-FFF2-40B4-BE49-F238E27FC236}">
                <a16:creationId xmlns:a16="http://schemas.microsoft.com/office/drawing/2014/main" id="{E7A59408-5A7E-464A-96D2-37FFD14D5893}"/>
              </a:ext>
            </a:extLst>
          </p:cNvPr>
          <p:cNvSpPr>
            <a:spLocks noGrp="1"/>
          </p:cNvSpPr>
          <p:nvPr userDrawn="1">
            <p:ph type="pic" sz="quarter" idx="15" hasCustomPrompt="1"/>
          </p:nvPr>
        </p:nvSpPr>
        <p:spPr>
          <a:xfrm>
            <a:off x="417036" y="4445584"/>
            <a:ext cx="1701730" cy="1707497"/>
          </a:xfrm>
          <a:custGeom>
            <a:avLst/>
            <a:gdLst>
              <a:gd name="connsiteX0" fmla="*/ 967582 w 1930400"/>
              <a:gd name="connsiteY0" fmla="*/ 0 h 1935163"/>
              <a:gd name="connsiteX1" fmla="*/ 1930169 w 1930400"/>
              <a:gd name="connsiteY1" fmla="*/ 868652 h 1935163"/>
              <a:gd name="connsiteX2" fmla="*/ 1930400 w 1930400"/>
              <a:gd name="connsiteY2" fmla="*/ 873238 h 1935163"/>
              <a:gd name="connsiteX3" fmla="*/ 1930400 w 1930400"/>
              <a:gd name="connsiteY3" fmla="*/ 1061927 h 1935163"/>
              <a:gd name="connsiteX4" fmla="*/ 1930169 w 1930400"/>
              <a:gd name="connsiteY4" fmla="*/ 1066512 h 1935163"/>
              <a:gd name="connsiteX5" fmla="*/ 1066512 w 1930400"/>
              <a:gd name="connsiteY5" fmla="*/ 1930169 h 1935163"/>
              <a:gd name="connsiteX6" fmla="*/ 967602 w 1930400"/>
              <a:gd name="connsiteY6" fmla="*/ 1935163 h 1935163"/>
              <a:gd name="connsiteX7" fmla="*/ 967562 w 1930400"/>
              <a:gd name="connsiteY7" fmla="*/ 1935163 h 1935163"/>
              <a:gd name="connsiteX8" fmla="*/ 868652 w 1930400"/>
              <a:gd name="connsiteY8" fmla="*/ 1930169 h 1935163"/>
              <a:gd name="connsiteX9" fmla="*/ 0 w 1930400"/>
              <a:gd name="connsiteY9" fmla="*/ 967582 h 1935163"/>
              <a:gd name="connsiteX10" fmla="*/ 967582 w 1930400"/>
              <a:gd name="connsiteY10" fmla="*/ 0 h 193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0400" h="1935163">
                <a:moveTo>
                  <a:pt x="967582" y="0"/>
                </a:moveTo>
                <a:cubicBezTo>
                  <a:pt x="1468564" y="0"/>
                  <a:pt x="1880619" y="380743"/>
                  <a:pt x="1930169" y="868652"/>
                </a:cubicBezTo>
                <a:lnTo>
                  <a:pt x="1930400" y="873238"/>
                </a:lnTo>
                <a:lnTo>
                  <a:pt x="1930400" y="1061927"/>
                </a:lnTo>
                <a:lnTo>
                  <a:pt x="1930169" y="1066512"/>
                </a:lnTo>
                <a:cubicBezTo>
                  <a:pt x="1883922" y="1521894"/>
                  <a:pt x="1521894" y="1883922"/>
                  <a:pt x="1066512" y="1930169"/>
                </a:cubicBezTo>
                <a:lnTo>
                  <a:pt x="967602" y="1935163"/>
                </a:lnTo>
                <a:lnTo>
                  <a:pt x="967562" y="1935163"/>
                </a:lnTo>
                <a:lnTo>
                  <a:pt x="868652" y="1930169"/>
                </a:lnTo>
                <a:cubicBezTo>
                  <a:pt x="380743" y="1880619"/>
                  <a:pt x="0" y="1468564"/>
                  <a:pt x="0" y="967582"/>
                </a:cubicBezTo>
                <a:cubicBezTo>
                  <a:pt x="0" y="433201"/>
                  <a:pt x="433201" y="0"/>
                  <a:pt x="967582" y="0"/>
                </a:cubicBezTo>
                <a:close/>
              </a:path>
            </a:pathLst>
          </a:custGeom>
          <a:solidFill>
            <a:srgbClr val="DEDEDE"/>
          </a:solidFill>
        </p:spPr>
        <p:txBody>
          <a:bodyPr wrap="square" anchor="ctr">
            <a:noAutofit/>
          </a:bodyPr>
          <a:lstStyle>
            <a:lvl1pPr algn="ctr">
              <a:defRPr/>
            </a:lvl1pPr>
          </a:lstStyle>
          <a:p>
            <a:r>
              <a:rPr lang="ru-RU" dirty="0"/>
              <a:t>Фото</a:t>
            </a:r>
            <a:br>
              <a:rPr lang="ru-RU" dirty="0"/>
            </a:br>
            <a:r>
              <a:rPr lang="ru-RU" dirty="0"/>
              <a:t>менеджера</a:t>
            </a:r>
          </a:p>
        </p:txBody>
      </p:sp>
      <p:sp>
        <p:nvSpPr>
          <p:cNvPr id="74" name="Текст 4">
            <a:extLst>
              <a:ext uri="{FF2B5EF4-FFF2-40B4-BE49-F238E27FC236}">
                <a16:creationId xmlns:a16="http://schemas.microsoft.com/office/drawing/2014/main" id="{4575252F-F3DD-4966-A9C8-645D4E0C3252}"/>
              </a:ext>
            </a:extLst>
          </p:cNvPr>
          <p:cNvSpPr>
            <a:spLocks noGrp="1"/>
          </p:cNvSpPr>
          <p:nvPr userDrawn="1">
            <p:ph type="body" sz="quarter" idx="22" hasCustomPrompt="1"/>
          </p:nvPr>
        </p:nvSpPr>
        <p:spPr>
          <a:xfrm>
            <a:off x="2351074" y="4797803"/>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5" name="Текст 4">
            <a:extLst>
              <a:ext uri="{FF2B5EF4-FFF2-40B4-BE49-F238E27FC236}">
                <a16:creationId xmlns:a16="http://schemas.microsoft.com/office/drawing/2014/main" id="{D134171C-0A03-49A8-B4F6-8A92F68C5045}"/>
              </a:ext>
            </a:extLst>
          </p:cNvPr>
          <p:cNvSpPr>
            <a:spLocks noGrp="1"/>
          </p:cNvSpPr>
          <p:nvPr userDrawn="1">
            <p:ph type="body" sz="quarter" idx="23" hasCustomPrompt="1"/>
          </p:nvPr>
        </p:nvSpPr>
        <p:spPr>
          <a:xfrm>
            <a:off x="2351074" y="5413154"/>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0371C666-2605-4E6C-931E-2B94EAB1DF37}"/>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E7243789-F54D-47E8-899E-A16D3B83E9B1}"/>
              </a:ext>
            </a:extLst>
          </p:cNvPr>
          <p:cNvSpPr>
            <a:spLocks noGrp="1"/>
          </p:cNvSpPr>
          <p:nvPr>
            <p:ph type="body" sz="quarter" idx="24"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C1438913-78CD-4BDF-9AEE-B931FDD79F07}"/>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BD86835F-EE05-4EFB-8F67-59F801DD9A45}"/>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DEFAF73C-DCF4-4716-9426-999859F702CC}"/>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501AEFEF-FEF2-428A-923C-7509E355D622}"/>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BD0D7565-7AE1-4BF3-B0A9-74AEC796F85D}"/>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4D318DB0-704E-4686-8321-275E394C0D6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69ECC171-CBCA-4830-8A69-F1680CD3A2A0}"/>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6BFF2E0-5D95-4925-AF43-229E4F40D063}"/>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7B0278FA-4EEB-481D-B0DE-9629489CFFC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57961734-335F-4CCC-AB08-67B5CC3F7779}"/>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4916AE1-159A-479B-9E17-0227D7369D22}"/>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C1223CC-C0C5-4878-8C5E-723E17570855}"/>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B0728CBD-E2F3-4F9E-B100-78A65E21CB29}"/>
              </a:ext>
            </a:extLst>
          </p:cNvPr>
          <p:cNvGrpSpPr/>
          <p:nvPr userDrawn="1"/>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62F3E3F5-24F6-498A-93CC-CA7ACD45DC6B}"/>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1C9783A5-E4E2-4AEF-AE8E-5DAF53153005}"/>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36B6E78D-5BF5-43EA-829E-CF7073DB63C6}"/>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61529A89-6807-4152-9AAD-7B0FB40E2BAF}"/>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0BD70C6A-9D3C-46E5-AB6A-FE33FC483CB0}"/>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5B6E5F1E-A808-438B-A9C3-C5F9C41E7BC6}"/>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567DE91E-7DDD-410F-8BFD-A21C4B92166C}"/>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7397149B-FD6A-4B52-9B52-42A6F3739828}"/>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0B3F7717-B1D3-483C-8D75-455DA51C4D4C}"/>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EDBDC90A-6F6C-4434-A58E-752EFBDBB856}"/>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2DB2E0C9-3EA4-412C-8F1A-D3CEC75C8CB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87338948-E890-4ED6-AE77-7C97CD3B5E9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A6C57E86-918B-488B-A7B3-48F7DD566D20}"/>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B921BE76-56CF-40A0-91F6-F56F5D462AD8}"/>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80D1D5E7-5D33-4AEB-B93C-3E524A9D2EFB}"/>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8069FC91-5E2F-4272-8533-2B31A351CBD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98CB319-8876-43BD-927B-1B5FD6A20EC9}"/>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22D8C9D2-C8EB-4978-BE7A-26A070CE59CC}"/>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A408EDAE-41F4-4E83-9E84-69EF4F9B63B0}"/>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8550D452-7AEB-4487-AAE0-6978B26E24F9}"/>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B1642EF5-3AF5-48DE-832B-CF1DB2CB2733}"/>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754ECE2A-41EF-454E-8F4A-FE7A5924ED97}"/>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10070D1D-B652-46FB-9A0B-19D67726FC2F}"/>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4FCD12D1-74EB-4162-829A-CD9C4A94ABEF}"/>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AE2D753D-BECD-49B0-A45B-E377DCD3CE3F}"/>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50595975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BB286E9D-4A95-441B-9433-7CAD40A5AECA}"/>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D58DC37B-78B5-4083-BB5E-8C3D20756790}"/>
              </a:ext>
            </a:extLst>
          </p:cNvPr>
          <p:cNvSpPr>
            <a:spLocks noGrp="1"/>
          </p:cNvSpPr>
          <p:nvPr>
            <p:ph type="body" sz="quarter" idx="24"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CDDD78D-4AFD-4F28-BDE0-87ED325C71F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1B127F33-E0C4-484E-A8E1-0ED6CA5A911A}"/>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D12A6715-A92E-462C-BCE3-C7E5094F4DF6}"/>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1A3F5EF-ADB4-450D-A4E6-CCD5A6632766}"/>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04646FFD-6488-4B9A-9A3F-5842A857AE6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630F1E1A-005A-441A-B3A6-AEF4E2B31BB9}"/>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87220AB-F0F5-4BCF-993F-B4A81A2CECED}"/>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83A37FD-6E30-4879-AD5C-E5F1DE5814F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294173F1-CD1B-490B-99F3-4472FAB5019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3E4370D0-CD0F-43BF-848B-A42CC1B78AE3}"/>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A58B061-DE2B-4AB2-8357-8EE53D87BEC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EB8FDAD6-E828-4937-9236-FD35307FA7F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0" name="Рисунок 57">
            <a:extLst>
              <a:ext uri="{FF2B5EF4-FFF2-40B4-BE49-F238E27FC236}">
                <a16:creationId xmlns:a16="http://schemas.microsoft.com/office/drawing/2014/main" id="{27D4141A-A46A-48C4-B726-16FF881A0634}"/>
              </a:ext>
            </a:extLst>
          </p:cNvPr>
          <p:cNvGrpSpPr/>
          <p:nvPr userDrawn="1"/>
        </p:nvGrpSpPr>
        <p:grpSpPr>
          <a:xfrm>
            <a:off x="8136198" y="3576598"/>
            <a:ext cx="4055802" cy="3281403"/>
            <a:chOff x="9229500" y="4053477"/>
            <a:chExt cx="4600800" cy="3718923"/>
          </a:xfrm>
        </p:grpSpPr>
        <p:sp>
          <p:nvSpPr>
            <p:cNvPr id="51" name="Полилиния: фигура 50">
              <a:extLst>
                <a:ext uri="{FF2B5EF4-FFF2-40B4-BE49-F238E27FC236}">
                  <a16:creationId xmlns:a16="http://schemas.microsoft.com/office/drawing/2014/main" id="{EEAF0323-EC87-4E1F-ABE7-C9482865C375}"/>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2" name="Полилиния: фигура 51">
              <a:extLst>
                <a:ext uri="{FF2B5EF4-FFF2-40B4-BE49-F238E27FC236}">
                  <a16:creationId xmlns:a16="http://schemas.microsoft.com/office/drawing/2014/main" id="{550EC2D7-107E-4E4B-9588-08A4EA8CD556}"/>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3" name="Рисунок 57">
              <a:extLst>
                <a:ext uri="{FF2B5EF4-FFF2-40B4-BE49-F238E27FC236}">
                  <a16:creationId xmlns:a16="http://schemas.microsoft.com/office/drawing/2014/main" id="{C25841FC-4C11-4104-8CF8-BCFD768E0621}"/>
                </a:ext>
              </a:extLst>
            </p:cNvPr>
            <p:cNvGrpSpPr/>
            <p:nvPr/>
          </p:nvGrpSpPr>
          <p:grpSpPr>
            <a:xfrm>
              <a:off x="11333699" y="6786611"/>
              <a:ext cx="2054294" cy="554420"/>
              <a:chOff x="11333699" y="6786611"/>
              <a:chExt cx="2054294" cy="554420"/>
            </a:xfrm>
            <a:solidFill>
              <a:srgbClr val="FFFFFF"/>
            </a:solidFill>
          </p:grpSpPr>
          <p:sp>
            <p:nvSpPr>
              <p:cNvPr id="54" name="Полилиния: фигура 53">
                <a:extLst>
                  <a:ext uri="{FF2B5EF4-FFF2-40B4-BE49-F238E27FC236}">
                    <a16:creationId xmlns:a16="http://schemas.microsoft.com/office/drawing/2014/main" id="{825E57E4-5D6E-444A-A9A8-D3570F0163A2}"/>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F86007ED-C7B5-4123-8454-CC691E876A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1ADEB15B-011A-4DB8-8DE6-CF516E1BB4BE}"/>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C4192CD7-043F-438C-B0BD-0F5EE615583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136CD97C-C691-44B3-BCD6-C772C54D09E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190A6D8B-4BEF-40E9-8FA0-5BE0CC7C2DF1}"/>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F726FDE0-6098-4425-A5F4-69C59AC508F0}"/>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35662C93-D66D-466F-8CDC-2413E7DBCA9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7C707321-EAD3-4F8F-85D9-F7B8966BF544}"/>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06873F35-D1B3-4204-B5FD-E6D2970BF47C}"/>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D2202D4-F4B9-43E0-B29A-278655DC334A}"/>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97370960-AF8F-46A4-A1A2-458F9A7D389A}"/>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C3F9B3A2-3E8D-457F-AE8E-D0C04B4E776B}"/>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16F6E03A-D087-406B-AD2E-FE9DE4E18BDF}"/>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C20F25E4-8177-42E4-A41F-38DFC9D0C385}"/>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592ECA8F-37A9-4B05-9371-CEF76C7D9B1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0FDEAFE5-E626-449F-B030-E4BA86873AA4}"/>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4DAE6C28-A9E3-4928-8E66-D683D70A8FEC}"/>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BE980FD3-7264-4701-8D99-15E6143C52C9}"/>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374C0A3E-9045-47FA-B9B2-1F5D8FBFD45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7DF5AA4F-F9DC-45E5-AE14-FFB5EC718C6C}"/>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74C0AE16-F32A-4D68-A34D-14796B9DBB44}"/>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3384678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цитаты/тезисы_акцент">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6" y="1078651"/>
            <a:ext cx="1991376" cy="870227"/>
          </a:xfrm>
          <a:prstGeom prst="rect">
            <a:avLst/>
          </a:prstGeom>
          <a:solidFill>
            <a:schemeClr val="accent1"/>
          </a:solidFill>
        </p:spPr>
        <p:txBody>
          <a:bodyPr wrap="none" lIns="72000" tIns="72000" rIns="72000" bIns="0">
            <a:spAutoFit/>
          </a:bodyPr>
          <a:lstStyle>
            <a:lvl1pPr>
              <a:lnSpc>
                <a:spcPct val="95000"/>
              </a:lnSpc>
              <a:defRPr sz="5289">
                <a:solidFill>
                  <a:schemeClr val="bg1"/>
                </a:solidFill>
              </a:defRPr>
            </a:lvl1pPr>
          </a:lstStyle>
          <a:p>
            <a:r>
              <a:rPr lang="ru-RU" dirty="0"/>
              <a:t>Текст</a:t>
            </a:r>
          </a:p>
        </p:txBody>
      </p:sp>
      <p:sp>
        <p:nvSpPr>
          <p:cNvPr id="15" name="Текст 14">
            <a:extLst>
              <a:ext uri="{FF2B5EF4-FFF2-40B4-BE49-F238E27FC236}">
                <a16:creationId xmlns:a16="http://schemas.microsoft.com/office/drawing/2014/main" id="{584B1124-8A28-4C0A-B468-BD30024E2440}"/>
              </a:ext>
            </a:extLst>
          </p:cNvPr>
          <p:cNvSpPr>
            <a:spLocks noGrp="1"/>
          </p:cNvSpPr>
          <p:nvPr>
            <p:ph type="body" sz="quarter" idx="56" hasCustomPrompt="1"/>
          </p:nvPr>
        </p:nvSpPr>
        <p:spPr>
          <a:xfrm>
            <a:off x="417513" y="2966934"/>
            <a:ext cx="9639627" cy="966332"/>
          </a:xfrm>
          <a:prstGeom prst="rect">
            <a:avLst/>
          </a:prstGeom>
        </p:spPr>
        <p:txBody>
          <a:bodyPr lIns="0" tIns="0" rIns="0" bIns="0"/>
          <a:lstStyle>
            <a:lvl1pPr>
              <a:lnSpc>
                <a:spcPts val="2380"/>
              </a:lnSpc>
              <a:spcBef>
                <a:spcPts val="0"/>
              </a:spcBef>
              <a:defRPr sz="2027" b="0" strike="noStrike">
                <a:solidFill>
                  <a:schemeClr val="tx1"/>
                </a:solidFill>
                <a:latin typeface="+mn-lt"/>
                <a:ea typeface="Rostelecom Basis" panose="020B0503040504020204" pitchFamily="34" charset="-52"/>
              </a:defRPr>
            </a:lvl1pPr>
          </a:lstStyle>
          <a:p>
            <a:pPr lvl="0"/>
            <a:r>
              <a:rPr lang="ru-RU" dirty="0"/>
              <a:t>Дополнительная информация</a:t>
            </a:r>
          </a:p>
        </p:txBody>
      </p:sp>
      <p:sp>
        <p:nvSpPr>
          <p:cNvPr id="4" name="Текст 3">
            <a:extLst>
              <a:ext uri="{FF2B5EF4-FFF2-40B4-BE49-F238E27FC236}">
                <a16:creationId xmlns:a16="http://schemas.microsoft.com/office/drawing/2014/main" id="{72C1D8C6-89E0-44DD-83DD-92716F48DBDA}"/>
              </a:ext>
            </a:extLst>
          </p:cNvPr>
          <p:cNvSpPr>
            <a:spLocks noGrp="1"/>
          </p:cNvSpPr>
          <p:nvPr>
            <p:ph type="body" sz="quarter" idx="57" hasCustomPrompt="1"/>
          </p:nvPr>
        </p:nvSpPr>
        <p:spPr>
          <a:xfrm>
            <a:off x="417038" y="1862981"/>
            <a:ext cx="3798476" cy="732595"/>
          </a:xfrm>
          <a:prstGeom prst="rect">
            <a:avLst/>
          </a:prstGeom>
          <a:solidFill>
            <a:schemeClr val="accent1"/>
          </a:solidFill>
        </p:spPr>
        <p:txBody>
          <a:bodyPr wrap="none" tIns="0" bIns="0">
            <a:spAutoFit/>
          </a:bodyPr>
          <a:lstStyle>
            <a:lvl1pPr>
              <a:defRPr sz="5289" b="0">
                <a:solidFill>
                  <a:schemeClr val="bg1"/>
                </a:solidFill>
              </a:defRPr>
            </a:lvl1pPr>
          </a:lstStyle>
          <a:p>
            <a:pPr lvl="0"/>
            <a:r>
              <a:rPr lang="ru-RU" dirty="0"/>
              <a:t>две строки</a:t>
            </a:r>
          </a:p>
        </p:txBody>
      </p:sp>
    </p:spTree>
    <p:extLst>
      <p:ext uri="{BB962C8B-B14F-4D97-AF65-F5344CB8AC3E}">
        <p14:creationId xmlns:p14="http://schemas.microsoft.com/office/powerpoint/2010/main" val="2469516530"/>
      </p:ext>
    </p:extLst>
  </p:cSld>
  <p:clrMapOvr>
    <a:masterClrMapping/>
  </p:clrMapOvr>
  <p:extLst mod="1">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 xmlns:ahyp="http://schemas.microsoft.com/office/drawing/2018/hyperlinkcolor"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 xmlns:ahyp="http://schemas.microsoft.com/office/drawing/2018/hyperlinkcolor" val="tx"/>
                    </a:ext>
                  </a:extLst>
                </a:hlinkClick>
              </a:rPr>
              <a:t>pr@rt.ru</a:t>
            </a:r>
            <a:endParaRPr lang="ru-RU" sz="1587" dirty="0"/>
          </a:p>
        </p:txBody>
      </p:sp>
      <p:sp>
        <p:nvSpPr>
          <p:cNvPr id="48" name="Текст 22">
            <a:extLst>
              <a:ext uri="{FF2B5EF4-FFF2-40B4-BE49-F238E27FC236}">
                <a16:creationId xmlns:a16="http://schemas.microsoft.com/office/drawing/2014/main" id="{56BC6E93-5D38-443A-AEC0-8285E14AE003}"/>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49" name="Текст 22">
            <a:extLst>
              <a:ext uri="{FF2B5EF4-FFF2-40B4-BE49-F238E27FC236}">
                <a16:creationId xmlns:a16="http://schemas.microsoft.com/office/drawing/2014/main" id="{B5FAC386-9BC7-4450-9ACA-7FC8E665EA0F}"/>
              </a:ext>
            </a:extLst>
          </p:cNvPr>
          <p:cNvSpPr>
            <a:spLocks noGrp="1"/>
          </p:cNvSpPr>
          <p:nvPr>
            <p:ph type="body" sz="quarter" idx="22"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52705120-3F07-44D3-BF01-38555B5CE5A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28E17CE5-5105-4F66-BB80-217F867AA25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A7FB1D01-F055-45E7-B6B9-4AAFCF3E1A5D}"/>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9B3D799-EEB7-4009-A9DA-B72EB7084488}"/>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CADB25CB-8730-4234-856E-0A5906BCE74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008A1576-8FBE-4920-8257-A4214B54E1CB}"/>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B6B642E6-9405-4DA0-9160-D9C67BBC7B8E}"/>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63178C04-9558-4361-8FE2-611204C3457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04ADA4FA-96DA-4B2E-9B81-9342E56FC643}"/>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E339B585-4B2F-4F17-97DD-E1822B2DCB6D}"/>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2D40C61B-9A45-4269-B365-B3C2930B6B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0D4516EA-4E59-489D-B011-E487625FF0F2}"/>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51" name="Рисунок 57">
            <a:extLst>
              <a:ext uri="{FF2B5EF4-FFF2-40B4-BE49-F238E27FC236}">
                <a16:creationId xmlns:a16="http://schemas.microsoft.com/office/drawing/2014/main" id="{E9B69683-D32B-404D-99B5-F9F2FDBDCA37}"/>
              </a:ext>
            </a:extLst>
          </p:cNvPr>
          <p:cNvGrpSpPr/>
          <p:nvPr userDrawn="1"/>
        </p:nvGrpSpPr>
        <p:grpSpPr>
          <a:xfrm>
            <a:off x="8136198" y="3576598"/>
            <a:ext cx="4055802" cy="3281403"/>
            <a:chOff x="9229500" y="4053477"/>
            <a:chExt cx="4600800" cy="3718923"/>
          </a:xfrm>
        </p:grpSpPr>
        <p:sp>
          <p:nvSpPr>
            <p:cNvPr id="52" name="Полилиния: фигура 51">
              <a:extLst>
                <a:ext uri="{FF2B5EF4-FFF2-40B4-BE49-F238E27FC236}">
                  <a16:creationId xmlns:a16="http://schemas.microsoft.com/office/drawing/2014/main" id="{4856A306-2482-468D-8D76-06267CC6AAE6}"/>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3" name="Полилиния: фигура 52">
              <a:extLst>
                <a:ext uri="{FF2B5EF4-FFF2-40B4-BE49-F238E27FC236}">
                  <a16:creationId xmlns:a16="http://schemas.microsoft.com/office/drawing/2014/main" id="{F2D561B4-B8EC-4174-A8B8-1AED4956BE19}"/>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4" name="Рисунок 57">
              <a:extLst>
                <a:ext uri="{FF2B5EF4-FFF2-40B4-BE49-F238E27FC236}">
                  <a16:creationId xmlns:a16="http://schemas.microsoft.com/office/drawing/2014/main" id="{27A62E3F-A15A-42D9-8C4F-AA15D7F9E028}"/>
                </a:ext>
              </a:extLst>
            </p:cNvPr>
            <p:cNvGrpSpPr/>
            <p:nvPr/>
          </p:nvGrpSpPr>
          <p:grpSpPr>
            <a:xfrm>
              <a:off x="11333699" y="6786611"/>
              <a:ext cx="2054294" cy="554420"/>
              <a:chOff x="11333699" y="6786611"/>
              <a:chExt cx="2054294" cy="554420"/>
            </a:xfrm>
            <a:solidFill>
              <a:srgbClr val="FFFFFF"/>
            </a:solidFill>
          </p:grpSpPr>
          <p:sp>
            <p:nvSpPr>
              <p:cNvPr id="55" name="Полилиния: фигура 54">
                <a:extLst>
                  <a:ext uri="{FF2B5EF4-FFF2-40B4-BE49-F238E27FC236}">
                    <a16:creationId xmlns:a16="http://schemas.microsoft.com/office/drawing/2014/main" id="{34A3D016-5BA0-4ED6-9ACE-FC34476AAA45}"/>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7953CF65-242E-482F-B2DF-86F253CEEC4D}"/>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9E9A0033-3335-4CBB-AD11-843DA5D6382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3D49E0EE-FB95-4FDD-9468-1CC861D5B6EE}"/>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E6F65BD4-A697-4996-BC84-6404976011FE}"/>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86803931-9E12-4514-8232-3120C28DA74F}"/>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18EF904E-6C25-43AB-ABF3-ED22EADF53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CE2C2FDF-3A4B-44C0-A5FF-7AFA0F08801D}"/>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86AB470A-01B7-43CF-9E4D-5778BC8EAACC}"/>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026C58BB-31DF-4880-ADAF-251FCE3306A8}"/>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2B0C4947-3E54-4977-9302-0AC82FDAF080}"/>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905CDA91-003C-45DD-A273-AF5326A5F650}"/>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2B8DA1C8-8B81-4317-9183-3DE64177A85A}"/>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BF8F9595-2203-41DD-AF7A-72D43A7B9A37}"/>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CD00A5BB-4889-4BE0-A304-1376FE705A8A}"/>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73A7BDA9-F3A9-475A-8A40-330ADE105D12}"/>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F92FCC6C-0441-444F-A2B5-02CA598CA813}"/>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260FC961-71B3-46E3-AE9F-87D59509CB47}"/>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E92FCF72-7F68-4FAE-8130-51406CF2480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FCF268A1-EAB7-495C-9F96-82FFC8D48161}"/>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9FEEF589-44D5-4D0C-9E80-D2B3988FC1DB}"/>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6763E981-5CE5-48C2-A1E0-927E21E50F3A}"/>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73386177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контакты_4">
    <p:spTree>
      <p:nvGrpSpPr>
        <p:cNvPr id="1" name=""/>
        <p:cNvGrpSpPr/>
        <p:nvPr/>
      </p:nvGrpSpPr>
      <p:grpSpPr>
        <a:xfrm>
          <a:off x="0" y="0"/>
          <a:ext cx="0" cy="0"/>
          <a:chOff x="0" y="0"/>
          <a:chExt cx="0" cy="0"/>
        </a:xfrm>
      </p:grpSpPr>
      <p:sp>
        <p:nvSpPr>
          <p:cNvPr id="69" name="Текст 22">
            <a:extLst>
              <a:ext uri="{FF2B5EF4-FFF2-40B4-BE49-F238E27FC236}">
                <a16:creationId xmlns:a16="http://schemas.microsoft.com/office/drawing/2014/main" id="{E82F1677-475D-47DE-B3CA-E18B1910E66B}"/>
              </a:ext>
            </a:extLst>
          </p:cNvPr>
          <p:cNvSpPr>
            <a:spLocks noGrp="1"/>
          </p:cNvSpPr>
          <p:nvPr>
            <p:ph type="body" sz="quarter" idx="14" hasCustomPrompt="1"/>
          </p:nvPr>
        </p:nvSpPr>
        <p:spPr>
          <a:xfrm>
            <a:off x="417514" y="2481063"/>
            <a:ext cx="3477767" cy="668214"/>
          </a:xfrm>
          <a:prstGeom prst="rect">
            <a:avLst/>
          </a:prstGeom>
          <a:solidFill>
            <a:schemeClr val="accent2"/>
          </a:solidFill>
        </p:spPr>
        <p:txBody>
          <a:bodyPr wrap="none" lIns="108000" tIns="108000" rIns="108000" bIns="0">
            <a:spAutoFit/>
          </a:bodyPr>
          <a:lstStyle>
            <a:lvl1pPr>
              <a:lnSpc>
                <a:spcPts val="4319"/>
              </a:lnSpc>
              <a:spcBef>
                <a:spcPts val="0"/>
              </a:spcBef>
              <a:defRPr sz="4055" b="0">
                <a:solidFill>
                  <a:schemeClr val="bg1"/>
                </a:solidFill>
                <a:latin typeface="+mj-lt"/>
              </a:defRPr>
            </a:lvl1pPr>
          </a:lstStyle>
          <a:p>
            <a:pPr lvl="0"/>
            <a:r>
              <a:rPr lang="ru-RU" dirty="0"/>
              <a:t>С уважением</a:t>
            </a:r>
          </a:p>
        </p:txBody>
      </p:sp>
      <p:sp>
        <p:nvSpPr>
          <p:cNvPr id="70" name="Текст 22">
            <a:extLst>
              <a:ext uri="{FF2B5EF4-FFF2-40B4-BE49-F238E27FC236}">
                <a16:creationId xmlns:a16="http://schemas.microsoft.com/office/drawing/2014/main" id="{F6644D52-3EBC-4C40-994F-5CBA47274EBA}"/>
              </a:ext>
            </a:extLst>
          </p:cNvPr>
          <p:cNvSpPr>
            <a:spLocks noGrp="1"/>
          </p:cNvSpPr>
          <p:nvPr>
            <p:ph type="body" sz="quarter" idx="22" hasCustomPrompt="1"/>
          </p:nvPr>
        </p:nvSpPr>
        <p:spPr>
          <a:xfrm>
            <a:off x="417514" y="3144231"/>
            <a:ext cx="3781586" cy="636139"/>
          </a:xfrm>
          <a:prstGeom prst="rect">
            <a:avLst/>
          </a:prstGeom>
          <a:solidFill>
            <a:schemeClr val="accent2"/>
          </a:solidFill>
        </p:spPr>
        <p:txBody>
          <a:bodyPr wrap="none" lIns="108000" tIns="36000" rIns="108000" bIns="36000">
            <a:spAutoFit/>
          </a:bodyPr>
          <a:lstStyle>
            <a:lvl1pPr>
              <a:lnSpc>
                <a:spcPts val="4319"/>
              </a:lnSpc>
              <a:spcBef>
                <a:spcPts val="0"/>
              </a:spcBef>
              <a:defRPr sz="4055" b="0">
                <a:solidFill>
                  <a:schemeClr val="bg1"/>
                </a:solidFill>
                <a:latin typeface="+mj-lt"/>
              </a:defRPr>
            </a:lvl1pPr>
          </a:lstStyle>
          <a:p>
            <a:pPr lvl="0"/>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26C013BB-B648-4826-BC90-AFD5ECEB1C40}"/>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C28E2596-8DB6-4F41-8790-2F2FCA8F3701}"/>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38CF34C7-2CFB-4311-8605-71FD64465D53}"/>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AE777A4A-0DD8-4113-94C0-9C3680FE770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67A888A3-D7ED-4D14-BDC0-3687A829E4B6}"/>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799FC612-B681-416C-B7C7-E3777754A8BC}"/>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54282490-FCDB-4502-B362-773987F2B8C3}"/>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7BD04A6E-A091-4E4F-B9B5-904C5FF3C06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464FD514-0A85-4FAB-96C0-0FDF09E701F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3B85137F-21BC-4495-AD6E-5D645319D882}"/>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89F35DDF-2362-48C1-904E-1DE74A6A252A}"/>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1D8D9070-C2BA-4B5A-8D63-FE784ACEEBF3}"/>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6" name="Рисунок 57">
            <a:extLst>
              <a:ext uri="{FF2B5EF4-FFF2-40B4-BE49-F238E27FC236}">
                <a16:creationId xmlns:a16="http://schemas.microsoft.com/office/drawing/2014/main" id="{02DC70BD-7363-4996-A659-7D562FE75734}"/>
              </a:ext>
            </a:extLst>
          </p:cNvPr>
          <p:cNvGrpSpPr/>
          <p:nvPr userDrawn="1"/>
        </p:nvGrpSpPr>
        <p:grpSpPr>
          <a:xfrm>
            <a:off x="8136198" y="3576598"/>
            <a:ext cx="4055802" cy="3281403"/>
            <a:chOff x="9229500" y="4053477"/>
            <a:chExt cx="4600800" cy="3718923"/>
          </a:xfrm>
        </p:grpSpPr>
        <p:sp>
          <p:nvSpPr>
            <p:cNvPr id="77" name="Полилиния: фигура 76">
              <a:extLst>
                <a:ext uri="{FF2B5EF4-FFF2-40B4-BE49-F238E27FC236}">
                  <a16:creationId xmlns:a16="http://schemas.microsoft.com/office/drawing/2014/main" id="{8286EFC6-E665-4CF9-A9C1-6E1C164E05E1}"/>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78" name="Полилиния: фигура 77">
              <a:extLst>
                <a:ext uri="{FF2B5EF4-FFF2-40B4-BE49-F238E27FC236}">
                  <a16:creationId xmlns:a16="http://schemas.microsoft.com/office/drawing/2014/main" id="{F19788FE-C501-4EA8-BD94-2DF9C19001E8}"/>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79" name="Рисунок 57">
              <a:extLst>
                <a:ext uri="{FF2B5EF4-FFF2-40B4-BE49-F238E27FC236}">
                  <a16:creationId xmlns:a16="http://schemas.microsoft.com/office/drawing/2014/main" id="{4D2246A2-1DC1-40B5-9B02-B827A23C0B17}"/>
                </a:ext>
              </a:extLst>
            </p:cNvPr>
            <p:cNvGrpSpPr/>
            <p:nvPr/>
          </p:nvGrpSpPr>
          <p:grpSpPr>
            <a:xfrm>
              <a:off x="11333699" y="6786611"/>
              <a:ext cx="2054294" cy="554420"/>
              <a:chOff x="11333699" y="6786611"/>
              <a:chExt cx="2054294" cy="554420"/>
            </a:xfrm>
            <a:solidFill>
              <a:srgbClr val="FFFFFF"/>
            </a:solidFill>
          </p:grpSpPr>
          <p:sp>
            <p:nvSpPr>
              <p:cNvPr id="80" name="Полилиния: фигура 79">
                <a:extLst>
                  <a:ext uri="{FF2B5EF4-FFF2-40B4-BE49-F238E27FC236}">
                    <a16:creationId xmlns:a16="http://schemas.microsoft.com/office/drawing/2014/main" id="{7CDC0E0A-E46B-4B0A-9F6A-D3732B94A708}"/>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1" name="Полилиния: фигура 80">
                <a:extLst>
                  <a:ext uri="{FF2B5EF4-FFF2-40B4-BE49-F238E27FC236}">
                    <a16:creationId xmlns:a16="http://schemas.microsoft.com/office/drawing/2014/main" id="{EF0CBD5B-3FAA-41C9-BADD-CBB3EF90F627}"/>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2" name="Полилиния: фигура 81">
                <a:extLst>
                  <a:ext uri="{FF2B5EF4-FFF2-40B4-BE49-F238E27FC236}">
                    <a16:creationId xmlns:a16="http://schemas.microsoft.com/office/drawing/2014/main" id="{0D6438F7-55B2-4F2B-9F3F-7511B4A663C5}"/>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A750C33A-604D-4433-8FDB-6EF8F23ABB67}"/>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030E56A9-CA49-474F-9990-0E7C83E1C75A}"/>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136DDB9C-5474-4C1C-AE4E-5B3341B51F20}"/>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01FA4C9B-54A6-4C09-BA75-9D0DBB3E397A}"/>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FDC2F04F-4BB6-433A-8E5A-13153BE779D9}"/>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F86C597A-B304-4453-AE46-557231C320A1}"/>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8766849F-AE58-49A9-BE98-0201C50C38C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8518125E-DE11-40F5-8CBC-2863D98710C9}"/>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A4406ABF-008C-43D5-B0AF-AB97F596B874}"/>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CF8C1F43-C930-4840-9CA8-FB91542BCD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F5D044BC-70E8-4052-A4D4-A56781F344F4}"/>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12251EA3-4060-4857-965F-87796D3F6B32}"/>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B61F8117-52E8-4D15-AF1B-5110F17A7F2C}"/>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AB99F188-6397-40A9-B605-820C2D2962C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21B27619-56D2-42C5-9765-9C7FF4C48A9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6BB645C9-0E6A-4609-9501-558B0DEF86CF}"/>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22B648B3-AEBE-4A66-A3BA-AEEAB6EA7E69}"/>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741A2ABC-0827-46AE-BAFA-1A3F5816A93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1" name="Полилиния: фигура 100">
                <a:extLst>
                  <a:ext uri="{FF2B5EF4-FFF2-40B4-BE49-F238E27FC236}">
                    <a16:creationId xmlns:a16="http://schemas.microsoft.com/office/drawing/2014/main" id="{D319D22B-F7C6-4146-AF35-104758D6F6B5}"/>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161226577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контакты">
    <p:spTree>
      <p:nvGrpSpPr>
        <p:cNvPr id="1" name=""/>
        <p:cNvGrpSpPr/>
        <p:nvPr/>
      </p:nvGrpSpPr>
      <p:grpSpPr>
        <a:xfrm>
          <a:off x="0" y="0"/>
          <a:ext cx="0" cy="0"/>
          <a:chOff x="0" y="0"/>
          <a:chExt cx="0" cy="0"/>
        </a:xfrm>
      </p:grpSpPr>
      <p:sp>
        <p:nvSpPr>
          <p:cNvPr id="50" name="Текст 22">
            <a:extLst>
              <a:ext uri="{FF2B5EF4-FFF2-40B4-BE49-F238E27FC236}">
                <a16:creationId xmlns:a16="http://schemas.microsoft.com/office/drawing/2014/main" id="{6B7ADCA3-99F9-40B7-BB2F-D2BD8641F280}"/>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0F69D8C3-A9D2-4F65-81B8-503D5868C9FB}"/>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0F69D8C3-A9D2-4F65-81B8-503D5868C9FB}"/>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17001691-A57D-4F3B-9B19-86CC9DDC3888}"/>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8D216E14-0BF1-46BF-89EE-4D5DC3DEE5E7}"/>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A6460135-83F9-45A3-B6D3-A6C4D6D343D4}"/>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101E3016-404F-479D-80E7-24FC72F8D723}"/>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E08E943D-004F-4C10-A7C6-59EBD467F9C7}"/>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1E8A79A4-50F0-4512-BEB6-2BA85173C7E5}"/>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8DA6E5C9-59E9-4CBE-8327-076A3EB9C57B}"/>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DC6ED969-9A90-48F2-94AA-C2F8CAEE40A8}"/>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E6E745B0-C99B-45C5-A22D-ECD323885054}"/>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047183EE-2786-44E8-B54F-1130D1668AB0}"/>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0F69D8C3-A9D2-4F65-81B8-503D5868C9FB}"/>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A919E33B-69A1-454A-94CD-A23AC2CBD54B}"/>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3E9A2EC-B86E-4F98-8836-532308A99FEA}"/>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sp>
        <p:nvSpPr>
          <p:cNvPr id="79" name="Полилиния: фигура 78">
            <a:extLst>
              <a:ext uri="{FF2B5EF4-FFF2-40B4-BE49-F238E27FC236}">
                <a16:creationId xmlns:a16="http://schemas.microsoft.com/office/drawing/2014/main" id="{539ED854-EF62-445E-ADCE-8169570F5E30}"/>
              </a:ext>
            </a:extLst>
          </p:cNvPr>
          <p:cNvSpPr/>
          <p:nvPr/>
        </p:nvSpPr>
        <p:spPr>
          <a:xfrm>
            <a:off x="8136198" y="3774447"/>
            <a:ext cx="4055199" cy="3085362"/>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80" name="Полилиния: фигура 79">
            <a:extLst>
              <a:ext uri="{FF2B5EF4-FFF2-40B4-BE49-F238E27FC236}">
                <a16:creationId xmlns:a16="http://schemas.microsoft.com/office/drawing/2014/main" id="{B69BE18A-706C-4376-82AD-970D23B48CFB}"/>
              </a:ext>
            </a:extLst>
          </p:cNvPr>
          <p:cNvSpPr/>
          <p:nvPr/>
        </p:nvSpPr>
        <p:spPr>
          <a:xfrm>
            <a:off x="10154456" y="3576598"/>
            <a:ext cx="2036940" cy="2309045"/>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spTree>
    <p:extLst>
      <p:ext uri="{BB962C8B-B14F-4D97-AF65-F5344CB8AC3E}">
        <p14:creationId xmlns:p14="http://schemas.microsoft.com/office/powerpoint/2010/main" val="277072707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контакты_3">
    <p:spTree>
      <p:nvGrpSpPr>
        <p:cNvPr id="1" name=""/>
        <p:cNvGrpSpPr/>
        <p:nvPr/>
      </p:nvGrpSpPr>
      <p:grpSpPr>
        <a:xfrm>
          <a:off x="0" y="0"/>
          <a:ext cx="0" cy="0"/>
          <a:chOff x="0" y="0"/>
          <a:chExt cx="0" cy="0"/>
        </a:xfrm>
      </p:grpSpPr>
      <p:sp>
        <p:nvSpPr>
          <p:cNvPr id="72" name="Текст 4">
            <a:extLst>
              <a:ext uri="{FF2B5EF4-FFF2-40B4-BE49-F238E27FC236}">
                <a16:creationId xmlns:a16="http://schemas.microsoft.com/office/drawing/2014/main" id="{5EEB0190-1C0B-44B5-92B0-18DF198B2C91}"/>
              </a:ext>
            </a:extLst>
          </p:cNvPr>
          <p:cNvSpPr>
            <a:spLocks noGrp="1"/>
          </p:cNvSpPr>
          <p:nvPr>
            <p:ph type="body" sz="quarter" idx="22" hasCustomPrompt="1"/>
          </p:nvPr>
        </p:nvSpPr>
        <p:spPr>
          <a:xfrm>
            <a:off x="423753" y="5156611"/>
            <a:ext cx="3202839" cy="54065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Ваш менеджер</a:t>
            </a:r>
            <a:br>
              <a:rPr lang="ru-RU" sz="1587" dirty="0"/>
            </a:br>
            <a:r>
              <a:rPr lang="ru-RU" sz="1587" dirty="0"/>
              <a:t>Инна Иванова</a:t>
            </a:r>
          </a:p>
        </p:txBody>
      </p:sp>
      <p:sp>
        <p:nvSpPr>
          <p:cNvPr id="73" name="Текст 4">
            <a:extLst>
              <a:ext uri="{FF2B5EF4-FFF2-40B4-BE49-F238E27FC236}">
                <a16:creationId xmlns:a16="http://schemas.microsoft.com/office/drawing/2014/main" id="{2BD9721E-D67D-4D9D-ADF8-8572240F79B9}"/>
              </a:ext>
            </a:extLst>
          </p:cNvPr>
          <p:cNvSpPr>
            <a:spLocks noGrp="1"/>
          </p:cNvSpPr>
          <p:nvPr>
            <p:ph type="body" sz="quarter" idx="23" hasCustomPrompt="1"/>
          </p:nvPr>
        </p:nvSpPr>
        <p:spPr>
          <a:xfrm>
            <a:off x="423753" y="5771962"/>
            <a:ext cx="3202839" cy="399677"/>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8 (900) 000-00-00</a:t>
            </a:r>
            <a:br>
              <a:rPr lang="ru-RU" sz="1587" dirty="0"/>
            </a:br>
            <a:r>
              <a:rPr lang="en-US" sz="1587" dirty="0"/>
              <a:t>mail@rt.ru</a:t>
            </a:r>
            <a:endParaRPr lang="ru-RU" sz="1587" dirty="0"/>
          </a:p>
          <a:p>
            <a:pPr algn="l"/>
            <a:endParaRPr lang="ru-RU" sz="1587" dirty="0"/>
          </a:p>
        </p:txBody>
      </p:sp>
      <p:sp>
        <p:nvSpPr>
          <p:cNvPr id="48" name="Текст 22">
            <a:extLst>
              <a:ext uri="{FF2B5EF4-FFF2-40B4-BE49-F238E27FC236}">
                <a16:creationId xmlns:a16="http://schemas.microsoft.com/office/drawing/2014/main" id="{C8DE6A77-6880-4607-8652-D16D372B5844}"/>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8AB77C21-9B93-4EEA-BB88-C3E68F633725}"/>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8AFC6D-0FFC-4C46-A530-06979C65C9E2}"/>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91498783-858D-4EF7-9337-8AD525CA6ED5}"/>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87308D26-AF0B-447F-8502-0FC1B28F188C}"/>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82C88651-4E0B-4E12-9526-7A3DC5F971A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9071BE21-43E0-4DF1-8E75-F868DC924C9A}"/>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C15EE4A6-7BD2-4F1E-8C09-26A188B57DA4}"/>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A1C47667-2A96-4DD6-81DC-DC6D402347CC}"/>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63A7051D-553E-4EDC-AAA8-3F095093B65B}"/>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F757B798-7947-4173-BEF9-A2B4B2A4B176}"/>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FA7094DC-22D4-469F-8494-8D1AACC01D39}"/>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D695C9BB-1124-4240-B241-F09BEF24342B}"/>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9" name="Рисунок 57">
            <a:extLst>
              <a:ext uri="{FF2B5EF4-FFF2-40B4-BE49-F238E27FC236}">
                <a16:creationId xmlns:a16="http://schemas.microsoft.com/office/drawing/2014/main" id="{A5312A1B-14E4-4FBA-8ADD-5008F83EC692}"/>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4ADC157A-C038-45C9-9D7E-879D59B484F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2B2F4831-4C70-4227-8EB4-7066CCF515BC}"/>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A933FDD1-B45B-40ED-AB5B-67607803873F}"/>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D7845D97-8D5A-40DA-BE24-9D9A9F6D5404}"/>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EF151728-DE3F-4A99-8058-5424EC0F58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84E65ECB-E1D5-4B5B-9A00-B664E2B39BCF}"/>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09617DCE-AB42-4A40-8AFB-FC67D373B591}"/>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5F905FE8-66E6-4DC6-9276-75937D5F59C7}"/>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D7A61077-1F5A-413A-AE7E-EAC460A1EB4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6D0FB866-7787-499D-A7FE-2AF656B433B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D8A7CD9B-E09C-477D-A216-58152FCB8183}"/>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E3A33E41-E1E2-4F56-B598-AE116B601316}"/>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A2E23E4C-64DB-41C3-B64E-D41066BC5821}"/>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03E84062-D03C-4E55-940A-C97C1D27B121}"/>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C113395A-3C12-4886-AFE8-C6E7CBFAA38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5ECD317B-1B4C-42BC-8BF2-AE427282EC09}"/>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57F9AC2F-76D7-414A-A4CC-F683BB6FEC33}"/>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D7635451-368E-4725-AC0B-BD9E9A4CB000}"/>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7BB0643D-3A58-4451-8A5A-8B5E82532451}"/>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B9B60D5A-0AB9-4458-8245-F53F8AD68E2E}"/>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0" name="Полилиния: фигура 69">
                <a:extLst>
                  <a:ext uri="{FF2B5EF4-FFF2-40B4-BE49-F238E27FC236}">
                    <a16:creationId xmlns:a16="http://schemas.microsoft.com/office/drawing/2014/main" id="{A5B46944-C7E2-4CDD-8C56-734D3F297B0A}"/>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1" name="Полилиния: фигура 70">
                <a:extLst>
                  <a:ext uri="{FF2B5EF4-FFF2-40B4-BE49-F238E27FC236}">
                    <a16:creationId xmlns:a16="http://schemas.microsoft.com/office/drawing/2014/main" id="{A2DBB532-1724-4852-B0A6-0CF466280363}"/>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BD837A04-C565-4012-A352-9B5899CF64B6}"/>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02EB8E3D-7FE4-4D8A-9E89-81BD5F216051}"/>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294323A4-E707-40C0-9EDA-F387FB366CEC}"/>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55162798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контакты_2">
    <p:spTree>
      <p:nvGrpSpPr>
        <p:cNvPr id="1" name=""/>
        <p:cNvGrpSpPr/>
        <p:nvPr/>
      </p:nvGrpSpPr>
      <p:grpSpPr>
        <a:xfrm>
          <a:off x="0" y="0"/>
          <a:ext cx="0" cy="0"/>
          <a:chOff x="0" y="0"/>
          <a:chExt cx="0" cy="0"/>
        </a:xfrm>
      </p:grpSpPr>
      <p:sp>
        <p:nvSpPr>
          <p:cNvPr id="70" name="Текст 4">
            <a:extLst>
              <a:ext uri="{FF2B5EF4-FFF2-40B4-BE49-F238E27FC236}">
                <a16:creationId xmlns:a16="http://schemas.microsoft.com/office/drawing/2014/main" id="{AB912C9D-33A4-4BF2-AFE8-A15280C240AB}"/>
              </a:ext>
            </a:extLst>
          </p:cNvPr>
          <p:cNvSpPr>
            <a:spLocks noGrp="1"/>
          </p:cNvSpPr>
          <p:nvPr>
            <p:ph type="body" sz="quarter" idx="19" hasCustomPrompt="1"/>
          </p:nvPr>
        </p:nvSpPr>
        <p:spPr>
          <a:xfrm>
            <a:off x="417513" y="4679858"/>
            <a:ext cx="6122833" cy="486054"/>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115172, Российская Федерация,</a:t>
            </a:r>
            <a:r>
              <a:rPr lang="en-US" sz="1587" dirty="0"/>
              <a:t/>
            </a:r>
            <a:br>
              <a:rPr lang="en-US" sz="1587" dirty="0"/>
            </a:br>
            <a:r>
              <a:rPr lang="ru-RU" sz="1587" dirty="0"/>
              <a:t>Москва, ул. Гончарная, д. 30, стр.</a:t>
            </a:r>
          </a:p>
        </p:txBody>
      </p:sp>
      <p:sp>
        <p:nvSpPr>
          <p:cNvPr id="71" name="Текст 4">
            <a:extLst>
              <a:ext uri="{FF2B5EF4-FFF2-40B4-BE49-F238E27FC236}">
                <a16:creationId xmlns:a16="http://schemas.microsoft.com/office/drawing/2014/main" id="{525ADEB8-74B7-4EDB-9D29-6B27DF0F4D1A}"/>
              </a:ext>
            </a:extLst>
          </p:cNvPr>
          <p:cNvSpPr>
            <a:spLocks noGrp="1"/>
          </p:cNvSpPr>
          <p:nvPr>
            <p:ph type="body" sz="quarter" idx="20" hasCustomPrompt="1"/>
          </p:nvPr>
        </p:nvSpPr>
        <p:spPr>
          <a:xfrm>
            <a:off x="417514" y="5293658"/>
            <a:ext cx="6122833" cy="904875"/>
          </a:xfrm>
          <a:prstGeom prst="rect">
            <a:avLst/>
          </a:prstGeom>
        </p:spPr>
        <p:txBody>
          <a:bodyPr lIns="0" tIns="0" rIns="0" bIns="0"/>
          <a:lstStyle>
            <a:lvl1pPr>
              <a:lnSpc>
                <a:spcPts val="1851"/>
              </a:lnSpc>
              <a:spcBef>
                <a:spcPts val="0"/>
              </a:spcBef>
              <a:defRPr sz="1587" b="0">
                <a:solidFill>
                  <a:schemeClr val="tx1"/>
                </a:solidFill>
                <a:latin typeface="+mn-lt"/>
              </a:defRPr>
            </a:lvl1pPr>
          </a:lstStyle>
          <a:p>
            <a:r>
              <a:rPr lang="ru-RU" sz="1587" dirty="0"/>
              <a:t>Телефон: +7 (499) 999-82-83</a:t>
            </a:r>
            <a:r>
              <a:rPr lang="en-US" sz="1587" dirty="0"/>
              <a:t/>
            </a:r>
            <a:br>
              <a:rPr lang="en-US" sz="1587" dirty="0"/>
            </a:br>
            <a:r>
              <a:rPr lang="ru-RU" sz="1587" dirty="0"/>
              <a:t>Факс: +7 (499) 999-82-22</a:t>
            </a:r>
            <a:r>
              <a:rPr lang="en-US" sz="1587" dirty="0"/>
              <a:t/>
            </a:r>
            <a:br>
              <a:rPr lang="en-US" sz="1587" dirty="0"/>
            </a:br>
            <a:r>
              <a:rPr lang="ru-RU" sz="1587" dirty="0"/>
              <a:t>Электронная почта: </a:t>
            </a:r>
            <a:r>
              <a:rPr lang="ru-RU" sz="1587" dirty="0">
                <a:hlinkClick r:id="rId2">
                  <a:extLst>
                    <a:ext uri="{A12FA001-AC4F-418D-AE19-62706E023703}">
                      <ahyp:hlinkClr xmlns="" xmlns:ahyp="http://schemas.microsoft.com/office/drawing/2018/hyperlinkcolor" val="tx"/>
                    </a:ext>
                  </a:extLst>
                </a:hlinkClick>
              </a:rPr>
              <a:t>rostelecom@rt.ru</a:t>
            </a:r>
            <a:r>
              <a:rPr lang="en-US" sz="1587" dirty="0"/>
              <a:t/>
            </a:r>
            <a:br>
              <a:rPr lang="en-US" sz="1587" dirty="0"/>
            </a:br>
            <a:r>
              <a:rPr lang="ru-RU" sz="1587" dirty="0"/>
              <a:t>Адрес для прессы: </a:t>
            </a:r>
            <a:r>
              <a:rPr lang="ru-RU" sz="1587" dirty="0">
                <a:hlinkClick r:id="rId3">
                  <a:extLst>
                    <a:ext uri="{A12FA001-AC4F-418D-AE19-62706E023703}">
                      <ahyp:hlinkClr xmlns="" xmlns:ahyp="http://schemas.microsoft.com/office/drawing/2018/hyperlinkcolor" val="tx"/>
                    </a:ext>
                  </a:extLst>
                </a:hlinkClick>
              </a:rPr>
              <a:t>pr@rt.ru</a:t>
            </a:r>
            <a:endParaRPr lang="ru-RU" sz="1587" dirty="0"/>
          </a:p>
        </p:txBody>
      </p:sp>
      <p:sp>
        <p:nvSpPr>
          <p:cNvPr id="49" name="Текст 22">
            <a:extLst>
              <a:ext uri="{FF2B5EF4-FFF2-40B4-BE49-F238E27FC236}">
                <a16:creationId xmlns:a16="http://schemas.microsoft.com/office/drawing/2014/main" id="{6B4C4C44-AB05-44AC-B63C-AB1EBD4200D1}"/>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DAA75C33-8D5F-4239-995A-6C38EEE58C6E}"/>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28C639-B8D1-47BF-B0F1-995145066074}"/>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B4443EC2-A8D6-4327-91FB-FDB8AF4B13EB}"/>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E1EC6444-8F3F-457D-A2DF-42BD1CC49439}"/>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7F990E55-81BC-4FE0-8D2C-6764E352EBAB}"/>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0CC19760-0822-4B49-801D-92648589BC93}"/>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2747985-1F4A-4B53-B398-DF8ED811145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1F0061B8-5B61-474D-8A79-E681F318D1C9}"/>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31E7C212-BAA8-41C0-B209-BE7F3F96A1AA}"/>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86FD2C03-45A5-4FC0-B67A-E07FFC9BB55A}"/>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1057A06E-C9E8-4B17-B397-ABDA4685D03E}"/>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49AC947C-0F71-42E7-B659-CDBEFF7E632C}"/>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48" name="Рисунок 57">
            <a:extLst>
              <a:ext uri="{FF2B5EF4-FFF2-40B4-BE49-F238E27FC236}">
                <a16:creationId xmlns:a16="http://schemas.microsoft.com/office/drawing/2014/main" id="{692F1B6F-4C5C-48F5-9647-2C568C52A16F}"/>
              </a:ext>
            </a:extLst>
          </p:cNvPr>
          <p:cNvGrpSpPr/>
          <p:nvPr userDrawn="1"/>
        </p:nvGrpSpPr>
        <p:grpSpPr>
          <a:xfrm>
            <a:off x="8136198" y="3576598"/>
            <a:ext cx="4055802" cy="3281403"/>
            <a:chOff x="9229500" y="4053477"/>
            <a:chExt cx="4600800" cy="3718923"/>
          </a:xfrm>
        </p:grpSpPr>
        <p:sp>
          <p:nvSpPr>
            <p:cNvPr id="50" name="Полилиния: фигура 49">
              <a:extLst>
                <a:ext uri="{FF2B5EF4-FFF2-40B4-BE49-F238E27FC236}">
                  <a16:creationId xmlns:a16="http://schemas.microsoft.com/office/drawing/2014/main" id="{77602831-E0ED-435A-8B1F-4E63147E2AC7}"/>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51" name="Полилиния: фигура 50">
              <a:extLst>
                <a:ext uri="{FF2B5EF4-FFF2-40B4-BE49-F238E27FC236}">
                  <a16:creationId xmlns:a16="http://schemas.microsoft.com/office/drawing/2014/main" id="{2545C9BD-AAE9-411A-B3FC-313D68D32E24}"/>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52" name="Рисунок 57">
              <a:extLst>
                <a:ext uri="{FF2B5EF4-FFF2-40B4-BE49-F238E27FC236}">
                  <a16:creationId xmlns:a16="http://schemas.microsoft.com/office/drawing/2014/main" id="{9C88424F-8BD8-4053-93EF-80B45CC64002}"/>
                </a:ext>
              </a:extLst>
            </p:cNvPr>
            <p:cNvGrpSpPr/>
            <p:nvPr/>
          </p:nvGrpSpPr>
          <p:grpSpPr>
            <a:xfrm>
              <a:off x="11333699" y="6786611"/>
              <a:ext cx="2054294" cy="554420"/>
              <a:chOff x="11333699" y="6786611"/>
              <a:chExt cx="2054294" cy="554420"/>
            </a:xfrm>
            <a:solidFill>
              <a:srgbClr val="FFFFFF"/>
            </a:solidFill>
          </p:grpSpPr>
          <p:sp>
            <p:nvSpPr>
              <p:cNvPr id="53" name="Полилиния: фигура 52">
                <a:extLst>
                  <a:ext uri="{FF2B5EF4-FFF2-40B4-BE49-F238E27FC236}">
                    <a16:creationId xmlns:a16="http://schemas.microsoft.com/office/drawing/2014/main" id="{E6DED3D8-A16D-4FD4-A7AB-13FC2BE14C66}"/>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54" name="Полилиния: фигура 53">
                <a:extLst>
                  <a:ext uri="{FF2B5EF4-FFF2-40B4-BE49-F238E27FC236}">
                    <a16:creationId xmlns:a16="http://schemas.microsoft.com/office/drawing/2014/main" id="{EFBE7B26-3AE8-438A-9F55-D3C329AFC12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55" name="Полилиния: фигура 54">
                <a:extLst>
                  <a:ext uri="{FF2B5EF4-FFF2-40B4-BE49-F238E27FC236}">
                    <a16:creationId xmlns:a16="http://schemas.microsoft.com/office/drawing/2014/main" id="{149C24EE-A8D3-460C-9EC6-262ED7C7F0C7}"/>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56" name="Полилиния: фигура 55">
                <a:extLst>
                  <a:ext uri="{FF2B5EF4-FFF2-40B4-BE49-F238E27FC236}">
                    <a16:creationId xmlns:a16="http://schemas.microsoft.com/office/drawing/2014/main" id="{D69BE875-ACEB-43B7-AAC3-BA9380BBE8B5}"/>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57" name="Полилиния: фигура 56">
                <a:extLst>
                  <a:ext uri="{FF2B5EF4-FFF2-40B4-BE49-F238E27FC236}">
                    <a16:creationId xmlns:a16="http://schemas.microsoft.com/office/drawing/2014/main" id="{0BA314ED-A081-4E15-B8A3-8BA0EE9A3A79}"/>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58" name="Полилиния: фигура 57">
                <a:extLst>
                  <a:ext uri="{FF2B5EF4-FFF2-40B4-BE49-F238E27FC236}">
                    <a16:creationId xmlns:a16="http://schemas.microsoft.com/office/drawing/2014/main" id="{01436FA5-43D1-4173-B81A-1FEC0A07FDC7}"/>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59" name="Полилиния: фигура 58">
                <a:extLst>
                  <a:ext uri="{FF2B5EF4-FFF2-40B4-BE49-F238E27FC236}">
                    <a16:creationId xmlns:a16="http://schemas.microsoft.com/office/drawing/2014/main" id="{2DF8F55A-6B88-45FA-8919-AD6D79F0DBF2}"/>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0" name="Полилиния: фигура 59">
                <a:extLst>
                  <a:ext uri="{FF2B5EF4-FFF2-40B4-BE49-F238E27FC236}">
                    <a16:creationId xmlns:a16="http://schemas.microsoft.com/office/drawing/2014/main" id="{E64324DE-977A-47B2-84EB-58A6A94DE301}"/>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1" name="Полилиния: фигура 60">
                <a:extLst>
                  <a:ext uri="{FF2B5EF4-FFF2-40B4-BE49-F238E27FC236}">
                    <a16:creationId xmlns:a16="http://schemas.microsoft.com/office/drawing/2014/main" id="{172D2B0A-B6A7-46C4-9BD2-BFA43877BAEF}"/>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62" name="Полилиния: фигура 61">
                <a:extLst>
                  <a:ext uri="{FF2B5EF4-FFF2-40B4-BE49-F238E27FC236}">
                    <a16:creationId xmlns:a16="http://schemas.microsoft.com/office/drawing/2014/main" id="{B70AE1CD-EC7B-4598-B45C-88EE944C018E}"/>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63" name="Полилиния: фигура 62">
                <a:extLst>
                  <a:ext uri="{FF2B5EF4-FFF2-40B4-BE49-F238E27FC236}">
                    <a16:creationId xmlns:a16="http://schemas.microsoft.com/office/drawing/2014/main" id="{79624786-D5E5-4EB6-BF99-2510AB7FB807}"/>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64" name="Полилиния: фигура 63">
                <a:extLst>
                  <a:ext uri="{FF2B5EF4-FFF2-40B4-BE49-F238E27FC236}">
                    <a16:creationId xmlns:a16="http://schemas.microsoft.com/office/drawing/2014/main" id="{3D751F75-3E46-4688-B44A-A66D756F359E}"/>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65" name="Полилиния: фигура 64">
                <a:extLst>
                  <a:ext uri="{FF2B5EF4-FFF2-40B4-BE49-F238E27FC236}">
                    <a16:creationId xmlns:a16="http://schemas.microsoft.com/office/drawing/2014/main" id="{865E2FCC-4D53-4658-9D85-BE25F09938C7}"/>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66" name="Полилиния: фигура 65">
                <a:extLst>
                  <a:ext uri="{FF2B5EF4-FFF2-40B4-BE49-F238E27FC236}">
                    <a16:creationId xmlns:a16="http://schemas.microsoft.com/office/drawing/2014/main" id="{ABE365DB-327C-4E34-A4EE-4861051FD388}"/>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67" name="Полилиния: фигура 66">
                <a:extLst>
                  <a:ext uri="{FF2B5EF4-FFF2-40B4-BE49-F238E27FC236}">
                    <a16:creationId xmlns:a16="http://schemas.microsoft.com/office/drawing/2014/main" id="{988E6428-F7EE-4D45-AD44-2F719CFA7E07}"/>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68" name="Полилиния: фигура 67">
                <a:extLst>
                  <a:ext uri="{FF2B5EF4-FFF2-40B4-BE49-F238E27FC236}">
                    <a16:creationId xmlns:a16="http://schemas.microsoft.com/office/drawing/2014/main" id="{80D7720D-5CCB-4C79-9F54-48D47FE8B4BA}"/>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69" name="Полилиния: фигура 68">
                <a:extLst>
                  <a:ext uri="{FF2B5EF4-FFF2-40B4-BE49-F238E27FC236}">
                    <a16:creationId xmlns:a16="http://schemas.microsoft.com/office/drawing/2014/main" id="{9BDB3807-0D6E-4433-91B4-F9BAE5F8C131}"/>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72" name="Полилиния: фигура 71">
                <a:extLst>
                  <a:ext uri="{FF2B5EF4-FFF2-40B4-BE49-F238E27FC236}">
                    <a16:creationId xmlns:a16="http://schemas.microsoft.com/office/drawing/2014/main" id="{DF49A586-84E4-4DE9-A6C2-5FAB46360795}"/>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73" name="Полилиния: фигура 72">
                <a:extLst>
                  <a:ext uri="{FF2B5EF4-FFF2-40B4-BE49-F238E27FC236}">
                    <a16:creationId xmlns:a16="http://schemas.microsoft.com/office/drawing/2014/main" id="{C34CF262-B843-4B3C-B092-F68BE4947B60}"/>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74" name="Полилиния: фигура 73">
                <a:extLst>
                  <a:ext uri="{FF2B5EF4-FFF2-40B4-BE49-F238E27FC236}">
                    <a16:creationId xmlns:a16="http://schemas.microsoft.com/office/drawing/2014/main" id="{790C8533-F936-483A-9443-A3118B5CDFFA}"/>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75" name="Полилиния: фигура 74">
                <a:extLst>
                  <a:ext uri="{FF2B5EF4-FFF2-40B4-BE49-F238E27FC236}">
                    <a16:creationId xmlns:a16="http://schemas.microsoft.com/office/drawing/2014/main" id="{1C863F7F-9941-447A-AF15-61C7774FEABD}"/>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76" name="Полилиния: фигура 75">
                <a:extLst>
                  <a:ext uri="{FF2B5EF4-FFF2-40B4-BE49-F238E27FC236}">
                    <a16:creationId xmlns:a16="http://schemas.microsoft.com/office/drawing/2014/main" id="{3134F649-3321-404F-8870-7746D1CBE131}"/>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80906331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контакты_4">
    <p:spTree>
      <p:nvGrpSpPr>
        <p:cNvPr id="1" name=""/>
        <p:cNvGrpSpPr/>
        <p:nvPr/>
      </p:nvGrpSpPr>
      <p:grpSpPr>
        <a:xfrm>
          <a:off x="0" y="0"/>
          <a:ext cx="0" cy="0"/>
          <a:chOff x="0" y="0"/>
          <a:chExt cx="0" cy="0"/>
        </a:xfrm>
      </p:grpSpPr>
      <p:sp>
        <p:nvSpPr>
          <p:cNvPr id="49" name="Текст 22">
            <a:extLst>
              <a:ext uri="{FF2B5EF4-FFF2-40B4-BE49-F238E27FC236}">
                <a16:creationId xmlns:a16="http://schemas.microsoft.com/office/drawing/2014/main" id="{9C039501-9FA3-4827-8BD0-0538498113B6}"/>
              </a:ext>
            </a:extLst>
          </p:cNvPr>
          <p:cNvSpPr>
            <a:spLocks noGrp="1"/>
          </p:cNvSpPr>
          <p:nvPr>
            <p:ph type="body" sz="quarter" idx="14" hasCustomPrompt="1"/>
          </p:nvPr>
        </p:nvSpPr>
        <p:spPr>
          <a:xfrm>
            <a:off x="417514" y="2481063"/>
            <a:ext cx="3781586" cy="1242466"/>
          </a:xfrm>
          <a:prstGeom prst="rect">
            <a:avLst/>
          </a:prstGeom>
          <a:noFill/>
        </p:spPr>
        <p:txBody>
          <a:bodyPr wrap="none" lIns="0" tIns="108000" rIns="108000" bIns="0">
            <a:spAutoFit/>
          </a:bodyPr>
          <a:lstStyle>
            <a:lvl1pPr>
              <a:lnSpc>
                <a:spcPts val="4408"/>
              </a:lnSpc>
              <a:spcBef>
                <a:spcPts val="0"/>
              </a:spcBef>
              <a:defRPr sz="4055" b="0">
                <a:solidFill>
                  <a:schemeClr val="tx1"/>
                </a:solidFill>
                <a:latin typeface="+mj-lt"/>
              </a:defRPr>
            </a:lvl1pPr>
          </a:lstStyle>
          <a:p>
            <a:pPr lvl="0"/>
            <a:r>
              <a:rPr lang="ru-RU" dirty="0"/>
              <a:t>С уважением</a:t>
            </a:r>
            <a:br>
              <a:rPr lang="ru-RU" dirty="0"/>
            </a:br>
            <a:r>
              <a:rPr lang="ru-RU" dirty="0"/>
              <a:t>к вашему делу</a:t>
            </a:r>
          </a:p>
        </p:txBody>
      </p:sp>
      <p:grpSp>
        <p:nvGrpSpPr>
          <p:cNvPr id="3" name="Рисунок 1">
            <a:extLst>
              <a:ext uri="{FF2B5EF4-FFF2-40B4-BE49-F238E27FC236}">
                <a16:creationId xmlns:a16="http://schemas.microsoft.com/office/drawing/2014/main" id="{70FAB5A0-71AB-4AA7-8846-821D9B1787C5}"/>
              </a:ext>
            </a:extLst>
          </p:cNvPr>
          <p:cNvGrpSpPr/>
          <p:nvPr/>
        </p:nvGrpSpPr>
        <p:grpSpPr>
          <a:xfrm>
            <a:off x="417538" y="418821"/>
            <a:ext cx="3319209" cy="845606"/>
            <a:chOff x="473645" y="474663"/>
            <a:chExt cx="3765228" cy="958353"/>
          </a:xfrm>
        </p:grpSpPr>
        <p:grpSp>
          <p:nvGrpSpPr>
            <p:cNvPr id="4" name="Рисунок 1">
              <a:extLst>
                <a:ext uri="{FF2B5EF4-FFF2-40B4-BE49-F238E27FC236}">
                  <a16:creationId xmlns:a16="http://schemas.microsoft.com/office/drawing/2014/main" id="{70FAB5A0-71AB-4AA7-8846-821D9B1787C5}"/>
                </a:ext>
              </a:extLst>
            </p:cNvPr>
            <p:cNvGrpSpPr/>
            <p:nvPr/>
          </p:nvGrpSpPr>
          <p:grpSpPr>
            <a:xfrm>
              <a:off x="1159476" y="921852"/>
              <a:ext cx="3079398" cy="399429"/>
              <a:chOff x="1159476" y="921852"/>
              <a:chExt cx="3079398" cy="399429"/>
            </a:xfrm>
            <a:solidFill>
              <a:srgbClr val="101828"/>
            </a:solidFill>
          </p:grpSpPr>
          <p:sp>
            <p:nvSpPr>
              <p:cNvPr id="5" name="Полилиния: фигура 4">
                <a:extLst>
                  <a:ext uri="{FF2B5EF4-FFF2-40B4-BE49-F238E27FC236}">
                    <a16:creationId xmlns:a16="http://schemas.microsoft.com/office/drawing/2014/main" id="{736D9289-6057-408D-9D59-23508B9BD311}"/>
                  </a:ext>
                </a:extLst>
              </p:cNvPr>
              <p:cNvSpPr/>
              <p:nvPr/>
            </p:nvSpPr>
            <p:spPr>
              <a:xfrm>
                <a:off x="3318145" y="1035993"/>
                <a:ext cx="256658" cy="277434"/>
              </a:xfrm>
              <a:custGeom>
                <a:avLst/>
                <a:gdLst>
                  <a:gd name="connsiteX0" fmla="*/ 253365 w 256658"/>
                  <a:gd name="connsiteY0" fmla="*/ 0 h 277434"/>
                  <a:gd name="connsiteX1" fmla="*/ 170008 w 256658"/>
                  <a:gd name="connsiteY1" fmla="*/ 0 h 277434"/>
                  <a:gd name="connsiteX2" fmla="*/ 70436 w 256658"/>
                  <a:gd name="connsiteY2" fmla="*/ 100713 h 277434"/>
                  <a:gd name="connsiteX3" fmla="*/ 70436 w 256658"/>
                  <a:gd name="connsiteY3" fmla="*/ 0 h 277434"/>
                  <a:gd name="connsiteX4" fmla="*/ 0 w 256658"/>
                  <a:gd name="connsiteY4" fmla="*/ 0 h 277434"/>
                  <a:gd name="connsiteX5" fmla="*/ 0 w 256658"/>
                  <a:gd name="connsiteY5" fmla="*/ 277435 h 277434"/>
                  <a:gd name="connsiteX6" fmla="*/ 70436 w 256658"/>
                  <a:gd name="connsiteY6" fmla="*/ 277435 h 277434"/>
                  <a:gd name="connsiteX7" fmla="*/ 70436 w 256658"/>
                  <a:gd name="connsiteY7" fmla="*/ 162787 h 277434"/>
                  <a:gd name="connsiteX8" fmla="*/ 171655 w 256658"/>
                  <a:gd name="connsiteY8" fmla="*/ 277435 h 277434"/>
                  <a:gd name="connsiteX9" fmla="*/ 256659 w 256658"/>
                  <a:gd name="connsiteY9" fmla="*/ 277435 h 277434"/>
                  <a:gd name="connsiteX10" fmla="*/ 125796 w 256658"/>
                  <a:gd name="connsiteY10" fmla="*/ 128709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6658" h="277434">
                    <a:moveTo>
                      <a:pt x="253365" y="0"/>
                    </a:moveTo>
                    <a:lnTo>
                      <a:pt x="170008" y="0"/>
                    </a:lnTo>
                    <a:lnTo>
                      <a:pt x="70436" y="100713"/>
                    </a:lnTo>
                    <a:lnTo>
                      <a:pt x="70436" y="0"/>
                    </a:lnTo>
                    <a:lnTo>
                      <a:pt x="0" y="0"/>
                    </a:lnTo>
                    <a:lnTo>
                      <a:pt x="0" y="277435"/>
                    </a:lnTo>
                    <a:lnTo>
                      <a:pt x="70436" y="277435"/>
                    </a:lnTo>
                    <a:lnTo>
                      <a:pt x="70436" y="162787"/>
                    </a:lnTo>
                    <a:lnTo>
                      <a:pt x="171655" y="277435"/>
                    </a:lnTo>
                    <a:lnTo>
                      <a:pt x="256659" y="277435"/>
                    </a:lnTo>
                    <a:lnTo>
                      <a:pt x="125796" y="128709"/>
                    </a:lnTo>
                    <a:close/>
                  </a:path>
                </a:pathLst>
              </a:custGeom>
              <a:solidFill>
                <a:srgbClr val="101828"/>
              </a:solidFill>
              <a:ln w="12668"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56B72CA4-B502-478A-B2B2-880DE635713E}"/>
                  </a:ext>
                </a:extLst>
              </p:cNvPr>
              <p:cNvSpPr/>
              <p:nvPr/>
            </p:nvSpPr>
            <p:spPr>
              <a:xfrm>
                <a:off x="1159476" y="921852"/>
                <a:ext cx="324433" cy="391575"/>
              </a:xfrm>
              <a:custGeom>
                <a:avLst/>
                <a:gdLst>
                  <a:gd name="connsiteX0" fmla="*/ 177862 w 324433"/>
                  <a:gd name="connsiteY0" fmla="*/ 0 h 391575"/>
                  <a:gd name="connsiteX1" fmla="*/ 0 w 324433"/>
                  <a:gd name="connsiteY1" fmla="*/ 0 h 391575"/>
                  <a:gd name="connsiteX2" fmla="*/ 0 w 324433"/>
                  <a:gd name="connsiteY2" fmla="*/ 391576 h 391575"/>
                  <a:gd name="connsiteX3" fmla="*/ 73856 w 324433"/>
                  <a:gd name="connsiteY3" fmla="*/ 391576 h 391575"/>
                  <a:gd name="connsiteX4" fmla="*/ 73856 w 324433"/>
                  <a:gd name="connsiteY4" fmla="*/ 255139 h 391575"/>
                  <a:gd name="connsiteX5" fmla="*/ 177862 w 324433"/>
                  <a:gd name="connsiteY5" fmla="*/ 255139 h 391575"/>
                  <a:gd name="connsiteX6" fmla="*/ 324434 w 324433"/>
                  <a:gd name="connsiteY6" fmla="*/ 127569 h 391575"/>
                  <a:gd name="connsiteX7" fmla="*/ 177862 w 324433"/>
                  <a:gd name="connsiteY7" fmla="*/ 0 h 391575"/>
                  <a:gd name="connsiteX8" fmla="*/ 175582 w 324433"/>
                  <a:gd name="connsiteY8" fmla="*/ 189137 h 391575"/>
                  <a:gd name="connsiteX9" fmla="*/ 73729 w 324433"/>
                  <a:gd name="connsiteY9" fmla="*/ 189137 h 391575"/>
                  <a:gd name="connsiteX10" fmla="*/ 73729 w 324433"/>
                  <a:gd name="connsiteY10" fmla="*/ 66128 h 391575"/>
                  <a:gd name="connsiteX11" fmla="*/ 175582 w 324433"/>
                  <a:gd name="connsiteY11" fmla="*/ 66128 h 391575"/>
                  <a:gd name="connsiteX12" fmla="*/ 250578 w 324433"/>
                  <a:gd name="connsiteY12" fmla="*/ 127696 h 391575"/>
                  <a:gd name="connsiteX13" fmla="*/ 175582 w 324433"/>
                  <a:gd name="connsiteY13" fmla="*/ 189137 h 39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433" h="391575">
                    <a:moveTo>
                      <a:pt x="177862" y="0"/>
                    </a:moveTo>
                    <a:lnTo>
                      <a:pt x="0" y="0"/>
                    </a:lnTo>
                    <a:lnTo>
                      <a:pt x="0" y="391576"/>
                    </a:lnTo>
                    <a:lnTo>
                      <a:pt x="73856" y="391576"/>
                    </a:lnTo>
                    <a:lnTo>
                      <a:pt x="73856" y="255139"/>
                    </a:lnTo>
                    <a:lnTo>
                      <a:pt x="177862" y="255139"/>
                    </a:lnTo>
                    <a:cubicBezTo>
                      <a:pt x="266287" y="255139"/>
                      <a:pt x="324434" y="209786"/>
                      <a:pt x="324434" y="127569"/>
                    </a:cubicBezTo>
                    <a:cubicBezTo>
                      <a:pt x="324434" y="45352"/>
                      <a:pt x="266160" y="0"/>
                      <a:pt x="177862" y="0"/>
                    </a:cubicBezTo>
                    <a:moveTo>
                      <a:pt x="175582" y="189137"/>
                    </a:moveTo>
                    <a:lnTo>
                      <a:pt x="73729" y="189137"/>
                    </a:lnTo>
                    <a:lnTo>
                      <a:pt x="73729" y="66128"/>
                    </a:lnTo>
                    <a:lnTo>
                      <a:pt x="175582" y="66128"/>
                    </a:lnTo>
                    <a:cubicBezTo>
                      <a:pt x="227015" y="66128"/>
                      <a:pt x="250578" y="90705"/>
                      <a:pt x="250578" y="127696"/>
                    </a:cubicBezTo>
                    <a:cubicBezTo>
                      <a:pt x="250578" y="164434"/>
                      <a:pt x="227015" y="189137"/>
                      <a:pt x="175582" y="189137"/>
                    </a:cubicBezTo>
                  </a:path>
                </a:pathLst>
              </a:custGeom>
              <a:solidFill>
                <a:srgbClr val="101828"/>
              </a:solidFill>
              <a:ln w="12668"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578C0BD7-7387-440E-90BE-5834B2B8DCAA}"/>
                  </a:ext>
                </a:extLst>
              </p:cNvPr>
              <p:cNvSpPr/>
              <p:nvPr/>
            </p:nvSpPr>
            <p:spPr>
              <a:xfrm>
                <a:off x="1498858" y="1028138"/>
                <a:ext cx="303151" cy="293143"/>
              </a:xfrm>
              <a:custGeom>
                <a:avLst/>
                <a:gdLst>
                  <a:gd name="connsiteX0" fmla="*/ 151639 w 303151"/>
                  <a:gd name="connsiteY0" fmla="*/ 0 h 293143"/>
                  <a:gd name="connsiteX1" fmla="*/ 0 w 303151"/>
                  <a:gd name="connsiteY1" fmla="*/ 146572 h 293143"/>
                  <a:gd name="connsiteX2" fmla="*/ 151639 w 303151"/>
                  <a:gd name="connsiteY2" fmla="*/ 293143 h 293143"/>
                  <a:gd name="connsiteX3" fmla="*/ 303151 w 303151"/>
                  <a:gd name="connsiteY3" fmla="*/ 146572 h 293143"/>
                  <a:gd name="connsiteX4" fmla="*/ 151639 w 303151"/>
                  <a:gd name="connsiteY4" fmla="*/ 0 h 293143"/>
                  <a:gd name="connsiteX5" fmla="*/ 151639 w 303151"/>
                  <a:gd name="connsiteY5" fmla="*/ 227142 h 293143"/>
                  <a:gd name="connsiteX6" fmla="*/ 71702 w 303151"/>
                  <a:gd name="connsiteY6" fmla="*/ 146572 h 293143"/>
                  <a:gd name="connsiteX7" fmla="*/ 151639 w 303151"/>
                  <a:gd name="connsiteY7" fmla="*/ 66002 h 293143"/>
                  <a:gd name="connsiteX8" fmla="*/ 231576 w 303151"/>
                  <a:gd name="connsiteY8" fmla="*/ 146572 h 293143"/>
                  <a:gd name="connsiteX9" fmla="*/ 151639 w 303151"/>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151" h="293143">
                    <a:moveTo>
                      <a:pt x="151639" y="0"/>
                    </a:moveTo>
                    <a:cubicBezTo>
                      <a:pt x="75629" y="0"/>
                      <a:pt x="0" y="49280"/>
                      <a:pt x="0" y="146572"/>
                    </a:cubicBezTo>
                    <a:cubicBezTo>
                      <a:pt x="0" y="243864"/>
                      <a:pt x="75503" y="293143"/>
                      <a:pt x="151639" y="293143"/>
                    </a:cubicBezTo>
                    <a:cubicBezTo>
                      <a:pt x="227648" y="293143"/>
                      <a:pt x="303151" y="243991"/>
                      <a:pt x="303151" y="146572"/>
                    </a:cubicBezTo>
                    <a:cubicBezTo>
                      <a:pt x="303278" y="49280"/>
                      <a:pt x="227775" y="0"/>
                      <a:pt x="151639" y="0"/>
                    </a:cubicBezTo>
                    <a:moveTo>
                      <a:pt x="151639" y="227142"/>
                    </a:moveTo>
                    <a:cubicBezTo>
                      <a:pt x="110214" y="227142"/>
                      <a:pt x="71702" y="197498"/>
                      <a:pt x="71702" y="146572"/>
                    </a:cubicBezTo>
                    <a:cubicBezTo>
                      <a:pt x="71702" y="95645"/>
                      <a:pt x="110340" y="66002"/>
                      <a:pt x="151639" y="66002"/>
                    </a:cubicBezTo>
                    <a:cubicBezTo>
                      <a:pt x="193064" y="66002"/>
                      <a:pt x="231576" y="95645"/>
                      <a:pt x="231576" y="146572"/>
                    </a:cubicBezTo>
                    <a:cubicBezTo>
                      <a:pt x="231702" y="197498"/>
                      <a:pt x="193064" y="227142"/>
                      <a:pt x="151639" y="227142"/>
                    </a:cubicBezTo>
                  </a:path>
                </a:pathLst>
              </a:custGeom>
              <a:solidFill>
                <a:srgbClr val="101828"/>
              </a:solidFill>
              <a:ln w="12668"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4C1DDDB4-41EE-4119-BA0F-10529681058D}"/>
                  </a:ext>
                </a:extLst>
              </p:cNvPr>
              <p:cNvSpPr/>
              <p:nvPr/>
            </p:nvSpPr>
            <p:spPr>
              <a:xfrm>
                <a:off x="1836720" y="1028138"/>
                <a:ext cx="272874" cy="293143"/>
              </a:xfrm>
              <a:custGeom>
                <a:avLst/>
                <a:gdLst>
                  <a:gd name="connsiteX0" fmla="*/ 145305 w 272874"/>
                  <a:gd name="connsiteY0" fmla="*/ 227142 h 293143"/>
                  <a:gd name="connsiteX1" fmla="*/ 71449 w 272874"/>
                  <a:gd name="connsiteY1" fmla="*/ 146572 h 293143"/>
                  <a:gd name="connsiteX2" fmla="*/ 145305 w 272874"/>
                  <a:gd name="connsiteY2" fmla="*/ 66002 h 293143"/>
                  <a:gd name="connsiteX3" fmla="*/ 209660 w 272874"/>
                  <a:gd name="connsiteY3" fmla="*/ 104006 h 293143"/>
                  <a:gd name="connsiteX4" fmla="*/ 270087 w 272874"/>
                  <a:gd name="connsiteY4" fmla="*/ 69295 h 293143"/>
                  <a:gd name="connsiteX5" fmla="*/ 145938 w 272874"/>
                  <a:gd name="connsiteY5" fmla="*/ 0 h 293143"/>
                  <a:gd name="connsiteX6" fmla="*/ 0 w 272874"/>
                  <a:gd name="connsiteY6" fmla="*/ 146572 h 293143"/>
                  <a:gd name="connsiteX7" fmla="*/ 145938 w 272874"/>
                  <a:gd name="connsiteY7" fmla="*/ 293143 h 293143"/>
                  <a:gd name="connsiteX8" fmla="*/ 272874 w 272874"/>
                  <a:gd name="connsiteY8" fmla="*/ 218781 h 293143"/>
                  <a:gd name="connsiteX9" fmla="*/ 214727 w 272874"/>
                  <a:gd name="connsiteY9" fmla="*/ 186857 h 293143"/>
                  <a:gd name="connsiteX10" fmla="*/ 145305 w 272874"/>
                  <a:gd name="connsiteY10"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2874" h="293143">
                    <a:moveTo>
                      <a:pt x="145305" y="227142"/>
                    </a:moveTo>
                    <a:cubicBezTo>
                      <a:pt x="102740" y="227142"/>
                      <a:pt x="71449" y="196358"/>
                      <a:pt x="71449" y="146572"/>
                    </a:cubicBezTo>
                    <a:cubicBezTo>
                      <a:pt x="71449" y="97292"/>
                      <a:pt x="103880" y="66002"/>
                      <a:pt x="145305" y="66002"/>
                    </a:cubicBezTo>
                    <a:cubicBezTo>
                      <a:pt x="170515" y="66002"/>
                      <a:pt x="192304" y="77783"/>
                      <a:pt x="209660" y="104006"/>
                    </a:cubicBezTo>
                    <a:lnTo>
                      <a:pt x="270087" y="69295"/>
                    </a:lnTo>
                    <a:cubicBezTo>
                      <a:pt x="249945" y="26223"/>
                      <a:pt x="206366" y="0"/>
                      <a:pt x="145938" y="0"/>
                    </a:cubicBezTo>
                    <a:cubicBezTo>
                      <a:pt x="67015" y="0"/>
                      <a:pt x="0" y="58147"/>
                      <a:pt x="0" y="146572"/>
                    </a:cubicBezTo>
                    <a:cubicBezTo>
                      <a:pt x="0" y="234996"/>
                      <a:pt x="63721" y="293143"/>
                      <a:pt x="145938" y="293143"/>
                    </a:cubicBezTo>
                    <a:cubicBezTo>
                      <a:pt x="205226" y="293143"/>
                      <a:pt x="244877" y="266287"/>
                      <a:pt x="272874" y="218781"/>
                    </a:cubicBezTo>
                    <a:lnTo>
                      <a:pt x="214727" y="186857"/>
                    </a:lnTo>
                    <a:cubicBezTo>
                      <a:pt x="197878" y="210293"/>
                      <a:pt x="180016" y="227142"/>
                      <a:pt x="145305" y="227142"/>
                    </a:cubicBezTo>
                  </a:path>
                </a:pathLst>
              </a:custGeom>
              <a:solidFill>
                <a:srgbClr val="101828"/>
              </a:solidFill>
              <a:ln w="12668"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F54D4632-938E-40AA-8B77-BAC6207660D1}"/>
                  </a:ext>
                </a:extLst>
              </p:cNvPr>
              <p:cNvSpPr/>
              <p:nvPr/>
            </p:nvSpPr>
            <p:spPr>
              <a:xfrm>
                <a:off x="2684606" y="1035993"/>
                <a:ext cx="269833" cy="280855"/>
              </a:xfrm>
              <a:custGeom>
                <a:avLst/>
                <a:gdLst>
                  <a:gd name="connsiteX0" fmla="*/ 47759 w 269833"/>
                  <a:gd name="connsiteY0" fmla="*/ 157213 h 280855"/>
                  <a:gd name="connsiteX1" fmla="*/ 21409 w 269833"/>
                  <a:gd name="connsiteY1" fmla="*/ 209280 h 280855"/>
                  <a:gd name="connsiteX2" fmla="*/ 0 w 269833"/>
                  <a:gd name="connsiteY2" fmla="*/ 206366 h 280855"/>
                  <a:gd name="connsiteX3" fmla="*/ 380 w 269833"/>
                  <a:gd name="connsiteY3" fmla="*/ 278195 h 280855"/>
                  <a:gd name="connsiteX4" fmla="*/ 25336 w 269833"/>
                  <a:gd name="connsiteY4" fmla="*/ 280855 h 280855"/>
                  <a:gd name="connsiteX5" fmla="*/ 113128 w 269833"/>
                  <a:gd name="connsiteY5" fmla="*/ 160000 h 280855"/>
                  <a:gd name="connsiteX6" fmla="*/ 119968 w 269833"/>
                  <a:gd name="connsiteY6" fmla="*/ 63215 h 280855"/>
                  <a:gd name="connsiteX7" fmla="*/ 199398 w 269833"/>
                  <a:gd name="connsiteY7" fmla="*/ 63215 h 280855"/>
                  <a:gd name="connsiteX8" fmla="*/ 199398 w 269833"/>
                  <a:gd name="connsiteY8" fmla="*/ 276928 h 280855"/>
                  <a:gd name="connsiteX9" fmla="*/ 269834 w 269833"/>
                  <a:gd name="connsiteY9" fmla="*/ 276928 h 280855"/>
                  <a:gd name="connsiteX10" fmla="*/ 269834 w 269833"/>
                  <a:gd name="connsiteY10" fmla="*/ 0 h 280855"/>
                  <a:gd name="connsiteX11" fmla="*/ 59541 w 269833"/>
                  <a:gd name="connsiteY11" fmla="*/ 0 h 280855"/>
                  <a:gd name="connsiteX12" fmla="*/ 47759 w 269833"/>
                  <a:gd name="connsiteY12" fmla="*/ 157213 h 28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833" h="280855">
                    <a:moveTo>
                      <a:pt x="47759" y="157213"/>
                    </a:moveTo>
                    <a:cubicBezTo>
                      <a:pt x="44465" y="199778"/>
                      <a:pt x="35978" y="209280"/>
                      <a:pt x="21409" y="209280"/>
                    </a:cubicBezTo>
                    <a:cubicBezTo>
                      <a:pt x="11528" y="209280"/>
                      <a:pt x="6841" y="208139"/>
                      <a:pt x="0" y="206366"/>
                    </a:cubicBezTo>
                    <a:lnTo>
                      <a:pt x="380" y="278195"/>
                    </a:lnTo>
                    <a:cubicBezTo>
                      <a:pt x="380" y="278195"/>
                      <a:pt x="9121" y="280855"/>
                      <a:pt x="25336" y="280855"/>
                    </a:cubicBezTo>
                    <a:cubicBezTo>
                      <a:pt x="85131" y="280855"/>
                      <a:pt x="107554" y="242217"/>
                      <a:pt x="113128" y="160000"/>
                    </a:cubicBezTo>
                    <a:lnTo>
                      <a:pt x="119968" y="63215"/>
                    </a:lnTo>
                    <a:lnTo>
                      <a:pt x="199398" y="63215"/>
                    </a:lnTo>
                    <a:lnTo>
                      <a:pt x="199398" y="276928"/>
                    </a:lnTo>
                    <a:lnTo>
                      <a:pt x="269834" y="276928"/>
                    </a:lnTo>
                    <a:lnTo>
                      <a:pt x="269834" y="0"/>
                    </a:lnTo>
                    <a:lnTo>
                      <a:pt x="59541" y="0"/>
                    </a:lnTo>
                    <a:lnTo>
                      <a:pt x="47759" y="157213"/>
                    </a:lnTo>
                    <a:close/>
                  </a:path>
                </a:pathLst>
              </a:custGeom>
              <a:solidFill>
                <a:srgbClr val="101828"/>
              </a:solidFill>
              <a:ln w="12668"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351C8F2E-F717-41F9-AB46-0488C7109BBF}"/>
                  </a:ext>
                </a:extLst>
              </p:cNvPr>
              <p:cNvSpPr/>
              <p:nvPr/>
            </p:nvSpPr>
            <p:spPr>
              <a:xfrm>
                <a:off x="2386522" y="1028138"/>
                <a:ext cx="281488" cy="293143"/>
              </a:xfrm>
              <a:custGeom>
                <a:avLst/>
                <a:gdLst>
                  <a:gd name="connsiteX0" fmla="*/ 145938 w 281488"/>
                  <a:gd name="connsiteY0" fmla="*/ 0 h 293143"/>
                  <a:gd name="connsiteX1" fmla="*/ 0 w 281488"/>
                  <a:gd name="connsiteY1" fmla="*/ 146572 h 293143"/>
                  <a:gd name="connsiteX2" fmla="*/ 142644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789 w 281488"/>
                  <a:gd name="connsiteY10" fmla="*/ 109707 h 293143"/>
                  <a:gd name="connsiteX11" fmla="*/ 143785 w 281488"/>
                  <a:gd name="connsiteY11" fmla="*/ 53713 h 293143"/>
                  <a:gd name="connsiteX12" fmla="*/ 215994 w 281488"/>
                  <a:gd name="connsiteY12" fmla="*/ 109707 h 293143"/>
                  <a:gd name="connsiteX13" fmla="*/ 68789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4"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362" y="57641"/>
                      <a:pt x="225368" y="0"/>
                      <a:pt x="145938" y="0"/>
                    </a:cubicBezTo>
                    <a:moveTo>
                      <a:pt x="68789" y="109707"/>
                    </a:moveTo>
                    <a:cubicBezTo>
                      <a:pt x="78797" y="78417"/>
                      <a:pt x="106793" y="53713"/>
                      <a:pt x="143785" y="53713"/>
                    </a:cubicBezTo>
                    <a:cubicBezTo>
                      <a:pt x="182930" y="53713"/>
                      <a:pt x="209280" y="74996"/>
                      <a:pt x="215994" y="109707"/>
                    </a:cubicBezTo>
                    <a:lnTo>
                      <a:pt x="68789" y="109707"/>
                    </a:lnTo>
                    <a:close/>
                  </a:path>
                </a:pathLst>
              </a:custGeom>
              <a:solidFill>
                <a:srgbClr val="101828"/>
              </a:solidFill>
              <a:ln w="12668"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F14C746F-8717-4A9F-8F9D-DF7149D6EC82}"/>
                  </a:ext>
                </a:extLst>
              </p:cNvPr>
              <p:cNvSpPr/>
              <p:nvPr/>
            </p:nvSpPr>
            <p:spPr>
              <a:xfrm>
                <a:off x="2993965" y="1028138"/>
                <a:ext cx="281488" cy="293143"/>
              </a:xfrm>
              <a:custGeom>
                <a:avLst/>
                <a:gdLst>
                  <a:gd name="connsiteX0" fmla="*/ 145938 w 281488"/>
                  <a:gd name="connsiteY0" fmla="*/ 0 h 293143"/>
                  <a:gd name="connsiteX1" fmla="*/ 0 w 281488"/>
                  <a:gd name="connsiteY1" fmla="*/ 146572 h 293143"/>
                  <a:gd name="connsiteX2" fmla="*/ 142645 w 281488"/>
                  <a:gd name="connsiteY2" fmla="*/ 293143 h 293143"/>
                  <a:gd name="connsiteX3" fmla="*/ 270214 w 281488"/>
                  <a:gd name="connsiteY3" fmla="*/ 222708 h 293143"/>
                  <a:gd name="connsiteX4" fmla="*/ 214220 w 281488"/>
                  <a:gd name="connsiteY4" fmla="*/ 194711 h 293143"/>
                  <a:gd name="connsiteX5" fmla="*/ 143785 w 281488"/>
                  <a:gd name="connsiteY5" fmla="*/ 232716 h 293143"/>
                  <a:gd name="connsiteX6" fmla="*/ 67775 w 281488"/>
                  <a:gd name="connsiteY6" fmla="*/ 163420 h 293143"/>
                  <a:gd name="connsiteX7" fmla="*/ 281489 w 281488"/>
                  <a:gd name="connsiteY7" fmla="*/ 163420 h 293143"/>
                  <a:gd name="connsiteX8" fmla="*/ 281489 w 281488"/>
                  <a:gd name="connsiteY8" fmla="*/ 138844 h 293143"/>
                  <a:gd name="connsiteX9" fmla="*/ 145938 w 281488"/>
                  <a:gd name="connsiteY9" fmla="*/ 0 h 293143"/>
                  <a:gd name="connsiteX10" fmla="*/ 68662 w 281488"/>
                  <a:gd name="connsiteY10" fmla="*/ 109707 h 293143"/>
                  <a:gd name="connsiteX11" fmla="*/ 143658 w 281488"/>
                  <a:gd name="connsiteY11" fmla="*/ 53713 h 293143"/>
                  <a:gd name="connsiteX12" fmla="*/ 215867 w 281488"/>
                  <a:gd name="connsiteY12" fmla="*/ 109707 h 293143"/>
                  <a:gd name="connsiteX13" fmla="*/ 68662 w 281488"/>
                  <a:gd name="connsiteY13" fmla="*/ 109707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488" h="293143">
                    <a:moveTo>
                      <a:pt x="145938" y="0"/>
                    </a:moveTo>
                    <a:cubicBezTo>
                      <a:pt x="65368" y="0"/>
                      <a:pt x="0" y="58781"/>
                      <a:pt x="0" y="146572"/>
                    </a:cubicBezTo>
                    <a:cubicBezTo>
                      <a:pt x="0" y="234363"/>
                      <a:pt x="65495" y="293143"/>
                      <a:pt x="142645" y="293143"/>
                    </a:cubicBezTo>
                    <a:cubicBezTo>
                      <a:pt x="203579" y="293143"/>
                      <a:pt x="242217" y="270214"/>
                      <a:pt x="270214" y="222708"/>
                    </a:cubicBezTo>
                    <a:lnTo>
                      <a:pt x="214220" y="194711"/>
                    </a:lnTo>
                    <a:cubicBezTo>
                      <a:pt x="196865" y="216500"/>
                      <a:pt x="181283" y="232716"/>
                      <a:pt x="143785" y="232716"/>
                    </a:cubicBezTo>
                    <a:cubicBezTo>
                      <a:pt x="102359" y="232716"/>
                      <a:pt x="72209" y="205859"/>
                      <a:pt x="67775" y="163420"/>
                    </a:cubicBezTo>
                    <a:lnTo>
                      <a:pt x="281489" y="163420"/>
                    </a:lnTo>
                    <a:lnTo>
                      <a:pt x="281489" y="138844"/>
                    </a:lnTo>
                    <a:cubicBezTo>
                      <a:pt x="281235" y="57641"/>
                      <a:pt x="225368" y="0"/>
                      <a:pt x="145938" y="0"/>
                    </a:cubicBezTo>
                    <a:moveTo>
                      <a:pt x="68662" y="109707"/>
                    </a:moveTo>
                    <a:cubicBezTo>
                      <a:pt x="78670" y="78417"/>
                      <a:pt x="106667" y="53713"/>
                      <a:pt x="143658" y="53713"/>
                    </a:cubicBezTo>
                    <a:cubicBezTo>
                      <a:pt x="182803" y="53713"/>
                      <a:pt x="209153" y="74996"/>
                      <a:pt x="215867" y="109707"/>
                    </a:cubicBezTo>
                    <a:lnTo>
                      <a:pt x="68662" y="109707"/>
                    </a:lnTo>
                    <a:close/>
                  </a:path>
                </a:pathLst>
              </a:custGeom>
              <a:solidFill>
                <a:srgbClr val="101828"/>
              </a:solidFill>
              <a:ln w="12668"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91A0C6BD-877F-433D-A5BF-49E1FEE76D16}"/>
                  </a:ext>
                </a:extLst>
              </p:cNvPr>
              <p:cNvSpPr/>
              <p:nvPr/>
            </p:nvSpPr>
            <p:spPr>
              <a:xfrm>
                <a:off x="2131510" y="1035993"/>
                <a:ext cx="236009" cy="277434"/>
              </a:xfrm>
              <a:custGeom>
                <a:avLst/>
                <a:gdLst>
                  <a:gd name="connsiteX0" fmla="*/ 0 w 236009"/>
                  <a:gd name="connsiteY0" fmla="*/ 61568 h 277434"/>
                  <a:gd name="connsiteX1" fmla="*/ 82724 w 236009"/>
                  <a:gd name="connsiteY1" fmla="*/ 61568 h 277434"/>
                  <a:gd name="connsiteX2" fmla="*/ 82724 w 236009"/>
                  <a:gd name="connsiteY2" fmla="*/ 277435 h 277434"/>
                  <a:gd name="connsiteX3" fmla="*/ 153159 w 236009"/>
                  <a:gd name="connsiteY3" fmla="*/ 277435 h 277434"/>
                  <a:gd name="connsiteX4" fmla="*/ 153159 w 236009"/>
                  <a:gd name="connsiteY4" fmla="*/ 61568 h 277434"/>
                  <a:gd name="connsiteX5" fmla="*/ 236010 w 236009"/>
                  <a:gd name="connsiteY5" fmla="*/ 61568 h 277434"/>
                  <a:gd name="connsiteX6" fmla="*/ 236010 w 236009"/>
                  <a:gd name="connsiteY6" fmla="*/ 0 h 277434"/>
                  <a:gd name="connsiteX7" fmla="*/ 0 w 236009"/>
                  <a:gd name="connsiteY7" fmla="*/ 0 h 27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09" h="277434">
                    <a:moveTo>
                      <a:pt x="0" y="61568"/>
                    </a:moveTo>
                    <a:lnTo>
                      <a:pt x="82724" y="61568"/>
                    </a:lnTo>
                    <a:lnTo>
                      <a:pt x="82724" y="277435"/>
                    </a:lnTo>
                    <a:lnTo>
                      <a:pt x="153159" y="277435"/>
                    </a:lnTo>
                    <a:lnTo>
                      <a:pt x="153159" y="61568"/>
                    </a:lnTo>
                    <a:lnTo>
                      <a:pt x="236010" y="61568"/>
                    </a:lnTo>
                    <a:lnTo>
                      <a:pt x="236010" y="0"/>
                    </a:lnTo>
                    <a:lnTo>
                      <a:pt x="0" y="0"/>
                    </a:lnTo>
                    <a:close/>
                  </a:path>
                </a:pathLst>
              </a:custGeom>
              <a:solidFill>
                <a:srgbClr val="101828"/>
              </a:solidFill>
              <a:ln w="12668"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8226B843-2542-40F3-8471-2366A86F3D42}"/>
                  </a:ext>
                </a:extLst>
              </p:cNvPr>
              <p:cNvSpPr/>
              <p:nvPr/>
            </p:nvSpPr>
            <p:spPr>
              <a:xfrm>
                <a:off x="3563276" y="1028138"/>
                <a:ext cx="303024" cy="293143"/>
              </a:xfrm>
              <a:custGeom>
                <a:avLst/>
                <a:gdLst>
                  <a:gd name="connsiteX0" fmla="*/ 151512 w 303024"/>
                  <a:gd name="connsiteY0" fmla="*/ 0 h 293143"/>
                  <a:gd name="connsiteX1" fmla="*/ 0 w 303024"/>
                  <a:gd name="connsiteY1" fmla="*/ 146572 h 293143"/>
                  <a:gd name="connsiteX2" fmla="*/ 151512 w 303024"/>
                  <a:gd name="connsiteY2" fmla="*/ 293143 h 293143"/>
                  <a:gd name="connsiteX3" fmla="*/ 303025 w 303024"/>
                  <a:gd name="connsiteY3" fmla="*/ 146572 h 293143"/>
                  <a:gd name="connsiteX4" fmla="*/ 151512 w 303024"/>
                  <a:gd name="connsiteY4" fmla="*/ 0 h 293143"/>
                  <a:gd name="connsiteX5" fmla="*/ 151512 w 303024"/>
                  <a:gd name="connsiteY5" fmla="*/ 227142 h 293143"/>
                  <a:gd name="connsiteX6" fmla="*/ 71576 w 303024"/>
                  <a:gd name="connsiteY6" fmla="*/ 146572 h 293143"/>
                  <a:gd name="connsiteX7" fmla="*/ 151512 w 303024"/>
                  <a:gd name="connsiteY7" fmla="*/ 66002 h 293143"/>
                  <a:gd name="connsiteX8" fmla="*/ 231449 w 303024"/>
                  <a:gd name="connsiteY8" fmla="*/ 146572 h 293143"/>
                  <a:gd name="connsiteX9" fmla="*/ 151512 w 303024"/>
                  <a:gd name="connsiteY9" fmla="*/ 227142 h 29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024" h="293143">
                    <a:moveTo>
                      <a:pt x="151512" y="0"/>
                    </a:moveTo>
                    <a:cubicBezTo>
                      <a:pt x="75503" y="0"/>
                      <a:pt x="0" y="49280"/>
                      <a:pt x="0" y="146572"/>
                    </a:cubicBezTo>
                    <a:cubicBezTo>
                      <a:pt x="0" y="243864"/>
                      <a:pt x="75503" y="293143"/>
                      <a:pt x="151512" y="293143"/>
                    </a:cubicBezTo>
                    <a:cubicBezTo>
                      <a:pt x="227522" y="293143"/>
                      <a:pt x="303025" y="243864"/>
                      <a:pt x="303025" y="146572"/>
                    </a:cubicBezTo>
                    <a:cubicBezTo>
                      <a:pt x="303025" y="49280"/>
                      <a:pt x="227522" y="0"/>
                      <a:pt x="151512" y="0"/>
                    </a:cubicBezTo>
                    <a:moveTo>
                      <a:pt x="151512" y="227142"/>
                    </a:moveTo>
                    <a:cubicBezTo>
                      <a:pt x="110087" y="227142"/>
                      <a:pt x="71576" y="197498"/>
                      <a:pt x="71576" y="146572"/>
                    </a:cubicBezTo>
                    <a:cubicBezTo>
                      <a:pt x="71576" y="95645"/>
                      <a:pt x="110214" y="66002"/>
                      <a:pt x="151512" y="66002"/>
                    </a:cubicBezTo>
                    <a:cubicBezTo>
                      <a:pt x="192937" y="66002"/>
                      <a:pt x="231449" y="95645"/>
                      <a:pt x="231449" y="146572"/>
                    </a:cubicBezTo>
                    <a:cubicBezTo>
                      <a:pt x="231449" y="197498"/>
                      <a:pt x="192811" y="227142"/>
                      <a:pt x="151512" y="227142"/>
                    </a:cubicBezTo>
                  </a:path>
                </a:pathLst>
              </a:custGeom>
              <a:solidFill>
                <a:srgbClr val="101828"/>
              </a:solidFill>
              <a:ln w="12668"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A7A84E21-39C4-405A-9437-E999066924C8}"/>
                  </a:ext>
                </a:extLst>
              </p:cNvPr>
              <p:cNvSpPr/>
              <p:nvPr/>
            </p:nvSpPr>
            <p:spPr>
              <a:xfrm>
                <a:off x="3901645" y="1035993"/>
                <a:ext cx="337228" cy="276927"/>
              </a:xfrm>
              <a:custGeom>
                <a:avLst/>
                <a:gdLst>
                  <a:gd name="connsiteX0" fmla="*/ 245131 w 337228"/>
                  <a:gd name="connsiteY0" fmla="*/ 0 h 276927"/>
                  <a:gd name="connsiteX1" fmla="*/ 168614 w 337228"/>
                  <a:gd name="connsiteY1" fmla="*/ 194204 h 276927"/>
                  <a:gd name="connsiteX2" fmla="*/ 92098 w 337228"/>
                  <a:gd name="connsiteY2" fmla="*/ 0 h 276927"/>
                  <a:gd name="connsiteX3" fmla="*/ 0 w 337228"/>
                  <a:gd name="connsiteY3" fmla="*/ 0 h 276927"/>
                  <a:gd name="connsiteX4" fmla="*/ 0 w 337228"/>
                  <a:gd name="connsiteY4" fmla="*/ 276928 h 276927"/>
                  <a:gd name="connsiteX5" fmla="*/ 67015 w 337228"/>
                  <a:gd name="connsiteY5" fmla="*/ 276928 h 276927"/>
                  <a:gd name="connsiteX6" fmla="*/ 67015 w 337228"/>
                  <a:gd name="connsiteY6" fmla="*/ 101599 h 276927"/>
                  <a:gd name="connsiteX7" fmla="*/ 141251 w 337228"/>
                  <a:gd name="connsiteY7" fmla="*/ 276928 h 276927"/>
                  <a:gd name="connsiteX8" fmla="*/ 195978 w 337228"/>
                  <a:gd name="connsiteY8" fmla="*/ 276928 h 276927"/>
                  <a:gd name="connsiteX9" fmla="*/ 270214 w 337228"/>
                  <a:gd name="connsiteY9" fmla="*/ 101599 h 276927"/>
                  <a:gd name="connsiteX10" fmla="*/ 270214 w 337228"/>
                  <a:gd name="connsiteY10" fmla="*/ 276928 h 276927"/>
                  <a:gd name="connsiteX11" fmla="*/ 337229 w 337228"/>
                  <a:gd name="connsiteY11" fmla="*/ 276928 h 276927"/>
                  <a:gd name="connsiteX12" fmla="*/ 337229 w 337228"/>
                  <a:gd name="connsiteY12" fmla="*/ 0 h 276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228" h="276927">
                    <a:moveTo>
                      <a:pt x="245131" y="0"/>
                    </a:moveTo>
                    <a:lnTo>
                      <a:pt x="168614" y="194204"/>
                    </a:lnTo>
                    <a:lnTo>
                      <a:pt x="92098" y="0"/>
                    </a:lnTo>
                    <a:lnTo>
                      <a:pt x="0" y="0"/>
                    </a:lnTo>
                    <a:lnTo>
                      <a:pt x="0" y="276928"/>
                    </a:lnTo>
                    <a:lnTo>
                      <a:pt x="67015" y="276928"/>
                    </a:lnTo>
                    <a:lnTo>
                      <a:pt x="67015" y="101599"/>
                    </a:lnTo>
                    <a:lnTo>
                      <a:pt x="141251" y="276928"/>
                    </a:lnTo>
                    <a:lnTo>
                      <a:pt x="195978" y="276928"/>
                    </a:lnTo>
                    <a:lnTo>
                      <a:pt x="270214" y="101599"/>
                    </a:lnTo>
                    <a:lnTo>
                      <a:pt x="270214" y="276928"/>
                    </a:lnTo>
                    <a:lnTo>
                      <a:pt x="337229" y="276928"/>
                    </a:lnTo>
                    <a:lnTo>
                      <a:pt x="337229" y="0"/>
                    </a:lnTo>
                    <a:close/>
                  </a:path>
                </a:pathLst>
              </a:custGeom>
              <a:solidFill>
                <a:srgbClr val="101828"/>
              </a:solidFill>
              <a:ln w="12668" cap="flat">
                <a:noFill/>
                <a:prstDash val="solid"/>
                <a:miter/>
              </a:ln>
            </p:spPr>
            <p:txBody>
              <a:bodyPr rtlCol="0" anchor="ctr"/>
              <a:lstStyle/>
              <a:p>
                <a:endParaRPr lang="ru-RU" sz="1587"/>
              </a:p>
            </p:txBody>
          </p:sp>
        </p:grpSp>
        <p:grpSp>
          <p:nvGrpSpPr>
            <p:cNvPr id="20" name="Рисунок 1">
              <a:extLst>
                <a:ext uri="{FF2B5EF4-FFF2-40B4-BE49-F238E27FC236}">
                  <a16:creationId xmlns:a16="http://schemas.microsoft.com/office/drawing/2014/main" id="{70FAB5A0-71AB-4AA7-8846-821D9B1787C5}"/>
                </a:ext>
              </a:extLst>
            </p:cNvPr>
            <p:cNvGrpSpPr/>
            <p:nvPr/>
          </p:nvGrpSpPr>
          <p:grpSpPr>
            <a:xfrm>
              <a:off x="473645" y="474663"/>
              <a:ext cx="577516" cy="958353"/>
              <a:chOff x="473645" y="474663"/>
              <a:chExt cx="577516" cy="958353"/>
            </a:xfrm>
          </p:grpSpPr>
          <p:sp>
            <p:nvSpPr>
              <p:cNvPr id="21" name="Полилиния: фигура 20">
                <a:extLst>
                  <a:ext uri="{FF2B5EF4-FFF2-40B4-BE49-F238E27FC236}">
                    <a16:creationId xmlns:a16="http://schemas.microsoft.com/office/drawing/2014/main" id="{49A56474-6DE4-4A1B-A053-FC273B31CFB1}"/>
                  </a:ext>
                </a:extLst>
              </p:cNvPr>
              <p:cNvSpPr/>
              <p:nvPr/>
            </p:nvSpPr>
            <p:spPr>
              <a:xfrm>
                <a:off x="492999" y="1186872"/>
                <a:ext cx="427173" cy="246144"/>
              </a:xfrm>
              <a:custGeom>
                <a:avLst/>
                <a:gdLst>
                  <a:gd name="connsiteX0" fmla="*/ 27870 w 427173"/>
                  <a:gd name="connsiteY0" fmla="*/ 241584 h 246144"/>
                  <a:gd name="connsiteX1" fmla="*/ 27870 w 427173"/>
                  <a:gd name="connsiteY1" fmla="*/ 241584 h 246144"/>
                  <a:gd name="connsiteX2" fmla="*/ 27870 w 427173"/>
                  <a:gd name="connsiteY2" fmla="*/ 241584 h 246144"/>
                  <a:gd name="connsiteX3" fmla="*/ 27870 w 427173"/>
                  <a:gd name="connsiteY3" fmla="*/ 241584 h 246144"/>
                  <a:gd name="connsiteX4" fmla="*/ 29644 w 427173"/>
                  <a:gd name="connsiteY4" fmla="*/ 242344 h 246144"/>
                  <a:gd name="connsiteX5" fmla="*/ 31544 w 427173"/>
                  <a:gd name="connsiteY5" fmla="*/ 242850 h 246144"/>
                  <a:gd name="connsiteX6" fmla="*/ 52827 w 427173"/>
                  <a:gd name="connsiteY6" fmla="*/ 246144 h 246144"/>
                  <a:gd name="connsiteX7" fmla="*/ 90071 w 427173"/>
                  <a:gd name="connsiteY7" fmla="*/ 246144 h 246144"/>
                  <a:gd name="connsiteX8" fmla="*/ 235629 w 427173"/>
                  <a:gd name="connsiteY8" fmla="*/ 246144 h 246144"/>
                  <a:gd name="connsiteX9" fmla="*/ 427173 w 427173"/>
                  <a:gd name="connsiteY9" fmla="*/ 246144 h 246144"/>
                  <a:gd name="connsiteX10" fmla="*/ 181536 w 427173"/>
                  <a:gd name="connsiteY10" fmla="*/ 0 h 246144"/>
                  <a:gd name="connsiteX11" fmla="*/ 181536 w 427173"/>
                  <a:gd name="connsiteY11" fmla="*/ 0 h 246144"/>
                  <a:gd name="connsiteX12" fmla="*/ 181409 w 427173"/>
                  <a:gd name="connsiteY12" fmla="*/ 127 h 246144"/>
                  <a:gd name="connsiteX13" fmla="*/ 83864 w 427173"/>
                  <a:gd name="connsiteY13" fmla="*/ 97165 h 246144"/>
                  <a:gd name="connsiteX14" fmla="*/ 38385 w 427173"/>
                  <a:gd name="connsiteY14" fmla="*/ 142771 h 246144"/>
                  <a:gd name="connsiteX15" fmla="*/ 12288 w 427173"/>
                  <a:gd name="connsiteY15" fmla="*/ 168868 h 246144"/>
                  <a:gd name="connsiteX16" fmla="*/ 12288 w 427173"/>
                  <a:gd name="connsiteY16" fmla="*/ 168868 h 246144"/>
                  <a:gd name="connsiteX17" fmla="*/ 12288 w 427173"/>
                  <a:gd name="connsiteY17" fmla="*/ 168868 h 246144"/>
                  <a:gd name="connsiteX18" fmla="*/ 0 w 427173"/>
                  <a:gd name="connsiteY18" fmla="*/ 200665 h 246144"/>
                  <a:gd name="connsiteX19" fmla="*/ 27870 w 427173"/>
                  <a:gd name="connsiteY19" fmla="*/ 241584 h 2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7173" h="246144">
                    <a:moveTo>
                      <a:pt x="27870" y="241584"/>
                    </a:moveTo>
                    <a:lnTo>
                      <a:pt x="27870" y="241584"/>
                    </a:lnTo>
                    <a:lnTo>
                      <a:pt x="27870" y="241584"/>
                    </a:lnTo>
                    <a:cubicBezTo>
                      <a:pt x="27870" y="241584"/>
                      <a:pt x="27870" y="241584"/>
                      <a:pt x="27870" y="241584"/>
                    </a:cubicBezTo>
                    <a:cubicBezTo>
                      <a:pt x="28504" y="241837"/>
                      <a:pt x="29010" y="242090"/>
                      <a:pt x="29644" y="242344"/>
                    </a:cubicBezTo>
                    <a:cubicBezTo>
                      <a:pt x="30150" y="242470"/>
                      <a:pt x="30784" y="242724"/>
                      <a:pt x="31544" y="242850"/>
                    </a:cubicBezTo>
                    <a:cubicBezTo>
                      <a:pt x="38258" y="245004"/>
                      <a:pt x="45352" y="246144"/>
                      <a:pt x="52827" y="246144"/>
                    </a:cubicBezTo>
                    <a:cubicBezTo>
                      <a:pt x="52827" y="246144"/>
                      <a:pt x="67142" y="246144"/>
                      <a:pt x="90071" y="246144"/>
                    </a:cubicBezTo>
                    <a:cubicBezTo>
                      <a:pt x="125036" y="246144"/>
                      <a:pt x="180016" y="246144"/>
                      <a:pt x="235629" y="246144"/>
                    </a:cubicBezTo>
                    <a:cubicBezTo>
                      <a:pt x="330641" y="246144"/>
                      <a:pt x="427173" y="246144"/>
                      <a:pt x="427173" y="246144"/>
                    </a:cubicBezTo>
                    <a:lnTo>
                      <a:pt x="181536" y="0"/>
                    </a:lnTo>
                    <a:lnTo>
                      <a:pt x="181536" y="0"/>
                    </a:lnTo>
                    <a:cubicBezTo>
                      <a:pt x="181536" y="0"/>
                      <a:pt x="181536" y="0"/>
                      <a:pt x="181409" y="127"/>
                    </a:cubicBezTo>
                    <a:cubicBezTo>
                      <a:pt x="136057" y="45226"/>
                      <a:pt x="106033" y="75123"/>
                      <a:pt x="83864" y="97165"/>
                    </a:cubicBezTo>
                    <a:cubicBezTo>
                      <a:pt x="64228" y="116801"/>
                      <a:pt x="50800" y="130230"/>
                      <a:pt x="38385" y="142771"/>
                    </a:cubicBezTo>
                    <a:cubicBezTo>
                      <a:pt x="22676" y="158353"/>
                      <a:pt x="12288" y="168741"/>
                      <a:pt x="12288" y="168868"/>
                    </a:cubicBezTo>
                    <a:lnTo>
                      <a:pt x="12288" y="168868"/>
                    </a:lnTo>
                    <a:cubicBezTo>
                      <a:pt x="12288" y="168868"/>
                      <a:pt x="12288" y="168868"/>
                      <a:pt x="12288" y="168868"/>
                    </a:cubicBezTo>
                    <a:cubicBezTo>
                      <a:pt x="4687" y="176975"/>
                      <a:pt x="0" y="188630"/>
                      <a:pt x="0" y="200665"/>
                    </a:cubicBezTo>
                    <a:cubicBezTo>
                      <a:pt x="0" y="219414"/>
                      <a:pt x="11528" y="234869"/>
                      <a:pt x="27870" y="241584"/>
                    </a:cubicBezTo>
                    <a:close/>
                  </a:path>
                </a:pathLst>
              </a:custGeom>
              <a:solidFill>
                <a:srgbClr val="FF4F12"/>
              </a:solidFill>
              <a:ln w="12668" cap="flat">
                <a:noFill/>
                <a:prstDash val="solid"/>
                <a:miter/>
              </a:ln>
            </p:spPr>
            <p:txBody>
              <a:bodyPr rtlCol="0" anchor="ctr"/>
              <a:lstStyle/>
              <a:p>
                <a:endParaRPr lang="ru-RU" sz="1587"/>
              </a:p>
            </p:txBody>
          </p:sp>
          <p:sp>
            <p:nvSpPr>
              <p:cNvPr id="25" name="Полилиния: фигура 24">
                <a:extLst>
                  <a:ext uri="{FF2B5EF4-FFF2-40B4-BE49-F238E27FC236}">
                    <a16:creationId xmlns:a16="http://schemas.microsoft.com/office/drawing/2014/main" id="{35C18093-E547-4C39-A523-E39837D4FED0}"/>
                  </a:ext>
                </a:extLst>
              </p:cNvPr>
              <p:cNvSpPr/>
              <p:nvPr/>
            </p:nvSpPr>
            <p:spPr>
              <a:xfrm>
                <a:off x="473645" y="474663"/>
                <a:ext cx="577516" cy="953792"/>
              </a:xfrm>
              <a:custGeom>
                <a:avLst/>
                <a:gdLst>
                  <a:gd name="connsiteX0" fmla="*/ 19354 w 577516"/>
                  <a:gd name="connsiteY0" fmla="*/ 912747 h 953792"/>
                  <a:gd name="connsiteX1" fmla="*/ 31642 w 577516"/>
                  <a:gd name="connsiteY1" fmla="*/ 880950 h 953792"/>
                  <a:gd name="connsiteX2" fmla="*/ 31642 w 577516"/>
                  <a:gd name="connsiteY2" fmla="*/ 880950 h 953792"/>
                  <a:gd name="connsiteX3" fmla="*/ 31642 w 577516"/>
                  <a:gd name="connsiteY3" fmla="*/ 880950 h 953792"/>
                  <a:gd name="connsiteX4" fmla="*/ 57739 w 577516"/>
                  <a:gd name="connsiteY4" fmla="*/ 854854 h 953792"/>
                  <a:gd name="connsiteX5" fmla="*/ 103218 w 577516"/>
                  <a:gd name="connsiteY5" fmla="*/ 809248 h 953792"/>
                  <a:gd name="connsiteX6" fmla="*/ 200763 w 577516"/>
                  <a:gd name="connsiteY6" fmla="*/ 712209 h 953792"/>
                  <a:gd name="connsiteX7" fmla="*/ 200890 w 577516"/>
                  <a:gd name="connsiteY7" fmla="*/ 712082 h 953792"/>
                  <a:gd name="connsiteX8" fmla="*/ 200890 w 577516"/>
                  <a:gd name="connsiteY8" fmla="*/ 712082 h 953792"/>
                  <a:gd name="connsiteX9" fmla="*/ 245102 w 577516"/>
                  <a:gd name="connsiteY9" fmla="*/ 668124 h 953792"/>
                  <a:gd name="connsiteX10" fmla="*/ 245989 w 577516"/>
                  <a:gd name="connsiteY10" fmla="*/ 667237 h 953792"/>
                  <a:gd name="connsiteX11" fmla="*/ 577517 w 577516"/>
                  <a:gd name="connsiteY11" fmla="*/ 337229 h 953792"/>
                  <a:gd name="connsiteX12" fmla="*/ 240542 w 577516"/>
                  <a:gd name="connsiteY12" fmla="*/ 0 h 953792"/>
                  <a:gd name="connsiteX13" fmla="*/ 49631 w 577516"/>
                  <a:gd name="connsiteY13" fmla="*/ 191037 h 953792"/>
                  <a:gd name="connsiteX14" fmla="*/ 352 w 577516"/>
                  <a:gd name="connsiteY14" fmla="*/ 362059 h 953792"/>
                  <a:gd name="connsiteX15" fmla="*/ 352 w 577516"/>
                  <a:gd name="connsiteY15" fmla="*/ 886271 h 953792"/>
                  <a:gd name="connsiteX16" fmla="*/ 47224 w 577516"/>
                  <a:gd name="connsiteY16" fmla="*/ 953793 h 953792"/>
                  <a:gd name="connsiteX17" fmla="*/ 47224 w 577516"/>
                  <a:gd name="connsiteY17" fmla="*/ 953793 h 953792"/>
                  <a:gd name="connsiteX18" fmla="*/ 19354 w 577516"/>
                  <a:gd name="connsiteY18" fmla="*/ 912747 h 95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7516" h="953792">
                    <a:moveTo>
                      <a:pt x="19354" y="912747"/>
                    </a:moveTo>
                    <a:cubicBezTo>
                      <a:pt x="19354" y="900713"/>
                      <a:pt x="24041" y="889058"/>
                      <a:pt x="31642" y="880950"/>
                    </a:cubicBezTo>
                    <a:cubicBezTo>
                      <a:pt x="31642" y="880950"/>
                      <a:pt x="31642" y="880950"/>
                      <a:pt x="31642" y="880950"/>
                    </a:cubicBezTo>
                    <a:lnTo>
                      <a:pt x="31642" y="880950"/>
                    </a:lnTo>
                    <a:cubicBezTo>
                      <a:pt x="31642" y="880950"/>
                      <a:pt x="42157" y="870435"/>
                      <a:pt x="57739" y="854854"/>
                    </a:cubicBezTo>
                    <a:cubicBezTo>
                      <a:pt x="70154" y="842185"/>
                      <a:pt x="83582" y="828757"/>
                      <a:pt x="103218" y="809248"/>
                    </a:cubicBezTo>
                    <a:cubicBezTo>
                      <a:pt x="125387" y="787205"/>
                      <a:pt x="155284" y="757435"/>
                      <a:pt x="200763" y="712209"/>
                    </a:cubicBezTo>
                    <a:cubicBezTo>
                      <a:pt x="200890" y="712082"/>
                      <a:pt x="200890" y="712082"/>
                      <a:pt x="200890" y="712082"/>
                    </a:cubicBezTo>
                    <a:lnTo>
                      <a:pt x="200890" y="712082"/>
                    </a:lnTo>
                    <a:cubicBezTo>
                      <a:pt x="214192" y="698781"/>
                      <a:pt x="228887" y="684212"/>
                      <a:pt x="245102" y="668124"/>
                    </a:cubicBezTo>
                    <a:cubicBezTo>
                      <a:pt x="245355" y="667870"/>
                      <a:pt x="245736" y="667490"/>
                      <a:pt x="245989" y="667237"/>
                    </a:cubicBezTo>
                    <a:cubicBezTo>
                      <a:pt x="319465" y="594141"/>
                      <a:pt x="424104" y="490008"/>
                      <a:pt x="577517" y="337229"/>
                    </a:cubicBezTo>
                    <a:lnTo>
                      <a:pt x="240542" y="0"/>
                    </a:lnTo>
                    <a:lnTo>
                      <a:pt x="49631" y="191037"/>
                    </a:lnTo>
                    <a:cubicBezTo>
                      <a:pt x="-7376" y="248044"/>
                      <a:pt x="352" y="285416"/>
                      <a:pt x="352" y="362059"/>
                    </a:cubicBezTo>
                    <a:cubicBezTo>
                      <a:pt x="352" y="438828"/>
                      <a:pt x="352" y="886144"/>
                      <a:pt x="352" y="886271"/>
                    </a:cubicBezTo>
                    <a:cubicBezTo>
                      <a:pt x="352" y="917308"/>
                      <a:pt x="19861" y="943531"/>
                      <a:pt x="47224" y="953793"/>
                    </a:cubicBezTo>
                    <a:lnTo>
                      <a:pt x="47224" y="953793"/>
                    </a:lnTo>
                    <a:cubicBezTo>
                      <a:pt x="30882" y="947078"/>
                      <a:pt x="19354" y="931623"/>
                      <a:pt x="19354" y="912747"/>
                    </a:cubicBezTo>
                    <a:close/>
                  </a:path>
                </a:pathLst>
              </a:custGeom>
              <a:solidFill>
                <a:srgbClr val="7700FF"/>
              </a:solidFill>
              <a:ln w="12668" cap="flat">
                <a:noFill/>
                <a:prstDash val="solid"/>
                <a:miter/>
              </a:ln>
            </p:spPr>
            <p:txBody>
              <a:bodyPr rtlCol="0" anchor="ctr"/>
              <a:lstStyle/>
              <a:p>
                <a:endParaRPr lang="ru-RU" sz="1587"/>
              </a:p>
            </p:txBody>
          </p:sp>
        </p:grpSp>
      </p:grpSp>
      <p:grpSp>
        <p:nvGrpSpPr>
          <p:cNvPr id="75" name="Рисунок 57">
            <a:extLst>
              <a:ext uri="{FF2B5EF4-FFF2-40B4-BE49-F238E27FC236}">
                <a16:creationId xmlns:a16="http://schemas.microsoft.com/office/drawing/2014/main" id="{E8021B12-77DD-4234-8DBE-78559ECA85FF}"/>
              </a:ext>
            </a:extLst>
          </p:cNvPr>
          <p:cNvGrpSpPr/>
          <p:nvPr userDrawn="1"/>
        </p:nvGrpSpPr>
        <p:grpSpPr>
          <a:xfrm>
            <a:off x="8136198" y="3576598"/>
            <a:ext cx="4055802" cy="3281403"/>
            <a:chOff x="9229500" y="4053477"/>
            <a:chExt cx="4600800" cy="3718923"/>
          </a:xfrm>
        </p:grpSpPr>
        <p:sp>
          <p:nvSpPr>
            <p:cNvPr id="76" name="Полилиния: фигура 75">
              <a:extLst>
                <a:ext uri="{FF2B5EF4-FFF2-40B4-BE49-F238E27FC236}">
                  <a16:creationId xmlns:a16="http://schemas.microsoft.com/office/drawing/2014/main" id="{A19B561F-4378-47FD-A264-E5AE18B20F8D}"/>
                </a:ext>
              </a:extLst>
            </p:cNvPr>
            <p:cNvSpPr/>
            <p:nvPr/>
          </p:nvSpPr>
          <p:spPr>
            <a:xfrm>
              <a:off x="9229500" y="4277706"/>
              <a:ext cx="4600116" cy="3496744"/>
            </a:xfrm>
            <a:custGeom>
              <a:avLst/>
              <a:gdLst>
                <a:gd name="connsiteX0" fmla="*/ 4600117 w 4600116"/>
                <a:gd name="connsiteY0" fmla="*/ 0 h 3496744"/>
                <a:gd name="connsiteX1" fmla="*/ 3594503 w 4600116"/>
                <a:gd name="connsiteY1" fmla="*/ 1535423 h 3496744"/>
                <a:gd name="connsiteX2" fmla="*/ 2780989 w 4600116"/>
                <a:gd name="connsiteY2" fmla="*/ 2153421 h 3496744"/>
                <a:gd name="connsiteX3" fmla="*/ 2291513 w 4600116"/>
                <a:gd name="connsiteY3" fmla="*/ 2392006 h 3496744"/>
                <a:gd name="connsiteX4" fmla="*/ 0 w 4600116"/>
                <a:gd name="connsiteY4" fmla="*/ 3496745 h 3496744"/>
                <a:gd name="connsiteX5" fmla="*/ 0 w 4600116"/>
                <a:gd name="connsiteY5" fmla="*/ 3496745 h 3496744"/>
                <a:gd name="connsiteX6" fmla="*/ 4600117 w 4600116"/>
                <a:gd name="connsiteY6" fmla="*/ 3496745 h 3496744"/>
                <a:gd name="connsiteX7" fmla="*/ 4600117 w 4600116"/>
                <a:gd name="connsiteY7" fmla="*/ 0 h 349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0116" h="3496744">
                  <a:moveTo>
                    <a:pt x="4600117" y="0"/>
                  </a:moveTo>
                  <a:cubicBezTo>
                    <a:pt x="4308892" y="721225"/>
                    <a:pt x="3921960" y="1215486"/>
                    <a:pt x="3594503" y="1535423"/>
                  </a:cubicBezTo>
                  <a:cubicBezTo>
                    <a:pt x="3334726" y="1789732"/>
                    <a:pt x="3120751" y="1950384"/>
                    <a:pt x="2780989" y="2153421"/>
                  </a:cubicBezTo>
                  <a:cubicBezTo>
                    <a:pt x="2636744" y="2240241"/>
                    <a:pt x="2450114" y="2315440"/>
                    <a:pt x="2291513" y="2392006"/>
                  </a:cubicBezTo>
                  <a:lnTo>
                    <a:pt x="0" y="3496745"/>
                  </a:lnTo>
                  <a:lnTo>
                    <a:pt x="0" y="3496745"/>
                  </a:lnTo>
                  <a:lnTo>
                    <a:pt x="4600117" y="3496745"/>
                  </a:lnTo>
                  <a:lnTo>
                    <a:pt x="4600117" y="0"/>
                  </a:lnTo>
                  <a:close/>
                </a:path>
              </a:pathLst>
            </a:custGeom>
            <a:solidFill>
              <a:schemeClr val="accent1"/>
            </a:solidFill>
            <a:ln w="6836" cap="flat">
              <a:noFill/>
              <a:prstDash val="solid"/>
              <a:miter/>
            </a:ln>
          </p:spPr>
          <p:txBody>
            <a:bodyPr rtlCol="0" anchor="ctr"/>
            <a:lstStyle/>
            <a:p>
              <a:endParaRPr lang="ru-RU" sz="1587"/>
            </a:p>
          </p:txBody>
        </p:sp>
        <p:sp>
          <p:nvSpPr>
            <p:cNvPr id="77" name="Полилиния: фигура 76">
              <a:extLst>
                <a:ext uri="{FF2B5EF4-FFF2-40B4-BE49-F238E27FC236}">
                  <a16:creationId xmlns:a16="http://schemas.microsoft.com/office/drawing/2014/main" id="{87ECADDB-8E5D-4A65-9ABA-6BF8449BF531}"/>
                </a:ext>
              </a:extLst>
            </p:cNvPr>
            <p:cNvSpPr/>
            <p:nvPr/>
          </p:nvSpPr>
          <p:spPr>
            <a:xfrm>
              <a:off x="11518961" y="4053477"/>
              <a:ext cx="2310654" cy="2616918"/>
            </a:xfrm>
            <a:custGeom>
              <a:avLst/>
              <a:gdLst>
                <a:gd name="connsiteX0" fmla="*/ 2310655 w 2310654"/>
                <a:gd name="connsiteY0" fmla="*/ 0 h 2616918"/>
                <a:gd name="connsiteX1" fmla="*/ 350700 w 2310654"/>
                <a:gd name="connsiteY1" fmla="*/ 2453532 h 2616918"/>
                <a:gd name="connsiteX2" fmla="*/ 2051 w 2310654"/>
                <a:gd name="connsiteY2" fmla="*/ 2616235 h 2616918"/>
                <a:gd name="connsiteX3" fmla="*/ 0 w 2310654"/>
                <a:gd name="connsiteY3" fmla="*/ 2616919 h 2616918"/>
                <a:gd name="connsiteX4" fmla="*/ 0 w 2310654"/>
                <a:gd name="connsiteY4" fmla="*/ 2616919 h 2616918"/>
                <a:gd name="connsiteX5" fmla="*/ 2310655 w 2310654"/>
                <a:gd name="connsiteY5" fmla="*/ 1108157 h 2616918"/>
                <a:gd name="connsiteX6" fmla="*/ 2310655 w 2310654"/>
                <a:gd name="connsiteY6" fmla="*/ 0 h 261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0654" h="2616918">
                  <a:moveTo>
                    <a:pt x="2310655" y="0"/>
                  </a:moveTo>
                  <a:cubicBezTo>
                    <a:pt x="2040623" y="1073292"/>
                    <a:pt x="1316663" y="1946966"/>
                    <a:pt x="350700" y="2453532"/>
                  </a:cubicBezTo>
                  <a:cubicBezTo>
                    <a:pt x="236534" y="2510273"/>
                    <a:pt x="112798" y="2562912"/>
                    <a:pt x="2051" y="2616235"/>
                  </a:cubicBezTo>
                  <a:lnTo>
                    <a:pt x="0" y="2616919"/>
                  </a:lnTo>
                  <a:lnTo>
                    <a:pt x="0" y="2616919"/>
                  </a:lnTo>
                  <a:cubicBezTo>
                    <a:pt x="881193" y="2288778"/>
                    <a:pt x="1668730" y="1769223"/>
                    <a:pt x="2310655" y="1108157"/>
                  </a:cubicBezTo>
                  <a:lnTo>
                    <a:pt x="2310655" y="0"/>
                  </a:lnTo>
                  <a:close/>
                </a:path>
              </a:pathLst>
            </a:custGeom>
            <a:solidFill>
              <a:schemeClr val="accent2"/>
            </a:solidFill>
            <a:ln w="6836" cap="flat">
              <a:noFill/>
              <a:prstDash val="solid"/>
              <a:miter/>
            </a:ln>
          </p:spPr>
          <p:txBody>
            <a:bodyPr rtlCol="0" anchor="ctr"/>
            <a:lstStyle/>
            <a:p>
              <a:endParaRPr lang="ru-RU" sz="1587"/>
            </a:p>
          </p:txBody>
        </p:sp>
        <p:grpSp>
          <p:nvGrpSpPr>
            <p:cNvPr id="78" name="Рисунок 57">
              <a:extLst>
                <a:ext uri="{FF2B5EF4-FFF2-40B4-BE49-F238E27FC236}">
                  <a16:creationId xmlns:a16="http://schemas.microsoft.com/office/drawing/2014/main" id="{A675EFF5-B692-4CCA-8693-0F36970A3780}"/>
                </a:ext>
              </a:extLst>
            </p:cNvPr>
            <p:cNvGrpSpPr/>
            <p:nvPr/>
          </p:nvGrpSpPr>
          <p:grpSpPr>
            <a:xfrm>
              <a:off x="11333699" y="6786611"/>
              <a:ext cx="2054294" cy="554420"/>
              <a:chOff x="11333699" y="6786611"/>
              <a:chExt cx="2054294" cy="554420"/>
            </a:xfrm>
            <a:solidFill>
              <a:srgbClr val="FFFFFF"/>
            </a:solidFill>
          </p:grpSpPr>
          <p:sp>
            <p:nvSpPr>
              <p:cNvPr id="79" name="Полилиния: фигура 78">
                <a:extLst>
                  <a:ext uri="{FF2B5EF4-FFF2-40B4-BE49-F238E27FC236}">
                    <a16:creationId xmlns:a16="http://schemas.microsoft.com/office/drawing/2014/main" id="{7393735C-74D2-4738-AC66-1CA40B4E0EEB}"/>
                  </a:ext>
                </a:extLst>
              </p:cNvPr>
              <p:cNvSpPr/>
              <p:nvPr/>
            </p:nvSpPr>
            <p:spPr>
              <a:xfrm>
                <a:off x="11780790" y="6786611"/>
                <a:ext cx="162702" cy="211923"/>
              </a:xfrm>
              <a:custGeom>
                <a:avLst/>
                <a:gdLst>
                  <a:gd name="connsiteX0" fmla="*/ 64944 w 162702"/>
                  <a:gd name="connsiteY0" fmla="*/ 30080 h 211923"/>
                  <a:gd name="connsiteX1" fmla="*/ 0 w 162702"/>
                  <a:gd name="connsiteY1" fmla="*/ 30080 h 211923"/>
                  <a:gd name="connsiteX2" fmla="*/ 0 w 162702"/>
                  <a:gd name="connsiteY2" fmla="*/ 0 h 211923"/>
                  <a:gd name="connsiteX3" fmla="*/ 162703 w 162702"/>
                  <a:gd name="connsiteY3" fmla="*/ 0 h 211923"/>
                  <a:gd name="connsiteX4" fmla="*/ 162703 w 162702"/>
                  <a:gd name="connsiteY4" fmla="*/ 30080 h 211923"/>
                  <a:gd name="connsiteX5" fmla="*/ 97758 w 162702"/>
                  <a:gd name="connsiteY5" fmla="*/ 30080 h 211923"/>
                  <a:gd name="connsiteX6" fmla="*/ 97758 w 162702"/>
                  <a:gd name="connsiteY6" fmla="*/ 211924 h 211923"/>
                  <a:gd name="connsiteX7" fmla="*/ 64944 w 162702"/>
                  <a:gd name="connsiteY7" fmla="*/ 211924 h 211923"/>
                  <a:gd name="connsiteX8" fmla="*/ 64944 w 162702"/>
                  <a:gd name="connsiteY8" fmla="*/ 30080 h 21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702" h="211923">
                    <a:moveTo>
                      <a:pt x="64944" y="30080"/>
                    </a:moveTo>
                    <a:lnTo>
                      <a:pt x="0" y="30080"/>
                    </a:lnTo>
                    <a:lnTo>
                      <a:pt x="0" y="0"/>
                    </a:lnTo>
                    <a:lnTo>
                      <a:pt x="162703" y="0"/>
                    </a:lnTo>
                    <a:lnTo>
                      <a:pt x="162703" y="30080"/>
                    </a:lnTo>
                    <a:lnTo>
                      <a:pt x="97758" y="30080"/>
                    </a:lnTo>
                    <a:lnTo>
                      <a:pt x="97758" y="211924"/>
                    </a:lnTo>
                    <a:lnTo>
                      <a:pt x="64944" y="211924"/>
                    </a:lnTo>
                    <a:lnTo>
                      <a:pt x="64944" y="30080"/>
                    </a:lnTo>
                    <a:close/>
                  </a:path>
                </a:pathLst>
              </a:custGeom>
              <a:solidFill>
                <a:srgbClr val="FFFFFF"/>
              </a:solidFill>
              <a:ln w="6836" cap="flat">
                <a:noFill/>
                <a:prstDash val="solid"/>
                <a:miter/>
              </a:ln>
            </p:spPr>
            <p:txBody>
              <a:bodyPr rtlCol="0" anchor="ctr"/>
              <a:lstStyle/>
              <a:p>
                <a:endParaRPr lang="ru-RU" sz="1587"/>
              </a:p>
            </p:txBody>
          </p:sp>
          <p:sp>
            <p:nvSpPr>
              <p:cNvPr id="80" name="Полилиния: фигура 79">
                <a:extLst>
                  <a:ext uri="{FF2B5EF4-FFF2-40B4-BE49-F238E27FC236}">
                    <a16:creationId xmlns:a16="http://schemas.microsoft.com/office/drawing/2014/main" id="{36B2CAA4-85F0-469A-8761-973F80580735}"/>
                  </a:ext>
                </a:extLst>
              </p:cNvPr>
              <p:cNvSpPr/>
              <p:nvPr/>
            </p:nvSpPr>
            <p:spPr>
              <a:xfrm>
                <a:off x="11932555" y="6844036"/>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798"/>
                      <a:pt x="49905" y="131256"/>
                      <a:pt x="76566" y="131256"/>
                    </a:cubicBezTo>
                    <a:close/>
                    <a:moveTo>
                      <a:pt x="30763" y="61526"/>
                    </a:moveTo>
                    <a:lnTo>
                      <a:pt x="119634" y="61526"/>
                    </a:lnTo>
                    <a:cubicBezTo>
                      <a:pt x="116900" y="38283"/>
                      <a:pt x="99126" y="24610"/>
                      <a:pt x="75882" y="24610"/>
                    </a:cubicBezTo>
                    <a:cubicBezTo>
                      <a:pt x="53323" y="24610"/>
                      <a:pt x="36232"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81" name="Полилиния: фигура 80">
                <a:extLst>
                  <a:ext uri="{FF2B5EF4-FFF2-40B4-BE49-F238E27FC236}">
                    <a16:creationId xmlns:a16="http://schemas.microsoft.com/office/drawing/2014/main" id="{A503703D-4D77-4897-B348-E1ED11EBC1CC}"/>
                  </a:ext>
                </a:extLst>
              </p:cNvPr>
              <p:cNvSpPr/>
              <p:nvPr/>
            </p:nvSpPr>
            <p:spPr>
              <a:xfrm>
                <a:off x="12089105" y="6848138"/>
                <a:ext cx="142877" cy="150397"/>
              </a:xfrm>
              <a:custGeom>
                <a:avLst/>
                <a:gdLst>
                  <a:gd name="connsiteX0" fmla="*/ 100493 w 142877"/>
                  <a:gd name="connsiteY0" fmla="*/ 0 h 150397"/>
                  <a:gd name="connsiteX1" fmla="*/ 136042 w 142877"/>
                  <a:gd name="connsiteY1" fmla="*/ 0 h 150397"/>
                  <a:gd name="connsiteX2" fmla="*/ 90239 w 142877"/>
                  <a:gd name="connsiteY2" fmla="*/ 69730 h 150397"/>
                  <a:gd name="connsiteX3" fmla="*/ 142878 w 142877"/>
                  <a:gd name="connsiteY3" fmla="*/ 150398 h 150397"/>
                  <a:gd name="connsiteX4" fmla="*/ 106646 w 142877"/>
                  <a:gd name="connsiteY4" fmla="*/ 150398 h 150397"/>
                  <a:gd name="connsiteX5" fmla="*/ 71781 w 142877"/>
                  <a:gd name="connsiteY5" fmla="*/ 95024 h 150397"/>
                  <a:gd name="connsiteX6" fmla="*/ 36232 w 142877"/>
                  <a:gd name="connsiteY6" fmla="*/ 150398 h 150397"/>
                  <a:gd name="connsiteX7" fmla="*/ 0 w 142877"/>
                  <a:gd name="connsiteY7" fmla="*/ 150398 h 150397"/>
                  <a:gd name="connsiteX8" fmla="*/ 54690 w 142877"/>
                  <a:gd name="connsiteY8" fmla="*/ 71097 h 150397"/>
                  <a:gd name="connsiteX9" fmla="*/ 7520 w 142877"/>
                  <a:gd name="connsiteY9" fmla="*/ 684 h 150397"/>
                  <a:gd name="connsiteX10" fmla="*/ 43069 w 142877"/>
                  <a:gd name="connsiteY10" fmla="*/ 684 h 150397"/>
                  <a:gd name="connsiteX11" fmla="*/ 71781 w 142877"/>
                  <a:gd name="connsiteY11" fmla="*/ 46487 h 150397"/>
                  <a:gd name="connsiteX12" fmla="*/ 100493 w 142877"/>
                  <a:gd name="connsiteY12"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877" h="150397">
                    <a:moveTo>
                      <a:pt x="100493" y="0"/>
                    </a:moveTo>
                    <a:lnTo>
                      <a:pt x="136042" y="0"/>
                    </a:lnTo>
                    <a:lnTo>
                      <a:pt x="90239" y="69730"/>
                    </a:lnTo>
                    <a:lnTo>
                      <a:pt x="142878" y="150398"/>
                    </a:lnTo>
                    <a:lnTo>
                      <a:pt x="106646" y="150398"/>
                    </a:lnTo>
                    <a:lnTo>
                      <a:pt x="71781" y="95024"/>
                    </a:lnTo>
                    <a:lnTo>
                      <a:pt x="36232" y="150398"/>
                    </a:lnTo>
                    <a:lnTo>
                      <a:pt x="0" y="150398"/>
                    </a:lnTo>
                    <a:lnTo>
                      <a:pt x="54690" y="71097"/>
                    </a:lnTo>
                    <a:lnTo>
                      <a:pt x="7520" y="684"/>
                    </a:lnTo>
                    <a:lnTo>
                      <a:pt x="43069" y="684"/>
                    </a:lnTo>
                    <a:lnTo>
                      <a:pt x="71781" y="46487"/>
                    </a:lnTo>
                    <a:lnTo>
                      <a:pt x="100493" y="0"/>
                    </a:lnTo>
                    <a:close/>
                  </a:path>
                </a:pathLst>
              </a:custGeom>
              <a:solidFill>
                <a:srgbClr val="FFFFFF"/>
              </a:solidFill>
              <a:ln w="6836" cap="flat">
                <a:noFill/>
                <a:prstDash val="solid"/>
                <a:miter/>
              </a:ln>
            </p:spPr>
            <p:txBody>
              <a:bodyPr rtlCol="0" anchor="ctr"/>
              <a:lstStyle/>
              <a:p>
                <a:endParaRPr lang="ru-RU" sz="1587"/>
              </a:p>
            </p:txBody>
          </p:sp>
          <p:sp>
            <p:nvSpPr>
              <p:cNvPr id="82" name="Полилиния: фигура 81">
                <a:extLst>
                  <a:ext uri="{FF2B5EF4-FFF2-40B4-BE49-F238E27FC236}">
                    <a16:creationId xmlns:a16="http://schemas.microsoft.com/office/drawing/2014/main" id="{876408F3-04AC-4A75-95B9-9F2E98C3C128}"/>
                  </a:ext>
                </a:extLst>
              </p:cNvPr>
              <p:cNvSpPr/>
              <p:nvPr/>
            </p:nvSpPr>
            <p:spPr>
              <a:xfrm>
                <a:off x="12253175" y="6848138"/>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4 w 132623"/>
                  <a:gd name="connsiteY5" fmla="*/ 0 h 149714"/>
                  <a:gd name="connsiteX6" fmla="*/ 132624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4" y="0"/>
                    </a:lnTo>
                    <a:lnTo>
                      <a:pt x="132624"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3" name="Полилиния: фигура 82">
                <a:extLst>
                  <a:ext uri="{FF2B5EF4-FFF2-40B4-BE49-F238E27FC236}">
                    <a16:creationId xmlns:a16="http://schemas.microsoft.com/office/drawing/2014/main" id="{C3532461-17D5-43E0-ACB8-3062FFA0F5A3}"/>
                  </a:ext>
                </a:extLst>
              </p:cNvPr>
              <p:cNvSpPr/>
              <p:nvPr/>
            </p:nvSpPr>
            <p:spPr>
              <a:xfrm>
                <a:off x="12415878" y="6844036"/>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1256"/>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84" name="Полилиния: фигура 83">
                <a:extLst>
                  <a:ext uri="{FF2B5EF4-FFF2-40B4-BE49-F238E27FC236}">
                    <a16:creationId xmlns:a16="http://schemas.microsoft.com/office/drawing/2014/main" id="{F63AF163-A08C-4CA9-9929-18ACAD8E548D}"/>
                  </a:ext>
                </a:extLst>
              </p:cNvPr>
              <p:cNvSpPr/>
              <p:nvPr/>
            </p:nvSpPr>
            <p:spPr>
              <a:xfrm>
                <a:off x="12590886" y="6849505"/>
                <a:ext cx="142194" cy="151764"/>
              </a:xfrm>
              <a:custGeom>
                <a:avLst/>
                <a:gdLst>
                  <a:gd name="connsiteX0" fmla="*/ 0 w 142194"/>
                  <a:gd name="connsiteY0" fmla="*/ 149030 h 151764"/>
                  <a:gd name="connsiteX1" fmla="*/ 0 w 142194"/>
                  <a:gd name="connsiteY1" fmla="*/ 121685 h 151764"/>
                  <a:gd name="connsiteX2" fmla="*/ 10254 w 142194"/>
                  <a:gd name="connsiteY2" fmla="*/ 123736 h 151764"/>
                  <a:gd name="connsiteX3" fmla="*/ 25978 w 142194"/>
                  <a:gd name="connsiteY3" fmla="*/ 88871 h 151764"/>
                  <a:gd name="connsiteX4" fmla="*/ 30763 w 142194"/>
                  <a:gd name="connsiteY4" fmla="*/ 0 h 151764"/>
                  <a:gd name="connsiteX5" fmla="*/ 142194 w 142194"/>
                  <a:gd name="connsiteY5" fmla="*/ 0 h 151764"/>
                  <a:gd name="connsiteX6" fmla="*/ 142194 w 142194"/>
                  <a:gd name="connsiteY6" fmla="*/ 149714 h 151764"/>
                  <a:gd name="connsiteX7" fmla="*/ 111431 w 142194"/>
                  <a:gd name="connsiteY7" fmla="*/ 149714 h 151764"/>
                  <a:gd name="connsiteX8" fmla="*/ 111431 w 142194"/>
                  <a:gd name="connsiteY8" fmla="*/ 28029 h 151764"/>
                  <a:gd name="connsiteX9" fmla="*/ 58108 w 142194"/>
                  <a:gd name="connsiteY9" fmla="*/ 28029 h 151764"/>
                  <a:gd name="connsiteX10" fmla="*/ 54690 w 142194"/>
                  <a:gd name="connsiteY10" fmla="*/ 90239 h 151764"/>
                  <a:gd name="connsiteX11" fmla="*/ 11622 w 142194"/>
                  <a:gd name="connsiteY11" fmla="*/ 151765 h 151764"/>
                  <a:gd name="connsiteX12" fmla="*/ 0 w 142194"/>
                  <a:gd name="connsiteY12" fmla="*/ 149030 h 15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194" h="151764">
                    <a:moveTo>
                      <a:pt x="0" y="149030"/>
                    </a:moveTo>
                    <a:lnTo>
                      <a:pt x="0" y="121685"/>
                    </a:lnTo>
                    <a:cubicBezTo>
                      <a:pt x="0" y="121685"/>
                      <a:pt x="4102" y="123736"/>
                      <a:pt x="10254" y="123736"/>
                    </a:cubicBezTo>
                    <a:cubicBezTo>
                      <a:pt x="19825" y="123736"/>
                      <a:pt x="24610" y="117584"/>
                      <a:pt x="25978" y="88871"/>
                    </a:cubicBezTo>
                    <a:lnTo>
                      <a:pt x="30763" y="0"/>
                    </a:lnTo>
                    <a:lnTo>
                      <a:pt x="142194" y="0"/>
                    </a:lnTo>
                    <a:lnTo>
                      <a:pt x="142194" y="149714"/>
                    </a:lnTo>
                    <a:lnTo>
                      <a:pt x="111431" y="149714"/>
                    </a:lnTo>
                    <a:lnTo>
                      <a:pt x="111431" y="28029"/>
                    </a:lnTo>
                    <a:lnTo>
                      <a:pt x="58108" y="28029"/>
                    </a:lnTo>
                    <a:lnTo>
                      <a:pt x="54690" y="90239"/>
                    </a:lnTo>
                    <a:cubicBezTo>
                      <a:pt x="52639" y="133307"/>
                      <a:pt x="41701" y="151765"/>
                      <a:pt x="11622" y="151765"/>
                    </a:cubicBezTo>
                    <a:cubicBezTo>
                      <a:pt x="6153" y="151081"/>
                      <a:pt x="0" y="149030"/>
                      <a:pt x="0" y="149030"/>
                    </a:cubicBezTo>
                    <a:close/>
                  </a:path>
                </a:pathLst>
              </a:custGeom>
              <a:solidFill>
                <a:srgbClr val="FFFFFF"/>
              </a:solidFill>
              <a:ln w="6836" cap="flat">
                <a:noFill/>
                <a:prstDash val="solid"/>
                <a:miter/>
              </a:ln>
            </p:spPr>
            <p:txBody>
              <a:bodyPr rtlCol="0" anchor="ctr"/>
              <a:lstStyle/>
              <a:p>
                <a:endParaRPr lang="ru-RU" sz="1587"/>
              </a:p>
            </p:txBody>
          </p:sp>
          <p:sp>
            <p:nvSpPr>
              <p:cNvPr id="85" name="Полилиния: фигура 84">
                <a:extLst>
                  <a:ext uri="{FF2B5EF4-FFF2-40B4-BE49-F238E27FC236}">
                    <a16:creationId xmlns:a16="http://schemas.microsoft.com/office/drawing/2014/main" id="{052A014E-4CFA-46E5-8BAF-EBF1D53CD714}"/>
                  </a:ext>
                </a:extLst>
              </p:cNvPr>
              <p:cNvSpPr/>
              <p:nvPr/>
            </p:nvSpPr>
            <p:spPr>
              <a:xfrm>
                <a:off x="12763844" y="6844036"/>
                <a:ext cx="160660" cy="158601"/>
              </a:xfrm>
              <a:custGeom>
                <a:avLst/>
                <a:gdLst>
                  <a:gd name="connsiteX0" fmla="*/ 80668 w 160660"/>
                  <a:gd name="connsiteY0" fmla="*/ 158601 h 158601"/>
                  <a:gd name="connsiteX1" fmla="*/ 0 w 160660"/>
                  <a:gd name="connsiteY1" fmla="*/ 79300 h 158601"/>
                  <a:gd name="connsiteX2" fmla="*/ 80668 w 160660"/>
                  <a:gd name="connsiteY2" fmla="*/ 0 h 158601"/>
                  <a:gd name="connsiteX3" fmla="*/ 160652 w 160660"/>
                  <a:gd name="connsiteY3" fmla="*/ 79300 h 158601"/>
                  <a:gd name="connsiteX4" fmla="*/ 80668 w 160660"/>
                  <a:gd name="connsiteY4" fmla="*/ 158601 h 158601"/>
                  <a:gd name="connsiteX5" fmla="*/ 129205 w 160660"/>
                  <a:gd name="connsiteY5" fmla="*/ 79300 h 158601"/>
                  <a:gd name="connsiteX6" fmla="*/ 80668 w 160660"/>
                  <a:gd name="connsiteY6" fmla="*/ 28712 h 158601"/>
                  <a:gd name="connsiteX7" fmla="*/ 32130 w 160660"/>
                  <a:gd name="connsiteY7" fmla="*/ 79300 h 158601"/>
                  <a:gd name="connsiteX8" fmla="*/ 80668 w 160660"/>
                  <a:gd name="connsiteY8" fmla="*/ 129889 h 158601"/>
                  <a:gd name="connsiteX9" fmla="*/ 129205 w 160660"/>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60" h="158601">
                    <a:moveTo>
                      <a:pt x="80668" y="158601"/>
                    </a:moveTo>
                    <a:cubicBezTo>
                      <a:pt x="39650" y="158601"/>
                      <a:pt x="0" y="131256"/>
                      <a:pt x="0" y="79300"/>
                    </a:cubicBezTo>
                    <a:cubicBezTo>
                      <a:pt x="0" y="27345"/>
                      <a:pt x="38967" y="0"/>
                      <a:pt x="80668" y="0"/>
                    </a:cubicBezTo>
                    <a:cubicBezTo>
                      <a:pt x="121685" y="0"/>
                      <a:pt x="160652" y="27345"/>
                      <a:pt x="160652" y="79300"/>
                    </a:cubicBezTo>
                    <a:cubicBezTo>
                      <a:pt x="161335" y="131256"/>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86" name="Полилиния: фигура 85">
                <a:extLst>
                  <a:ext uri="{FF2B5EF4-FFF2-40B4-BE49-F238E27FC236}">
                    <a16:creationId xmlns:a16="http://schemas.microsoft.com/office/drawing/2014/main" id="{B77F68C1-2474-4A4E-9828-CAB55D8AD946}"/>
                  </a:ext>
                </a:extLst>
              </p:cNvPr>
              <p:cNvSpPr/>
              <p:nvPr/>
            </p:nvSpPr>
            <p:spPr>
              <a:xfrm>
                <a:off x="12955942" y="6848138"/>
                <a:ext cx="97758" cy="149714"/>
              </a:xfrm>
              <a:custGeom>
                <a:avLst/>
                <a:gdLst>
                  <a:gd name="connsiteX0" fmla="*/ 0 w 97758"/>
                  <a:gd name="connsiteY0" fmla="*/ 0 h 149714"/>
                  <a:gd name="connsiteX1" fmla="*/ 97759 w 97758"/>
                  <a:gd name="connsiteY1" fmla="*/ 0 h 149714"/>
                  <a:gd name="connsiteX2" fmla="*/ 97759 w 97758"/>
                  <a:gd name="connsiteY2" fmla="*/ 28029 h 149714"/>
                  <a:gd name="connsiteX3" fmla="*/ 31447 w 97758"/>
                  <a:gd name="connsiteY3" fmla="*/ 28029 h 149714"/>
                  <a:gd name="connsiteX4" fmla="*/ 31447 w 97758"/>
                  <a:gd name="connsiteY4" fmla="*/ 149714 h 149714"/>
                  <a:gd name="connsiteX5" fmla="*/ 0 w 97758"/>
                  <a:gd name="connsiteY5" fmla="*/ 149714 h 149714"/>
                  <a:gd name="connsiteX6" fmla="*/ 0 w 97758"/>
                  <a:gd name="connsiteY6"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58" h="149714">
                    <a:moveTo>
                      <a:pt x="0" y="0"/>
                    </a:moveTo>
                    <a:lnTo>
                      <a:pt x="97759" y="0"/>
                    </a:lnTo>
                    <a:lnTo>
                      <a:pt x="97759" y="28029"/>
                    </a:lnTo>
                    <a:lnTo>
                      <a:pt x="31447" y="28029"/>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7" name="Полилиния: фигура 86">
                <a:extLst>
                  <a:ext uri="{FF2B5EF4-FFF2-40B4-BE49-F238E27FC236}">
                    <a16:creationId xmlns:a16="http://schemas.microsoft.com/office/drawing/2014/main" id="{F8E4829D-EAD9-461D-9F17-A95E955F1A25}"/>
                  </a:ext>
                </a:extLst>
              </p:cNvPr>
              <p:cNvSpPr/>
              <p:nvPr/>
            </p:nvSpPr>
            <p:spPr>
              <a:xfrm>
                <a:off x="13078995" y="6848138"/>
                <a:ext cx="134674" cy="150397"/>
              </a:xfrm>
              <a:custGeom>
                <a:avLst/>
                <a:gdLst>
                  <a:gd name="connsiteX0" fmla="*/ 0 w 134674"/>
                  <a:gd name="connsiteY0" fmla="*/ 0 h 150397"/>
                  <a:gd name="connsiteX1" fmla="*/ 30080 w 134674"/>
                  <a:gd name="connsiteY1" fmla="*/ 0 h 150397"/>
                  <a:gd name="connsiteX2" fmla="*/ 30080 w 134674"/>
                  <a:gd name="connsiteY2" fmla="*/ 108013 h 150397"/>
                  <a:gd name="connsiteX3" fmla="*/ 101860 w 134674"/>
                  <a:gd name="connsiteY3" fmla="*/ 0 h 150397"/>
                  <a:gd name="connsiteX4" fmla="*/ 134674 w 134674"/>
                  <a:gd name="connsiteY4" fmla="*/ 0 h 150397"/>
                  <a:gd name="connsiteX5" fmla="*/ 134674 w 134674"/>
                  <a:gd name="connsiteY5" fmla="*/ 149714 h 150397"/>
                  <a:gd name="connsiteX6" fmla="*/ 104595 w 134674"/>
                  <a:gd name="connsiteY6" fmla="*/ 149714 h 150397"/>
                  <a:gd name="connsiteX7" fmla="*/ 104595 w 134674"/>
                  <a:gd name="connsiteY7" fmla="*/ 41701 h 150397"/>
                  <a:gd name="connsiteX8" fmla="*/ 33498 w 134674"/>
                  <a:gd name="connsiteY8" fmla="*/ 150398 h 150397"/>
                  <a:gd name="connsiteX9" fmla="*/ 684 w 134674"/>
                  <a:gd name="connsiteY9" fmla="*/ 150398 h 150397"/>
                  <a:gd name="connsiteX10" fmla="*/ 684 w 134674"/>
                  <a:gd name="connsiteY10" fmla="*/ 0 h 150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50397">
                    <a:moveTo>
                      <a:pt x="0" y="0"/>
                    </a:moveTo>
                    <a:lnTo>
                      <a:pt x="30080" y="0"/>
                    </a:lnTo>
                    <a:lnTo>
                      <a:pt x="30080" y="108013"/>
                    </a:lnTo>
                    <a:lnTo>
                      <a:pt x="101860" y="0"/>
                    </a:lnTo>
                    <a:lnTo>
                      <a:pt x="134674" y="0"/>
                    </a:lnTo>
                    <a:lnTo>
                      <a:pt x="134674" y="149714"/>
                    </a:lnTo>
                    <a:lnTo>
                      <a:pt x="104595" y="149714"/>
                    </a:lnTo>
                    <a:lnTo>
                      <a:pt x="104595" y="41701"/>
                    </a:lnTo>
                    <a:lnTo>
                      <a:pt x="33498" y="150398"/>
                    </a:lnTo>
                    <a:lnTo>
                      <a:pt x="684" y="150398"/>
                    </a:lnTo>
                    <a:lnTo>
                      <a:pt x="684" y="0"/>
                    </a:lnTo>
                    <a:close/>
                  </a:path>
                </a:pathLst>
              </a:custGeom>
              <a:solidFill>
                <a:srgbClr val="FFFFFF"/>
              </a:solidFill>
              <a:ln w="6836" cap="flat">
                <a:noFill/>
                <a:prstDash val="solid"/>
                <a:miter/>
              </a:ln>
            </p:spPr>
            <p:txBody>
              <a:bodyPr rtlCol="0" anchor="ctr"/>
              <a:lstStyle/>
              <a:p>
                <a:endParaRPr lang="ru-RU" sz="1587"/>
              </a:p>
            </p:txBody>
          </p:sp>
          <p:sp>
            <p:nvSpPr>
              <p:cNvPr id="88" name="Полилиния: фигура 87">
                <a:extLst>
                  <a:ext uri="{FF2B5EF4-FFF2-40B4-BE49-F238E27FC236}">
                    <a16:creationId xmlns:a16="http://schemas.microsoft.com/office/drawing/2014/main" id="{3A8A2161-FC25-469C-8ED8-612BBEF689B7}"/>
                  </a:ext>
                </a:extLst>
              </p:cNvPr>
              <p:cNvSpPr/>
              <p:nvPr/>
            </p:nvSpPr>
            <p:spPr>
              <a:xfrm>
                <a:off x="13253319" y="6848138"/>
                <a:ext cx="134674" cy="149714"/>
              </a:xfrm>
              <a:custGeom>
                <a:avLst/>
                <a:gdLst>
                  <a:gd name="connsiteX0" fmla="*/ 0 w 134674"/>
                  <a:gd name="connsiteY0" fmla="*/ 0 h 149714"/>
                  <a:gd name="connsiteX1" fmla="*/ 30080 w 134674"/>
                  <a:gd name="connsiteY1" fmla="*/ 0 h 149714"/>
                  <a:gd name="connsiteX2" fmla="*/ 30080 w 134674"/>
                  <a:gd name="connsiteY2" fmla="*/ 108013 h 149714"/>
                  <a:gd name="connsiteX3" fmla="*/ 101860 w 134674"/>
                  <a:gd name="connsiteY3" fmla="*/ 0 h 149714"/>
                  <a:gd name="connsiteX4" fmla="*/ 134674 w 134674"/>
                  <a:gd name="connsiteY4" fmla="*/ 0 h 149714"/>
                  <a:gd name="connsiteX5" fmla="*/ 134674 w 134674"/>
                  <a:gd name="connsiteY5" fmla="*/ 149714 h 149714"/>
                  <a:gd name="connsiteX6" fmla="*/ 104595 w 134674"/>
                  <a:gd name="connsiteY6" fmla="*/ 149714 h 149714"/>
                  <a:gd name="connsiteX7" fmla="*/ 104595 w 134674"/>
                  <a:gd name="connsiteY7" fmla="*/ 41701 h 149714"/>
                  <a:gd name="connsiteX8" fmla="*/ 32814 w 134674"/>
                  <a:gd name="connsiteY8" fmla="*/ 149714 h 149714"/>
                  <a:gd name="connsiteX9" fmla="*/ 0 w 134674"/>
                  <a:gd name="connsiteY9" fmla="*/ 149714 h 149714"/>
                  <a:gd name="connsiteX10" fmla="*/ 0 w 134674"/>
                  <a:gd name="connsiteY10"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674" h="149714">
                    <a:moveTo>
                      <a:pt x="0" y="0"/>
                    </a:moveTo>
                    <a:lnTo>
                      <a:pt x="30080" y="0"/>
                    </a:lnTo>
                    <a:lnTo>
                      <a:pt x="30080" y="108013"/>
                    </a:lnTo>
                    <a:lnTo>
                      <a:pt x="101860" y="0"/>
                    </a:lnTo>
                    <a:lnTo>
                      <a:pt x="134674" y="0"/>
                    </a:lnTo>
                    <a:lnTo>
                      <a:pt x="134674" y="149714"/>
                    </a:lnTo>
                    <a:lnTo>
                      <a:pt x="104595" y="149714"/>
                    </a:lnTo>
                    <a:lnTo>
                      <a:pt x="104595" y="41701"/>
                    </a:lnTo>
                    <a:lnTo>
                      <a:pt x="32814"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89" name="Полилиния: фигура 88">
                <a:extLst>
                  <a:ext uri="{FF2B5EF4-FFF2-40B4-BE49-F238E27FC236}">
                    <a16:creationId xmlns:a16="http://schemas.microsoft.com/office/drawing/2014/main" id="{CD25B9FB-36AA-4AC3-BCD3-52DA359FC664}"/>
                  </a:ext>
                </a:extLst>
              </p:cNvPr>
              <p:cNvSpPr/>
              <p:nvPr/>
            </p:nvSpPr>
            <p:spPr>
              <a:xfrm>
                <a:off x="11333699" y="7186532"/>
                <a:ext cx="123052" cy="149714"/>
              </a:xfrm>
              <a:custGeom>
                <a:avLst/>
                <a:gdLst>
                  <a:gd name="connsiteX0" fmla="*/ 0 w 123052"/>
                  <a:gd name="connsiteY0" fmla="*/ 0 h 149714"/>
                  <a:gd name="connsiteX1" fmla="*/ 67679 w 123052"/>
                  <a:gd name="connsiteY1" fmla="*/ 0 h 149714"/>
                  <a:gd name="connsiteX2" fmla="*/ 117584 w 123052"/>
                  <a:gd name="connsiteY2" fmla="*/ 36916 h 149714"/>
                  <a:gd name="connsiteX3" fmla="*/ 95024 w 123052"/>
                  <a:gd name="connsiteY3" fmla="*/ 70414 h 149714"/>
                  <a:gd name="connsiteX4" fmla="*/ 123053 w 123052"/>
                  <a:gd name="connsiteY4" fmla="*/ 106646 h 149714"/>
                  <a:gd name="connsiteX5" fmla="*/ 69730 w 123052"/>
                  <a:gd name="connsiteY5" fmla="*/ 149714 h 149714"/>
                  <a:gd name="connsiteX6" fmla="*/ 0 w 123052"/>
                  <a:gd name="connsiteY6" fmla="*/ 149714 h 149714"/>
                  <a:gd name="connsiteX7" fmla="*/ 0 w 123052"/>
                  <a:gd name="connsiteY7" fmla="*/ 0 h 149714"/>
                  <a:gd name="connsiteX8" fmla="*/ 66312 w 123052"/>
                  <a:gd name="connsiteY8" fmla="*/ 60159 h 149714"/>
                  <a:gd name="connsiteX9" fmla="*/ 88871 w 123052"/>
                  <a:gd name="connsiteY9" fmla="*/ 42385 h 149714"/>
                  <a:gd name="connsiteX10" fmla="*/ 66995 w 123052"/>
                  <a:gd name="connsiteY10" fmla="*/ 24611 h 149714"/>
                  <a:gd name="connsiteX11" fmla="*/ 31447 w 123052"/>
                  <a:gd name="connsiteY11" fmla="*/ 24611 h 149714"/>
                  <a:gd name="connsiteX12" fmla="*/ 31447 w 123052"/>
                  <a:gd name="connsiteY12" fmla="*/ 60159 h 149714"/>
                  <a:gd name="connsiteX13" fmla="*/ 66312 w 123052"/>
                  <a:gd name="connsiteY13" fmla="*/ 60159 h 149714"/>
                  <a:gd name="connsiteX14" fmla="*/ 68363 w 123052"/>
                  <a:gd name="connsiteY14" fmla="*/ 125787 h 149714"/>
                  <a:gd name="connsiteX15" fmla="*/ 92289 w 123052"/>
                  <a:gd name="connsiteY15" fmla="*/ 105279 h 149714"/>
                  <a:gd name="connsiteX16" fmla="*/ 68363 w 123052"/>
                  <a:gd name="connsiteY16" fmla="*/ 84770 h 149714"/>
                  <a:gd name="connsiteX17" fmla="*/ 31447 w 123052"/>
                  <a:gd name="connsiteY17" fmla="*/ 84770 h 149714"/>
                  <a:gd name="connsiteX18" fmla="*/ 31447 w 123052"/>
                  <a:gd name="connsiteY18" fmla="*/ 126471 h 149714"/>
                  <a:gd name="connsiteX19" fmla="*/ 68363 w 123052"/>
                  <a:gd name="connsiteY19" fmla="*/ 126471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052" h="149714">
                    <a:moveTo>
                      <a:pt x="0" y="0"/>
                    </a:moveTo>
                    <a:lnTo>
                      <a:pt x="67679" y="0"/>
                    </a:lnTo>
                    <a:cubicBezTo>
                      <a:pt x="99809" y="0"/>
                      <a:pt x="117584" y="16407"/>
                      <a:pt x="117584" y="36916"/>
                    </a:cubicBezTo>
                    <a:cubicBezTo>
                      <a:pt x="117584" y="54007"/>
                      <a:pt x="108697" y="64261"/>
                      <a:pt x="95024" y="70414"/>
                    </a:cubicBezTo>
                    <a:cubicBezTo>
                      <a:pt x="110747" y="75199"/>
                      <a:pt x="123053" y="86821"/>
                      <a:pt x="123053" y="106646"/>
                    </a:cubicBezTo>
                    <a:cubicBezTo>
                      <a:pt x="123053" y="131940"/>
                      <a:pt x="101177" y="149714"/>
                      <a:pt x="69730" y="149714"/>
                    </a:cubicBezTo>
                    <a:lnTo>
                      <a:pt x="0" y="149714"/>
                    </a:lnTo>
                    <a:lnTo>
                      <a:pt x="0" y="0"/>
                    </a:lnTo>
                    <a:close/>
                    <a:moveTo>
                      <a:pt x="66312" y="60159"/>
                    </a:moveTo>
                    <a:cubicBezTo>
                      <a:pt x="79984" y="60159"/>
                      <a:pt x="88871" y="54690"/>
                      <a:pt x="88871" y="42385"/>
                    </a:cubicBezTo>
                    <a:cubicBezTo>
                      <a:pt x="88871" y="30080"/>
                      <a:pt x="80668" y="24611"/>
                      <a:pt x="66995" y="24611"/>
                    </a:cubicBezTo>
                    <a:lnTo>
                      <a:pt x="31447" y="24611"/>
                    </a:lnTo>
                    <a:lnTo>
                      <a:pt x="31447" y="60159"/>
                    </a:lnTo>
                    <a:lnTo>
                      <a:pt x="66312" y="60159"/>
                    </a:lnTo>
                    <a:close/>
                    <a:moveTo>
                      <a:pt x="68363" y="125787"/>
                    </a:moveTo>
                    <a:cubicBezTo>
                      <a:pt x="84086" y="125787"/>
                      <a:pt x="92289" y="117584"/>
                      <a:pt x="92289" y="105279"/>
                    </a:cubicBezTo>
                    <a:cubicBezTo>
                      <a:pt x="92289" y="92973"/>
                      <a:pt x="84086" y="84770"/>
                      <a:pt x="68363" y="84770"/>
                    </a:cubicBezTo>
                    <a:lnTo>
                      <a:pt x="31447" y="84770"/>
                    </a:lnTo>
                    <a:lnTo>
                      <a:pt x="31447" y="126471"/>
                    </a:lnTo>
                    <a:lnTo>
                      <a:pt x="68363" y="126471"/>
                    </a:lnTo>
                    <a:close/>
                  </a:path>
                </a:pathLst>
              </a:custGeom>
              <a:solidFill>
                <a:srgbClr val="FFFFFF"/>
              </a:solidFill>
              <a:ln w="6836" cap="flat">
                <a:noFill/>
                <a:prstDash val="solid"/>
                <a:miter/>
              </a:ln>
            </p:spPr>
            <p:txBody>
              <a:bodyPr rtlCol="0" anchor="ctr"/>
              <a:lstStyle/>
              <a:p>
                <a:endParaRPr lang="ru-RU" sz="1587"/>
              </a:p>
            </p:txBody>
          </p:sp>
          <p:sp>
            <p:nvSpPr>
              <p:cNvPr id="90" name="Полилиния: фигура 89">
                <a:extLst>
                  <a:ext uri="{FF2B5EF4-FFF2-40B4-BE49-F238E27FC236}">
                    <a16:creationId xmlns:a16="http://schemas.microsoft.com/office/drawing/2014/main" id="{7CF9F08D-15C5-48A9-9A62-4CB64F9A53A5}"/>
                  </a:ext>
                </a:extLst>
              </p:cNvPr>
              <p:cNvSpPr/>
              <p:nvPr/>
            </p:nvSpPr>
            <p:spPr>
              <a:xfrm>
                <a:off x="11479995"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5" y="28712"/>
                      <a:pt x="80668" y="28712"/>
                    </a:cubicBezTo>
                    <a:cubicBezTo>
                      <a:pt x="54690" y="28712"/>
                      <a:pt x="32130" y="48537"/>
                      <a:pt x="32130" y="79300"/>
                    </a:cubicBezTo>
                    <a:cubicBezTo>
                      <a:pt x="32130" y="110064"/>
                      <a:pt x="54690" y="129889"/>
                      <a:pt x="80668" y="129889"/>
                    </a:cubicBezTo>
                    <a:cubicBezTo>
                      <a:pt x="106645"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1" name="Полилиния: фигура 90">
                <a:extLst>
                  <a:ext uri="{FF2B5EF4-FFF2-40B4-BE49-F238E27FC236}">
                    <a16:creationId xmlns:a16="http://schemas.microsoft.com/office/drawing/2014/main" id="{BE5B5B32-764C-4B3B-90F8-7EF0D1228858}"/>
                  </a:ext>
                </a:extLst>
              </p:cNvPr>
              <p:cNvSpPr/>
              <p:nvPr/>
            </p:nvSpPr>
            <p:spPr>
              <a:xfrm>
                <a:off x="11663890" y="7183114"/>
                <a:ext cx="121685" cy="157917"/>
              </a:xfrm>
              <a:custGeom>
                <a:avLst/>
                <a:gdLst>
                  <a:gd name="connsiteX0" fmla="*/ 121685 w 121685"/>
                  <a:gd name="connsiteY0" fmla="*/ 110064 h 157917"/>
                  <a:gd name="connsiteX1" fmla="*/ 58792 w 121685"/>
                  <a:gd name="connsiteY1" fmla="*/ 157918 h 157917"/>
                  <a:gd name="connsiteX2" fmla="*/ 0 w 121685"/>
                  <a:gd name="connsiteY2" fmla="*/ 110747 h 157917"/>
                  <a:gd name="connsiteX3" fmla="*/ 3418 w 121685"/>
                  <a:gd name="connsiteY3" fmla="*/ 93657 h 157917"/>
                  <a:gd name="connsiteX4" fmla="*/ 29396 w 121685"/>
                  <a:gd name="connsiteY4" fmla="*/ 102544 h 157917"/>
                  <a:gd name="connsiteX5" fmla="*/ 28029 w 121685"/>
                  <a:gd name="connsiteY5" fmla="*/ 110064 h 157917"/>
                  <a:gd name="connsiteX6" fmla="*/ 58792 w 121685"/>
                  <a:gd name="connsiteY6" fmla="*/ 132624 h 157917"/>
                  <a:gd name="connsiteX7" fmla="*/ 91606 w 121685"/>
                  <a:gd name="connsiteY7" fmla="*/ 108697 h 157917"/>
                  <a:gd name="connsiteX8" fmla="*/ 60843 w 121685"/>
                  <a:gd name="connsiteY8" fmla="*/ 87504 h 157917"/>
                  <a:gd name="connsiteX9" fmla="*/ 47170 w 121685"/>
                  <a:gd name="connsiteY9" fmla="*/ 87504 h 157917"/>
                  <a:gd name="connsiteX10" fmla="*/ 47170 w 121685"/>
                  <a:gd name="connsiteY10" fmla="*/ 62894 h 157917"/>
                  <a:gd name="connsiteX11" fmla="*/ 59475 w 121685"/>
                  <a:gd name="connsiteY11" fmla="*/ 62894 h 157917"/>
                  <a:gd name="connsiteX12" fmla="*/ 86137 w 121685"/>
                  <a:gd name="connsiteY12" fmla="*/ 42385 h 157917"/>
                  <a:gd name="connsiteX13" fmla="*/ 60159 w 121685"/>
                  <a:gd name="connsiteY13" fmla="*/ 23927 h 157917"/>
                  <a:gd name="connsiteX14" fmla="*/ 31447 w 121685"/>
                  <a:gd name="connsiteY14" fmla="*/ 40334 h 157917"/>
                  <a:gd name="connsiteX15" fmla="*/ 32130 w 121685"/>
                  <a:gd name="connsiteY15" fmla="*/ 46487 h 157917"/>
                  <a:gd name="connsiteX16" fmla="*/ 6153 w 121685"/>
                  <a:gd name="connsiteY16" fmla="*/ 56057 h 157917"/>
                  <a:gd name="connsiteX17" fmla="*/ 3418 w 121685"/>
                  <a:gd name="connsiteY17" fmla="*/ 41701 h 157917"/>
                  <a:gd name="connsiteX18" fmla="*/ 60843 w 121685"/>
                  <a:gd name="connsiteY18" fmla="*/ 0 h 157917"/>
                  <a:gd name="connsiteX19" fmla="*/ 115533 w 121685"/>
                  <a:gd name="connsiteY19" fmla="*/ 40334 h 157917"/>
                  <a:gd name="connsiteX20" fmla="*/ 90238 w 121685"/>
                  <a:gd name="connsiteY20" fmla="*/ 75199 h 157917"/>
                  <a:gd name="connsiteX21" fmla="*/ 121685 w 121685"/>
                  <a:gd name="connsiteY21" fmla="*/ 110064 h 1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685" h="157917">
                    <a:moveTo>
                      <a:pt x="121685" y="110064"/>
                    </a:moveTo>
                    <a:cubicBezTo>
                      <a:pt x="121685" y="136725"/>
                      <a:pt x="99809" y="157918"/>
                      <a:pt x="58792" y="157918"/>
                    </a:cubicBezTo>
                    <a:cubicBezTo>
                      <a:pt x="21192" y="157918"/>
                      <a:pt x="0" y="138092"/>
                      <a:pt x="0" y="110747"/>
                    </a:cubicBezTo>
                    <a:cubicBezTo>
                      <a:pt x="0" y="103911"/>
                      <a:pt x="2051" y="97075"/>
                      <a:pt x="3418" y="93657"/>
                    </a:cubicBezTo>
                    <a:lnTo>
                      <a:pt x="29396" y="102544"/>
                    </a:lnTo>
                    <a:cubicBezTo>
                      <a:pt x="28712" y="104595"/>
                      <a:pt x="28029" y="107329"/>
                      <a:pt x="28029" y="110064"/>
                    </a:cubicBezTo>
                    <a:cubicBezTo>
                      <a:pt x="28029" y="125104"/>
                      <a:pt x="43068" y="132624"/>
                      <a:pt x="58792" y="132624"/>
                    </a:cubicBezTo>
                    <a:cubicBezTo>
                      <a:pt x="79984" y="132624"/>
                      <a:pt x="91606" y="122369"/>
                      <a:pt x="91606" y="108697"/>
                    </a:cubicBezTo>
                    <a:cubicBezTo>
                      <a:pt x="91606" y="95708"/>
                      <a:pt x="80668" y="87504"/>
                      <a:pt x="60843" y="87504"/>
                    </a:cubicBezTo>
                    <a:lnTo>
                      <a:pt x="47170" y="87504"/>
                    </a:lnTo>
                    <a:lnTo>
                      <a:pt x="47170" y="62894"/>
                    </a:lnTo>
                    <a:lnTo>
                      <a:pt x="59475" y="62894"/>
                    </a:lnTo>
                    <a:cubicBezTo>
                      <a:pt x="77933" y="62894"/>
                      <a:pt x="86137" y="54007"/>
                      <a:pt x="86137" y="42385"/>
                    </a:cubicBezTo>
                    <a:cubicBezTo>
                      <a:pt x="86137" y="31447"/>
                      <a:pt x="77250" y="23927"/>
                      <a:pt x="60159" y="23927"/>
                    </a:cubicBezTo>
                    <a:cubicBezTo>
                      <a:pt x="42385" y="23927"/>
                      <a:pt x="31447" y="31447"/>
                      <a:pt x="31447" y="40334"/>
                    </a:cubicBezTo>
                    <a:cubicBezTo>
                      <a:pt x="31447" y="43752"/>
                      <a:pt x="32130" y="45803"/>
                      <a:pt x="32130" y="46487"/>
                    </a:cubicBezTo>
                    <a:lnTo>
                      <a:pt x="6153" y="56057"/>
                    </a:lnTo>
                    <a:cubicBezTo>
                      <a:pt x="4785" y="53323"/>
                      <a:pt x="3418" y="48537"/>
                      <a:pt x="3418" y="41701"/>
                    </a:cubicBezTo>
                    <a:cubicBezTo>
                      <a:pt x="3418" y="18458"/>
                      <a:pt x="24611" y="0"/>
                      <a:pt x="60843" y="0"/>
                    </a:cubicBezTo>
                    <a:cubicBezTo>
                      <a:pt x="98442" y="0"/>
                      <a:pt x="115533" y="17774"/>
                      <a:pt x="115533" y="40334"/>
                    </a:cubicBezTo>
                    <a:cubicBezTo>
                      <a:pt x="115533" y="57425"/>
                      <a:pt x="105962" y="69046"/>
                      <a:pt x="90238" y="75199"/>
                    </a:cubicBezTo>
                    <a:cubicBezTo>
                      <a:pt x="108696" y="79301"/>
                      <a:pt x="121685" y="90922"/>
                      <a:pt x="121685" y="110064"/>
                    </a:cubicBezTo>
                    <a:close/>
                  </a:path>
                </a:pathLst>
              </a:custGeom>
              <a:solidFill>
                <a:srgbClr val="FFFFFF"/>
              </a:solidFill>
              <a:ln w="6836" cap="flat">
                <a:noFill/>
                <a:prstDash val="solid"/>
                <a:miter/>
              </a:ln>
            </p:spPr>
            <p:txBody>
              <a:bodyPr rtlCol="0" anchor="ctr"/>
              <a:lstStyle/>
              <a:p>
                <a:endParaRPr lang="ru-RU" sz="1587"/>
              </a:p>
            </p:txBody>
          </p:sp>
          <p:sp>
            <p:nvSpPr>
              <p:cNvPr id="92" name="Полилиния: фигура 91">
                <a:extLst>
                  <a:ext uri="{FF2B5EF4-FFF2-40B4-BE49-F238E27FC236}">
                    <a16:creationId xmlns:a16="http://schemas.microsoft.com/office/drawing/2014/main" id="{49E35AA8-C017-474E-B526-D06C4F3152DA}"/>
                  </a:ext>
                </a:extLst>
              </p:cNvPr>
              <p:cNvSpPr/>
              <p:nvPr/>
            </p:nvSpPr>
            <p:spPr>
              <a:xfrm>
                <a:off x="11818390" y="7186532"/>
                <a:ext cx="173640" cy="149714"/>
              </a:xfrm>
              <a:custGeom>
                <a:avLst/>
                <a:gdLst>
                  <a:gd name="connsiteX0" fmla="*/ 0 w 173640"/>
                  <a:gd name="connsiteY0" fmla="*/ 0 h 149714"/>
                  <a:gd name="connsiteX1" fmla="*/ 42385 w 173640"/>
                  <a:gd name="connsiteY1" fmla="*/ 0 h 149714"/>
                  <a:gd name="connsiteX2" fmla="*/ 86820 w 173640"/>
                  <a:gd name="connsiteY2" fmla="*/ 114166 h 149714"/>
                  <a:gd name="connsiteX3" fmla="*/ 131256 w 173640"/>
                  <a:gd name="connsiteY3" fmla="*/ 0 h 149714"/>
                  <a:gd name="connsiteX4" fmla="*/ 173641 w 173640"/>
                  <a:gd name="connsiteY4" fmla="*/ 0 h 149714"/>
                  <a:gd name="connsiteX5" fmla="*/ 173641 w 173640"/>
                  <a:gd name="connsiteY5" fmla="*/ 149714 h 149714"/>
                  <a:gd name="connsiteX6" fmla="*/ 143561 w 173640"/>
                  <a:gd name="connsiteY6" fmla="*/ 149714 h 149714"/>
                  <a:gd name="connsiteX7" fmla="*/ 143561 w 173640"/>
                  <a:gd name="connsiteY7" fmla="*/ 43752 h 149714"/>
                  <a:gd name="connsiteX8" fmla="*/ 100493 w 173640"/>
                  <a:gd name="connsiteY8" fmla="*/ 149714 h 149714"/>
                  <a:gd name="connsiteX9" fmla="*/ 74515 w 173640"/>
                  <a:gd name="connsiteY9" fmla="*/ 149714 h 149714"/>
                  <a:gd name="connsiteX10" fmla="*/ 30763 w 173640"/>
                  <a:gd name="connsiteY10" fmla="*/ 43069 h 149714"/>
                  <a:gd name="connsiteX11" fmla="*/ 30763 w 173640"/>
                  <a:gd name="connsiteY11" fmla="*/ 149714 h 149714"/>
                  <a:gd name="connsiteX12" fmla="*/ 683 w 173640"/>
                  <a:gd name="connsiteY12" fmla="*/ 149714 h 149714"/>
                  <a:gd name="connsiteX13" fmla="*/ 683 w 173640"/>
                  <a:gd name="connsiteY13"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3640" h="149714">
                    <a:moveTo>
                      <a:pt x="0" y="0"/>
                    </a:moveTo>
                    <a:lnTo>
                      <a:pt x="42385" y="0"/>
                    </a:lnTo>
                    <a:lnTo>
                      <a:pt x="86820" y="114166"/>
                    </a:lnTo>
                    <a:lnTo>
                      <a:pt x="131256" y="0"/>
                    </a:lnTo>
                    <a:lnTo>
                      <a:pt x="173641" y="0"/>
                    </a:lnTo>
                    <a:lnTo>
                      <a:pt x="173641" y="149714"/>
                    </a:lnTo>
                    <a:lnTo>
                      <a:pt x="143561" y="149714"/>
                    </a:lnTo>
                    <a:lnTo>
                      <a:pt x="143561" y="43752"/>
                    </a:lnTo>
                    <a:lnTo>
                      <a:pt x="100493" y="149714"/>
                    </a:lnTo>
                    <a:lnTo>
                      <a:pt x="74515" y="149714"/>
                    </a:lnTo>
                    <a:lnTo>
                      <a:pt x="30763" y="43069"/>
                    </a:lnTo>
                    <a:lnTo>
                      <a:pt x="30763" y="149714"/>
                    </a:lnTo>
                    <a:lnTo>
                      <a:pt x="683" y="149714"/>
                    </a:lnTo>
                    <a:lnTo>
                      <a:pt x="683" y="0"/>
                    </a:lnTo>
                    <a:close/>
                  </a:path>
                </a:pathLst>
              </a:custGeom>
              <a:solidFill>
                <a:srgbClr val="FFFFFF"/>
              </a:solidFill>
              <a:ln w="6836" cap="flat">
                <a:noFill/>
                <a:prstDash val="solid"/>
                <a:miter/>
              </a:ln>
            </p:spPr>
            <p:txBody>
              <a:bodyPr rtlCol="0" anchor="ctr"/>
              <a:lstStyle/>
              <a:p>
                <a:endParaRPr lang="ru-RU" sz="1587"/>
              </a:p>
            </p:txBody>
          </p:sp>
          <p:sp>
            <p:nvSpPr>
              <p:cNvPr id="93" name="Полилиния: фигура 92">
                <a:extLst>
                  <a:ext uri="{FF2B5EF4-FFF2-40B4-BE49-F238E27FC236}">
                    <a16:creationId xmlns:a16="http://schemas.microsoft.com/office/drawing/2014/main" id="{87AA8FCF-0290-4923-868F-291038BFA963}"/>
                  </a:ext>
                </a:extLst>
              </p:cNvPr>
              <p:cNvSpPr/>
              <p:nvPr/>
            </p:nvSpPr>
            <p:spPr>
              <a:xfrm>
                <a:off x="12022110"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8522 w 160652"/>
                  <a:gd name="connsiteY5" fmla="*/ 79300 h 158601"/>
                  <a:gd name="connsiteX6" fmla="*/ 79984 w 160652"/>
                  <a:gd name="connsiteY6" fmla="*/ 28712 h 158601"/>
                  <a:gd name="connsiteX7" fmla="*/ 31447 w 160652"/>
                  <a:gd name="connsiteY7" fmla="*/ 79300 h 158601"/>
                  <a:gd name="connsiteX8" fmla="*/ 79984 w 160652"/>
                  <a:gd name="connsiteY8" fmla="*/ 129889 h 158601"/>
                  <a:gd name="connsiteX9" fmla="*/ 128522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002" y="158601"/>
                      <a:pt x="80668" y="158601"/>
                    </a:cubicBezTo>
                    <a:close/>
                    <a:moveTo>
                      <a:pt x="128522" y="79300"/>
                    </a:moveTo>
                    <a:cubicBezTo>
                      <a:pt x="128522" y="48537"/>
                      <a:pt x="105962" y="28712"/>
                      <a:pt x="79984" y="28712"/>
                    </a:cubicBezTo>
                    <a:cubicBezTo>
                      <a:pt x="54006" y="28712"/>
                      <a:pt x="31447" y="48537"/>
                      <a:pt x="31447" y="79300"/>
                    </a:cubicBezTo>
                    <a:cubicBezTo>
                      <a:pt x="31447" y="110064"/>
                      <a:pt x="54006" y="129889"/>
                      <a:pt x="79984" y="129889"/>
                    </a:cubicBezTo>
                    <a:cubicBezTo>
                      <a:pt x="106646" y="129889"/>
                      <a:pt x="128522" y="110064"/>
                      <a:pt x="128522" y="79300"/>
                    </a:cubicBezTo>
                    <a:close/>
                  </a:path>
                </a:pathLst>
              </a:custGeom>
              <a:solidFill>
                <a:srgbClr val="FFFFFF"/>
              </a:solidFill>
              <a:ln w="6836" cap="flat">
                <a:noFill/>
                <a:prstDash val="solid"/>
                <a:miter/>
              </a:ln>
            </p:spPr>
            <p:txBody>
              <a:bodyPr rtlCol="0" anchor="ctr"/>
              <a:lstStyle/>
              <a:p>
                <a:endParaRPr lang="ru-RU" sz="1587"/>
              </a:p>
            </p:txBody>
          </p:sp>
          <p:sp>
            <p:nvSpPr>
              <p:cNvPr id="94" name="Полилиния: фигура 93">
                <a:extLst>
                  <a:ext uri="{FF2B5EF4-FFF2-40B4-BE49-F238E27FC236}">
                    <a16:creationId xmlns:a16="http://schemas.microsoft.com/office/drawing/2014/main" id="{13A2101F-256F-42E7-8470-ABE0D70F89DF}"/>
                  </a:ext>
                </a:extLst>
              </p:cNvPr>
              <p:cNvSpPr/>
              <p:nvPr/>
            </p:nvSpPr>
            <p:spPr>
              <a:xfrm>
                <a:off x="12189598" y="7186532"/>
                <a:ext cx="210556" cy="149714"/>
              </a:xfrm>
              <a:custGeom>
                <a:avLst/>
                <a:gdLst>
                  <a:gd name="connsiteX0" fmla="*/ 171590 w 210556"/>
                  <a:gd name="connsiteY0" fmla="*/ 149714 h 149714"/>
                  <a:gd name="connsiteX1" fmla="*/ 120318 w 210556"/>
                  <a:gd name="connsiteY1" fmla="*/ 84086 h 149714"/>
                  <a:gd name="connsiteX2" fmla="*/ 120318 w 210556"/>
                  <a:gd name="connsiteY2" fmla="*/ 149714 h 149714"/>
                  <a:gd name="connsiteX3" fmla="*/ 88871 w 210556"/>
                  <a:gd name="connsiteY3" fmla="*/ 149714 h 149714"/>
                  <a:gd name="connsiteX4" fmla="*/ 88871 w 210556"/>
                  <a:gd name="connsiteY4" fmla="*/ 83402 h 149714"/>
                  <a:gd name="connsiteX5" fmla="*/ 37599 w 210556"/>
                  <a:gd name="connsiteY5" fmla="*/ 149714 h 149714"/>
                  <a:gd name="connsiteX6" fmla="*/ 0 w 210556"/>
                  <a:gd name="connsiteY6" fmla="*/ 149714 h 149714"/>
                  <a:gd name="connsiteX7" fmla="*/ 62894 w 210556"/>
                  <a:gd name="connsiteY7" fmla="*/ 70414 h 149714"/>
                  <a:gd name="connsiteX8" fmla="*/ 1367 w 210556"/>
                  <a:gd name="connsiteY8" fmla="*/ 0 h 149714"/>
                  <a:gd name="connsiteX9" fmla="*/ 41701 w 210556"/>
                  <a:gd name="connsiteY9" fmla="*/ 0 h 149714"/>
                  <a:gd name="connsiteX10" fmla="*/ 89555 w 210556"/>
                  <a:gd name="connsiteY10" fmla="*/ 58108 h 149714"/>
                  <a:gd name="connsiteX11" fmla="*/ 89555 w 210556"/>
                  <a:gd name="connsiteY11" fmla="*/ 0 h 149714"/>
                  <a:gd name="connsiteX12" fmla="*/ 121002 w 210556"/>
                  <a:gd name="connsiteY12" fmla="*/ 0 h 149714"/>
                  <a:gd name="connsiteX13" fmla="*/ 121002 w 210556"/>
                  <a:gd name="connsiteY13" fmla="*/ 58108 h 149714"/>
                  <a:gd name="connsiteX14" fmla="*/ 168856 w 210556"/>
                  <a:gd name="connsiteY14" fmla="*/ 0 h 149714"/>
                  <a:gd name="connsiteX15" fmla="*/ 209189 w 210556"/>
                  <a:gd name="connsiteY15" fmla="*/ 0 h 149714"/>
                  <a:gd name="connsiteX16" fmla="*/ 147663 w 210556"/>
                  <a:gd name="connsiteY16" fmla="*/ 70414 h 149714"/>
                  <a:gd name="connsiteX17" fmla="*/ 210557 w 210556"/>
                  <a:gd name="connsiteY17" fmla="*/ 149714 h 149714"/>
                  <a:gd name="connsiteX18" fmla="*/ 171590 w 210556"/>
                  <a:gd name="connsiteY18" fmla="*/ 149714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56" h="149714">
                    <a:moveTo>
                      <a:pt x="171590" y="149714"/>
                    </a:moveTo>
                    <a:lnTo>
                      <a:pt x="120318" y="84086"/>
                    </a:lnTo>
                    <a:lnTo>
                      <a:pt x="120318" y="149714"/>
                    </a:lnTo>
                    <a:lnTo>
                      <a:pt x="88871" y="149714"/>
                    </a:lnTo>
                    <a:lnTo>
                      <a:pt x="88871" y="83402"/>
                    </a:lnTo>
                    <a:lnTo>
                      <a:pt x="37599" y="149714"/>
                    </a:lnTo>
                    <a:lnTo>
                      <a:pt x="0" y="149714"/>
                    </a:lnTo>
                    <a:lnTo>
                      <a:pt x="62894" y="70414"/>
                    </a:lnTo>
                    <a:lnTo>
                      <a:pt x="1367" y="0"/>
                    </a:lnTo>
                    <a:lnTo>
                      <a:pt x="41701" y="0"/>
                    </a:lnTo>
                    <a:lnTo>
                      <a:pt x="89555" y="58108"/>
                    </a:lnTo>
                    <a:lnTo>
                      <a:pt x="89555" y="0"/>
                    </a:lnTo>
                    <a:lnTo>
                      <a:pt x="121002" y="0"/>
                    </a:lnTo>
                    <a:lnTo>
                      <a:pt x="121002" y="58108"/>
                    </a:lnTo>
                    <a:lnTo>
                      <a:pt x="168856" y="0"/>
                    </a:lnTo>
                    <a:lnTo>
                      <a:pt x="209189" y="0"/>
                    </a:lnTo>
                    <a:lnTo>
                      <a:pt x="147663" y="70414"/>
                    </a:lnTo>
                    <a:lnTo>
                      <a:pt x="210557" y="149714"/>
                    </a:lnTo>
                    <a:lnTo>
                      <a:pt x="171590" y="149714"/>
                    </a:lnTo>
                    <a:close/>
                  </a:path>
                </a:pathLst>
              </a:custGeom>
              <a:solidFill>
                <a:srgbClr val="FFFFFF"/>
              </a:solidFill>
              <a:ln w="6836" cap="flat">
                <a:noFill/>
                <a:prstDash val="solid"/>
                <a:miter/>
              </a:ln>
            </p:spPr>
            <p:txBody>
              <a:bodyPr rtlCol="0" anchor="ctr"/>
              <a:lstStyle/>
              <a:p>
                <a:endParaRPr lang="ru-RU" sz="1587"/>
              </a:p>
            </p:txBody>
          </p:sp>
          <p:sp>
            <p:nvSpPr>
              <p:cNvPr id="95" name="Полилиния: фигура 94">
                <a:extLst>
                  <a:ext uri="{FF2B5EF4-FFF2-40B4-BE49-F238E27FC236}">
                    <a16:creationId xmlns:a16="http://schemas.microsoft.com/office/drawing/2014/main" id="{60F07C11-02B4-4966-8074-262390D60727}"/>
                  </a:ext>
                </a:extLst>
              </p:cNvPr>
              <p:cNvSpPr/>
              <p:nvPr/>
            </p:nvSpPr>
            <p:spPr>
              <a:xfrm>
                <a:off x="12423398" y="7186532"/>
                <a:ext cx="132623" cy="149714"/>
              </a:xfrm>
              <a:custGeom>
                <a:avLst/>
                <a:gdLst>
                  <a:gd name="connsiteX0" fmla="*/ 0 w 132623"/>
                  <a:gd name="connsiteY0" fmla="*/ 0 h 149714"/>
                  <a:gd name="connsiteX1" fmla="*/ 31447 w 132623"/>
                  <a:gd name="connsiteY1" fmla="*/ 0 h 149714"/>
                  <a:gd name="connsiteX2" fmla="*/ 31447 w 132623"/>
                  <a:gd name="connsiteY2" fmla="*/ 58108 h 149714"/>
                  <a:gd name="connsiteX3" fmla="*/ 101177 w 132623"/>
                  <a:gd name="connsiteY3" fmla="*/ 58108 h 149714"/>
                  <a:gd name="connsiteX4" fmla="*/ 101177 w 132623"/>
                  <a:gd name="connsiteY4" fmla="*/ 0 h 149714"/>
                  <a:gd name="connsiteX5" fmla="*/ 132623 w 132623"/>
                  <a:gd name="connsiteY5" fmla="*/ 0 h 149714"/>
                  <a:gd name="connsiteX6" fmla="*/ 132623 w 132623"/>
                  <a:gd name="connsiteY6" fmla="*/ 149714 h 149714"/>
                  <a:gd name="connsiteX7" fmla="*/ 101177 w 132623"/>
                  <a:gd name="connsiteY7" fmla="*/ 149714 h 149714"/>
                  <a:gd name="connsiteX8" fmla="*/ 101177 w 132623"/>
                  <a:gd name="connsiteY8" fmla="*/ 85453 h 149714"/>
                  <a:gd name="connsiteX9" fmla="*/ 31447 w 132623"/>
                  <a:gd name="connsiteY9" fmla="*/ 85453 h 149714"/>
                  <a:gd name="connsiteX10" fmla="*/ 31447 w 132623"/>
                  <a:gd name="connsiteY10" fmla="*/ 149714 h 149714"/>
                  <a:gd name="connsiteX11" fmla="*/ 0 w 132623"/>
                  <a:gd name="connsiteY11" fmla="*/ 149714 h 149714"/>
                  <a:gd name="connsiteX12" fmla="*/ 0 w 132623"/>
                  <a:gd name="connsiteY12" fmla="*/ 0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623" h="149714">
                    <a:moveTo>
                      <a:pt x="0" y="0"/>
                    </a:moveTo>
                    <a:lnTo>
                      <a:pt x="31447" y="0"/>
                    </a:lnTo>
                    <a:lnTo>
                      <a:pt x="31447" y="58108"/>
                    </a:lnTo>
                    <a:lnTo>
                      <a:pt x="101177" y="58108"/>
                    </a:lnTo>
                    <a:lnTo>
                      <a:pt x="101177" y="0"/>
                    </a:lnTo>
                    <a:lnTo>
                      <a:pt x="132623" y="0"/>
                    </a:lnTo>
                    <a:lnTo>
                      <a:pt x="132623" y="149714"/>
                    </a:lnTo>
                    <a:lnTo>
                      <a:pt x="101177" y="149714"/>
                    </a:lnTo>
                    <a:lnTo>
                      <a:pt x="101177" y="85453"/>
                    </a:lnTo>
                    <a:lnTo>
                      <a:pt x="31447" y="85453"/>
                    </a:lnTo>
                    <a:lnTo>
                      <a:pt x="31447" y="149714"/>
                    </a:lnTo>
                    <a:lnTo>
                      <a:pt x="0" y="149714"/>
                    </a:lnTo>
                    <a:lnTo>
                      <a:pt x="0" y="0"/>
                    </a:lnTo>
                    <a:close/>
                  </a:path>
                </a:pathLst>
              </a:custGeom>
              <a:solidFill>
                <a:srgbClr val="FFFFFF"/>
              </a:solidFill>
              <a:ln w="6836" cap="flat">
                <a:noFill/>
                <a:prstDash val="solid"/>
                <a:miter/>
              </a:ln>
            </p:spPr>
            <p:txBody>
              <a:bodyPr rtlCol="0" anchor="ctr"/>
              <a:lstStyle/>
              <a:p>
                <a:endParaRPr lang="ru-RU" sz="1587"/>
              </a:p>
            </p:txBody>
          </p:sp>
          <p:sp>
            <p:nvSpPr>
              <p:cNvPr id="96" name="Полилиния: фигура 95">
                <a:extLst>
                  <a:ext uri="{FF2B5EF4-FFF2-40B4-BE49-F238E27FC236}">
                    <a16:creationId xmlns:a16="http://schemas.microsoft.com/office/drawing/2014/main" id="{B5C1DA0F-CD10-402C-A979-B8837E66D986}"/>
                  </a:ext>
                </a:extLst>
              </p:cNvPr>
              <p:cNvSpPr/>
              <p:nvPr/>
            </p:nvSpPr>
            <p:spPr>
              <a:xfrm>
                <a:off x="12586101" y="7182431"/>
                <a:ext cx="160652" cy="158601"/>
              </a:xfrm>
              <a:custGeom>
                <a:avLst/>
                <a:gdLst>
                  <a:gd name="connsiteX0" fmla="*/ 80668 w 160652"/>
                  <a:gd name="connsiteY0" fmla="*/ 158601 h 158601"/>
                  <a:gd name="connsiteX1" fmla="*/ 0 w 160652"/>
                  <a:gd name="connsiteY1" fmla="*/ 79300 h 158601"/>
                  <a:gd name="connsiteX2" fmla="*/ 80668 w 160652"/>
                  <a:gd name="connsiteY2" fmla="*/ 0 h 158601"/>
                  <a:gd name="connsiteX3" fmla="*/ 160652 w 160652"/>
                  <a:gd name="connsiteY3" fmla="*/ 79300 h 158601"/>
                  <a:gd name="connsiteX4" fmla="*/ 80668 w 160652"/>
                  <a:gd name="connsiteY4" fmla="*/ 158601 h 158601"/>
                  <a:gd name="connsiteX5" fmla="*/ 129205 w 160652"/>
                  <a:gd name="connsiteY5" fmla="*/ 79300 h 158601"/>
                  <a:gd name="connsiteX6" fmla="*/ 80668 w 160652"/>
                  <a:gd name="connsiteY6" fmla="*/ 28712 h 158601"/>
                  <a:gd name="connsiteX7" fmla="*/ 32130 w 160652"/>
                  <a:gd name="connsiteY7" fmla="*/ 79300 h 158601"/>
                  <a:gd name="connsiteX8" fmla="*/ 80668 w 160652"/>
                  <a:gd name="connsiteY8" fmla="*/ 129889 h 158601"/>
                  <a:gd name="connsiteX9" fmla="*/ 129205 w 160652"/>
                  <a:gd name="connsiteY9" fmla="*/ 79300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52" h="158601">
                    <a:moveTo>
                      <a:pt x="80668" y="158601"/>
                    </a:moveTo>
                    <a:cubicBezTo>
                      <a:pt x="39650" y="158601"/>
                      <a:pt x="0" y="131256"/>
                      <a:pt x="0" y="79300"/>
                    </a:cubicBezTo>
                    <a:cubicBezTo>
                      <a:pt x="0" y="27345"/>
                      <a:pt x="38967" y="0"/>
                      <a:pt x="80668" y="0"/>
                    </a:cubicBezTo>
                    <a:cubicBezTo>
                      <a:pt x="121685" y="0"/>
                      <a:pt x="160652" y="27345"/>
                      <a:pt x="160652" y="79300"/>
                    </a:cubicBezTo>
                    <a:cubicBezTo>
                      <a:pt x="160652" y="130572"/>
                      <a:pt x="121685" y="158601"/>
                      <a:pt x="80668" y="158601"/>
                    </a:cubicBezTo>
                    <a:close/>
                    <a:moveTo>
                      <a:pt x="129205" y="79300"/>
                    </a:moveTo>
                    <a:cubicBezTo>
                      <a:pt x="129205" y="48537"/>
                      <a:pt x="106646" y="28712"/>
                      <a:pt x="80668" y="28712"/>
                    </a:cubicBezTo>
                    <a:cubicBezTo>
                      <a:pt x="54690" y="28712"/>
                      <a:pt x="32130" y="48537"/>
                      <a:pt x="32130" y="79300"/>
                    </a:cubicBezTo>
                    <a:cubicBezTo>
                      <a:pt x="32130" y="110064"/>
                      <a:pt x="54690" y="129889"/>
                      <a:pt x="80668" y="129889"/>
                    </a:cubicBezTo>
                    <a:cubicBezTo>
                      <a:pt x="106646" y="129889"/>
                      <a:pt x="129205" y="110064"/>
                      <a:pt x="129205" y="79300"/>
                    </a:cubicBezTo>
                    <a:close/>
                  </a:path>
                </a:pathLst>
              </a:custGeom>
              <a:solidFill>
                <a:srgbClr val="FFFFFF"/>
              </a:solidFill>
              <a:ln w="6836" cap="flat">
                <a:noFill/>
                <a:prstDash val="solid"/>
                <a:miter/>
              </a:ln>
            </p:spPr>
            <p:txBody>
              <a:bodyPr rtlCol="0" anchor="ctr"/>
              <a:lstStyle/>
              <a:p>
                <a:endParaRPr lang="ru-RU" sz="1587"/>
              </a:p>
            </p:txBody>
          </p:sp>
          <p:sp>
            <p:nvSpPr>
              <p:cNvPr id="97" name="Полилиния: фигура 96">
                <a:extLst>
                  <a:ext uri="{FF2B5EF4-FFF2-40B4-BE49-F238E27FC236}">
                    <a16:creationId xmlns:a16="http://schemas.microsoft.com/office/drawing/2014/main" id="{FCAF9270-54EA-462A-AD41-51BBCFC4A596}"/>
                  </a:ext>
                </a:extLst>
              </p:cNvPr>
              <p:cNvSpPr/>
              <p:nvPr/>
            </p:nvSpPr>
            <p:spPr>
              <a:xfrm>
                <a:off x="12768629" y="7182431"/>
                <a:ext cx="144928" cy="158601"/>
              </a:xfrm>
              <a:custGeom>
                <a:avLst/>
                <a:gdLst>
                  <a:gd name="connsiteX0" fmla="*/ 77933 w 144928"/>
                  <a:gd name="connsiteY0" fmla="*/ 158601 h 158601"/>
                  <a:gd name="connsiteX1" fmla="*/ 0 w 144928"/>
                  <a:gd name="connsiteY1" fmla="*/ 79300 h 158601"/>
                  <a:gd name="connsiteX2" fmla="*/ 77933 w 144928"/>
                  <a:gd name="connsiteY2" fmla="*/ 0 h 158601"/>
                  <a:gd name="connsiteX3" fmla="*/ 143561 w 144928"/>
                  <a:gd name="connsiteY3" fmla="*/ 37599 h 158601"/>
                  <a:gd name="connsiteX4" fmla="*/ 117584 w 144928"/>
                  <a:gd name="connsiteY4" fmla="*/ 52639 h 158601"/>
                  <a:gd name="connsiteX5" fmla="*/ 77933 w 144928"/>
                  <a:gd name="connsiteY5" fmla="*/ 28712 h 158601"/>
                  <a:gd name="connsiteX6" fmla="*/ 32130 w 144928"/>
                  <a:gd name="connsiteY6" fmla="*/ 78617 h 158601"/>
                  <a:gd name="connsiteX7" fmla="*/ 77933 w 144928"/>
                  <a:gd name="connsiteY7" fmla="*/ 128522 h 158601"/>
                  <a:gd name="connsiteX8" fmla="*/ 119634 w 144928"/>
                  <a:gd name="connsiteY8" fmla="*/ 104595 h 158601"/>
                  <a:gd name="connsiteX9" fmla="*/ 144929 w 144928"/>
                  <a:gd name="connsiteY9" fmla="*/ 118951 h 158601"/>
                  <a:gd name="connsiteX10" fmla="*/ 77933 w 144928"/>
                  <a:gd name="connsiteY10" fmla="*/ 158601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4928" h="158601">
                    <a:moveTo>
                      <a:pt x="77933" y="158601"/>
                    </a:moveTo>
                    <a:cubicBezTo>
                      <a:pt x="33497" y="158601"/>
                      <a:pt x="0" y="126471"/>
                      <a:pt x="0" y="79300"/>
                    </a:cubicBezTo>
                    <a:cubicBezTo>
                      <a:pt x="0" y="32130"/>
                      <a:pt x="36232" y="0"/>
                      <a:pt x="77933" y="0"/>
                    </a:cubicBezTo>
                    <a:cubicBezTo>
                      <a:pt x="110064" y="0"/>
                      <a:pt x="132623" y="14356"/>
                      <a:pt x="143561" y="37599"/>
                    </a:cubicBezTo>
                    <a:lnTo>
                      <a:pt x="117584" y="52639"/>
                    </a:lnTo>
                    <a:cubicBezTo>
                      <a:pt x="107329" y="36232"/>
                      <a:pt x="93657" y="28712"/>
                      <a:pt x="77933" y="28712"/>
                    </a:cubicBezTo>
                    <a:cubicBezTo>
                      <a:pt x="51955" y="28712"/>
                      <a:pt x="32130" y="47854"/>
                      <a:pt x="32130" y="78617"/>
                    </a:cubicBezTo>
                    <a:cubicBezTo>
                      <a:pt x="32130" y="109380"/>
                      <a:pt x="51272" y="128522"/>
                      <a:pt x="77933" y="128522"/>
                    </a:cubicBezTo>
                    <a:cubicBezTo>
                      <a:pt x="98442" y="128522"/>
                      <a:pt x="110064" y="118267"/>
                      <a:pt x="119634" y="104595"/>
                    </a:cubicBezTo>
                    <a:lnTo>
                      <a:pt x="144929" y="118951"/>
                    </a:lnTo>
                    <a:cubicBezTo>
                      <a:pt x="130572" y="143561"/>
                      <a:pt x="109380" y="158601"/>
                      <a:pt x="77933" y="158601"/>
                    </a:cubicBezTo>
                    <a:close/>
                  </a:path>
                </a:pathLst>
              </a:custGeom>
              <a:solidFill>
                <a:srgbClr val="FFFFFF"/>
              </a:solidFill>
              <a:ln w="6836" cap="flat">
                <a:noFill/>
                <a:prstDash val="solid"/>
                <a:miter/>
              </a:ln>
            </p:spPr>
            <p:txBody>
              <a:bodyPr rtlCol="0" anchor="ctr"/>
              <a:lstStyle/>
              <a:p>
                <a:endParaRPr lang="ru-RU" sz="1587"/>
              </a:p>
            </p:txBody>
          </p:sp>
          <p:sp>
            <p:nvSpPr>
              <p:cNvPr id="98" name="Полилиния: фигура 97">
                <a:extLst>
                  <a:ext uri="{FF2B5EF4-FFF2-40B4-BE49-F238E27FC236}">
                    <a16:creationId xmlns:a16="http://schemas.microsoft.com/office/drawing/2014/main" id="{1062A411-403B-469C-9760-500F54B4B6FE}"/>
                  </a:ext>
                </a:extLst>
              </p:cNvPr>
              <p:cNvSpPr/>
              <p:nvPr/>
            </p:nvSpPr>
            <p:spPr>
              <a:xfrm>
                <a:off x="12932699" y="7186532"/>
                <a:ext cx="125103" cy="149714"/>
              </a:xfrm>
              <a:custGeom>
                <a:avLst/>
                <a:gdLst>
                  <a:gd name="connsiteX0" fmla="*/ 47170 w 125103"/>
                  <a:gd name="connsiteY0" fmla="*/ 28029 h 149714"/>
                  <a:gd name="connsiteX1" fmla="*/ 0 w 125103"/>
                  <a:gd name="connsiteY1" fmla="*/ 28029 h 149714"/>
                  <a:gd name="connsiteX2" fmla="*/ 0 w 125103"/>
                  <a:gd name="connsiteY2" fmla="*/ 0 h 149714"/>
                  <a:gd name="connsiteX3" fmla="*/ 125103 w 125103"/>
                  <a:gd name="connsiteY3" fmla="*/ 0 h 149714"/>
                  <a:gd name="connsiteX4" fmla="*/ 125103 w 125103"/>
                  <a:gd name="connsiteY4" fmla="*/ 28029 h 149714"/>
                  <a:gd name="connsiteX5" fmla="*/ 77933 w 125103"/>
                  <a:gd name="connsiteY5" fmla="*/ 28029 h 149714"/>
                  <a:gd name="connsiteX6" fmla="*/ 77933 w 125103"/>
                  <a:gd name="connsiteY6" fmla="*/ 149714 h 149714"/>
                  <a:gd name="connsiteX7" fmla="*/ 46486 w 125103"/>
                  <a:gd name="connsiteY7" fmla="*/ 149714 h 149714"/>
                  <a:gd name="connsiteX8" fmla="*/ 46486 w 125103"/>
                  <a:gd name="connsiteY8" fmla="*/ 28029 h 149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103" h="149714">
                    <a:moveTo>
                      <a:pt x="47170" y="28029"/>
                    </a:moveTo>
                    <a:lnTo>
                      <a:pt x="0" y="28029"/>
                    </a:lnTo>
                    <a:lnTo>
                      <a:pt x="0" y="0"/>
                    </a:lnTo>
                    <a:lnTo>
                      <a:pt x="125103" y="0"/>
                    </a:lnTo>
                    <a:lnTo>
                      <a:pt x="125103" y="28029"/>
                    </a:lnTo>
                    <a:lnTo>
                      <a:pt x="77933" y="28029"/>
                    </a:lnTo>
                    <a:lnTo>
                      <a:pt x="77933" y="149714"/>
                    </a:lnTo>
                    <a:lnTo>
                      <a:pt x="46486" y="149714"/>
                    </a:lnTo>
                    <a:lnTo>
                      <a:pt x="46486" y="28029"/>
                    </a:lnTo>
                    <a:close/>
                  </a:path>
                </a:pathLst>
              </a:custGeom>
              <a:solidFill>
                <a:srgbClr val="FFFFFF"/>
              </a:solidFill>
              <a:ln w="6836" cap="flat">
                <a:noFill/>
                <a:prstDash val="solid"/>
                <a:miter/>
              </a:ln>
            </p:spPr>
            <p:txBody>
              <a:bodyPr rtlCol="0" anchor="ctr"/>
              <a:lstStyle/>
              <a:p>
                <a:endParaRPr lang="ru-RU" sz="1587"/>
              </a:p>
            </p:txBody>
          </p:sp>
          <p:sp>
            <p:nvSpPr>
              <p:cNvPr id="99" name="Полилиния: фигура 98">
                <a:extLst>
                  <a:ext uri="{FF2B5EF4-FFF2-40B4-BE49-F238E27FC236}">
                    <a16:creationId xmlns:a16="http://schemas.microsoft.com/office/drawing/2014/main" id="{C2E21D55-DCDD-4A13-BA01-EFE79DD125C9}"/>
                  </a:ext>
                </a:extLst>
              </p:cNvPr>
              <p:cNvSpPr/>
              <p:nvPr/>
            </p:nvSpPr>
            <p:spPr>
              <a:xfrm>
                <a:off x="13072842" y="7182431"/>
                <a:ext cx="149713" cy="158601"/>
              </a:xfrm>
              <a:custGeom>
                <a:avLst/>
                <a:gdLst>
                  <a:gd name="connsiteX0" fmla="*/ 76566 w 149713"/>
                  <a:gd name="connsiteY0" fmla="*/ 131256 h 158601"/>
                  <a:gd name="connsiteX1" fmla="*/ 118951 w 149713"/>
                  <a:gd name="connsiteY1" fmla="*/ 108013 h 158601"/>
                  <a:gd name="connsiteX2" fmla="*/ 143561 w 149713"/>
                  <a:gd name="connsiteY2" fmla="*/ 121002 h 158601"/>
                  <a:gd name="connsiteX3" fmla="*/ 75882 w 149713"/>
                  <a:gd name="connsiteY3" fmla="*/ 158601 h 158601"/>
                  <a:gd name="connsiteX4" fmla="*/ 0 w 149713"/>
                  <a:gd name="connsiteY4" fmla="*/ 79300 h 158601"/>
                  <a:gd name="connsiteX5" fmla="*/ 77250 w 149713"/>
                  <a:gd name="connsiteY5" fmla="*/ 0 h 158601"/>
                  <a:gd name="connsiteX6" fmla="*/ 149714 w 149713"/>
                  <a:gd name="connsiteY6" fmla="*/ 75199 h 158601"/>
                  <a:gd name="connsiteX7" fmla="*/ 149714 w 149713"/>
                  <a:gd name="connsiteY7" fmla="*/ 86137 h 158601"/>
                  <a:gd name="connsiteX8" fmla="*/ 30079 w 149713"/>
                  <a:gd name="connsiteY8" fmla="*/ 86137 h 158601"/>
                  <a:gd name="connsiteX9" fmla="*/ 76566 w 149713"/>
                  <a:gd name="connsiteY9" fmla="*/ 131256 h 158601"/>
                  <a:gd name="connsiteX10" fmla="*/ 30763 w 149713"/>
                  <a:gd name="connsiteY10" fmla="*/ 61526 h 158601"/>
                  <a:gd name="connsiteX11" fmla="*/ 119634 w 149713"/>
                  <a:gd name="connsiteY11" fmla="*/ 61526 h 158601"/>
                  <a:gd name="connsiteX12" fmla="*/ 75882 w 149713"/>
                  <a:gd name="connsiteY12" fmla="*/ 24610 h 158601"/>
                  <a:gd name="connsiteX13" fmla="*/ 30763 w 149713"/>
                  <a:gd name="connsiteY13" fmla="*/ 61526 h 15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9713" h="158601">
                    <a:moveTo>
                      <a:pt x="76566" y="131256"/>
                    </a:moveTo>
                    <a:cubicBezTo>
                      <a:pt x="99809" y="131256"/>
                      <a:pt x="109380" y="121002"/>
                      <a:pt x="118951" y="108013"/>
                    </a:cubicBezTo>
                    <a:lnTo>
                      <a:pt x="143561" y="121002"/>
                    </a:lnTo>
                    <a:cubicBezTo>
                      <a:pt x="129889" y="144245"/>
                      <a:pt x="109380" y="158601"/>
                      <a:pt x="75882" y="158601"/>
                    </a:cubicBezTo>
                    <a:cubicBezTo>
                      <a:pt x="34181" y="158601"/>
                      <a:pt x="0" y="126471"/>
                      <a:pt x="0" y="79300"/>
                    </a:cubicBezTo>
                    <a:cubicBezTo>
                      <a:pt x="0" y="32130"/>
                      <a:pt x="34181" y="0"/>
                      <a:pt x="77250" y="0"/>
                    </a:cubicBezTo>
                    <a:cubicBezTo>
                      <a:pt x="121002" y="0"/>
                      <a:pt x="149714" y="31447"/>
                      <a:pt x="149714" y="75199"/>
                    </a:cubicBezTo>
                    <a:lnTo>
                      <a:pt x="149714" y="86137"/>
                    </a:lnTo>
                    <a:lnTo>
                      <a:pt x="30079" y="86137"/>
                    </a:lnTo>
                    <a:cubicBezTo>
                      <a:pt x="32130" y="112115"/>
                      <a:pt x="49905" y="131256"/>
                      <a:pt x="76566" y="131256"/>
                    </a:cubicBezTo>
                    <a:close/>
                    <a:moveTo>
                      <a:pt x="30763" y="61526"/>
                    </a:moveTo>
                    <a:lnTo>
                      <a:pt x="119634" y="61526"/>
                    </a:lnTo>
                    <a:cubicBezTo>
                      <a:pt x="116900" y="38283"/>
                      <a:pt x="99126" y="24610"/>
                      <a:pt x="75882" y="24610"/>
                    </a:cubicBezTo>
                    <a:cubicBezTo>
                      <a:pt x="53323" y="24610"/>
                      <a:pt x="35549" y="40334"/>
                      <a:pt x="30763" y="61526"/>
                    </a:cubicBezTo>
                    <a:close/>
                  </a:path>
                </a:pathLst>
              </a:custGeom>
              <a:solidFill>
                <a:srgbClr val="FFFFFF"/>
              </a:solidFill>
              <a:ln w="6836" cap="flat">
                <a:noFill/>
                <a:prstDash val="solid"/>
                <a:miter/>
              </a:ln>
            </p:spPr>
            <p:txBody>
              <a:bodyPr rtlCol="0" anchor="ctr"/>
              <a:lstStyle/>
              <a:p>
                <a:endParaRPr lang="ru-RU" sz="1587"/>
              </a:p>
            </p:txBody>
          </p:sp>
          <p:sp>
            <p:nvSpPr>
              <p:cNvPr id="100" name="Полилиния: фигура 99">
                <a:extLst>
                  <a:ext uri="{FF2B5EF4-FFF2-40B4-BE49-F238E27FC236}">
                    <a16:creationId xmlns:a16="http://schemas.microsoft.com/office/drawing/2014/main" id="{259D53F7-1DCF-4F74-B647-5EBF301818BE}"/>
                  </a:ext>
                </a:extLst>
              </p:cNvPr>
              <p:cNvSpPr/>
              <p:nvPr/>
            </p:nvSpPr>
            <p:spPr>
              <a:xfrm>
                <a:off x="13253319" y="7132526"/>
                <a:ext cx="134674" cy="203720"/>
              </a:xfrm>
              <a:custGeom>
                <a:avLst/>
                <a:gdLst>
                  <a:gd name="connsiteX0" fmla="*/ 0 w 134674"/>
                  <a:gd name="connsiteY0" fmla="*/ 54006 h 203720"/>
                  <a:gd name="connsiteX1" fmla="*/ 30080 w 134674"/>
                  <a:gd name="connsiteY1" fmla="*/ 54006 h 203720"/>
                  <a:gd name="connsiteX2" fmla="*/ 30080 w 134674"/>
                  <a:gd name="connsiteY2" fmla="*/ 162019 h 203720"/>
                  <a:gd name="connsiteX3" fmla="*/ 101860 w 134674"/>
                  <a:gd name="connsiteY3" fmla="*/ 54006 h 203720"/>
                  <a:gd name="connsiteX4" fmla="*/ 134674 w 134674"/>
                  <a:gd name="connsiteY4" fmla="*/ 54006 h 203720"/>
                  <a:gd name="connsiteX5" fmla="*/ 134674 w 134674"/>
                  <a:gd name="connsiteY5" fmla="*/ 203721 h 203720"/>
                  <a:gd name="connsiteX6" fmla="*/ 104595 w 134674"/>
                  <a:gd name="connsiteY6" fmla="*/ 203721 h 203720"/>
                  <a:gd name="connsiteX7" fmla="*/ 104595 w 134674"/>
                  <a:gd name="connsiteY7" fmla="*/ 95708 h 203720"/>
                  <a:gd name="connsiteX8" fmla="*/ 32814 w 134674"/>
                  <a:gd name="connsiteY8" fmla="*/ 203721 h 203720"/>
                  <a:gd name="connsiteX9" fmla="*/ 0 w 134674"/>
                  <a:gd name="connsiteY9" fmla="*/ 203721 h 203720"/>
                  <a:gd name="connsiteX10" fmla="*/ 0 w 134674"/>
                  <a:gd name="connsiteY10" fmla="*/ 54006 h 203720"/>
                  <a:gd name="connsiteX11" fmla="*/ 34181 w 134674"/>
                  <a:gd name="connsiteY11" fmla="*/ 0 h 203720"/>
                  <a:gd name="connsiteX12" fmla="*/ 55374 w 134674"/>
                  <a:gd name="connsiteY12" fmla="*/ 0 h 203720"/>
                  <a:gd name="connsiteX13" fmla="*/ 66996 w 134674"/>
                  <a:gd name="connsiteY13" fmla="*/ 12989 h 203720"/>
                  <a:gd name="connsiteX14" fmla="*/ 78617 w 134674"/>
                  <a:gd name="connsiteY14" fmla="*/ 0 h 203720"/>
                  <a:gd name="connsiteX15" fmla="*/ 99810 w 134674"/>
                  <a:gd name="connsiteY15" fmla="*/ 0 h 203720"/>
                  <a:gd name="connsiteX16" fmla="*/ 66996 w 134674"/>
                  <a:gd name="connsiteY16" fmla="*/ 32814 h 203720"/>
                  <a:gd name="connsiteX17" fmla="*/ 34181 w 134674"/>
                  <a:gd name="connsiteY17" fmla="*/ 0 h 20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4674" h="203720">
                    <a:moveTo>
                      <a:pt x="0" y="54006"/>
                    </a:moveTo>
                    <a:lnTo>
                      <a:pt x="30080" y="54006"/>
                    </a:lnTo>
                    <a:lnTo>
                      <a:pt x="30080" y="162019"/>
                    </a:lnTo>
                    <a:lnTo>
                      <a:pt x="101860" y="54006"/>
                    </a:lnTo>
                    <a:lnTo>
                      <a:pt x="134674" y="54006"/>
                    </a:lnTo>
                    <a:lnTo>
                      <a:pt x="134674" y="203721"/>
                    </a:lnTo>
                    <a:lnTo>
                      <a:pt x="104595" y="203721"/>
                    </a:lnTo>
                    <a:lnTo>
                      <a:pt x="104595" y="95708"/>
                    </a:lnTo>
                    <a:lnTo>
                      <a:pt x="32814" y="203721"/>
                    </a:lnTo>
                    <a:lnTo>
                      <a:pt x="0" y="203721"/>
                    </a:lnTo>
                    <a:lnTo>
                      <a:pt x="0" y="54006"/>
                    </a:lnTo>
                    <a:close/>
                    <a:moveTo>
                      <a:pt x="34181" y="0"/>
                    </a:moveTo>
                    <a:lnTo>
                      <a:pt x="55374" y="0"/>
                    </a:lnTo>
                    <a:cubicBezTo>
                      <a:pt x="55374" y="7520"/>
                      <a:pt x="59476" y="12989"/>
                      <a:pt x="66996" y="12989"/>
                    </a:cubicBezTo>
                    <a:cubicBezTo>
                      <a:pt x="74515" y="12989"/>
                      <a:pt x="78617" y="7520"/>
                      <a:pt x="78617" y="0"/>
                    </a:cubicBezTo>
                    <a:lnTo>
                      <a:pt x="99810" y="0"/>
                    </a:lnTo>
                    <a:cubicBezTo>
                      <a:pt x="99810" y="19142"/>
                      <a:pt x="86821" y="32814"/>
                      <a:pt x="66996" y="32814"/>
                    </a:cubicBezTo>
                    <a:cubicBezTo>
                      <a:pt x="47170" y="32814"/>
                      <a:pt x="34181" y="19142"/>
                      <a:pt x="34181" y="0"/>
                    </a:cubicBezTo>
                    <a:close/>
                  </a:path>
                </a:pathLst>
              </a:custGeom>
              <a:solidFill>
                <a:srgbClr val="FFFFFF"/>
              </a:solidFill>
              <a:ln w="6836" cap="flat">
                <a:noFill/>
                <a:prstDash val="solid"/>
                <a:miter/>
              </a:ln>
            </p:spPr>
            <p:txBody>
              <a:bodyPr rtlCol="0" anchor="ctr"/>
              <a:lstStyle/>
              <a:p>
                <a:endParaRPr lang="ru-RU" sz="1587"/>
              </a:p>
            </p:txBody>
          </p:sp>
        </p:grpSp>
      </p:grpSp>
    </p:spTree>
    <p:extLst>
      <p:ext uri="{BB962C8B-B14F-4D97-AF65-F5344CB8AC3E}">
        <p14:creationId xmlns:p14="http://schemas.microsoft.com/office/powerpoint/2010/main" val="28811474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B4294BB-FD6C-475C-997B-C3B13CDA6658}"/>
              </a:ext>
            </a:extLst>
          </p:cNvPr>
          <p:cNvGraphicFramePr>
            <a:graphicFrameLocks noChangeAspect="1"/>
          </p:cNvGraphicFramePr>
          <p:nvPr userDrawn="1">
            <p:custDataLst>
              <p:tags r:id="rId2"/>
            </p:custDataLst>
            <p:extLst/>
          </p:nvPr>
        </p:nvGraphicFramePr>
        <p:xfrm>
          <a:off x="1589" y="1590"/>
          <a:ext cx="1588" cy="1587"/>
        </p:xfrm>
        <a:graphic>
          <a:graphicData uri="http://schemas.openxmlformats.org/presentationml/2006/ole">
            <mc:AlternateContent xmlns:mc="http://schemas.openxmlformats.org/markup-compatibility/2006">
              <mc:Choice xmlns:v="urn:schemas-microsoft-com:vml" Requires="v">
                <p:oleObj spid="_x0000_s15385" name="Слайд think-cell" r:id="rId5" imgW="395" imgH="394" progId="TCLayout.ActiveDocument.1">
                  <p:embed/>
                </p:oleObj>
              </mc:Choice>
              <mc:Fallback>
                <p:oleObj name="Слайд think-cell" r:id="rId5" imgW="395" imgH="394" progId="TCLayout.ActiveDocument.1">
                  <p:embed/>
                  <p:pic>
                    <p:nvPicPr>
                      <p:cNvPr id="8" name="Object 7" hidden="1">
                        <a:extLst>
                          <a:ext uri="{FF2B5EF4-FFF2-40B4-BE49-F238E27FC236}">
                            <a16:creationId xmlns:a16="http://schemas.microsoft.com/office/drawing/2014/main" id="{CB4294BB-FD6C-475C-997B-C3B13CDA6658}"/>
                          </a:ext>
                        </a:extLst>
                      </p:cNvPr>
                      <p:cNvPicPr/>
                      <p:nvPr/>
                    </p:nvPicPr>
                    <p:blipFill>
                      <a:blip r:embed="rId6"/>
                      <a:stretch>
                        <a:fillRect/>
                      </a:stretch>
                    </p:blipFill>
                    <p:spPr>
                      <a:xfrm>
                        <a:off x="1589" y="1590"/>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B292732-2039-4245-875E-A2F39CCE0AFC}"/>
              </a:ext>
            </a:extLst>
          </p:cNvPr>
          <p:cNvSpPr/>
          <p:nvPr userDrawn="1">
            <p:custDataLst>
              <p:tags r:id="rId3"/>
            </p:custDataLst>
          </p:nvPr>
        </p:nvSpPr>
        <p:spPr>
          <a:xfrm>
            <a:off x="0"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998" b="1" i="0" baseline="0" dirty="0">
              <a:latin typeface="Rostelecom Basis Medium" panose="020B0603030604040103" pitchFamily="34" charset="0"/>
              <a:ea typeface="+mj-ea"/>
              <a:cs typeface="+mj-cs"/>
              <a:sym typeface="Rostelecom Basis Medium" panose="020B0603030604040103" pitchFamily="34" charset="0"/>
            </a:endParaRPr>
          </a:p>
        </p:txBody>
      </p:sp>
      <p:sp>
        <p:nvSpPr>
          <p:cNvPr id="9" name="Title 8">
            <a:extLst>
              <a:ext uri="{FF2B5EF4-FFF2-40B4-BE49-F238E27FC236}">
                <a16:creationId xmlns:a16="http://schemas.microsoft.com/office/drawing/2014/main" id="{892E2AA8-BC92-4D64-B8A1-AAF260EFBC94}"/>
              </a:ext>
            </a:extLst>
          </p:cNvPr>
          <p:cNvSpPr>
            <a:spLocks noGrp="1"/>
          </p:cNvSpPr>
          <p:nvPr>
            <p:ph type="title"/>
          </p:nvPr>
        </p:nvSpPr>
        <p:spPr>
          <a:xfrm>
            <a:off x="342178" y="400645"/>
            <a:ext cx="10296464" cy="307747"/>
          </a:xfrm>
        </p:spPr>
        <p:txBody>
          <a:bodyPr/>
          <a:lstStyle>
            <a:lvl1pPr>
              <a:defRPr sz="1998"/>
            </a:lvl1pPr>
          </a:lstStyle>
          <a:p>
            <a:r>
              <a:rPr lang="en-US" dirty="0"/>
              <a:t>Click to edit Master title style</a:t>
            </a:r>
            <a:endParaRPr lang="ru-RU" dirty="0"/>
          </a:p>
        </p:txBody>
      </p:sp>
      <p:sp>
        <p:nvSpPr>
          <p:cNvPr id="7" name="Rectangle 13">
            <a:extLst>
              <a:ext uri="{FF2B5EF4-FFF2-40B4-BE49-F238E27FC236}">
                <a16:creationId xmlns:a16="http://schemas.microsoft.com/office/drawing/2014/main" id="{0A670F2B-033E-4BCC-90DF-5A47C6D209F0}"/>
              </a:ext>
            </a:extLst>
          </p:cNvPr>
          <p:cNvSpPr/>
          <p:nvPr userDrawn="1"/>
        </p:nvSpPr>
        <p:spPr>
          <a:xfrm>
            <a:off x="11926071" y="6568876"/>
            <a:ext cx="267194" cy="289124"/>
          </a:xfrm>
          <a:prstGeom prst="rect">
            <a:avLst/>
          </a:prstGeom>
          <a:solidFill>
            <a:schemeClr val="accent6"/>
          </a:solidFill>
          <a:ln>
            <a:noFill/>
          </a:ln>
        </p:spPr>
        <p:txBody>
          <a:bodyPr vert="horz" wrap="square" lIns="93212" tIns="46605" rIns="93212" bIns="46605" numCol="1" anchor="t" anchorCtr="0" compatLnSpc="1">
            <a:prstTxWarp prst="textNoShape">
              <a:avLst/>
            </a:prstTxWarp>
          </a:bodyPr>
          <a:lstStyle/>
          <a:p>
            <a:endParaRPr lang="ru-RU" sz="2080">
              <a:solidFill>
                <a:schemeClr val="tx1"/>
              </a:solidFill>
              <a:latin typeface="+mn-lt"/>
              <a:ea typeface="+mn-ea"/>
              <a:cs typeface="+mn-cs"/>
            </a:endParaRPr>
          </a:p>
        </p:txBody>
      </p:sp>
      <p:sp>
        <p:nvSpPr>
          <p:cNvPr id="10" name="Slide Number"/>
          <p:cNvSpPr txBox="1">
            <a:spLocks/>
          </p:cNvSpPr>
          <p:nvPr userDrawn="1"/>
        </p:nvSpPr>
        <p:spPr bwMode="gray">
          <a:xfrm>
            <a:off x="11989937" y="6640564"/>
            <a:ext cx="139462" cy="125419"/>
          </a:xfrm>
          <a:prstGeom prst="rect">
            <a:avLst/>
          </a:prstGeom>
        </p:spPr>
        <p:txBody>
          <a:bodyPr vert="horz" wrap="none" lIns="0" tIns="0" rIns="0" bIns="0" rtlCol="0" anchor="ctr">
            <a:spAutoFit/>
          </a:bodyPr>
          <a:lstStyle>
            <a:defPPr>
              <a:defRPr lang="ru-RU"/>
            </a:defPPr>
            <a:lvl1pPr>
              <a:defRPr sz="1000" baseline="0">
                <a:latin typeface="+mn-lt"/>
              </a:defRPr>
            </a:lvl1pPr>
          </a:lstStyle>
          <a:p>
            <a:pPr lvl="0" algn="ctr"/>
            <a:fld id="{42C328C1-A84F-4A39-A664-DBA00541A8C6}" type="slidenum">
              <a:rPr lang="ru-RU" sz="815" smtClean="0">
                <a:solidFill>
                  <a:schemeClr val="bg1"/>
                </a:solidFill>
                <a:latin typeface="+mn-lt"/>
                <a:ea typeface="+mn-ea"/>
                <a:cs typeface="+mn-cs"/>
              </a:rPr>
              <a:pPr lvl="0" algn="ctr"/>
              <a:t>‹#›</a:t>
            </a:fld>
            <a:endParaRPr lang="ru-RU" sz="815" dirty="0">
              <a:solidFill>
                <a:schemeClr val="bg1"/>
              </a:solidFill>
              <a:latin typeface="+mn-lt"/>
              <a:ea typeface="+mn-ea"/>
              <a:cs typeface="+mn-cs"/>
            </a:endParaRPr>
          </a:p>
        </p:txBody>
      </p:sp>
    </p:spTree>
    <p:extLst>
      <p:ext uri="{BB962C8B-B14F-4D97-AF65-F5344CB8AC3E}">
        <p14:creationId xmlns:p14="http://schemas.microsoft.com/office/powerpoint/2010/main" val="134007348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400600-D484-4A11-B6F5-B4162093EDFE}"/>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6409" name="Слайд think-cell" r:id="rId5" imgW="306" imgH="306" progId="TCLayout.ActiveDocument.1">
                  <p:embed/>
                </p:oleObj>
              </mc:Choice>
              <mc:Fallback>
                <p:oleObj name="Слайд think-cell" r:id="rId5" imgW="306" imgH="306" progId="TCLayout.ActiveDocument.1">
                  <p:embed/>
                  <p:pic>
                    <p:nvPicPr>
                      <p:cNvPr id="4" name="Object 3" hidden="1">
                        <a:extLst>
                          <a:ext uri="{FF2B5EF4-FFF2-40B4-BE49-F238E27FC236}">
                            <a16:creationId xmlns:a16="http://schemas.microsoft.com/office/drawing/2014/main" id="{11400600-D484-4A11-B6F5-B4162093EDFE}"/>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E78AB32-2CB5-4861-90D9-63AEABD001CD}"/>
              </a:ext>
            </a:extLst>
          </p:cNvPr>
          <p:cNvSpPr/>
          <p:nvPr userDrawn="1">
            <p:custDataLst>
              <p:tags r:id="rId3"/>
            </p:custDataLst>
          </p:nvPr>
        </p:nvSpPr>
        <p:spPr>
          <a:xfrm>
            <a:off x="1" y="1"/>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46" b="0" i="0" baseline="0" dirty="0" err="1">
              <a:solidFill>
                <a:schemeClr val="tx1"/>
              </a:solidFill>
              <a:latin typeface="+mn-lt"/>
              <a:ea typeface="+mn-ea"/>
              <a:cs typeface="+mn-cs"/>
              <a:sym typeface="Segoe UI Semibold" panose="020B0702040204020203" pitchFamily="34" charset="0"/>
            </a:endParaRPr>
          </a:p>
        </p:txBody>
      </p:sp>
      <p:sp>
        <p:nvSpPr>
          <p:cNvPr id="14" name="Rectangle 13">
            <a:extLst>
              <a:ext uri="{FF2B5EF4-FFF2-40B4-BE49-F238E27FC236}">
                <a16:creationId xmlns:a16="http://schemas.microsoft.com/office/drawing/2014/main" id="{0A670F2B-033E-4BCC-90DF-5A47C6D209F0}"/>
              </a:ext>
            </a:extLst>
          </p:cNvPr>
          <p:cNvSpPr/>
          <p:nvPr userDrawn="1"/>
        </p:nvSpPr>
        <p:spPr>
          <a:xfrm>
            <a:off x="11924806" y="6568876"/>
            <a:ext cx="267194" cy="289124"/>
          </a:xfrm>
          <a:prstGeom prst="rect">
            <a:avLst/>
          </a:prstGeom>
          <a:solidFill>
            <a:schemeClr val="accent6"/>
          </a:solidFill>
          <a:ln>
            <a:noFill/>
          </a:ln>
        </p:spPr>
        <p:txBody>
          <a:bodyPr vert="horz" wrap="square" lIns="93212" tIns="46605" rIns="93212" bIns="46605" numCol="1" anchor="t" anchorCtr="0" compatLnSpc="1">
            <a:prstTxWarp prst="textNoShape">
              <a:avLst/>
            </a:prstTxWarp>
          </a:bodyPr>
          <a:lstStyle/>
          <a:p>
            <a:endParaRPr lang="ru-RU" sz="2080">
              <a:solidFill>
                <a:schemeClr val="tx1"/>
              </a:solidFill>
              <a:latin typeface="+mn-lt"/>
              <a:ea typeface="+mn-ea"/>
              <a:cs typeface="+mn-cs"/>
            </a:endParaRPr>
          </a:p>
        </p:txBody>
      </p:sp>
      <p:sp>
        <p:nvSpPr>
          <p:cNvPr id="2" name="2. Slide Title"/>
          <p:cNvSpPr>
            <a:spLocks noGrp="1"/>
          </p:cNvSpPr>
          <p:nvPr>
            <p:ph type="title"/>
          </p:nvPr>
        </p:nvSpPr>
        <p:spPr bwMode="gray"/>
        <p:txBody>
          <a:bodyPr vert="horz" anchor="t"/>
          <a:lstStyle>
            <a:lvl1pPr algn="l">
              <a:defRPr>
                <a:latin typeface="+mj-lt"/>
                <a:ea typeface="+mj-ea"/>
                <a:cs typeface="+mj-cs"/>
              </a:defRPr>
            </a:lvl1pPr>
          </a:lstStyle>
          <a:p>
            <a:r>
              <a:rPr lang="en-US"/>
              <a:t>Click to edit Master title style</a:t>
            </a:r>
            <a:endParaRPr lang="ru-RU" dirty="0"/>
          </a:p>
        </p:txBody>
      </p:sp>
      <p:sp>
        <p:nvSpPr>
          <p:cNvPr id="8" name="Slide Number"/>
          <p:cNvSpPr txBox="1">
            <a:spLocks/>
          </p:cNvSpPr>
          <p:nvPr userDrawn="1"/>
        </p:nvSpPr>
        <p:spPr bwMode="gray">
          <a:xfrm>
            <a:off x="11988672" y="6640564"/>
            <a:ext cx="139462" cy="125419"/>
          </a:xfrm>
          <a:prstGeom prst="rect">
            <a:avLst/>
          </a:prstGeom>
        </p:spPr>
        <p:txBody>
          <a:bodyPr vert="horz" wrap="none" lIns="0" tIns="0" rIns="0" bIns="0" rtlCol="0" anchor="ctr">
            <a:spAutoFit/>
          </a:bodyPr>
          <a:lstStyle>
            <a:defPPr>
              <a:defRPr lang="ru-RU"/>
            </a:defPPr>
            <a:lvl1pPr>
              <a:defRPr sz="1000" baseline="0">
                <a:latin typeface="+mn-lt"/>
              </a:defRPr>
            </a:lvl1pPr>
          </a:lstStyle>
          <a:p>
            <a:pPr lvl="0" algn="ctr"/>
            <a:fld id="{42C328C1-A84F-4A39-A664-DBA00541A8C6}" type="slidenum">
              <a:rPr lang="ru-RU" sz="815" smtClean="0">
                <a:solidFill>
                  <a:schemeClr val="bg1"/>
                </a:solidFill>
                <a:latin typeface="+mn-lt"/>
                <a:ea typeface="+mn-ea"/>
                <a:cs typeface="+mn-cs"/>
              </a:rPr>
              <a:pPr lvl="0" algn="ctr"/>
              <a:t>‹#›</a:t>
            </a:fld>
            <a:endParaRPr lang="ru-RU" sz="815" dirty="0">
              <a:solidFill>
                <a:schemeClr val="bg1"/>
              </a:solidFill>
              <a:latin typeface="+mn-lt"/>
              <a:ea typeface="+mn-ea"/>
              <a:cs typeface="+mn-cs"/>
            </a:endParaRPr>
          </a:p>
        </p:txBody>
      </p:sp>
      <p:sp>
        <p:nvSpPr>
          <p:cNvPr id="5" name="doc id" hidden="1"/>
          <p:cNvSpPr>
            <a:spLocks noChangeArrowheads="1"/>
          </p:cNvSpPr>
          <p:nvPr userDrawn="1"/>
        </p:nvSpPr>
        <p:spPr bwMode="gray">
          <a:xfrm flipH="1">
            <a:off x="10658002"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6981"/>
            <a:endParaRPr lang="ru-RU" sz="612" baseline="0" noProof="0" dirty="0">
              <a:solidFill>
                <a:schemeClr val="accent6"/>
              </a:solidFill>
              <a:latin typeface="+mn-lt"/>
              <a:ea typeface="+mn-ea"/>
              <a:cs typeface="+mn-cs"/>
            </a:endParaRPr>
          </a:p>
        </p:txBody>
      </p:sp>
    </p:spTree>
    <p:extLst>
      <p:ext uri="{BB962C8B-B14F-4D97-AF65-F5344CB8AC3E}">
        <p14:creationId xmlns:p14="http://schemas.microsoft.com/office/powerpoint/2010/main" val="3775427777"/>
      </p:ext>
    </p:extLst>
  </p:cSld>
  <p:clrMapOvr>
    <a:masterClrMapping/>
  </p:clrMapOvr>
  <p:extLst mod="1">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текст одна колонка">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08C9E3-7AF1-4E94-8B1C-1B2112267FB0}"/>
              </a:ext>
            </a:extLst>
          </p:cNvPr>
          <p:cNvGraphicFramePr>
            <a:graphicFrameLocks noChangeAspect="1"/>
          </p:cNvGraphicFramePr>
          <p:nvPr userDrawn="1">
            <p:custDataLst>
              <p:tags r:id="rId2"/>
            </p:custDataLst>
            <p:extLst/>
          </p:nvPr>
        </p:nvGraphicFramePr>
        <p:xfrm>
          <a:off x="1400" y="1401"/>
          <a:ext cx="1400" cy="1401"/>
        </p:xfrm>
        <a:graphic>
          <a:graphicData uri="http://schemas.openxmlformats.org/presentationml/2006/ole">
            <mc:AlternateContent xmlns:mc="http://schemas.openxmlformats.org/markup-compatibility/2006">
              <mc:Choice xmlns:v="urn:schemas-microsoft-com:vml" Requires="v">
                <p:oleObj spid="_x0000_s17433" name="Слайд think-cell" r:id="rId4" imgW="473" imgH="473" progId="TCLayout.ActiveDocument.1">
                  <p:embed/>
                </p:oleObj>
              </mc:Choice>
              <mc:Fallback>
                <p:oleObj name="Слайд think-cell" r:id="rId4" imgW="473" imgH="473" progId="TCLayout.ActiveDocument.1">
                  <p:embed/>
                  <p:pic>
                    <p:nvPicPr>
                      <p:cNvPr id="3" name="Object 2" hidden="1">
                        <a:extLst>
                          <a:ext uri="{FF2B5EF4-FFF2-40B4-BE49-F238E27FC236}">
                            <a16:creationId xmlns:a16="http://schemas.microsoft.com/office/drawing/2014/main" id="{AE08C9E3-7AF1-4E94-8B1C-1B2112267FB0}"/>
                          </a:ext>
                        </a:extLst>
                      </p:cNvPr>
                      <p:cNvPicPr/>
                      <p:nvPr/>
                    </p:nvPicPr>
                    <p:blipFill>
                      <a:blip r:embed="rId5"/>
                      <a:stretch>
                        <a:fillRect/>
                      </a:stretch>
                    </p:blipFill>
                    <p:spPr>
                      <a:xfrm>
                        <a:off x="1400" y="1401"/>
                        <a:ext cx="1400" cy="1401"/>
                      </a:xfrm>
                      <a:prstGeom prst="rect">
                        <a:avLst/>
                      </a:prstGeom>
                    </p:spPr>
                  </p:pic>
                </p:oleObj>
              </mc:Fallback>
            </mc:AlternateContent>
          </a:graphicData>
        </a:graphic>
      </p:graphicFrame>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1011236"/>
          </a:xfrm>
          <a:prstGeom prst="rect">
            <a:avLst/>
          </a:prstGeom>
        </p:spPr>
        <p:txBody>
          <a:bodyPr vert="horz" lIns="0" tIns="0" rIns="0" bIns="0"/>
          <a:lstStyle>
            <a:lvl1pPr>
              <a:lnSpc>
                <a:spcPct val="100000"/>
              </a:lnSpc>
              <a:defRPr sz="3526">
                <a:solidFill>
                  <a:schemeClr val="tx1"/>
                </a:solidFill>
              </a:defRPr>
            </a:lvl1pPr>
          </a:lstStyle>
          <a:p>
            <a:r>
              <a:rPr lang="ru-RU" dirty="0"/>
              <a:t>Заголовок слайда </a:t>
            </a:r>
            <a:br>
              <a:rPr lang="ru-RU" dirty="0"/>
            </a:br>
            <a:r>
              <a:rPr lang="ru-RU" dirty="0"/>
              <a:t>с текстом в одну колонку</a:t>
            </a:r>
          </a:p>
        </p:txBody>
      </p:sp>
      <p:sp>
        <p:nvSpPr>
          <p:cNvPr id="4" name="Rectangle 13">
            <a:extLst>
              <a:ext uri="{FF2B5EF4-FFF2-40B4-BE49-F238E27FC236}">
                <a16:creationId xmlns:a16="http://schemas.microsoft.com/office/drawing/2014/main" id="{0A670F2B-033E-4BCC-90DF-5A47C6D209F0}"/>
              </a:ext>
            </a:extLst>
          </p:cNvPr>
          <p:cNvSpPr/>
          <p:nvPr userDrawn="1"/>
        </p:nvSpPr>
        <p:spPr>
          <a:xfrm>
            <a:off x="11924806" y="6568876"/>
            <a:ext cx="267194" cy="289124"/>
          </a:xfrm>
          <a:prstGeom prst="rect">
            <a:avLst/>
          </a:prstGeom>
          <a:solidFill>
            <a:schemeClr val="accent6"/>
          </a:solidFill>
          <a:ln>
            <a:noFill/>
          </a:ln>
        </p:spPr>
        <p:txBody>
          <a:bodyPr vert="horz" wrap="square" lIns="93212" tIns="46605" rIns="93212" bIns="46605" numCol="1" anchor="t" anchorCtr="0" compatLnSpc="1">
            <a:prstTxWarp prst="textNoShape">
              <a:avLst/>
            </a:prstTxWarp>
          </a:bodyPr>
          <a:lstStyle/>
          <a:p>
            <a:endParaRPr lang="ru-RU" sz="2080">
              <a:solidFill>
                <a:schemeClr val="tx1"/>
              </a:solidFill>
              <a:latin typeface="+mn-lt"/>
              <a:ea typeface="+mn-ea"/>
              <a:cs typeface="+mn-cs"/>
            </a:endParaRPr>
          </a:p>
        </p:txBody>
      </p:sp>
      <p:sp>
        <p:nvSpPr>
          <p:cNvPr id="5" name="Slide Number"/>
          <p:cNvSpPr txBox="1">
            <a:spLocks/>
          </p:cNvSpPr>
          <p:nvPr userDrawn="1"/>
        </p:nvSpPr>
        <p:spPr bwMode="gray">
          <a:xfrm>
            <a:off x="11988672" y="6640564"/>
            <a:ext cx="139462" cy="125419"/>
          </a:xfrm>
          <a:prstGeom prst="rect">
            <a:avLst/>
          </a:prstGeom>
        </p:spPr>
        <p:txBody>
          <a:bodyPr vert="horz" wrap="none" lIns="0" tIns="0" rIns="0" bIns="0" rtlCol="0" anchor="ctr">
            <a:spAutoFit/>
          </a:bodyPr>
          <a:lstStyle>
            <a:defPPr>
              <a:defRPr lang="ru-RU"/>
            </a:defPPr>
            <a:lvl1pPr>
              <a:defRPr sz="1000" baseline="0">
                <a:latin typeface="+mn-lt"/>
              </a:defRPr>
            </a:lvl1pPr>
          </a:lstStyle>
          <a:p>
            <a:pPr lvl="0" algn="ctr"/>
            <a:fld id="{42C328C1-A84F-4A39-A664-DBA00541A8C6}" type="slidenum">
              <a:rPr lang="ru-RU" sz="815" smtClean="0">
                <a:solidFill>
                  <a:schemeClr val="bg1"/>
                </a:solidFill>
                <a:latin typeface="+mn-lt"/>
                <a:ea typeface="+mn-ea"/>
                <a:cs typeface="+mn-cs"/>
              </a:rPr>
              <a:pPr lvl="0" algn="ctr"/>
              <a:t>‹#›</a:t>
            </a:fld>
            <a:endParaRPr lang="ru-RU" sz="815" dirty="0">
              <a:solidFill>
                <a:schemeClr val="bg1"/>
              </a:solidFill>
              <a:latin typeface="+mn-lt"/>
              <a:ea typeface="+mn-ea"/>
              <a:cs typeface="+mn-cs"/>
            </a:endParaRPr>
          </a:p>
        </p:txBody>
      </p:sp>
    </p:spTree>
    <p:extLst>
      <p:ext uri="{BB962C8B-B14F-4D97-AF65-F5344CB8AC3E}">
        <p14:creationId xmlns:p14="http://schemas.microsoft.com/office/powerpoint/2010/main" val="10864718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5"/>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8" y="4155450"/>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2" y="3638135"/>
            <a:ext cx="26574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2" y="4154795"/>
            <a:ext cx="2655237" cy="127793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3" y="4155450"/>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91" y="4155450"/>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40" y="3638135"/>
            <a:ext cx="26673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9" y="3638135"/>
            <a:ext cx="2671551"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92" y="3638135"/>
            <a:ext cx="2657449" cy="318829"/>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19842038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с преимуществами_4">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5"/>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преимуществами</a:t>
            </a:r>
          </a:p>
        </p:txBody>
      </p:sp>
      <p:sp>
        <p:nvSpPr>
          <p:cNvPr id="20" name="Текст 4">
            <a:extLst>
              <a:ext uri="{FF2B5EF4-FFF2-40B4-BE49-F238E27FC236}">
                <a16:creationId xmlns:a16="http://schemas.microsoft.com/office/drawing/2014/main" id="{9AC8CB3D-0056-4DE1-86C2-DD640E3A6040}"/>
              </a:ext>
            </a:extLst>
          </p:cNvPr>
          <p:cNvSpPr>
            <a:spLocks noGrp="1"/>
          </p:cNvSpPr>
          <p:nvPr>
            <p:ph type="body" sz="quarter" idx="19" hasCustomPrompt="1"/>
          </p:nvPr>
        </p:nvSpPr>
        <p:spPr>
          <a:xfrm>
            <a:off x="417518" y="4433355"/>
            <a:ext cx="2666871"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1" name="Текст 4">
            <a:extLst>
              <a:ext uri="{FF2B5EF4-FFF2-40B4-BE49-F238E27FC236}">
                <a16:creationId xmlns:a16="http://schemas.microsoft.com/office/drawing/2014/main" id="{E13C3904-4ECB-462A-8332-FCB84F21E2F9}"/>
              </a:ext>
            </a:extLst>
          </p:cNvPr>
          <p:cNvSpPr>
            <a:spLocks noGrp="1"/>
          </p:cNvSpPr>
          <p:nvPr>
            <p:ph type="body" sz="quarter" idx="24" hasCustomPrompt="1"/>
          </p:nvPr>
        </p:nvSpPr>
        <p:spPr>
          <a:xfrm>
            <a:off x="3319602" y="3639353"/>
            <a:ext cx="265744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2" name="Текст 4">
            <a:extLst>
              <a:ext uri="{FF2B5EF4-FFF2-40B4-BE49-F238E27FC236}">
                <a16:creationId xmlns:a16="http://schemas.microsoft.com/office/drawing/2014/main" id="{2F8720CE-5319-4E40-8210-B615DE509B24}"/>
              </a:ext>
            </a:extLst>
          </p:cNvPr>
          <p:cNvSpPr>
            <a:spLocks noGrp="1"/>
          </p:cNvSpPr>
          <p:nvPr>
            <p:ph type="body" sz="quarter" idx="25" hasCustomPrompt="1"/>
          </p:nvPr>
        </p:nvSpPr>
        <p:spPr>
          <a:xfrm>
            <a:off x="3321812" y="4432701"/>
            <a:ext cx="2655237" cy="1277939"/>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3" name="Текст 4">
            <a:extLst>
              <a:ext uri="{FF2B5EF4-FFF2-40B4-BE49-F238E27FC236}">
                <a16:creationId xmlns:a16="http://schemas.microsoft.com/office/drawing/2014/main" id="{937A0988-2409-4774-B272-0D3351671F21}"/>
              </a:ext>
            </a:extLst>
          </p:cNvPr>
          <p:cNvSpPr>
            <a:spLocks noGrp="1"/>
          </p:cNvSpPr>
          <p:nvPr>
            <p:ph type="body" sz="quarter" idx="27" hasCustomPrompt="1"/>
          </p:nvPr>
        </p:nvSpPr>
        <p:spPr>
          <a:xfrm>
            <a:off x="6206863"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4" name="Текст 4">
            <a:extLst>
              <a:ext uri="{FF2B5EF4-FFF2-40B4-BE49-F238E27FC236}">
                <a16:creationId xmlns:a16="http://schemas.microsoft.com/office/drawing/2014/main" id="{AFF9CED2-8BDE-4669-82EF-473B43E321AF}"/>
              </a:ext>
            </a:extLst>
          </p:cNvPr>
          <p:cNvSpPr>
            <a:spLocks noGrp="1"/>
          </p:cNvSpPr>
          <p:nvPr>
            <p:ph type="body" sz="quarter" idx="29" hasCustomPrompt="1"/>
          </p:nvPr>
        </p:nvSpPr>
        <p:spPr>
          <a:xfrm>
            <a:off x="9104191" y="4433355"/>
            <a:ext cx="2669844"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a:t>
            </a:r>
          </a:p>
        </p:txBody>
      </p:sp>
      <p:sp>
        <p:nvSpPr>
          <p:cNvPr id="25" name="Текст 4">
            <a:extLst>
              <a:ext uri="{FF2B5EF4-FFF2-40B4-BE49-F238E27FC236}">
                <a16:creationId xmlns:a16="http://schemas.microsoft.com/office/drawing/2014/main" id="{7E1D929D-86E0-486C-B0CC-4AA686DBC258}"/>
              </a:ext>
            </a:extLst>
          </p:cNvPr>
          <p:cNvSpPr>
            <a:spLocks noGrp="1"/>
          </p:cNvSpPr>
          <p:nvPr>
            <p:ph type="body" sz="quarter" idx="30" hasCustomPrompt="1"/>
          </p:nvPr>
        </p:nvSpPr>
        <p:spPr>
          <a:xfrm>
            <a:off x="417040" y="3639353"/>
            <a:ext cx="266734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7" name="Текст 4">
            <a:extLst>
              <a:ext uri="{FF2B5EF4-FFF2-40B4-BE49-F238E27FC236}">
                <a16:creationId xmlns:a16="http://schemas.microsoft.com/office/drawing/2014/main" id="{AFA90E0B-A235-48D2-89D7-F7C1F8F36268}"/>
              </a:ext>
            </a:extLst>
          </p:cNvPr>
          <p:cNvSpPr>
            <a:spLocks noGrp="1"/>
          </p:cNvSpPr>
          <p:nvPr>
            <p:ph type="body" sz="quarter" idx="31" hasCustomPrompt="1"/>
          </p:nvPr>
        </p:nvSpPr>
        <p:spPr>
          <a:xfrm>
            <a:off x="6205159" y="3639353"/>
            <a:ext cx="2671551"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28" name="Текст 4">
            <a:extLst>
              <a:ext uri="{FF2B5EF4-FFF2-40B4-BE49-F238E27FC236}">
                <a16:creationId xmlns:a16="http://schemas.microsoft.com/office/drawing/2014/main" id="{36F77E85-D209-4925-8C8E-9AE9D634825E}"/>
              </a:ext>
            </a:extLst>
          </p:cNvPr>
          <p:cNvSpPr>
            <a:spLocks noGrp="1"/>
          </p:cNvSpPr>
          <p:nvPr>
            <p:ph type="body" sz="quarter" idx="32" hasCustomPrompt="1"/>
          </p:nvPr>
        </p:nvSpPr>
        <p:spPr>
          <a:xfrm>
            <a:off x="9104192" y="3639353"/>
            <a:ext cx="265744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две строки</a:t>
            </a:r>
          </a:p>
        </p:txBody>
      </p:sp>
      <p:sp>
        <p:nvSpPr>
          <p:cNvPr id="16" name="Текст 14">
            <a:extLst>
              <a:ext uri="{FF2B5EF4-FFF2-40B4-BE49-F238E27FC236}">
                <a16:creationId xmlns:a16="http://schemas.microsoft.com/office/drawing/2014/main" id="{569F5547-B7FF-45DC-A56A-5A8447BF7428}"/>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656678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5"/>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8" y="3628521"/>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8"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9" y="3628521"/>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21"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3" y="4145831"/>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23" y="3628521"/>
            <a:ext cx="3202839"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8359101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с преимуществами_3">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5"/>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преимуществами</a:t>
            </a:r>
          </a:p>
        </p:txBody>
      </p:sp>
      <p:sp>
        <p:nvSpPr>
          <p:cNvPr id="10" name="Текст 4">
            <a:extLst>
              <a:ext uri="{FF2B5EF4-FFF2-40B4-BE49-F238E27FC236}">
                <a16:creationId xmlns:a16="http://schemas.microsoft.com/office/drawing/2014/main" id="{7AF62AFD-3786-4413-BA6B-7D55CAD5E584}"/>
              </a:ext>
            </a:extLst>
          </p:cNvPr>
          <p:cNvSpPr>
            <a:spLocks noGrp="1"/>
          </p:cNvSpPr>
          <p:nvPr>
            <p:ph type="body" sz="quarter" idx="18" hasCustomPrompt="1"/>
          </p:nvPr>
        </p:nvSpPr>
        <p:spPr>
          <a:xfrm>
            <a:off x="417518" y="3648317"/>
            <a:ext cx="320283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E87A0279-E023-4A16-8383-258EAF9067AD}"/>
              </a:ext>
            </a:extLst>
          </p:cNvPr>
          <p:cNvSpPr>
            <a:spLocks noGrp="1"/>
          </p:cNvSpPr>
          <p:nvPr>
            <p:ph type="body" sz="quarter" idx="19" hasCustomPrompt="1"/>
          </p:nvPr>
        </p:nvSpPr>
        <p:spPr>
          <a:xfrm>
            <a:off x="417518"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2" name="Текст 4">
            <a:extLst>
              <a:ext uri="{FF2B5EF4-FFF2-40B4-BE49-F238E27FC236}">
                <a16:creationId xmlns:a16="http://schemas.microsoft.com/office/drawing/2014/main" id="{1391FD4B-336C-4256-BF86-5508E9CA02C7}"/>
              </a:ext>
            </a:extLst>
          </p:cNvPr>
          <p:cNvSpPr>
            <a:spLocks noGrp="1"/>
          </p:cNvSpPr>
          <p:nvPr>
            <p:ph type="body" sz="quarter" idx="20" hasCustomPrompt="1"/>
          </p:nvPr>
        </p:nvSpPr>
        <p:spPr>
          <a:xfrm>
            <a:off x="4276719" y="3648317"/>
            <a:ext cx="320283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4">
            <a:extLst>
              <a:ext uri="{FF2B5EF4-FFF2-40B4-BE49-F238E27FC236}">
                <a16:creationId xmlns:a16="http://schemas.microsoft.com/office/drawing/2014/main" id="{169E407D-3508-4EDF-AC3C-B64E5EBCF4EC}"/>
              </a:ext>
            </a:extLst>
          </p:cNvPr>
          <p:cNvSpPr>
            <a:spLocks noGrp="1"/>
          </p:cNvSpPr>
          <p:nvPr>
            <p:ph type="body" sz="quarter" idx="21" hasCustomPrompt="1"/>
          </p:nvPr>
        </p:nvSpPr>
        <p:spPr>
          <a:xfrm>
            <a:off x="4276721"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5" name="Текст 4">
            <a:extLst>
              <a:ext uri="{FF2B5EF4-FFF2-40B4-BE49-F238E27FC236}">
                <a16:creationId xmlns:a16="http://schemas.microsoft.com/office/drawing/2014/main" id="{9E34F00C-372F-4926-99F9-F33FEDD79877}"/>
              </a:ext>
            </a:extLst>
          </p:cNvPr>
          <p:cNvSpPr>
            <a:spLocks noGrp="1"/>
          </p:cNvSpPr>
          <p:nvPr>
            <p:ph type="body" sz="quarter" idx="23" hasCustomPrompt="1"/>
          </p:nvPr>
        </p:nvSpPr>
        <p:spPr>
          <a:xfrm>
            <a:off x="8135923" y="4441667"/>
            <a:ext cx="3202839"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6" name="Текст 4">
            <a:extLst>
              <a:ext uri="{FF2B5EF4-FFF2-40B4-BE49-F238E27FC236}">
                <a16:creationId xmlns:a16="http://schemas.microsoft.com/office/drawing/2014/main" id="{C40227CA-B11C-4E66-8CB3-24E2C1ACB7D5}"/>
              </a:ext>
            </a:extLst>
          </p:cNvPr>
          <p:cNvSpPr>
            <a:spLocks noGrp="1"/>
          </p:cNvSpPr>
          <p:nvPr>
            <p:ph type="body" sz="quarter" idx="24" hasCustomPrompt="1"/>
          </p:nvPr>
        </p:nvSpPr>
        <p:spPr>
          <a:xfrm>
            <a:off x="8135923" y="3648317"/>
            <a:ext cx="320283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14">
            <a:extLst>
              <a:ext uri="{FF2B5EF4-FFF2-40B4-BE49-F238E27FC236}">
                <a16:creationId xmlns:a16="http://schemas.microsoft.com/office/drawing/2014/main" id="{C7A84343-FF88-4180-84B4-863C7D94829D}"/>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23308755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5"/>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5" y="3619556"/>
            <a:ext cx="4824823"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5" y="4136867"/>
            <a:ext cx="4824823"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8" y="3619556"/>
            <a:ext cx="4824823" cy="319481"/>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9" y="4136867"/>
            <a:ext cx="4824823"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7699754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с преимуществами_2">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5"/>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преимуществами</a:t>
            </a:r>
          </a:p>
        </p:txBody>
      </p:sp>
      <p:sp>
        <p:nvSpPr>
          <p:cNvPr id="8" name="Текст 4">
            <a:extLst>
              <a:ext uri="{FF2B5EF4-FFF2-40B4-BE49-F238E27FC236}">
                <a16:creationId xmlns:a16="http://schemas.microsoft.com/office/drawing/2014/main" id="{49905CA7-02EF-4FDC-8F2A-A7F827CABF93}"/>
              </a:ext>
            </a:extLst>
          </p:cNvPr>
          <p:cNvSpPr>
            <a:spLocks noGrp="1"/>
          </p:cNvSpPr>
          <p:nvPr>
            <p:ph type="body" sz="quarter" idx="18" hasCustomPrompt="1"/>
          </p:nvPr>
        </p:nvSpPr>
        <p:spPr>
          <a:xfrm>
            <a:off x="417515" y="3648317"/>
            <a:ext cx="4824823"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9" name="Текст 4">
            <a:extLst>
              <a:ext uri="{FF2B5EF4-FFF2-40B4-BE49-F238E27FC236}">
                <a16:creationId xmlns:a16="http://schemas.microsoft.com/office/drawing/2014/main" id="{A577EA65-3A3C-464F-BBFE-15A0DB186776}"/>
              </a:ext>
            </a:extLst>
          </p:cNvPr>
          <p:cNvSpPr>
            <a:spLocks noGrp="1"/>
          </p:cNvSpPr>
          <p:nvPr>
            <p:ph type="body" sz="quarter" idx="19" hasCustomPrompt="1"/>
          </p:nvPr>
        </p:nvSpPr>
        <p:spPr>
          <a:xfrm>
            <a:off x="417515" y="4441667"/>
            <a:ext cx="4824823"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5" name="Текст 4">
            <a:extLst>
              <a:ext uri="{FF2B5EF4-FFF2-40B4-BE49-F238E27FC236}">
                <a16:creationId xmlns:a16="http://schemas.microsoft.com/office/drawing/2014/main" id="{3A6BE9DB-CE82-43B2-B8AF-AA774DDB46A1}"/>
              </a:ext>
            </a:extLst>
          </p:cNvPr>
          <p:cNvSpPr>
            <a:spLocks noGrp="1"/>
          </p:cNvSpPr>
          <p:nvPr>
            <p:ph type="body" sz="quarter" idx="20" hasCustomPrompt="1"/>
          </p:nvPr>
        </p:nvSpPr>
        <p:spPr>
          <a:xfrm>
            <a:off x="6205158" y="3648317"/>
            <a:ext cx="4824823"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6" name="Текст 4">
            <a:extLst>
              <a:ext uri="{FF2B5EF4-FFF2-40B4-BE49-F238E27FC236}">
                <a16:creationId xmlns:a16="http://schemas.microsoft.com/office/drawing/2014/main" id="{6C30F685-472D-4F1C-836D-7ECA4DD4CDC5}"/>
              </a:ext>
            </a:extLst>
          </p:cNvPr>
          <p:cNvSpPr>
            <a:spLocks noGrp="1"/>
          </p:cNvSpPr>
          <p:nvPr>
            <p:ph type="body" sz="quarter" idx="21" hasCustomPrompt="1"/>
          </p:nvPr>
        </p:nvSpPr>
        <p:spPr>
          <a:xfrm>
            <a:off x="6205159" y="4441667"/>
            <a:ext cx="4824823" cy="1277284"/>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для блока рекомендуемый объём текста для блока рекомендуемый объём текста рекомендуемый объём текста рекомендуемый объём текста </a:t>
            </a:r>
          </a:p>
        </p:txBody>
      </p:sp>
      <p:sp>
        <p:nvSpPr>
          <p:cNvPr id="10" name="Текст 14">
            <a:extLst>
              <a:ext uri="{FF2B5EF4-FFF2-40B4-BE49-F238E27FC236}">
                <a16:creationId xmlns:a16="http://schemas.microsoft.com/office/drawing/2014/main" id="{5E8143CD-4FCC-4CA9-9C45-616570557ECB}"/>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2307545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6" y="419101"/>
            <a:ext cx="5569331" cy="101123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1">
              <a:lumMod val="95000"/>
            </a:schemeClr>
          </a:solidFill>
        </p:spPr>
        <p:txBody>
          <a:bodyPr anchor="ctr"/>
          <a:lstStyle>
            <a:lvl1pPr algn="ctr">
              <a:defRPr sz="1763" b="0"/>
            </a:lvl1pPr>
          </a:lstStyle>
          <a:p>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3"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9"/>
            <a:ext cx="4202723"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6"/>
            <a:ext cx="4202723"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1042224973"/>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01" y="1825625"/>
            <a:ext cx="5181600" cy="435133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01" y="1825625"/>
            <a:ext cx="5181600" cy="435133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17431727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с преимуществами с фото">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6" y="419101"/>
            <a:ext cx="5569331" cy="101123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писок преимуществ</a:t>
            </a:r>
            <a:br>
              <a:rPr lang="ru-RU" dirty="0"/>
            </a:br>
            <a:r>
              <a:rPr lang="ru-RU" dirty="0"/>
              <a:t>с фото</a:t>
            </a:r>
          </a:p>
        </p:txBody>
      </p:sp>
      <p:sp>
        <p:nvSpPr>
          <p:cNvPr id="12" name="Рисунок 3">
            <a:extLst>
              <a:ext uri="{FF2B5EF4-FFF2-40B4-BE49-F238E27FC236}">
                <a16:creationId xmlns:a16="http://schemas.microsoft.com/office/drawing/2014/main" id="{BDD36FDB-7A70-49CC-ABE5-D6CAA311B99E}"/>
              </a:ext>
            </a:extLst>
          </p:cNvPr>
          <p:cNvSpPr>
            <a:spLocks noGrp="1"/>
          </p:cNvSpPr>
          <p:nvPr>
            <p:ph type="pic" sz="quarter" idx="57"/>
          </p:nvPr>
        </p:nvSpPr>
        <p:spPr>
          <a:xfrm>
            <a:off x="6205157" y="0"/>
            <a:ext cx="5986843" cy="6858000"/>
          </a:xfrm>
          <a:prstGeom prst="rect">
            <a:avLst/>
          </a:prstGeom>
          <a:solidFill>
            <a:schemeClr val="bg2">
              <a:lumMod val="25000"/>
            </a:schemeClr>
          </a:solidFill>
        </p:spPr>
        <p:txBody>
          <a:bodyPr anchor="ctr"/>
          <a:lstStyle>
            <a:lvl1pPr algn="ctr">
              <a:defRPr sz="1763" b="0">
                <a:solidFill>
                  <a:schemeClr val="bg1"/>
                </a:solidFill>
              </a:defRPr>
            </a:lvl1pPr>
          </a:lstStyle>
          <a:p>
            <a:endParaRPr lang="ru-RU" dirty="0"/>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3" y="2459508"/>
            <a:ext cx="4202723"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3" y="3870149"/>
            <a:ext cx="4202723"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3" y="5225516"/>
            <a:ext cx="4202723"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a:t>
            </a:r>
          </a:p>
        </p:txBody>
      </p:sp>
    </p:spTree>
    <p:extLst>
      <p:ext uri="{BB962C8B-B14F-4D97-AF65-F5344CB8AC3E}">
        <p14:creationId xmlns:p14="http://schemas.microsoft.com/office/powerpoint/2010/main" val="1988797575"/>
      </p:ext>
    </p:extLst>
  </p:cSld>
  <p:clrMapOvr>
    <a:masterClrMapping/>
  </p:clrMapOvr>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преимущества с иконками">
    <p:spTree>
      <p:nvGrpSpPr>
        <p:cNvPr id="1" name=""/>
        <p:cNvGrpSpPr/>
        <p:nvPr/>
      </p:nvGrpSpPr>
      <p:grpSpPr>
        <a:xfrm>
          <a:off x="0" y="0"/>
          <a:ext cx="0" cy="0"/>
          <a:chOff x="0" y="0"/>
          <a:chExt cx="0" cy="0"/>
        </a:xfrm>
      </p:grpSpPr>
      <p:sp>
        <p:nvSpPr>
          <p:cNvPr id="40" name="Заголовок 1">
            <a:extLst>
              <a:ext uri="{FF2B5EF4-FFF2-40B4-BE49-F238E27FC236}">
                <a16:creationId xmlns:a16="http://schemas.microsoft.com/office/drawing/2014/main" id="{A8835D1D-8B49-4CD3-92FE-EB8EBCFB02DE}"/>
              </a:ext>
            </a:extLst>
          </p:cNvPr>
          <p:cNvSpPr>
            <a:spLocks noGrp="1"/>
          </p:cNvSpPr>
          <p:nvPr>
            <p:ph type="title" hasCustomPrompt="1"/>
          </p:nvPr>
        </p:nvSpPr>
        <p:spPr>
          <a:xfrm>
            <a:off x="417515" y="419100"/>
            <a:ext cx="11356052" cy="532000"/>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писок преимуществ с иконками</a:t>
            </a:r>
          </a:p>
        </p:txBody>
      </p:sp>
      <p:sp>
        <p:nvSpPr>
          <p:cNvPr id="16" name="Текст 4">
            <a:extLst>
              <a:ext uri="{FF2B5EF4-FFF2-40B4-BE49-F238E27FC236}">
                <a16:creationId xmlns:a16="http://schemas.microsoft.com/office/drawing/2014/main" id="{A8BEC09E-EF22-4384-AD01-E827DDFF95FA}"/>
              </a:ext>
            </a:extLst>
          </p:cNvPr>
          <p:cNvSpPr>
            <a:spLocks noGrp="1"/>
          </p:cNvSpPr>
          <p:nvPr>
            <p:ph type="body" sz="quarter" idx="19" hasCustomPrompt="1"/>
          </p:nvPr>
        </p:nvSpPr>
        <p:spPr>
          <a:xfrm>
            <a:off x="1385454" y="2459508"/>
            <a:ext cx="6752345" cy="401200"/>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7" name="Текст 4">
            <a:extLst>
              <a:ext uri="{FF2B5EF4-FFF2-40B4-BE49-F238E27FC236}">
                <a16:creationId xmlns:a16="http://schemas.microsoft.com/office/drawing/2014/main" id="{9879EB6E-BFF0-439F-993B-DA18C0D0A705}"/>
              </a:ext>
            </a:extLst>
          </p:cNvPr>
          <p:cNvSpPr>
            <a:spLocks noGrp="1"/>
          </p:cNvSpPr>
          <p:nvPr>
            <p:ph type="body" sz="quarter" idx="23" hasCustomPrompt="1"/>
          </p:nvPr>
        </p:nvSpPr>
        <p:spPr>
          <a:xfrm>
            <a:off x="1385454" y="3870149"/>
            <a:ext cx="6752345"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
        <p:nvSpPr>
          <p:cNvPr id="18" name="Текст 4">
            <a:extLst>
              <a:ext uri="{FF2B5EF4-FFF2-40B4-BE49-F238E27FC236}">
                <a16:creationId xmlns:a16="http://schemas.microsoft.com/office/drawing/2014/main" id="{29F2581D-C829-4B0B-9211-3EE7C7C77CB2}"/>
              </a:ext>
            </a:extLst>
          </p:cNvPr>
          <p:cNvSpPr>
            <a:spLocks noGrp="1"/>
          </p:cNvSpPr>
          <p:nvPr>
            <p:ph type="body" sz="quarter" idx="58" hasCustomPrompt="1"/>
          </p:nvPr>
        </p:nvSpPr>
        <p:spPr>
          <a:xfrm>
            <a:off x="1385454" y="5225516"/>
            <a:ext cx="6752345" cy="401201"/>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 объём текста для блока рекомендуемый объём текста для блока рекомендуемый объём</a:t>
            </a:r>
          </a:p>
        </p:txBody>
      </p:sp>
    </p:spTree>
    <p:extLst>
      <p:ext uri="{BB962C8B-B14F-4D97-AF65-F5344CB8AC3E}">
        <p14:creationId xmlns:p14="http://schemas.microsoft.com/office/powerpoint/2010/main" val="956482474"/>
      </p:ext>
    </p:extLst>
  </p:cSld>
  <p:clrMapOvr>
    <a:masterClrMapping/>
  </p:clrMapOvr>
  <p:extLst mod="1">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5"/>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8" y="3355752"/>
            <a:ext cx="3202839" cy="1028271"/>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21" y="3355752"/>
            <a:ext cx="3202839" cy="1028271"/>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3" y="3355752"/>
            <a:ext cx="3202839" cy="1028271"/>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8" y="2838440"/>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9" y="2838440"/>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23" y="2838440"/>
            <a:ext cx="3202839" cy="35652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5304043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с перимуществами без иконок">
    <p:spTree>
      <p:nvGrpSpPr>
        <p:cNvPr id="1" name=""/>
        <p:cNvGrpSpPr/>
        <p:nvPr/>
      </p:nvGrpSpPr>
      <p:grpSpPr>
        <a:xfrm>
          <a:off x="0" y="0"/>
          <a:ext cx="0" cy="0"/>
          <a:chOff x="0" y="0"/>
          <a:chExt cx="0" cy="0"/>
        </a:xfrm>
      </p:grpSpPr>
      <p:sp>
        <p:nvSpPr>
          <p:cNvPr id="14" name="Заголовок 1">
            <a:extLst>
              <a:ext uri="{FF2B5EF4-FFF2-40B4-BE49-F238E27FC236}">
                <a16:creationId xmlns:a16="http://schemas.microsoft.com/office/drawing/2014/main" id="{EE4FCB7A-ABC9-47ED-AC6B-512184217F5A}"/>
              </a:ext>
            </a:extLst>
          </p:cNvPr>
          <p:cNvSpPr>
            <a:spLocks noGrp="1"/>
          </p:cNvSpPr>
          <p:nvPr>
            <p:ph type="title" hasCustomPrompt="1"/>
          </p:nvPr>
        </p:nvSpPr>
        <p:spPr>
          <a:xfrm>
            <a:off x="417513" y="419100"/>
            <a:ext cx="11366499" cy="595515"/>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преимуществами без иконок</a:t>
            </a:r>
          </a:p>
        </p:txBody>
      </p:sp>
      <p:sp>
        <p:nvSpPr>
          <p:cNvPr id="21" name="Текст 4">
            <a:extLst>
              <a:ext uri="{FF2B5EF4-FFF2-40B4-BE49-F238E27FC236}">
                <a16:creationId xmlns:a16="http://schemas.microsoft.com/office/drawing/2014/main" id="{0644E239-1BD9-4D5B-8CB9-F3739A11EA93}"/>
              </a:ext>
            </a:extLst>
          </p:cNvPr>
          <p:cNvSpPr>
            <a:spLocks noGrp="1"/>
          </p:cNvSpPr>
          <p:nvPr>
            <p:ph type="body" sz="quarter" idx="19" hasCustomPrompt="1"/>
          </p:nvPr>
        </p:nvSpPr>
        <p:spPr>
          <a:xfrm>
            <a:off x="417518" y="3651587"/>
            <a:ext cx="3202839" cy="1028271"/>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6" name="Текст 4">
            <a:extLst>
              <a:ext uri="{FF2B5EF4-FFF2-40B4-BE49-F238E27FC236}">
                <a16:creationId xmlns:a16="http://schemas.microsoft.com/office/drawing/2014/main" id="{7C51AA43-EAF7-401D-8C36-38EE86BFE54E}"/>
              </a:ext>
            </a:extLst>
          </p:cNvPr>
          <p:cNvSpPr>
            <a:spLocks noGrp="1"/>
          </p:cNvSpPr>
          <p:nvPr>
            <p:ph type="body" sz="quarter" idx="21" hasCustomPrompt="1"/>
          </p:nvPr>
        </p:nvSpPr>
        <p:spPr>
          <a:xfrm>
            <a:off x="4276721" y="3651587"/>
            <a:ext cx="3202839" cy="1028271"/>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28" name="Текст 4">
            <a:extLst>
              <a:ext uri="{FF2B5EF4-FFF2-40B4-BE49-F238E27FC236}">
                <a16:creationId xmlns:a16="http://schemas.microsoft.com/office/drawing/2014/main" id="{D9306D5E-DCFC-4394-B313-DB78AEC102C6}"/>
              </a:ext>
            </a:extLst>
          </p:cNvPr>
          <p:cNvSpPr>
            <a:spLocks noGrp="1"/>
          </p:cNvSpPr>
          <p:nvPr>
            <p:ph type="body" sz="quarter" idx="23" hasCustomPrompt="1"/>
          </p:nvPr>
        </p:nvSpPr>
        <p:spPr>
          <a:xfrm>
            <a:off x="8135923" y="3651587"/>
            <a:ext cx="3202839" cy="1028271"/>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10" name="Текст 4">
            <a:extLst>
              <a:ext uri="{FF2B5EF4-FFF2-40B4-BE49-F238E27FC236}">
                <a16:creationId xmlns:a16="http://schemas.microsoft.com/office/drawing/2014/main" id="{FD15AA06-0E21-4B93-9EC3-3EC0F57B2CFC}"/>
              </a:ext>
            </a:extLst>
          </p:cNvPr>
          <p:cNvSpPr>
            <a:spLocks noGrp="1"/>
          </p:cNvSpPr>
          <p:nvPr>
            <p:ph type="body" sz="quarter" idx="18" hasCustomPrompt="1"/>
          </p:nvPr>
        </p:nvSpPr>
        <p:spPr>
          <a:xfrm>
            <a:off x="417518" y="2895281"/>
            <a:ext cx="320283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1" name="Текст 4">
            <a:extLst>
              <a:ext uri="{FF2B5EF4-FFF2-40B4-BE49-F238E27FC236}">
                <a16:creationId xmlns:a16="http://schemas.microsoft.com/office/drawing/2014/main" id="{BEE7F827-8714-45CF-8F03-F4A11E5D3EFC}"/>
              </a:ext>
            </a:extLst>
          </p:cNvPr>
          <p:cNvSpPr>
            <a:spLocks noGrp="1"/>
          </p:cNvSpPr>
          <p:nvPr>
            <p:ph type="body" sz="quarter" idx="20" hasCustomPrompt="1"/>
          </p:nvPr>
        </p:nvSpPr>
        <p:spPr>
          <a:xfrm>
            <a:off x="4276719" y="2895281"/>
            <a:ext cx="320283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2" name="Текст 4">
            <a:extLst>
              <a:ext uri="{FF2B5EF4-FFF2-40B4-BE49-F238E27FC236}">
                <a16:creationId xmlns:a16="http://schemas.microsoft.com/office/drawing/2014/main" id="{978C7BEB-2602-4BD3-A51F-1E710A0ADB9D}"/>
              </a:ext>
            </a:extLst>
          </p:cNvPr>
          <p:cNvSpPr>
            <a:spLocks noGrp="1"/>
          </p:cNvSpPr>
          <p:nvPr>
            <p:ph type="body" sz="quarter" idx="24" hasCustomPrompt="1"/>
          </p:nvPr>
        </p:nvSpPr>
        <p:spPr>
          <a:xfrm>
            <a:off x="8135923" y="2895281"/>
            <a:ext cx="3202839" cy="595515"/>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3" name="Текст 14">
            <a:extLst>
              <a:ext uri="{FF2B5EF4-FFF2-40B4-BE49-F238E27FC236}">
                <a16:creationId xmlns:a16="http://schemas.microsoft.com/office/drawing/2014/main" id="{6F1F3698-0F0B-4523-A23A-2D1E2FA895D5}"/>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Tree>
    <p:extLst>
      <p:ext uri="{BB962C8B-B14F-4D97-AF65-F5344CB8AC3E}">
        <p14:creationId xmlns:p14="http://schemas.microsoft.com/office/powerpoint/2010/main" val="30152426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таймлайн_4">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2" name="Текст 4">
            <a:extLst>
              <a:ext uri="{FF2B5EF4-FFF2-40B4-BE49-F238E27FC236}">
                <a16:creationId xmlns:a16="http://schemas.microsoft.com/office/drawing/2014/main" id="{96A00A3B-9411-4FC5-AB5E-872B0ECB5C15}"/>
              </a:ext>
            </a:extLst>
          </p:cNvPr>
          <p:cNvSpPr>
            <a:spLocks noGrp="1"/>
          </p:cNvSpPr>
          <p:nvPr>
            <p:ph type="body" sz="quarter" idx="19" hasCustomPrompt="1"/>
          </p:nvPr>
        </p:nvSpPr>
        <p:spPr>
          <a:xfrm>
            <a:off x="1111187"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3" name="Текст 4">
            <a:extLst>
              <a:ext uri="{FF2B5EF4-FFF2-40B4-BE49-F238E27FC236}">
                <a16:creationId xmlns:a16="http://schemas.microsoft.com/office/drawing/2014/main" id="{E7952BA1-F915-41C8-B38B-0881595F2D26}"/>
              </a:ext>
            </a:extLst>
          </p:cNvPr>
          <p:cNvSpPr>
            <a:spLocks noGrp="1"/>
          </p:cNvSpPr>
          <p:nvPr>
            <p:ph type="body" sz="quarter" idx="57" hasCustomPrompt="1"/>
          </p:nvPr>
        </p:nvSpPr>
        <p:spPr>
          <a:xfrm>
            <a:off x="4006605" y="3504367"/>
            <a:ext cx="2206911"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5" name="Текст 4">
            <a:extLst>
              <a:ext uri="{FF2B5EF4-FFF2-40B4-BE49-F238E27FC236}">
                <a16:creationId xmlns:a16="http://schemas.microsoft.com/office/drawing/2014/main" id="{D0FD44F3-A987-419D-8106-26B955536D93}"/>
              </a:ext>
            </a:extLst>
          </p:cNvPr>
          <p:cNvSpPr>
            <a:spLocks noGrp="1"/>
          </p:cNvSpPr>
          <p:nvPr>
            <p:ph type="body" sz="quarter" idx="58" hasCustomPrompt="1"/>
          </p:nvPr>
        </p:nvSpPr>
        <p:spPr>
          <a:xfrm>
            <a:off x="6895066" y="3504367"/>
            <a:ext cx="2209753"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
        <p:nvSpPr>
          <p:cNvPr id="16" name="Текст 4">
            <a:extLst>
              <a:ext uri="{FF2B5EF4-FFF2-40B4-BE49-F238E27FC236}">
                <a16:creationId xmlns:a16="http://schemas.microsoft.com/office/drawing/2014/main" id="{8AD84F1B-5866-457B-ACAC-AFB2B6D33882}"/>
              </a:ext>
            </a:extLst>
          </p:cNvPr>
          <p:cNvSpPr>
            <a:spLocks noGrp="1"/>
          </p:cNvSpPr>
          <p:nvPr>
            <p:ph type="body" sz="quarter" idx="59" hasCustomPrompt="1"/>
          </p:nvPr>
        </p:nvSpPr>
        <p:spPr>
          <a:xfrm>
            <a:off x="9783529" y="3504367"/>
            <a:ext cx="1990507" cy="7506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27940460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таймлайн_6">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7"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5"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6"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9"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7"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5"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28097546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таймлайн_8">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a:t>
            </a:r>
            <a:r>
              <a:rPr lang="ru-RU" dirty="0" err="1"/>
              <a:t>таймлайном</a:t>
            </a:r>
            <a:endParaRPr lang="ru-RU" dirty="0"/>
          </a:p>
        </p:txBody>
      </p:sp>
      <p:sp>
        <p:nvSpPr>
          <p:cNvPr id="11" name="Текст 14">
            <a:extLst>
              <a:ext uri="{FF2B5EF4-FFF2-40B4-BE49-F238E27FC236}">
                <a16:creationId xmlns:a16="http://schemas.microsoft.com/office/drawing/2014/main" id="{2893AC30-1EAF-4D2D-A701-1CC2A9DC8B14}"/>
              </a:ext>
            </a:extLst>
          </p:cNvPr>
          <p:cNvSpPr>
            <a:spLocks noGrp="1"/>
          </p:cNvSpPr>
          <p:nvPr>
            <p:ph type="body" sz="quarter" idx="56" hasCustomPrompt="1"/>
          </p:nvPr>
        </p:nvSpPr>
        <p:spPr>
          <a:xfrm>
            <a:off x="417516" y="1010655"/>
            <a:ext cx="11356051"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ополнительный текст</a:t>
            </a:r>
          </a:p>
        </p:txBody>
      </p:sp>
      <p:sp>
        <p:nvSpPr>
          <p:cNvPr id="19" name="Текст 4">
            <a:extLst>
              <a:ext uri="{FF2B5EF4-FFF2-40B4-BE49-F238E27FC236}">
                <a16:creationId xmlns:a16="http://schemas.microsoft.com/office/drawing/2014/main" id="{6025A32C-F45F-4B57-9B4A-0DDE869BF808}"/>
              </a:ext>
            </a:extLst>
          </p:cNvPr>
          <p:cNvSpPr>
            <a:spLocks noGrp="1"/>
          </p:cNvSpPr>
          <p:nvPr>
            <p:ph type="body" sz="quarter" idx="19" hasCustomPrompt="1"/>
          </p:nvPr>
        </p:nvSpPr>
        <p:spPr>
          <a:xfrm>
            <a:off x="1111187"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0" name="Текст 4">
            <a:extLst>
              <a:ext uri="{FF2B5EF4-FFF2-40B4-BE49-F238E27FC236}">
                <a16:creationId xmlns:a16="http://schemas.microsoft.com/office/drawing/2014/main" id="{CDB4941D-29E3-41EE-AA49-0FB79CD5E63B}"/>
              </a:ext>
            </a:extLst>
          </p:cNvPr>
          <p:cNvSpPr>
            <a:spLocks noGrp="1"/>
          </p:cNvSpPr>
          <p:nvPr>
            <p:ph type="body" sz="quarter" idx="57" hasCustomPrompt="1"/>
          </p:nvPr>
        </p:nvSpPr>
        <p:spPr>
          <a:xfrm>
            <a:off x="4006605" y="2871863"/>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1" name="Текст 4">
            <a:extLst>
              <a:ext uri="{FF2B5EF4-FFF2-40B4-BE49-F238E27FC236}">
                <a16:creationId xmlns:a16="http://schemas.microsoft.com/office/drawing/2014/main" id="{51EC976F-01ED-4720-86A9-E04D0961C70D}"/>
              </a:ext>
            </a:extLst>
          </p:cNvPr>
          <p:cNvSpPr>
            <a:spLocks noGrp="1"/>
          </p:cNvSpPr>
          <p:nvPr>
            <p:ph type="body" sz="quarter" idx="58" hasCustomPrompt="1"/>
          </p:nvPr>
        </p:nvSpPr>
        <p:spPr>
          <a:xfrm>
            <a:off x="6895066" y="2860657"/>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2" name="Текст 4">
            <a:extLst>
              <a:ext uri="{FF2B5EF4-FFF2-40B4-BE49-F238E27FC236}">
                <a16:creationId xmlns:a16="http://schemas.microsoft.com/office/drawing/2014/main" id="{B2D6387F-4653-46DC-ADBD-A6A35DC255B0}"/>
              </a:ext>
            </a:extLst>
          </p:cNvPr>
          <p:cNvSpPr>
            <a:spLocks noGrp="1"/>
          </p:cNvSpPr>
          <p:nvPr>
            <p:ph type="body" sz="quarter" idx="59" hasCustomPrompt="1"/>
          </p:nvPr>
        </p:nvSpPr>
        <p:spPr>
          <a:xfrm>
            <a:off x="9783529" y="2871863"/>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3" name="Текст 4">
            <a:extLst>
              <a:ext uri="{FF2B5EF4-FFF2-40B4-BE49-F238E27FC236}">
                <a16:creationId xmlns:a16="http://schemas.microsoft.com/office/drawing/2014/main" id="{5743EB65-C22E-47F8-AB03-DED4CFDDCB94}"/>
              </a:ext>
            </a:extLst>
          </p:cNvPr>
          <p:cNvSpPr>
            <a:spLocks noGrp="1"/>
          </p:cNvSpPr>
          <p:nvPr>
            <p:ph type="body" sz="quarter" idx="60" hasCustomPrompt="1"/>
          </p:nvPr>
        </p:nvSpPr>
        <p:spPr>
          <a:xfrm>
            <a:off x="1111187"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24" name="Текст 4">
            <a:extLst>
              <a:ext uri="{FF2B5EF4-FFF2-40B4-BE49-F238E27FC236}">
                <a16:creationId xmlns:a16="http://schemas.microsoft.com/office/drawing/2014/main" id="{1B94D347-449F-4722-8E94-70BBCBF97B38}"/>
              </a:ext>
            </a:extLst>
          </p:cNvPr>
          <p:cNvSpPr>
            <a:spLocks noGrp="1"/>
          </p:cNvSpPr>
          <p:nvPr>
            <p:ph type="body" sz="quarter" idx="61" hasCustomPrompt="1"/>
          </p:nvPr>
        </p:nvSpPr>
        <p:spPr>
          <a:xfrm>
            <a:off x="4006605" y="5379180"/>
            <a:ext cx="2206911"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7" name="Текст 4">
            <a:extLst>
              <a:ext uri="{FF2B5EF4-FFF2-40B4-BE49-F238E27FC236}">
                <a16:creationId xmlns:a16="http://schemas.microsoft.com/office/drawing/2014/main" id="{062E2782-A52F-4982-A627-26D44F5FAFFA}"/>
              </a:ext>
            </a:extLst>
          </p:cNvPr>
          <p:cNvSpPr>
            <a:spLocks noGrp="1"/>
          </p:cNvSpPr>
          <p:nvPr>
            <p:ph type="body" sz="quarter" idx="67" hasCustomPrompt="1"/>
          </p:nvPr>
        </p:nvSpPr>
        <p:spPr>
          <a:xfrm>
            <a:off x="6895066" y="5379180"/>
            <a:ext cx="2209753"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
        <p:nvSpPr>
          <p:cNvPr id="18" name="Текст 4">
            <a:extLst>
              <a:ext uri="{FF2B5EF4-FFF2-40B4-BE49-F238E27FC236}">
                <a16:creationId xmlns:a16="http://schemas.microsoft.com/office/drawing/2014/main" id="{ACDD9185-E6F1-43BE-8459-35F2503F174A}"/>
              </a:ext>
            </a:extLst>
          </p:cNvPr>
          <p:cNvSpPr>
            <a:spLocks noGrp="1"/>
          </p:cNvSpPr>
          <p:nvPr>
            <p:ph type="body" sz="quarter" idx="68" hasCustomPrompt="1"/>
          </p:nvPr>
        </p:nvSpPr>
        <p:spPr>
          <a:xfrm>
            <a:off x="9783529" y="5379180"/>
            <a:ext cx="1990507" cy="750608"/>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Текст пункта </a:t>
            </a:r>
            <a:br>
              <a:rPr lang="ru-RU" sz="1587" dirty="0"/>
            </a:br>
            <a:r>
              <a:rPr lang="ru-RU" sz="1587" dirty="0"/>
              <a:t>в две-три строки</a:t>
            </a:r>
          </a:p>
        </p:txBody>
      </p:sp>
    </p:spTree>
    <p:extLst>
      <p:ext uri="{BB962C8B-B14F-4D97-AF65-F5344CB8AC3E}">
        <p14:creationId xmlns:p14="http://schemas.microsoft.com/office/powerpoint/2010/main" val="20120656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Круговые диаграммы 1</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5" y="3099306"/>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7" y="3551916"/>
            <a:ext cx="4591260" cy="1349261"/>
          </a:xfrm>
          <a:prstGeom prst="rect">
            <a:avLst/>
          </a:prstGeom>
        </p:spPr>
        <p:txBody>
          <a:bodyPr lIns="0" tIns="0" rIns="0" bIns="0"/>
          <a:lstStyle>
            <a:lvl1pPr>
              <a:lnSpc>
                <a:spcPts val="3261"/>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
        <p:nvSpPr>
          <p:cNvPr id="89" name="Текст 14">
            <a:extLst>
              <a:ext uri="{FF2B5EF4-FFF2-40B4-BE49-F238E27FC236}">
                <a16:creationId xmlns:a16="http://schemas.microsoft.com/office/drawing/2014/main" id="{D4DD3FB8-7C4E-4001-83ED-A649E870B56C}"/>
              </a:ext>
            </a:extLst>
          </p:cNvPr>
          <p:cNvSpPr>
            <a:spLocks noGrp="1"/>
          </p:cNvSpPr>
          <p:nvPr>
            <p:ph type="body" sz="quarter" idx="67" hasCustomPrompt="1"/>
          </p:nvPr>
        </p:nvSpPr>
        <p:spPr>
          <a:xfrm>
            <a:off x="7908290" y="1549646"/>
            <a:ext cx="3865279" cy="893236"/>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
        <p:nvSpPr>
          <p:cNvPr id="90" name="Текст 14">
            <a:extLst>
              <a:ext uri="{FF2B5EF4-FFF2-40B4-BE49-F238E27FC236}">
                <a16:creationId xmlns:a16="http://schemas.microsoft.com/office/drawing/2014/main" id="{8CE0A527-CC33-4702-9740-B0EF00C5DE3B}"/>
              </a:ext>
            </a:extLst>
          </p:cNvPr>
          <p:cNvSpPr>
            <a:spLocks noGrp="1"/>
          </p:cNvSpPr>
          <p:nvPr>
            <p:ph type="body" sz="quarter" idx="68" hasCustomPrompt="1"/>
          </p:nvPr>
        </p:nvSpPr>
        <p:spPr>
          <a:xfrm>
            <a:off x="7908290" y="3202165"/>
            <a:ext cx="3865279" cy="1130031"/>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 объём текста</a:t>
            </a:r>
          </a:p>
        </p:txBody>
      </p:sp>
      <p:sp>
        <p:nvSpPr>
          <p:cNvPr id="91" name="Текст 14">
            <a:extLst>
              <a:ext uri="{FF2B5EF4-FFF2-40B4-BE49-F238E27FC236}">
                <a16:creationId xmlns:a16="http://schemas.microsoft.com/office/drawing/2014/main" id="{52700C36-97C2-416E-AFB1-3A9BE2696E01}"/>
              </a:ext>
            </a:extLst>
          </p:cNvPr>
          <p:cNvSpPr>
            <a:spLocks noGrp="1"/>
          </p:cNvSpPr>
          <p:nvPr>
            <p:ph type="body" sz="quarter" idx="69" hasCustomPrompt="1"/>
          </p:nvPr>
        </p:nvSpPr>
        <p:spPr>
          <a:xfrm>
            <a:off x="7908290" y="4901175"/>
            <a:ext cx="3865279" cy="853520"/>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a:t>
            </a:r>
            <a:br>
              <a:rPr lang="ru-RU" sz="1587" dirty="0"/>
            </a:br>
            <a:r>
              <a:rPr lang="ru-RU" sz="1587" dirty="0"/>
              <a:t>для блока, рекомендуемый объём текста для блока, рекомендуемый</a:t>
            </a:r>
          </a:p>
        </p:txBody>
      </p:sp>
    </p:spTree>
    <p:extLst>
      <p:ext uri="{BB962C8B-B14F-4D97-AF65-F5344CB8AC3E}">
        <p14:creationId xmlns:p14="http://schemas.microsoft.com/office/powerpoint/2010/main" val="28170374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5" y="3099306"/>
            <a:ext cx="4601092" cy="339108"/>
          </a:xfrm>
          <a:prstGeom prst="rect">
            <a:avLst/>
          </a:prstGeom>
        </p:spPr>
        <p:txBody>
          <a:bodyPr lIns="0" tIns="0" rIns="0" bIns="0"/>
          <a:lstStyle>
            <a:lvl1pPr>
              <a:lnSpc>
                <a:spcPct val="100000"/>
              </a:lnSpc>
              <a:spcBef>
                <a:spcPts val="0"/>
              </a:spcBef>
              <a:defRPr sz="2821" b="0" strike="noStrike">
                <a:solidFill>
                  <a:schemeClr val="accent1"/>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7" y="3551916"/>
            <a:ext cx="4591260" cy="1349261"/>
          </a:xfrm>
          <a:prstGeom prst="rect">
            <a:avLst/>
          </a:prstGeom>
        </p:spPr>
        <p:txBody>
          <a:bodyPr lIns="0" tIns="0" rIns="0" bIns="0"/>
          <a:lstStyle>
            <a:lvl1pPr>
              <a:lnSpc>
                <a:spcPts val="3261"/>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3331677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5" y="3099306"/>
            <a:ext cx="4601092" cy="339108"/>
          </a:xfrm>
          <a:prstGeom prst="rect">
            <a:avLst/>
          </a:prstGeom>
        </p:spPr>
        <p:txBody>
          <a:bodyPr lIns="0" tIns="0" rIns="0" bIns="0"/>
          <a:lstStyle>
            <a:lvl1pPr>
              <a:lnSpc>
                <a:spcPct val="100000"/>
              </a:lnSpc>
              <a:spcBef>
                <a:spcPts val="0"/>
              </a:spcBef>
              <a:defRPr sz="2821" b="0" strike="noStrike">
                <a:solidFill>
                  <a:schemeClr val="accent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7" y="3551916"/>
            <a:ext cx="4591260" cy="1349261"/>
          </a:xfrm>
          <a:prstGeom prst="rect">
            <a:avLst/>
          </a:prstGeom>
        </p:spPr>
        <p:txBody>
          <a:bodyPr lIns="0" tIns="0" rIns="0" bIns="0"/>
          <a:lstStyle>
            <a:lvl1pPr>
              <a:lnSpc>
                <a:spcPts val="3261"/>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40885999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9" y="365129"/>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89" y="1681163"/>
            <a:ext cx="5157787" cy="823912"/>
          </a:xfrm>
        </p:spPr>
        <p:txBody>
          <a:bodyPr anchor="b"/>
          <a:lstStyle>
            <a:lvl1pPr marL="0" indent="0">
              <a:buNone/>
              <a:defRPr sz="2400" b="1"/>
            </a:lvl1pPr>
            <a:lvl2pPr marL="457187" indent="0">
              <a:buNone/>
              <a:defRPr sz="2000" b="1"/>
            </a:lvl2pPr>
            <a:lvl3pPr marL="914377" indent="0">
              <a:buNone/>
              <a:defRPr sz="1801" b="1"/>
            </a:lvl3pPr>
            <a:lvl4pPr marL="1371566" indent="0">
              <a:buNone/>
              <a:defRPr sz="1600" b="1"/>
            </a:lvl4pPr>
            <a:lvl5pPr marL="1828756" indent="0">
              <a:buNone/>
              <a:defRPr sz="1600" b="1"/>
            </a:lvl5pPr>
            <a:lvl6pPr marL="2285943" indent="0">
              <a:buNone/>
              <a:defRPr sz="1600" b="1"/>
            </a:lvl6pPr>
            <a:lvl7pPr marL="2743133" indent="0">
              <a:buNone/>
              <a:defRPr sz="1600" b="1"/>
            </a:lvl7pPr>
            <a:lvl8pPr marL="3200320" indent="0">
              <a:buNone/>
              <a:defRPr sz="1600" b="1"/>
            </a:lvl8pPr>
            <a:lvl9pPr marL="3657507" indent="0">
              <a:buNone/>
              <a:defRPr sz="1600" b="1"/>
            </a:lvl9pPr>
          </a:lstStyle>
          <a:p>
            <a:pPr lvl="0"/>
            <a:r>
              <a:rPr lang="ru-RU" smtClean="0"/>
              <a:t>Образец текста</a:t>
            </a:r>
          </a:p>
        </p:txBody>
      </p:sp>
      <p:sp>
        <p:nvSpPr>
          <p:cNvPr id="4" name="Объект 3"/>
          <p:cNvSpPr>
            <a:spLocks noGrp="1"/>
          </p:cNvSpPr>
          <p:nvPr>
            <p:ph sz="half" idx="2"/>
          </p:nvPr>
        </p:nvSpPr>
        <p:spPr>
          <a:xfrm>
            <a:off x="839789"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2" y="1681163"/>
            <a:ext cx="5183188" cy="823912"/>
          </a:xfrm>
        </p:spPr>
        <p:txBody>
          <a:bodyPr anchor="b"/>
          <a:lstStyle>
            <a:lvl1pPr marL="0" indent="0">
              <a:buNone/>
              <a:defRPr sz="2400" b="1"/>
            </a:lvl1pPr>
            <a:lvl2pPr marL="457187" indent="0">
              <a:buNone/>
              <a:defRPr sz="2000" b="1"/>
            </a:lvl2pPr>
            <a:lvl3pPr marL="914377" indent="0">
              <a:buNone/>
              <a:defRPr sz="1801" b="1"/>
            </a:lvl3pPr>
            <a:lvl4pPr marL="1371566" indent="0">
              <a:buNone/>
              <a:defRPr sz="1600" b="1"/>
            </a:lvl4pPr>
            <a:lvl5pPr marL="1828756" indent="0">
              <a:buNone/>
              <a:defRPr sz="1600" b="1"/>
            </a:lvl5pPr>
            <a:lvl6pPr marL="2285943" indent="0">
              <a:buNone/>
              <a:defRPr sz="1600" b="1"/>
            </a:lvl6pPr>
            <a:lvl7pPr marL="2743133" indent="0">
              <a:buNone/>
              <a:defRPr sz="1600" b="1"/>
            </a:lvl7pPr>
            <a:lvl8pPr marL="3200320" indent="0">
              <a:buNone/>
              <a:defRPr sz="1600" b="1"/>
            </a:lvl8pPr>
            <a:lvl9pPr marL="3657507"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2"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2740553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кругов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Круговые диаграммы 2</a:t>
            </a:r>
          </a:p>
        </p:txBody>
      </p:sp>
      <p:sp>
        <p:nvSpPr>
          <p:cNvPr id="78" name="Текст 14">
            <a:extLst>
              <a:ext uri="{FF2B5EF4-FFF2-40B4-BE49-F238E27FC236}">
                <a16:creationId xmlns:a16="http://schemas.microsoft.com/office/drawing/2014/main" id="{5C4AFDAD-0367-489D-BCB3-9E0A7AFE5685}"/>
              </a:ext>
            </a:extLst>
          </p:cNvPr>
          <p:cNvSpPr>
            <a:spLocks noGrp="1"/>
          </p:cNvSpPr>
          <p:nvPr>
            <p:ph type="body" sz="quarter" idx="60" hasCustomPrompt="1"/>
          </p:nvPr>
        </p:nvSpPr>
        <p:spPr>
          <a:xfrm>
            <a:off x="415935" y="3099306"/>
            <a:ext cx="4601092" cy="339108"/>
          </a:xfrm>
          <a:prstGeom prst="rect">
            <a:avLst/>
          </a:prstGeom>
        </p:spPr>
        <p:txBody>
          <a:bodyPr lIns="0" tIns="0" rIns="0" bIns="0"/>
          <a:lstStyle>
            <a:lvl1pPr>
              <a:lnSpc>
                <a:spcPct val="100000"/>
              </a:lnSpc>
              <a:spcBef>
                <a:spcPts val="0"/>
              </a:spcBef>
              <a:defRPr sz="2821" b="0" strike="noStrike">
                <a:solidFill>
                  <a:schemeClr val="tx2"/>
                </a:solidFill>
                <a:latin typeface="+mn-lt"/>
                <a:ea typeface="Rostelecom Basis" panose="020B0503040504020204" pitchFamily="34" charset="-52"/>
              </a:defRPr>
            </a:lvl1pPr>
          </a:lstStyle>
          <a:p>
            <a:pPr lvl="0"/>
            <a:r>
              <a:rPr lang="ru-RU" dirty="0"/>
              <a:t>в 00 раз быстрее</a:t>
            </a:r>
          </a:p>
        </p:txBody>
      </p:sp>
      <p:sp>
        <p:nvSpPr>
          <p:cNvPr id="79" name="Текст 14">
            <a:extLst>
              <a:ext uri="{FF2B5EF4-FFF2-40B4-BE49-F238E27FC236}">
                <a16:creationId xmlns:a16="http://schemas.microsoft.com/office/drawing/2014/main" id="{F75D3733-58E3-461F-AD90-8EF99117B704}"/>
              </a:ext>
            </a:extLst>
          </p:cNvPr>
          <p:cNvSpPr>
            <a:spLocks noGrp="1"/>
          </p:cNvSpPr>
          <p:nvPr>
            <p:ph type="body" sz="quarter" idx="61" hasCustomPrompt="1"/>
          </p:nvPr>
        </p:nvSpPr>
        <p:spPr>
          <a:xfrm>
            <a:off x="425767" y="3551916"/>
            <a:ext cx="4591260" cy="1349261"/>
          </a:xfrm>
          <a:prstGeom prst="rect">
            <a:avLst/>
          </a:prstGeom>
        </p:spPr>
        <p:txBody>
          <a:bodyPr lIns="0" tIns="0" rIns="0" bIns="0"/>
          <a:lstStyle>
            <a:lvl1pPr>
              <a:lnSpc>
                <a:spcPts val="3261"/>
              </a:lnSpc>
              <a:spcBef>
                <a:spcPts val="0"/>
              </a:spcBef>
              <a:defRPr sz="2821" b="0" strike="noStrike">
                <a:solidFill>
                  <a:schemeClr val="tx1"/>
                </a:solidFill>
                <a:latin typeface="+mn-lt"/>
                <a:ea typeface="Rostelecom Basis" panose="020B0503040504020204" pitchFamily="34" charset="-52"/>
              </a:defRPr>
            </a:lvl1pPr>
          </a:lstStyle>
          <a:p>
            <a:pPr lvl="0"/>
            <a:r>
              <a:rPr lang="ru-RU" dirty="0"/>
              <a:t>пример основного </a:t>
            </a:r>
            <a:br>
              <a:rPr lang="ru-RU" dirty="0"/>
            </a:br>
            <a:r>
              <a:rPr lang="ru-RU" dirty="0"/>
              <a:t>сообщения с акцентом</a:t>
            </a:r>
            <a:br>
              <a:rPr lang="ru-RU" dirty="0"/>
            </a:br>
            <a:r>
              <a:rPr lang="ru-RU" dirty="0"/>
              <a:t>на числе</a:t>
            </a:r>
          </a:p>
        </p:txBody>
      </p:sp>
    </p:spTree>
    <p:extLst>
      <p:ext uri="{BB962C8B-B14F-4D97-AF65-F5344CB8AC3E}">
        <p14:creationId xmlns:p14="http://schemas.microsoft.com/office/powerpoint/2010/main" val="9151531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7" y="4161850"/>
            <a:ext cx="2671071"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0" name="Текст 4">
            <a:extLst>
              <a:ext uri="{FF2B5EF4-FFF2-40B4-BE49-F238E27FC236}">
                <a16:creationId xmlns:a16="http://schemas.microsoft.com/office/drawing/2014/main" id="{D68F8296-337D-482E-AD55-80838EAF6827}"/>
              </a:ext>
            </a:extLst>
          </p:cNvPr>
          <p:cNvSpPr>
            <a:spLocks noGrp="1"/>
          </p:cNvSpPr>
          <p:nvPr>
            <p:ph type="body" sz="quarter" idx="21" hasCustomPrompt="1"/>
          </p:nvPr>
        </p:nvSpPr>
        <p:spPr>
          <a:xfrm>
            <a:off x="4276721" y="4161850"/>
            <a:ext cx="2671071" cy="1277284"/>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8135921" y="4161850"/>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5" y="3711388"/>
            <a:ext cx="2671071" cy="38548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6EE50B-4393-42FA-B3B3-B51608D21D07}"/>
              </a:ext>
            </a:extLst>
          </p:cNvPr>
          <p:cNvSpPr>
            <a:spLocks noGrp="1"/>
          </p:cNvSpPr>
          <p:nvPr>
            <p:ph type="body" sz="quarter" idx="20" hasCustomPrompt="1"/>
          </p:nvPr>
        </p:nvSpPr>
        <p:spPr>
          <a:xfrm>
            <a:off x="4276719" y="3711388"/>
            <a:ext cx="2671071" cy="38548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8137799" y="3711388"/>
            <a:ext cx="2667351" cy="38548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две</a:t>
            </a:r>
          </a:p>
        </p:txBody>
      </p:sp>
    </p:spTree>
    <p:extLst>
      <p:ext uri="{BB962C8B-B14F-4D97-AF65-F5344CB8AC3E}">
        <p14:creationId xmlns:p14="http://schemas.microsoft.com/office/powerpoint/2010/main" val="29005502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столбчат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толбчатые диаграммы 1</a:t>
            </a:r>
          </a:p>
        </p:txBody>
      </p:sp>
      <p:sp>
        <p:nvSpPr>
          <p:cNvPr id="19" name="Текст 4">
            <a:extLst>
              <a:ext uri="{FF2B5EF4-FFF2-40B4-BE49-F238E27FC236}">
                <a16:creationId xmlns:a16="http://schemas.microsoft.com/office/drawing/2014/main" id="{97877976-A32A-4BCB-B7DF-4E8808A4C09C}"/>
              </a:ext>
            </a:extLst>
          </p:cNvPr>
          <p:cNvSpPr>
            <a:spLocks noGrp="1"/>
          </p:cNvSpPr>
          <p:nvPr>
            <p:ph type="body" sz="quarter" idx="19" hasCustomPrompt="1"/>
          </p:nvPr>
        </p:nvSpPr>
        <p:spPr>
          <a:xfrm>
            <a:off x="417518" y="4424067"/>
            <a:ext cx="4599511" cy="970167"/>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1" name="Текст 4">
            <a:extLst>
              <a:ext uri="{FF2B5EF4-FFF2-40B4-BE49-F238E27FC236}">
                <a16:creationId xmlns:a16="http://schemas.microsoft.com/office/drawing/2014/main" id="{50F7B3C1-F586-4B80-A701-4E0F8A94DA88}"/>
              </a:ext>
            </a:extLst>
          </p:cNvPr>
          <p:cNvSpPr>
            <a:spLocks noGrp="1"/>
          </p:cNvSpPr>
          <p:nvPr>
            <p:ph type="body" sz="quarter" idx="23" hasCustomPrompt="1"/>
          </p:nvPr>
        </p:nvSpPr>
        <p:spPr>
          <a:xfrm>
            <a:off x="6201921" y="4424067"/>
            <a:ext cx="4603227" cy="970167"/>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a:t>
            </a:r>
            <a:br>
              <a:rPr lang="ru-RU" sz="1587" dirty="0"/>
            </a:br>
            <a:r>
              <a:rPr lang="ru-RU" sz="1587" dirty="0"/>
              <a:t>для блока рекомендуемый объём текста </a:t>
            </a:r>
            <a:r>
              <a:rPr lang="ru-RU" sz="1587" dirty="0" err="1"/>
              <a:t>текста</a:t>
            </a:r>
            <a:r>
              <a:rPr lang="ru-RU" sz="1587" dirty="0"/>
              <a:t> объём текста для блока рекомендуемый объём текста для блока </a:t>
            </a:r>
          </a:p>
        </p:txBody>
      </p:sp>
      <p:sp>
        <p:nvSpPr>
          <p:cNvPr id="22" name="Текст 4">
            <a:extLst>
              <a:ext uri="{FF2B5EF4-FFF2-40B4-BE49-F238E27FC236}">
                <a16:creationId xmlns:a16="http://schemas.microsoft.com/office/drawing/2014/main" id="{4AB837DA-938F-447B-86CB-08C640864C8C}"/>
              </a:ext>
            </a:extLst>
          </p:cNvPr>
          <p:cNvSpPr>
            <a:spLocks noGrp="1"/>
          </p:cNvSpPr>
          <p:nvPr>
            <p:ph type="body" sz="quarter" idx="18" hasCustomPrompt="1"/>
          </p:nvPr>
        </p:nvSpPr>
        <p:spPr>
          <a:xfrm>
            <a:off x="417518" y="3711389"/>
            <a:ext cx="459951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CDD62E95-0348-4D41-A15E-97867D0482D5}"/>
              </a:ext>
            </a:extLst>
          </p:cNvPr>
          <p:cNvSpPr>
            <a:spLocks noGrp="1"/>
          </p:cNvSpPr>
          <p:nvPr>
            <p:ph type="body" sz="quarter" idx="24" hasCustomPrompt="1"/>
          </p:nvPr>
        </p:nvSpPr>
        <p:spPr>
          <a:xfrm>
            <a:off x="6205160" y="3711389"/>
            <a:ext cx="459998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41961705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столючатые диаграммы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5" y="419101"/>
            <a:ext cx="11356048"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толбчатые диаграммы 2</a:t>
            </a:r>
          </a:p>
        </p:txBody>
      </p:sp>
      <p:sp>
        <p:nvSpPr>
          <p:cNvPr id="17" name="Текст 4">
            <a:extLst>
              <a:ext uri="{FF2B5EF4-FFF2-40B4-BE49-F238E27FC236}">
                <a16:creationId xmlns:a16="http://schemas.microsoft.com/office/drawing/2014/main" id="{4DEC62C4-D621-4984-B960-28EBE2E29078}"/>
              </a:ext>
            </a:extLst>
          </p:cNvPr>
          <p:cNvSpPr>
            <a:spLocks noGrp="1"/>
          </p:cNvSpPr>
          <p:nvPr>
            <p:ph type="body" sz="quarter" idx="22" hasCustomPrompt="1"/>
          </p:nvPr>
        </p:nvSpPr>
        <p:spPr>
          <a:xfrm>
            <a:off x="7174978" y="1926777"/>
            <a:ext cx="4598588" cy="295859"/>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p>
          <a:p>
            <a:pPr lvl="0"/>
            <a:endParaRPr lang="ru-RU" dirty="0"/>
          </a:p>
        </p:txBody>
      </p:sp>
      <p:sp>
        <p:nvSpPr>
          <p:cNvPr id="18" name="Текст 4">
            <a:extLst>
              <a:ext uri="{FF2B5EF4-FFF2-40B4-BE49-F238E27FC236}">
                <a16:creationId xmlns:a16="http://schemas.microsoft.com/office/drawing/2014/main" id="{E19C20F5-4E03-4631-BA6D-96839A15A987}"/>
              </a:ext>
            </a:extLst>
          </p:cNvPr>
          <p:cNvSpPr>
            <a:spLocks noGrp="1"/>
          </p:cNvSpPr>
          <p:nvPr>
            <p:ph type="body" sz="quarter" idx="23" hasCustomPrompt="1"/>
          </p:nvPr>
        </p:nvSpPr>
        <p:spPr>
          <a:xfrm>
            <a:off x="7174978" y="2420471"/>
            <a:ext cx="4598591"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рекомендуемый объём текста для блока рекомендуемый объём текста для блока рекомендуемый объём текста для блока. Рекомендуемый объём текста рекомендуемый объём текста</a:t>
            </a:r>
          </a:p>
        </p:txBody>
      </p:sp>
    </p:spTree>
    <p:extLst>
      <p:ext uri="{BB962C8B-B14F-4D97-AF65-F5344CB8AC3E}">
        <p14:creationId xmlns:p14="http://schemas.microsoft.com/office/powerpoint/2010/main" val="36100931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7" y="4159345"/>
            <a:ext cx="2671071"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21" y="4159345"/>
            <a:ext cx="2671071" cy="1277284"/>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1520" y="4159345"/>
            <a:ext cx="2669227" cy="1277284"/>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5" y="3711390"/>
            <a:ext cx="2671071"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9" y="3711390"/>
            <a:ext cx="2671071"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9" y="3711390"/>
            <a:ext cx="2667351" cy="286871"/>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32524051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линейные диаграмм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Линейные диаграммы</a:t>
            </a:r>
          </a:p>
        </p:txBody>
      </p:sp>
      <p:sp>
        <p:nvSpPr>
          <p:cNvPr id="10" name="Текст 4">
            <a:extLst>
              <a:ext uri="{FF2B5EF4-FFF2-40B4-BE49-F238E27FC236}">
                <a16:creationId xmlns:a16="http://schemas.microsoft.com/office/drawing/2014/main" id="{4B05321C-C8C9-47B8-AF1E-663700719E5E}"/>
              </a:ext>
            </a:extLst>
          </p:cNvPr>
          <p:cNvSpPr>
            <a:spLocks noGrp="1"/>
          </p:cNvSpPr>
          <p:nvPr>
            <p:ph type="body" sz="quarter" idx="19" hasCustomPrompt="1"/>
          </p:nvPr>
        </p:nvSpPr>
        <p:spPr>
          <a:xfrm>
            <a:off x="417517" y="4457685"/>
            <a:ext cx="2671071" cy="1122847"/>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1" name="Текст 4">
            <a:extLst>
              <a:ext uri="{FF2B5EF4-FFF2-40B4-BE49-F238E27FC236}">
                <a16:creationId xmlns:a16="http://schemas.microsoft.com/office/drawing/2014/main" id="{A98ADB54-CBAC-47B1-B72A-830B3AC2EAF4}"/>
              </a:ext>
            </a:extLst>
          </p:cNvPr>
          <p:cNvSpPr>
            <a:spLocks noGrp="1"/>
          </p:cNvSpPr>
          <p:nvPr>
            <p:ph type="body" sz="quarter" idx="21" hasCustomPrompt="1"/>
          </p:nvPr>
        </p:nvSpPr>
        <p:spPr>
          <a:xfrm>
            <a:off x="4276721" y="4457685"/>
            <a:ext cx="2671071" cy="1122847"/>
          </a:xfrm>
          <a:prstGeom prst="rect">
            <a:avLst/>
          </a:prstGeom>
        </p:spPr>
        <p:txBody>
          <a:bodyPr lIns="0" tIns="0" rIns="0" bIns="0"/>
          <a:lstStyle>
            <a:lvl1pPr>
              <a:lnSpc>
                <a:spcPts val="1851"/>
              </a:lnSpc>
              <a:spcBef>
                <a:spcPts val="0"/>
              </a:spcBef>
              <a:buFont typeface="Rostelecom Basis" panose="020B0604020202020204" pitchFamily="34" charset="0"/>
              <a:buNone/>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2" name="Текст 4">
            <a:extLst>
              <a:ext uri="{FF2B5EF4-FFF2-40B4-BE49-F238E27FC236}">
                <a16:creationId xmlns:a16="http://schemas.microsoft.com/office/drawing/2014/main" id="{3A678C17-EB3D-434E-85A2-435597276BA6}"/>
              </a:ext>
            </a:extLst>
          </p:cNvPr>
          <p:cNvSpPr>
            <a:spLocks noGrp="1"/>
          </p:cNvSpPr>
          <p:nvPr>
            <p:ph type="body" sz="quarter" idx="23" hasCustomPrompt="1"/>
          </p:nvPr>
        </p:nvSpPr>
        <p:spPr>
          <a:xfrm>
            <a:off x="8140121" y="4457685"/>
            <a:ext cx="2669227" cy="1122847"/>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текста объём текста для блока рекомендуемый объём текста </a:t>
            </a:r>
          </a:p>
        </p:txBody>
      </p:sp>
      <p:sp>
        <p:nvSpPr>
          <p:cNvPr id="19" name="Текст 4">
            <a:extLst>
              <a:ext uri="{FF2B5EF4-FFF2-40B4-BE49-F238E27FC236}">
                <a16:creationId xmlns:a16="http://schemas.microsoft.com/office/drawing/2014/main" id="{31442338-3A6E-4C7B-A63B-1E6BBDFB2FD1}"/>
              </a:ext>
            </a:extLst>
          </p:cNvPr>
          <p:cNvSpPr>
            <a:spLocks noGrp="1"/>
          </p:cNvSpPr>
          <p:nvPr>
            <p:ph type="body" sz="quarter" idx="18" hasCustomPrompt="1"/>
          </p:nvPr>
        </p:nvSpPr>
        <p:spPr>
          <a:xfrm>
            <a:off x="417515" y="3711389"/>
            <a:ext cx="26710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0" name="Текст 4">
            <a:extLst>
              <a:ext uri="{FF2B5EF4-FFF2-40B4-BE49-F238E27FC236}">
                <a16:creationId xmlns:a16="http://schemas.microsoft.com/office/drawing/2014/main" id="{8869DB3C-EB52-412D-94DB-BE0939C9E8D4}"/>
              </a:ext>
            </a:extLst>
          </p:cNvPr>
          <p:cNvSpPr>
            <a:spLocks noGrp="1"/>
          </p:cNvSpPr>
          <p:nvPr>
            <p:ph type="body" sz="quarter" idx="20" hasCustomPrompt="1"/>
          </p:nvPr>
        </p:nvSpPr>
        <p:spPr>
          <a:xfrm>
            <a:off x="4276719" y="3711389"/>
            <a:ext cx="26710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1" name="Текст 4">
            <a:extLst>
              <a:ext uri="{FF2B5EF4-FFF2-40B4-BE49-F238E27FC236}">
                <a16:creationId xmlns:a16="http://schemas.microsoft.com/office/drawing/2014/main" id="{77FD6E62-BD8D-4807-A957-3640877ADF8F}"/>
              </a:ext>
            </a:extLst>
          </p:cNvPr>
          <p:cNvSpPr>
            <a:spLocks noGrp="1"/>
          </p:cNvSpPr>
          <p:nvPr>
            <p:ph type="body" sz="quarter" idx="24" hasCustomPrompt="1"/>
          </p:nvPr>
        </p:nvSpPr>
        <p:spPr>
          <a:xfrm>
            <a:off x="8137799" y="3711389"/>
            <a:ext cx="266735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1515182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таблица_1">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Таблица 1</a:t>
            </a:r>
          </a:p>
        </p:txBody>
      </p:sp>
    </p:spTree>
    <p:extLst>
      <p:ext uri="{BB962C8B-B14F-4D97-AF65-F5344CB8AC3E}">
        <p14:creationId xmlns:p14="http://schemas.microsoft.com/office/powerpoint/2010/main" val="1475806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таблица_2">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Таблица 2</a:t>
            </a:r>
          </a:p>
        </p:txBody>
      </p:sp>
    </p:spTree>
    <p:extLst>
      <p:ext uri="{BB962C8B-B14F-4D97-AF65-F5344CB8AC3E}">
        <p14:creationId xmlns:p14="http://schemas.microsoft.com/office/powerpoint/2010/main" val="18274842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таблица_3">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7" y="419101"/>
            <a:ext cx="11356051"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Таблица 3</a:t>
            </a:r>
          </a:p>
        </p:txBody>
      </p:sp>
    </p:spTree>
    <p:extLst>
      <p:ext uri="{BB962C8B-B14F-4D97-AF65-F5344CB8AC3E}">
        <p14:creationId xmlns:p14="http://schemas.microsoft.com/office/powerpoint/2010/main" val="3370403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таблица 4">
    <p:spTree>
      <p:nvGrpSpPr>
        <p:cNvPr id="1" name=""/>
        <p:cNvGrpSpPr/>
        <p:nvPr/>
      </p:nvGrpSpPr>
      <p:grpSpPr>
        <a:xfrm>
          <a:off x="0" y="0"/>
          <a:ext cx="0" cy="0"/>
          <a:chOff x="0" y="0"/>
          <a:chExt cx="0" cy="0"/>
        </a:xfrm>
      </p:grpSpPr>
      <p:sp>
        <p:nvSpPr>
          <p:cNvPr id="56" name="Заголовок 1">
            <a:extLst>
              <a:ext uri="{FF2B5EF4-FFF2-40B4-BE49-F238E27FC236}">
                <a16:creationId xmlns:a16="http://schemas.microsoft.com/office/drawing/2014/main" id="{C09C3CE3-78C9-403E-A0F8-EC2B3D725C30}"/>
              </a:ext>
            </a:extLst>
          </p:cNvPr>
          <p:cNvSpPr>
            <a:spLocks noGrp="1"/>
          </p:cNvSpPr>
          <p:nvPr>
            <p:ph type="title" hasCustomPrompt="1"/>
          </p:nvPr>
        </p:nvSpPr>
        <p:spPr>
          <a:xfrm>
            <a:off x="417513" y="419101"/>
            <a:ext cx="11366499" cy="521276"/>
          </a:xfrm>
          <a:prstGeom prst="rect">
            <a:avLst/>
          </a:prstGeom>
        </p:spPr>
        <p:txBody>
          <a:bodyPr lIns="0" tIns="0" rIns="0" bIns="0"/>
          <a:lstStyle>
            <a:lvl1pPr>
              <a:lnSpc>
                <a:spcPts val="3703"/>
              </a:lnSpc>
              <a:defRPr sz="3527">
                <a:solidFill>
                  <a:schemeClr val="tx1"/>
                </a:solidFill>
              </a:defRPr>
            </a:lvl1pPr>
          </a:lstStyle>
          <a:p>
            <a:r>
              <a:rPr lang="ru-RU" dirty="0"/>
              <a:t>Таблица 4</a:t>
            </a:r>
          </a:p>
        </p:txBody>
      </p:sp>
      <p:sp>
        <p:nvSpPr>
          <p:cNvPr id="57" name="Текст 14">
            <a:extLst>
              <a:ext uri="{FF2B5EF4-FFF2-40B4-BE49-F238E27FC236}">
                <a16:creationId xmlns:a16="http://schemas.microsoft.com/office/drawing/2014/main" id="{4F6E24AF-3CB7-4D71-AC98-3816CA56BC54}"/>
              </a:ext>
            </a:extLst>
          </p:cNvPr>
          <p:cNvSpPr>
            <a:spLocks noGrp="1"/>
          </p:cNvSpPr>
          <p:nvPr>
            <p:ph type="body" sz="quarter" idx="38" hasCustomPrompt="1"/>
          </p:nvPr>
        </p:nvSpPr>
        <p:spPr>
          <a:xfrm>
            <a:off x="1402707"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5"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59" name="Текст 14">
            <a:extLst>
              <a:ext uri="{FF2B5EF4-FFF2-40B4-BE49-F238E27FC236}">
                <a16:creationId xmlns:a16="http://schemas.microsoft.com/office/drawing/2014/main" id="{1EA9D248-108F-475D-8265-8624FAEC4F98}"/>
              </a:ext>
            </a:extLst>
          </p:cNvPr>
          <p:cNvSpPr>
            <a:spLocks noGrp="1"/>
          </p:cNvSpPr>
          <p:nvPr>
            <p:ph type="body" sz="quarter" idx="77" hasCustomPrompt="1"/>
          </p:nvPr>
        </p:nvSpPr>
        <p:spPr>
          <a:xfrm>
            <a:off x="4278099"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5"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1" name="Текст 14">
            <a:extLst>
              <a:ext uri="{FF2B5EF4-FFF2-40B4-BE49-F238E27FC236}">
                <a16:creationId xmlns:a16="http://schemas.microsoft.com/office/drawing/2014/main" id="{BC3CF167-2FCD-45D8-869C-9D29FF9E5771}"/>
              </a:ext>
            </a:extLst>
          </p:cNvPr>
          <p:cNvSpPr>
            <a:spLocks noGrp="1"/>
          </p:cNvSpPr>
          <p:nvPr>
            <p:ph type="body" sz="quarter" idx="79" hasCustomPrompt="1"/>
          </p:nvPr>
        </p:nvSpPr>
        <p:spPr>
          <a:xfrm>
            <a:off x="7176579"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5"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3" name="Текст 14">
            <a:extLst>
              <a:ext uri="{FF2B5EF4-FFF2-40B4-BE49-F238E27FC236}">
                <a16:creationId xmlns:a16="http://schemas.microsoft.com/office/drawing/2014/main" id="{C513A2BA-B165-40B7-B736-233C0D2350FF}"/>
              </a:ext>
            </a:extLst>
          </p:cNvPr>
          <p:cNvSpPr>
            <a:spLocks noGrp="1"/>
          </p:cNvSpPr>
          <p:nvPr>
            <p:ph type="body" sz="quarter" idx="81" hasCustomPrompt="1"/>
          </p:nvPr>
        </p:nvSpPr>
        <p:spPr>
          <a:xfrm>
            <a:off x="10069018" y="1476079"/>
            <a:ext cx="1694007" cy="521276"/>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5" b="0">
                <a:solidFill>
                  <a:schemeClr val="tx1"/>
                </a:solidFill>
                <a:latin typeface="+mn-lt"/>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16" name="Текст 14">
            <a:extLst>
              <a:ext uri="{FF2B5EF4-FFF2-40B4-BE49-F238E27FC236}">
                <a16:creationId xmlns:a16="http://schemas.microsoft.com/office/drawing/2014/main" id="{6D606FBC-8494-499F-9C61-1768FEA1D822}"/>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646304510"/>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31996598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этапы_2">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pPr lvl="0" algn="l" defTabSz="806024" rtl="0" eaLnBrk="1" latinLnBrk="0" hangingPunct="1">
              <a:lnSpc>
                <a:spcPts val="3703"/>
              </a:lnSpc>
              <a:spcBef>
                <a:spcPct val="0"/>
              </a:spcBef>
              <a:buNone/>
              <a:tabLst>
                <a:tab pos="8776699" algn="l"/>
              </a:tabLst>
            </a:pPr>
            <a:r>
              <a:rPr lang="ru-RU" dirty="0"/>
              <a:t>Слайд с этапами</a:t>
            </a:r>
          </a:p>
        </p:txBody>
      </p:sp>
      <p:sp>
        <p:nvSpPr>
          <p:cNvPr id="26" name="Прямоугольник: скругленные углы 25">
            <a:extLst>
              <a:ext uri="{FF2B5EF4-FFF2-40B4-BE49-F238E27FC236}">
                <a16:creationId xmlns:a16="http://schemas.microsoft.com/office/drawing/2014/main" id="{EBFC0E1C-1DD9-4489-A235-D52F1F6ECCD7}"/>
              </a:ext>
            </a:extLst>
          </p:cNvPr>
          <p:cNvSpPr/>
          <p:nvPr userDrawn="1"/>
        </p:nvSpPr>
        <p:spPr>
          <a:xfrm>
            <a:off x="411155" y="2899523"/>
            <a:ext cx="46058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dirty="0"/>
          </a:p>
        </p:txBody>
      </p:sp>
      <p:sp>
        <p:nvSpPr>
          <p:cNvPr id="27" name="Текст 4">
            <a:extLst>
              <a:ext uri="{FF2B5EF4-FFF2-40B4-BE49-F238E27FC236}">
                <a16:creationId xmlns:a16="http://schemas.microsoft.com/office/drawing/2014/main" id="{028AC9FC-6EC1-48F0-A07B-436AB2411613}"/>
              </a:ext>
            </a:extLst>
          </p:cNvPr>
          <p:cNvSpPr>
            <a:spLocks noGrp="1"/>
          </p:cNvSpPr>
          <p:nvPr>
            <p:ph type="body" sz="quarter" idx="19" hasCustomPrompt="1"/>
          </p:nvPr>
        </p:nvSpPr>
        <p:spPr>
          <a:xfrm>
            <a:off x="584971" y="4301766"/>
            <a:ext cx="4165024"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28" name="Текст 14">
            <a:extLst>
              <a:ext uri="{FF2B5EF4-FFF2-40B4-BE49-F238E27FC236}">
                <a16:creationId xmlns:a16="http://schemas.microsoft.com/office/drawing/2014/main" id="{C552E9DD-ADFD-4052-A178-6BAD78FC3FF6}"/>
              </a:ext>
            </a:extLst>
          </p:cNvPr>
          <p:cNvSpPr>
            <a:spLocks noGrp="1"/>
          </p:cNvSpPr>
          <p:nvPr>
            <p:ph type="body" sz="quarter" idx="55" hasCustomPrompt="1"/>
          </p:nvPr>
        </p:nvSpPr>
        <p:spPr>
          <a:xfrm>
            <a:off x="517798" y="1931838"/>
            <a:ext cx="1278855" cy="1456327"/>
          </a:xfrm>
          <a:prstGeom prst="rect">
            <a:avLst/>
          </a:prstGeom>
          <a:noFill/>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1</a:t>
            </a:r>
          </a:p>
        </p:txBody>
      </p:sp>
      <p:sp>
        <p:nvSpPr>
          <p:cNvPr id="29" name="Текст 4">
            <a:extLst>
              <a:ext uri="{FF2B5EF4-FFF2-40B4-BE49-F238E27FC236}">
                <a16:creationId xmlns:a16="http://schemas.microsoft.com/office/drawing/2014/main" id="{49C53157-CA72-4755-9DEE-222D952EBF9A}"/>
              </a:ext>
            </a:extLst>
          </p:cNvPr>
          <p:cNvSpPr>
            <a:spLocks noGrp="1"/>
          </p:cNvSpPr>
          <p:nvPr>
            <p:ph type="body" sz="quarter" idx="18" hasCustomPrompt="1"/>
          </p:nvPr>
        </p:nvSpPr>
        <p:spPr>
          <a:xfrm>
            <a:off x="584971" y="3469842"/>
            <a:ext cx="41650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0" name="Прямоугольник: скругленные углы 29">
            <a:extLst>
              <a:ext uri="{FF2B5EF4-FFF2-40B4-BE49-F238E27FC236}">
                <a16:creationId xmlns:a16="http://schemas.microsoft.com/office/drawing/2014/main" id="{FC743F07-6990-4BDB-83CC-B4D99408EA01}"/>
              </a:ext>
            </a:extLst>
          </p:cNvPr>
          <p:cNvSpPr/>
          <p:nvPr userDrawn="1"/>
        </p:nvSpPr>
        <p:spPr>
          <a:xfrm>
            <a:off x="6205160" y="2899523"/>
            <a:ext cx="4599989"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dirty="0"/>
          </a:p>
        </p:txBody>
      </p:sp>
      <p:sp>
        <p:nvSpPr>
          <p:cNvPr id="31" name="Текст 4">
            <a:extLst>
              <a:ext uri="{FF2B5EF4-FFF2-40B4-BE49-F238E27FC236}">
                <a16:creationId xmlns:a16="http://schemas.microsoft.com/office/drawing/2014/main" id="{3598AFF4-AF86-4A81-BE8D-CEC085536010}"/>
              </a:ext>
            </a:extLst>
          </p:cNvPr>
          <p:cNvSpPr>
            <a:spLocks noGrp="1"/>
          </p:cNvSpPr>
          <p:nvPr>
            <p:ph type="body" sz="quarter" idx="56" hasCustomPrompt="1"/>
          </p:nvPr>
        </p:nvSpPr>
        <p:spPr>
          <a:xfrm>
            <a:off x="6378975" y="4301766"/>
            <a:ext cx="4191300" cy="801693"/>
          </a:xfrm>
          <a:prstGeom prst="rect">
            <a:avLst/>
          </a:prstGeom>
        </p:spPr>
        <p:txBody>
          <a:bodyPr lIns="0" tIns="0" rIns="0" bIns="0"/>
          <a:lstStyle>
            <a:lvl1pPr>
              <a:lnSpc>
                <a:spcPts val="1851"/>
              </a:lnSpc>
              <a:spcBef>
                <a:spcPts val="0"/>
              </a:spcBef>
              <a:defRPr sz="1587" b="0">
                <a:solidFill>
                  <a:schemeClr val="tx1"/>
                </a:solidFill>
                <a:latin typeface="+mn-lt"/>
              </a:defRPr>
            </a:lvl1pPr>
          </a:lstStyle>
          <a:p>
            <a:pPr algn="l"/>
            <a:r>
              <a:rPr lang="ru-RU" sz="1587" dirty="0"/>
              <a:t>Рекомендуемый объём текста</a:t>
            </a:r>
            <a:br>
              <a:rPr lang="ru-RU" sz="1587" dirty="0"/>
            </a:br>
            <a:r>
              <a:rPr lang="ru-RU" sz="1587" dirty="0"/>
              <a:t>для блока объём текста для блока</a:t>
            </a:r>
          </a:p>
        </p:txBody>
      </p:sp>
      <p:sp>
        <p:nvSpPr>
          <p:cNvPr id="32" name="Текст 14">
            <a:extLst>
              <a:ext uri="{FF2B5EF4-FFF2-40B4-BE49-F238E27FC236}">
                <a16:creationId xmlns:a16="http://schemas.microsoft.com/office/drawing/2014/main" id="{E093C0A4-81B8-4290-84CF-E717715D9E95}"/>
              </a:ext>
            </a:extLst>
          </p:cNvPr>
          <p:cNvSpPr>
            <a:spLocks noGrp="1"/>
          </p:cNvSpPr>
          <p:nvPr>
            <p:ph type="body" sz="quarter" idx="57" hasCustomPrompt="1"/>
          </p:nvPr>
        </p:nvSpPr>
        <p:spPr>
          <a:xfrm>
            <a:off x="6311800" y="1931838"/>
            <a:ext cx="1286923" cy="1456327"/>
          </a:xfrm>
          <a:prstGeom prst="rect">
            <a:avLst/>
          </a:prstGeom>
          <a:noFill/>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2</a:t>
            </a:r>
          </a:p>
        </p:txBody>
      </p:sp>
      <p:sp>
        <p:nvSpPr>
          <p:cNvPr id="33" name="Текст 4">
            <a:extLst>
              <a:ext uri="{FF2B5EF4-FFF2-40B4-BE49-F238E27FC236}">
                <a16:creationId xmlns:a16="http://schemas.microsoft.com/office/drawing/2014/main" id="{B7D80B76-193F-49FF-AC69-B8D061F6687E}"/>
              </a:ext>
            </a:extLst>
          </p:cNvPr>
          <p:cNvSpPr>
            <a:spLocks noGrp="1"/>
          </p:cNvSpPr>
          <p:nvPr>
            <p:ph type="body" sz="quarter" idx="58" hasCustomPrompt="1"/>
          </p:nvPr>
        </p:nvSpPr>
        <p:spPr>
          <a:xfrm>
            <a:off x="6378975" y="3469842"/>
            <a:ext cx="4191300"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380809071"/>
      </p:ext>
    </p:extLst>
  </p:cSld>
  <p:clrMapOvr>
    <a:masterClrMapping/>
  </p:clrMapOvr>
  <p:extLst mod="1">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этапы_3">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этапами</a:t>
            </a:r>
          </a:p>
        </p:txBody>
      </p:sp>
      <p:sp>
        <p:nvSpPr>
          <p:cNvPr id="7" name="Прямоугольник: скругленные углы 6">
            <a:extLst>
              <a:ext uri="{FF2B5EF4-FFF2-40B4-BE49-F238E27FC236}">
                <a16:creationId xmlns:a16="http://schemas.microsoft.com/office/drawing/2014/main" id="{657E9BD0-550C-4EB8-A600-CDD6B2713245}"/>
              </a:ext>
            </a:extLst>
          </p:cNvPr>
          <p:cNvSpPr/>
          <p:nvPr userDrawn="1"/>
        </p:nvSpPr>
        <p:spPr>
          <a:xfrm>
            <a:off x="411155" y="2899523"/>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8" name="Текст 4">
            <a:extLst>
              <a:ext uri="{FF2B5EF4-FFF2-40B4-BE49-F238E27FC236}">
                <a16:creationId xmlns:a16="http://schemas.microsoft.com/office/drawing/2014/main" id="{FF2273BE-64FA-48A3-A9A8-56F4C5116010}"/>
              </a:ext>
            </a:extLst>
          </p:cNvPr>
          <p:cNvSpPr>
            <a:spLocks noGrp="1"/>
          </p:cNvSpPr>
          <p:nvPr>
            <p:ph type="body" sz="quarter" idx="19" hasCustomPrompt="1"/>
          </p:nvPr>
        </p:nvSpPr>
        <p:spPr>
          <a:xfrm>
            <a:off x="584971" y="4301766"/>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9" name="Текст 14">
            <a:extLst>
              <a:ext uri="{FF2B5EF4-FFF2-40B4-BE49-F238E27FC236}">
                <a16:creationId xmlns:a16="http://schemas.microsoft.com/office/drawing/2014/main" id="{CB8B7118-078E-4F8D-A499-EDFD82E6A80F}"/>
              </a:ext>
            </a:extLst>
          </p:cNvPr>
          <p:cNvSpPr>
            <a:spLocks noGrp="1"/>
          </p:cNvSpPr>
          <p:nvPr>
            <p:ph type="body" sz="quarter" idx="55" hasCustomPrompt="1"/>
          </p:nvPr>
        </p:nvSpPr>
        <p:spPr>
          <a:xfrm>
            <a:off x="524123" y="1931838"/>
            <a:ext cx="1009967" cy="1456327"/>
          </a:xfrm>
          <a:prstGeom prst="rect">
            <a:avLst/>
          </a:prstGeom>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1</a:t>
            </a:r>
          </a:p>
        </p:txBody>
      </p:sp>
      <p:sp>
        <p:nvSpPr>
          <p:cNvPr id="11" name="Прямоугольник: скругленные углы 10">
            <a:extLst>
              <a:ext uri="{FF2B5EF4-FFF2-40B4-BE49-F238E27FC236}">
                <a16:creationId xmlns:a16="http://schemas.microsoft.com/office/drawing/2014/main" id="{09E560C6-FEB1-4D61-998A-1C74D91AB9ED}"/>
              </a:ext>
            </a:extLst>
          </p:cNvPr>
          <p:cNvSpPr/>
          <p:nvPr userDrawn="1"/>
        </p:nvSpPr>
        <p:spPr>
          <a:xfrm>
            <a:off x="4276718" y="2899523"/>
            <a:ext cx="363157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12" name="Текст 4">
            <a:extLst>
              <a:ext uri="{FF2B5EF4-FFF2-40B4-BE49-F238E27FC236}">
                <a16:creationId xmlns:a16="http://schemas.microsoft.com/office/drawing/2014/main" id="{3972C674-37F1-41FF-A9B9-24C937594321}"/>
              </a:ext>
            </a:extLst>
          </p:cNvPr>
          <p:cNvSpPr>
            <a:spLocks noGrp="1"/>
          </p:cNvSpPr>
          <p:nvPr>
            <p:ph type="body" sz="quarter" idx="56" hasCustomPrompt="1"/>
          </p:nvPr>
        </p:nvSpPr>
        <p:spPr>
          <a:xfrm>
            <a:off x="4472073" y="4301766"/>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3" name="Текст 14">
            <a:extLst>
              <a:ext uri="{FF2B5EF4-FFF2-40B4-BE49-F238E27FC236}">
                <a16:creationId xmlns:a16="http://schemas.microsoft.com/office/drawing/2014/main" id="{AC2B7002-5466-439D-924F-89139A69847C}"/>
              </a:ext>
            </a:extLst>
          </p:cNvPr>
          <p:cNvSpPr>
            <a:spLocks noGrp="1"/>
          </p:cNvSpPr>
          <p:nvPr>
            <p:ph type="body" sz="quarter" idx="57" hasCustomPrompt="1"/>
          </p:nvPr>
        </p:nvSpPr>
        <p:spPr>
          <a:xfrm>
            <a:off x="4383289" y="1931838"/>
            <a:ext cx="1009967" cy="1456327"/>
          </a:xfrm>
          <a:prstGeom prst="rect">
            <a:avLst/>
          </a:prstGeom>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2</a:t>
            </a:r>
          </a:p>
        </p:txBody>
      </p:sp>
      <p:sp>
        <p:nvSpPr>
          <p:cNvPr id="16" name="Прямоугольник: скругленные углы 15">
            <a:extLst>
              <a:ext uri="{FF2B5EF4-FFF2-40B4-BE49-F238E27FC236}">
                <a16:creationId xmlns:a16="http://schemas.microsoft.com/office/drawing/2014/main" id="{BFD97AB3-ACD9-490B-89B2-171FB8751448}"/>
              </a:ext>
            </a:extLst>
          </p:cNvPr>
          <p:cNvSpPr/>
          <p:nvPr userDrawn="1"/>
        </p:nvSpPr>
        <p:spPr>
          <a:xfrm>
            <a:off x="8136115" y="2899523"/>
            <a:ext cx="3637452" cy="2528328"/>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17" name="Текст 4">
            <a:extLst>
              <a:ext uri="{FF2B5EF4-FFF2-40B4-BE49-F238E27FC236}">
                <a16:creationId xmlns:a16="http://schemas.microsoft.com/office/drawing/2014/main" id="{FE499F3E-281C-4590-B57C-F39E9541450F}"/>
              </a:ext>
            </a:extLst>
          </p:cNvPr>
          <p:cNvSpPr>
            <a:spLocks noGrp="1"/>
          </p:cNvSpPr>
          <p:nvPr>
            <p:ph type="body" sz="quarter" idx="59" hasCustomPrompt="1"/>
          </p:nvPr>
        </p:nvSpPr>
        <p:spPr>
          <a:xfrm>
            <a:off x="8309931" y="4301766"/>
            <a:ext cx="3289296"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18" name="Текст 14">
            <a:extLst>
              <a:ext uri="{FF2B5EF4-FFF2-40B4-BE49-F238E27FC236}">
                <a16:creationId xmlns:a16="http://schemas.microsoft.com/office/drawing/2014/main" id="{01A4F735-EA58-4DFB-B3C8-D332C031F561}"/>
              </a:ext>
            </a:extLst>
          </p:cNvPr>
          <p:cNvSpPr>
            <a:spLocks noGrp="1"/>
          </p:cNvSpPr>
          <p:nvPr>
            <p:ph type="body" sz="quarter" idx="60" hasCustomPrompt="1"/>
          </p:nvPr>
        </p:nvSpPr>
        <p:spPr>
          <a:xfrm>
            <a:off x="8229579" y="1931838"/>
            <a:ext cx="1009967" cy="1456327"/>
          </a:xfrm>
          <a:prstGeom prst="rect">
            <a:avLst/>
          </a:prstGeom>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3</a:t>
            </a:r>
          </a:p>
        </p:txBody>
      </p:sp>
      <p:sp>
        <p:nvSpPr>
          <p:cNvPr id="21" name="Текст 4">
            <a:extLst>
              <a:ext uri="{FF2B5EF4-FFF2-40B4-BE49-F238E27FC236}">
                <a16:creationId xmlns:a16="http://schemas.microsoft.com/office/drawing/2014/main" id="{106E7059-FDB2-4404-A92E-F851C2D62815}"/>
              </a:ext>
            </a:extLst>
          </p:cNvPr>
          <p:cNvSpPr>
            <a:spLocks noGrp="1"/>
          </p:cNvSpPr>
          <p:nvPr>
            <p:ph type="body" sz="quarter" idx="18" hasCustomPrompt="1"/>
          </p:nvPr>
        </p:nvSpPr>
        <p:spPr>
          <a:xfrm>
            <a:off x="584971" y="3469842"/>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2" name="Текст 4">
            <a:extLst>
              <a:ext uri="{FF2B5EF4-FFF2-40B4-BE49-F238E27FC236}">
                <a16:creationId xmlns:a16="http://schemas.microsoft.com/office/drawing/2014/main" id="{8318CA75-65E3-4338-87B4-F2DE5AEBA58E}"/>
              </a:ext>
            </a:extLst>
          </p:cNvPr>
          <p:cNvSpPr>
            <a:spLocks noGrp="1"/>
          </p:cNvSpPr>
          <p:nvPr>
            <p:ph type="body" sz="quarter" idx="61" hasCustomPrompt="1"/>
          </p:nvPr>
        </p:nvSpPr>
        <p:spPr>
          <a:xfrm>
            <a:off x="4463641" y="3469842"/>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3" name="Текст 4">
            <a:extLst>
              <a:ext uri="{FF2B5EF4-FFF2-40B4-BE49-F238E27FC236}">
                <a16:creationId xmlns:a16="http://schemas.microsoft.com/office/drawing/2014/main" id="{C09F102D-FDBA-4424-AF68-A0C4A74BEB72}"/>
              </a:ext>
            </a:extLst>
          </p:cNvPr>
          <p:cNvSpPr>
            <a:spLocks noGrp="1"/>
          </p:cNvSpPr>
          <p:nvPr>
            <p:ph type="body" sz="quarter" idx="62" hasCustomPrompt="1"/>
          </p:nvPr>
        </p:nvSpPr>
        <p:spPr>
          <a:xfrm>
            <a:off x="8309931" y="3469842"/>
            <a:ext cx="3289296"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915146610"/>
      </p:ext>
    </p:extLst>
  </p:cSld>
  <p:clrMapOvr>
    <a:masterClrMapping/>
  </p:clrMapOvr>
  <p:extLst mod="1">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этамы_4">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этапами</a:t>
            </a:r>
          </a:p>
        </p:txBody>
      </p:sp>
      <p:sp>
        <p:nvSpPr>
          <p:cNvPr id="20" name="Прямоугольник: скругленные углы 19">
            <a:extLst>
              <a:ext uri="{FF2B5EF4-FFF2-40B4-BE49-F238E27FC236}">
                <a16:creationId xmlns:a16="http://schemas.microsoft.com/office/drawing/2014/main" id="{FA2E6FF4-4A34-44C7-91F9-5D5BBCB34F5C}"/>
              </a:ext>
            </a:extLst>
          </p:cNvPr>
          <p:cNvSpPr/>
          <p:nvPr userDrawn="1"/>
        </p:nvSpPr>
        <p:spPr>
          <a:xfrm>
            <a:off x="411158" y="3189481"/>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21" name="Текст 4">
            <a:extLst>
              <a:ext uri="{FF2B5EF4-FFF2-40B4-BE49-F238E27FC236}">
                <a16:creationId xmlns:a16="http://schemas.microsoft.com/office/drawing/2014/main" id="{597D408E-0A91-4104-BF66-6A5778FBB1A6}"/>
              </a:ext>
            </a:extLst>
          </p:cNvPr>
          <p:cNvSpPr>
            <a:spLocks noGrp="1"/>
          </p:cNvSpPr>
          <p:nvPr>
            <p:ph type="body" sz="quarter" idx="19" hasCustomPrompt="1"/>
          </p:nvPr>
        </p:nvSpPr>
        <p:spPr>
          <a:xfrm>
            <a:off x="584971" y="4591720"/>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2" name="Текст 14">
            <a:extLst>
              <a:ext uri="{FF2B5EF4-FFF2-40B4-BE49-F238E27FC236}">
                <a16:creationId xmlns:a16="http://schemas.microsoft.com/office/drawing/2014/main" id="{DC16EC29-5F36-465A-B5C6-7E8CC03C9663}"/>
              </a:ext>
            </a:extLst>
          </p:cNvPr>
          <p:cNvSpPr>
            <a:spLocks noGrp="1"/>
          </p:cNvSpPr>
          <p:nvPr>
            <p:ph type="body" sz="quarter" idx="55" hasCustomPrompt="1"/>
          </p:nvPr>
        </p:nvSpPr>
        <p:spPr>
          <a:xfrm>
            <a:off x="536988" y="2221791"/>
            <a:ext cx="1009967" cy="1456327"/>
          </a:xfrm>
          <a:prstGeom prst="rect">
            <a:avLst/>
          </a:prstGeom>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1</a:t>
            </a:r>
          </a:p>
        </p:txBody>
      </p:sp>
      <p:sp>
        <p:nvSpPr>
          <p:cNvPr id="24" name="Прямоугольник: скругленные углы 23">
            <a:extLst>
              <a:ext uri="{FF2B5EF4-FFF2-40B4-BE49-F238E27FC236}">
                <a16:creationId xmlns:a16="http://schemas.microsoft.com/office/drawing/2014/main" id="{C7842E64-F55B-43AD-9753-8EEBD1F582C7}"/>
              </a:ext>
            </a:extLst>
          </p:cNvPr>
          <p:cNvSpPr/>
          <p:nvPr userDrawn="1"/>
        </p:nvSpPr>
        <p:spPr>
          <a:xfrm>
            <a:off x="3318098" y="3189481"/>
            <a:ext cx="265895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25" name="Текст 4">
            <a:extLst>
              <a:ext uri="{FF2B5EF4-FFF2-40B4-BE49-F238E27FC236}">
                <a16:creationId xmlns:a16="http://schemas.microsoft.com/office/drawing/2014/main" id="{D3A7F984-07D2-4752-B8B5-415FC1FAFBA1}"/>
              </a:ext>
            </a:extLst>
          </p:cNvPr>
          <p:cNvSpPr>
            <a:spLocks noGrp="1"/>
          </p:cNvSpPr>
          <p:nvPr>
            <p:ph type="body" sz="quarter" idx="56" hasCustomPrompt="1"/>
          </p:nvPr>
        </p:nvSpPr>
        <p:spPr>
          <a:xfrm>
            <a:off x="3491914" y="4591720"/>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26" name="Текст 14">
            <a:extLst>
              <a:ext uri="{FF2B5EF4-FFF2-40B4-BE49-F238E27FC236}">
                <a16:creationId xmlns:a16="http://schemas.microsoft.com/office/drawing/2014/main" id="{4DCC70D2-1AA5-4818-B622-B3BC5FAB6AAF}"/>
              </a:ext>
            </a:extLst>
          </p:cNvPr>
          <p:cNvSpPr>
            <a:spLocks noGrp="1"/>
          </p:cNvSpPr>
          <p:nvPr>
            <p:ph type="body" sz="quarter" idx="57" hasCustomPrompt="1"/>
          </p:nvPr>
        </p:nvSpPr>
        <p:spPr>
          <a:xfrm>
            <a:off x="3443931" y="2221791"/>
            <a:ext cx="1009967" cy="1456327"/>
          </a:xfrm>
          <a:prstGeom prst="rect">
            <a:avLst/>
          </a:prstGeom>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2</a:t>
            </a:r>
          </a:p>
        </p:txBody>
      </p:sp>
      <p:sp>
        <p:nvSpPr>
          <p:cNvPr id="28" name="Прямоугольник: скругленные углы 27">
            <a:extLst>
              <a:ext uri="{FF2B5EF4-FFF2-40B4-BE49-F238E27FC236}">
                <a16:creationId xmlns:a16="http://schemas.microsoft.com/office/drawing/2014/main" id="{688EF956-FAE3-4DD0-8B70-19A80E900B9A}"/>
              </a:ext>
            </a:extLst>
          </p:cNvPr>
          <p:cNvSpPr/>
          <p:nvPr userDrawn="1"/>
        </p:nvSpPr>
        <p:spPr>
          <a:xfrm>
            <a:off x="6205447" y="3189481"/>
            <a:ext cx="2677431"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29" name="Текст 4">
            <a:extLst>
              <a:ext uri="{FF2B5EF4-FFF2-40B4-BE49-F238E27FC236}">
                <a16:creationId xmlns:a16="http://schemas.microsoft.com/office/drawing/2014/main" id="{6FE9E5D0-63C1-4D93-B088-6D309952D890}"/>
              </a:ext>
            </a:extLst>
          </p:cNvPr>
          <p:cNvSpPr>
            <a:spLocks noGrp="1"/>
          </p:cNvSpPr>
          <p:nvPr>
            <p:ph type="body" sz="quarter" idx="59" hasCustomPrompt="1"/>
          </p:nvPr>
        </p:nvSpPr>
        <p:spPr>
          <a:xfrm>
            <a:off x="6379262" y="4591720"/>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0" name="Текст 14">
            <a:extLst>
              <a:ext uri="{FF2B5EF4-FFF2-40B4-BE49-F238E27FC236}">
                <a16:creationId xmlns:a16="http://schemas.microsoft.com/office/drawing/2014/main" id="{8CAB397E-5BFC-4DA4-B73D-8AF253BD927D}"/>
              </a:ext>
            </a:extLst>
          </p:cNvPr>
          <p:cNvSpPr>
            <a:spLocks noGrp="1"/>
          </p:cNvSpPr>
          <p:nvPr>
            <p:ph type="body" sz="quarter" idx="60" hasCustomPrompt="1"/>
          </p:nvPr>
        </p:nvSpPr>
        <p:spPr>
          <a:xfrm>
            <a:off x="6331279" y="2221791"/>
            <a:ext cx="1009967" cy="1456327"/>
          </a:xfrm>
          <a:prstGeom prst="rect">
            <a:avLst/>
          </a:prstGeom>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3</a:t>
            </a:r>
          </a:p>
        </p:txBody>
      </p:sp>
      <p:sp>
        <p:nvSpPr>
          <p:cNvPr id="32" name="Прямоугольник: скругленные углы 31">
            <a:extLst>
              <a:ext uri="{FF2B5EF4-FFF2-40B4-BE49-F238E27FC236}">
                <a16:creationId xmlns:a16="http://schemas.microsoft.com/office/drawing/2014/main" id="{EAFBAC7D-ADA9-4A5D-89B8-B8C2C5E4269D}"/>
              </a:ext>
            </a:extLst>
          </p:cNvPr>
          <p:cNvSpPr/>
          <p:nvPr userDrawn="1"/>
        </p:nvSpPr>
        <p:spPr>
          <a:xfrm>
            <a:off x="9111269" y="3189481"/>
            <a:ext cx="2665659"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33" name="Текст 4">
            <a:extLst>
              <a:ext uri="{FF2B5EF4-FFF2-40B4-BE49-F238E27FC236}">
                <a16:creationId xmlns:a16="http://schemas.microsoft.com/office/drawing/2014/main" id="{91E8C4C7-0934-446C-8BAD-A58A5803AD78}"/>
              </a:ext>
            </a:extLst>
          </p:cNvPr>
          <p:cNvSpPr>
            <a:spLocks noGrp="1"/>
          </p:cNvSpPr>
          <p:nvPr>
            <p:ph type="body" sz="quarter" idx="62" hasCustomPrompt="1"/>
          </p:nvPr>
        </p:nvSpPr>
        <p:spPr>
          <a:xfrm>
            <a:off x="9273315" y="4591720"/>
            <a:ext cx="2337124" cy="461505"/>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sz="1587" dirty="0"/>
              <a:t>Рекомендуемый объём </a:t>
            </a:r>
            <a:br>
              <a:rPr lang="ru-RU" sz="1587" dirty="0"/>
            </a:br>
            <a:r>
              <a:rPr lang="ru-RU" sz="1587" dirty="0"/>
              <a:t>текста для блока</a:t>
            </a:r>
          </a:p>
        </p:txBody>
      </p:sp>
      <p:sp>
        <p:nvSpPr>
          <p:cNvPr id="34" name="Текст 14">
            <a:extLst>
              <a:ext uri="{FF2B5EF4-FFF2-40B4-BE49-F238E27FC236}">
                <a16:creationId xmlns:a16="http://schemas.microsoft.com/office/drawing/2014/main" id="{DD60DD27-F80D-4C9E-B613-7FC59190D218}"/>
              </a:ext>
            </a:extLst>
          </p:cNvPr>
          <p:cNvSpPr>
            <a:spLocks noGrp="1"/>
          </p:cNvSpPr>
          <p:nvPr>
            <p:ph type="body" sz="quarter" idx="63" hasCustomPrompt="1"/>
          </p:nvPr>
        </p:nvSpPr>
        <p:spPr>
          <a:xfrm>
            <a:off x="9225334" y="2221791"/>
            <a:ext cx="1009967" cy="1456327"/>
          </a:xfrm>
          <a:prstGeom prst="rect">
            <a:avLst/>
          </a:prstGeom>
        </p:spPr>
        <p:txBody>
          <a:bodyPr lIns="0" tIns="0" rIns="0" bIns="0"/>
          <a:lstStyle>
            <a:lvl1pPr>
              <a:lnSpc>
                <a:spcPct val="100000"/>
              </a:lnSpc>
              <a:spcBef>
                <a:spcPts val="0"/>
              </a:spcBef>
              <a:defRPr sz="11282" b="0">
                <a:solidFill>
                  <a:schemeClr val="accent2"/>
                </a:solidFill>
                <a:latin typeface="+mn-lt"/>
                <a:ea typeface="Rostelecom Basis" panose="020B0503040504020204" pitchFamily="34" charset="-52"/>
              </a:defRPr>
            </a:lvl1pPr>
          </a:lstStyle>
          <a:p>
            <a:pPr lvl="0"/>
            <a:r>
              <a:rPr lang="ru-RU" dirty="0"/>
              <a:t>4</a:t>
            </a:r>
          </a:p>
        </p:txBody>
      </p:sp>
      <p:sp>
        <p:nvSpPr>
          <p:cNvPr id="39" name="Текст 4">
            <a:extLst>
              <a:ext uri="{FF2B5EF4-FFF2-40B4-BE49-F238E27FC236}">
                <a16:creationId xmlns:a16="http://schemas.microsoft.com/office/drawing/2014/main" id="{89D9DADB-CEE7-4CDC-9DF0-06D6E56B7EC8}"/>
              </a:ext>
            </a:extLst>
          </p:cNvPr>
          <p:cNvSpPr>
            <a:spLocks noGrp="1"/>
          </p:cNvSpPr>
          <p:nvPr>
            <p:ph type="body" sz="quarter" idx="65" hasCustomPrompt="1"/>
          </p:nvPr>
        </p:nvSpPr>
        <p:spPr>
          <a:xfrm>
            <a:off x="584971" y="3763702"/>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0" name="Текст 4">
            <a:extLst>
              <a:ext uri="{FF2B5EF4-FFF2-40B4-BE49-F238E27FC236}">
                <a16:creationId xmlns:a16="http://schemas.microsoft.com/office/drawing/2014/main" id="{CE510983-84E9-4826-8101-DC875C8AC35A}"/>
              </a:ext>
            </a:extLst>
          </p:cNvPr>
          <p:cNvSpPr>
            <a:spLocks noGrp="1"/>
          </p:cNvSpPr>
          <p:nvPr>
            <p:ph type="body" sz="quarter" idx="66" hasCustomPrompt="1"/>
          </p:nvPr>
        </p:nvSpPr>
        <p:spPr>
          <a:xfrm>
            <a:off x="3491914" y="3763702"/>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1" name="Текст 4">
            <a:extLst>
              <a:ext uri="{FF2B5EF4-FFF2-40B4-BE49-F238E27FC236}">
                <a16:creationId xmlns:a16="http://schemas.microsoft.com/office/drawing/2014/main" id="{B1526BA0-B61D-44AE-8A90-03263D4B1C9E}"/>
              </a:ext>
            </a:extLst>
          </p:cNvPr>
          <p:cNvSpPr>
            <a:spLocks noGrp="1"/>
          </p:cNvSpPr>
          <p:nvPr>
            <p:ph type="body" sz="quarter" idx="67" hasCustomPrompt="1"/>
          </p:nvPr>
        </p:nvSpPr>
        <p:spPr>
          <a:xfrm>
            <a:off x="6379262" y="3763702"/>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2" name="Текст 4">
            <a:extLst>
              <a:ext uri="{FF2B5EF4-FFF2-40B4-BE49-F238E27FC236}">
                <a16:creationId xmlns:a16="http://schemas.microsoft.com/office/drawing/2014/main" id="{2ECB30FC-5589-4A26-AD21-49C868786724}"/>
              </a:ext>
            </a:extLst>
          </p:cNvPr>
          <p:cNvSpPr>
            <a:spLocks noGrp="1"/>
          </p:cNvSpPr>
          <p:nvPr>
            <p:ph type="body" sz="quarter" idx="68" hasCustomPrompt="1"/>
          </p:nvPr>
        </p:nvSpPr>
        <p:spPr>
          <a:xfrm>
            <a:off x="9273315" y="3763702"/>
            <a:ext cx="2337124" cy="665924"/>
          </a:xfrm>
          <a:prstGeom prst="rect">
            <a:avLst/>
          </a:prstGeom>
        </p:spPr>
        <p:txBody>
          <a:bodyPr lIns="0" tIns="0" rIns="0" bIns="0" anchor="b"/>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15416722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этамы_5">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657C2CF3-EB05-47F9-BD25-390DB3CFD861}"/>
              </a:ext>
            </a:extLst>
          </p:cNvPr>
          <p:cNvSpPr>
            <a:spLocks noGrp="1"/>
          </p:cNvSpPr>
          <p:nvPr>
            <p:ph type="title" hasCustomPrompt="1"/>
          </p:nvPr>
        </p:nvSpPr>
        <p:spPr>
          <a:xfrm>
            <a:off x="417513" y="419100"/>
            <a:ext cx="11366499" cy="532000"/>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этапами</a:t>
            </a:r>
          </a:p>
        </p:txBody>
      </p:sp>
      <p:sp>
        <p:nvSpPr>
          <p:cNvPr id="56" name="Прямоугольник: скругленные углы 55">
            <a:extLst>
              <a:ext uri="{FF2B5EF4-FFF2-40B4-BE49-F238E27FC236}">
                <a16:creationId xmlns:a16="http://schemas.microsoft.com/office/drawing/2014/main" id="{A102BE3A-81B6-48B3-B8D9-C54C231396CF}"/>
              </a:ext>
            </a:extLst>
          </p:cNvPr>
          <p:cNvSpPr/>
          <p:nvPr userDrawn="1"/>
        </p:nvSpPr>
        <p:spPr>
          <a:xfrm>
            <a:off x="2739778" y="3189481"/>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dirty="0"/>
          </a:p>
        </p:txBody>
      </p:sp>
      <p:sp>
        <p:nvSpPr>
          <p:cNvPr id="57" name="Прямоугольник: скругленные углы 56">
            <a:extLst>
              <a:ext uri="{FF2B5EF4-FFF2-40B4-BE49-F238E27FC236}">
                <a16:creationId xmlns:a16="http://schemas.microsoft.com/office/drawing/2014/main" id="{34E22284-9638-4776-91E7-1174D9178B60}"/>
              </a:ext>
            </a:extLst>
          </p:cNvPr>
          <p:cNvSpPr/>
          <p:nvPr userDrawn="1"/>
        </p:nvSpPr>
        <p:spPr>
          <a:xfrm>
            <a:off x="5062038" y="3189481"/>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dirty="0"/>
          </a:p>
        </p:txBody>
      </p:sp>
      <p:sp>
        <p:nvSpPr>
          <p:cNvPr id="58" name="Прямоугольник: скругленные углы 57">
            <a:extLst>
              <a:ext uri="{FF2B5EF4-FFF2-40B4-BE49-F238E27FC236}">
                <a16:creationId xmlns:a16="http://schemas.microsoft.com/office/drawing/2014/main" id="{83759CD5-C8C9-406C-85CA-8AAF13A01F67}"/>
              </a:ext>
            </a:extLst>
          </p:cNvPr>
          <p:cNvSpPr/>
          <p:nvPr userDrawn="1"/>
        </p:nvSpPr>
        <p:spPr>
          <a:xfrm>
            <a:off x="7384298" y="3189481"/>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dirty="0"/>
          </a:p>
        </p:txBody>
      </p:sp>
      <p:sp>
        <p:nvSpPr>
          <p:cNvPr id="59" name="Прямоугольник: скругленные углы 58">
            <a:extLst>
              <a:ext uri="{FF2B5EF4-FFF2-40B4-BE49-F238E27FC236}">
                <a16:creationId xmlns:a16="http://schemas.microsoft.com/office/drawing/2014/main" id="{37530523-2FE5-4653-A57C-7E83FFF9FFDE}"/>
              </a:ext>
            </a:extLst>
          </p:cNvPr>
          <p:cNvSpPr/>
          <p:nvPr userDrawn="1"/>
        </p:nvSpPr>
        <p:spPr>
          <a:xfrm>
            <a:off x="9706560" y="3189481"/>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dirty="0"/>
          </a:p>
        </p:txBody>
      </p:sp>
      <p:sp>
        <p:nvSpPr>
          <p:cNvPr id="60" name="Прямоугольник: скругленные углы 59">
            <a:extLst>
              <a:ext uri="{FF2B5EF4-FFF2-40B4-BE49-F238E27FC236}">
                <a16:creationId xmlns:a16="http://schemas.microsoft.com/office/drawing/2014/main" id="{2C278F44-1C30-402B-B3F2-92470928B033}"/>
              </a:ext>
            </a:extLst>
          </p:cNvPr>
          <p:cNvSpPr/>
          <p:nvPr userDrawn="1"/>
        </p:nvSpPr>
        <p:spPr>
          <a:xfrm>
            <a:off x="411158" y="3189481"/>
            <a:ext cx="2066593" cy="2238375"/>
          </a:xfrm>
          <a:prstGeom prst="roundRect">
            <a:avLst>
              <a:gd name="adj" fmla="val 4409"/>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ru-RU" sz="1587" dirty="0"/>
          </a:p>
        </p:txBody>
      </p:sp>
      <p:sp>
        <p:nvSpPr>
          <p:cNvPr id="61" name="Текст 4">
            <a:extLst>
              <a:ext uri="{FF2B5EF4-FFF2-40B4-BE49-F238E27FC236}">
                <a16:creationId xmlns:a16="http://schemas.microsoft.com/office/drawing/2014/main" id="{F09677B0-9968-4ADF-9B5B-C5D1F9A0A29D}"/>
              </a:ext>
            </a:extLst>
          </p:cNvPr>
          <p:cNvSpPr>
            <a:spLocks noGrp="1"/>
          </p:cNvSpPr>
          <p:nvPr>
            <p:ph type="body" sz="quarter" idx="18" hasCustomPrompt="1"/>
          </p:nvPr>
        </p:nvSpPr>
        <p:spPr>
          <a:xfrm>
            <a:off x="568180" y="3722820"/>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2" name="Текст 14">
            <a:extLst>
              <a:ext uri="{FF2B5EF4-FFF2-40B4-BE49-F238E27FC236}">
                <a16:creationId xmlns:a16="http://schemas.microsoft.com/office/drawing/2014/main" id="{1745934B-7FA6-47BE-91E4-6F74FF0B0D3A}"/>
              </a:ext>
            </a:extLst>
          </p:cNvPr>
          <p:cNvSpPr>
            <a:spLocks noGrp="1"/>
          </p:cNvSpPr>
          <p:nvPr>
            <p:ph type="body" sz="quarter" idx="57" hasCustomPrompt="1"/>
          </p:nvPr>
        </p:nvSpPr>
        <p:spPr>
          <a:xfrm>
            <a:off x="2834939" y="2418575"/>
            <a:ext cx="1009967" cy="1456327"/>
          </a:xfrm>
          <a:prstGeom prst="rect">
            <a:avLst/>
          </a:prstGeom>
        </p:spPr>
        <p:txBody>
          <a:bodyPr lIns="0" tIns="0" rIns="0" bIns="0"/>
          <a:lstStyle>
            <a:lvl1pPr>
              <a:lnSpc>
                <a:spcPct val="100000"/>
              </a:lnSpc>
              <a:spcBef>
                <a:spcPts val="0"/>
              </a:spcBef>
              <a:defRPr sz="8814" b="0">
                <a:solidFill>
                  <a:schemeClr val="accent2"/>
                </a:solidFill>
                <a:latin typeface="+mn-lt"/>
                <a:ea typeface="Rostelecom Basis" panose="020B0503040504020204" pitchFamily="34" charset="-52"/>
              </a:defRPr>
            </a:lvl1pPr>
          </a:lstStyle>
          <a:p>
            <a:pPr lvl="0"/>
            <a:r>
              <a:rPr lang="ru-RU" dirty="0"/>
              <a:t>2</a:t>
            </a:r>
          </a:p>
        </p:txBody>
      </p:sp>
      <p:sp>
        <p:nvSpPr>
          <p:cNvPr id="63" name="Текст 14">
            <a:extLst>
              <a:ext uri="{FF2B5EF4-FFF2-40B4-BE49-F238E27FC236}">
                <a16:creationId xmlns:a16="http://schemas.microsoft.com/office/drawing/2014/main" id="{3D527EF6-C8EE-48E8-B271-7FAEC6B29B43}"/>
              </a:ext>
            </a:extLst>
          </p:cNvPr>
          <p:cNvSpPr>
            <a:spLocks noGrp="1"/>
          </p:cNvSpPr>
          <p:nvPr>
            <p:ph type="body" sz="quarter" idx="60" hasCustomPrompt="1"/>
          </p:nvPr>
        </p:nvSpPr>
        <p:spPr>
          <a:xfrm>
            <a:off x="5157199" y="2418575"/>
            <a:ext cx="1009967" cy="1456327"/>
          </a:xfrm>
          <a:prstGeom prst="rect">
            <a:avLst/>
          </a:prstGeom>
        </p:spPr>
        <p:txBody>
          <a:bodyPr lIns="0" tIns="0" rIns="0" bIns="0"/>
          <a:lstStyle>
            <a:lvl1pPr>
              <a:lnSpc>
                <a:spcPct val="100000"/>
              </a:lnSpc>
              <a:spcBef>
                <a:spcPts val="0"/>
              </a:spcBef>
              <a:defRPr sz="8814" b="0">
                <a:solidFill>
                  <a:schemeClr val="accent2"/>
                </a:solidFill>
                <a:latin typeface="+mn-lt"/>
                <a:ea typeface="Rostelecom Basis" panose="020B0503040504020204" pitchFamily="34" charset="-52"/>
              </a:defRPr>
            </a:lvl1pPr>
          </a:lstStyle>
          <a:p>
            <a:pPr lvl="0"/>
            <a:r>
              <a:rPr lang="ru-RU" dirty="0"/>
              <a:t>3</a:t>
            </a:r>
          </a:p>
        </p:txBody>
      </p:sp>
      <p:sp>
        <p:nvSpPr>
          <p:cNvPr id="64" name="Текст 14">
            <a:extLst>
              <a:ext uri="{FF2B5EF4-FFF2-40B4-BE49-F238E27FC236}">
                <a16:creationId xmlns:a16="http://schemas.microsoft.com/office/drawing/2014/main" id="{E90775EA-C359-422D-BC8F-A505E0FDF9C1}"/>
              </a:ext>
            </a:extLst>
          </p:cNvPr>
          <p:cNvSpPr>
            <a:spLocks noGrp="1"/>
          </p:cNvSpPr>
          <p:nvPr>
            <p:ph type="body" sz="quarter" idx="63" hasCustomPrompt="1"/>
          </p:nvPr>
        </p:nvSpPr>
        <p:spPr>
          <a:xfrm>
            <a:off x="7479459" y="2418575"/>
            <a:ext cx="1009967" cy="1456327"/>
          </a:xfrm>
          <a:prstGeom prst="rect">
            <a:avLst/>
          </a:prstGeom>
        </p:spPr>
        <p:txBody>
          <a:bodyPr lIns="0" tIns="0" rIns="0" bIns="0"/>
          <a:lstStyle>
            <a:lvl1pPr>
              <a:lnSpc>
                <a:spcPct val="100000"/>
              </a:lnSpc>
              <a:spcBef>
                <a:spcPts val="0"/>
              </a:spcBef>
              <a:defRPr sz="8814" b="0">
                <a:solidFill>
                  <a:schemeClr val="accent2"/>
                </a:solidFill>
                <a:latin typeface="+mn-lt"/>
                <a:ea typeface="Rostelecom Basis" panose="020B0503040504020204" pitchFamily="34" charset="-52"/>
              </a:defRPr>
            </a:lvl1pPr>
          </a:lstStyle>
          <a:p>
            <a:pPr lvl="0"/>
            <a:r>
              <a:rPr lang="ru-RU" dirty="0"/>
              <a:t>4</a:t>
            </a:r>
          </a:p>
        </p:txBody>
      </p:sp>
      <p:sp>
        <p:nvSpPr>
          <p:cNvPr id="65" name="Текст 14">
            <a:extLst>
              <a:ext uri="{FF2B5EF4-FFF2-40B4-BE49-F238E27FC236}">
                <a16:creationId xmlns:a16="http://schemas.microsoft.com/office/drawing/2014/main" id="{53D8AE4F-EE6F-456E-AAC1-BD8578D29C15}"/>
              </a:ext>
            </a:extLst>
          </p:cNvPr>
          <p:cNvSpPr>
            <a:spLocks noGrp="1"/>
          </p:cNvSpPr>
          <p:nvPr>
            <p:ph type="body" sz="quarter" idx="65" hasCustomPrompt="1"/>
          </p:nvPr>
        </p:nvSpPr>
        <p:spPr>
          <a:xfrm>
            <a:off x="513035" y="2418575"/>
            <a:ext cx="1009967" cy="1456327"/>
          </a:xfrm>
          <a:prstGeom prst="rect">
            <a:avLst/>
          </a:prstGeom>
        </p:spPr>
        <p:txBody>
          <a:bodyPr lIns="0" tIns="0" rIns="0" bIns="0"/>
          <a:lstStyle>
            <a:lvl1pPr>
              <a:lnSpc>
                <a:spcPct val="100000"/>
              </a:lnSpc>
              <a:spcBef>
                <a:spcPts val="0"/>
              </a:spcBef>
              <a:defRPr sz="8814" b="0">
                <a:solidFill>
                  <a:schemeClr val="accent2"/>
                </a:solidFill>
                <a:latin typeface="+mn-lt"/>
                <a:ea typeface="Rostelecom Basis" panose="020B0503040504020204" pitchFamily="34" charset="-52"/>
              </a:defRPr>
            </a:lvl1pPr>
          </a:lstStyle>
          <a:p>
            <a:pPr lvl="0"/>
            <a:r>
              <a:rPr lang="ru-RU" dirty="0"/>
              <a:t>1</a:t>
            </a:r>
          </a:p>
        </p:txBody>
      </p:sp>
      <p:sp>
        <p:nvSpPr>
          <p:cNvPr id="66" name="Текст 14">
            <a:extLst>
              <a:ext uri="{FF2B5EF4-FFF2-40B4-BE49-F238E27FC236}">
                <a16:creationId xmlns:a16="http://schemas.microsoft.com/office/drawing/2014/main" id="{68A90BD0-68E0-423F-B94D-829FD9BBF755}"/>
              </a:ext>
            </a:extLst>
          </p:cNvPr>
          <p:cNvSpPr>
            <a:spLocks noGrp="1"/>
          </p:cNvSpPr>
          <p:nvPr>
            <p:ph type="body" sz="quarter" idx="66" hasCustomPrompt="1"/>
          </p:nvPr>
        </p:nvSpPr>
        <p:spPr>
          <a:xfrm>
            <a:off x="9794763" y="2418575"/>
            <a:ext cx="1009967" cy="1456327"/>
          </a:xfrm>
          <a:prstGeom prst="rect">
            <a:avLst/>
          </a:prstGeom>
        </p:spPr>
        <p:txBody>
          <a:bodyPr lIns="0" tIns="0" rIns="0" bIns="0"/>
          <a:lstStyle>
            <a:lvl1pPr>
              <a:lnSpc>
                <a:spcPct val="100000"/>
              </a:lnSpc>
              <a:spcBef>
                <a:spcPts val="0"/>
              </a:spcBef>
              <a:defRPr sz="8814" b="0">
                <a:solidFill>
                  <a:schemeClr val="accent2"/>
                </a:solidFill>
                <a:latin typeface="+mn-lt"/>
                <a:ea typeface="Rostelecom Basis" panose="020B0503040504020204" pitchFamily="34" charset="-52"/>
              </a:defRPr>
            </a:lvl1pPr>
          </a:lstStyle>
          <a:p>
            <a:pPr lvl="0"/>
            <a:r>
              <a:rPr lang="ru-RU" dirty="0"/>
              <a:t>5</a:t>
            </a:r>
          </a:p>
        </p:txBody>
      </p:sp>
      <p:sp>
        <p:nvSpPr>
          <p:cNvPr id="67" name="Текст 4">
            <a:extLst>
              <a:ext uri="{FF2B5EF4-FFF2-40B4-BE49-F238E27FC236}">
                <a16:creationId xmlns:a16="http://schemas.microsoft.com/office/drawing/2014/main" id="{1E94E4C3-850B-48A1-967F-7670CA4CA086}"/>
              </a:ext>
            </a:extLst>
          </p:cNvPr>
          <p:cNvSpPr>
            <a:spLocks noGrp="1"/>
          </p:cNvSpPr>
          <p:nvPr>
            <p:ph type="body" sz="quarter" idx="68" hasCustomPrompt="1"/>
          </p:nvPr>
        </p:nvSpPr>
        <p:spPr>
          <a:xfrm>
            <a:off x="2908058" y="3722820"/>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8" name="Текст 4">
            <a:extLst>
              <a:ext uri="{FF2B5EF4-FFF2-40B4-BE49-F238E27FC236}">
                <a16:creationId xmlns:a16="http://schemas.microsoft.com/office/drawing/2014/main" id="{CD3E1660-D50E-4699-ADEA-AD25869CEA8F}"/>
              </a:ext>
            </a:extLst>
          </p:cNvPr>
          <p:cNvSpPr>
            <a:spLocks noGrp="1"/>
          </p:cNvSpPr>
          <p:nvPr>
            <p:ph type="body" sz="quarter" idx="70" hasCustomPrompt="1"/>
          </p:nvPr>
        </p:nvSpPr>
        <p:spPr>
          <a:xfrm>
            <a:off x="5212952" y="3722820"/>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69" name="Текст 4">
            <a:extLst>
              <a:ext uri="{FF2B5EF4-FFF2-40B4-BE49-F238E27FC236}">
                <a16:creationId xmlns:a16="http://schemas.microsoft.com/office/drawing/2014/main" id="{6948DA5B-719E-4C55-93D6-775E68E31A62}"/>
              </a:ext>
            </a:extLst>
          </p:cNvPr>
          <p:cNvSpPr>
            <a:spLocks noGrp="1"/>
          </p:cNvSpPr>
          <p:nvPr>
            <p:ph type="body" sz="quarter" idx="72" hasCustomPrompt="1"/>
          </p:nvPr>
        </p:nvSpPr>
        <p:spPr>
          <a:xfrm>
            <a:off x="7528004" y="3722820"/>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70" name="Текст 4">
            <a:extLst>
              <a:ext uri="{FF2B5EF4-FFF2-40B4-BE49-F238E27FC236}">
                <a16:creationId xmlns:a16="http://schemas.microsoft.com/office/drawing/2014/main" id="{06827B90-BF94-41AB-A6B5-87E53D5D771B}"/>
              </a:ext>
            </a:extLst>
          </p:cNvPr>
          <p:cNvSpPr>
            <a:spLocks noGrp="1"/>
          </p:cNvSpPr>
          <p:nvPr>
            <p:ph type="body" sz="quarter" idx="74" hasCustomPrompt="1"/>
          </p:nvPr>
        </p:nvSpPr>
        <p:spPr>
          <a:xfrm>
            <a:off x="9867552" y="3722820"/>
            <a:ext cx="1766105" cy="604511"/>
          </a:xfrm>
          <a:prstGeom prst="rect">
            <a:avLst/>
          </a:prstGeom>
        </p:spPr>
        <p:txBody>
          <a:bodyPr lIns="0" tIns="0" rIns="0" bIns="0" anchor="b"/>
          <a:lstStyle>
            <a:lvl1pPr>
              <a:lnSpc>
                <a:spcPts val="1939"/>
              </a:lnSpc>
              <a:spcBef>
                <a:spcPts val="0"/>
              </a:spcBef>
              <a:defRPr sz="1763" b="0">
                <a:solidFill>
                  <a:schemeClr val="tx1"/>
                </a:solidFill>
                <a:latin typeface="+mj-lt"/>
              </a:defRPr>
            </a:lvl1pPr>
          </a:lstStyle>
          <a:p>
            <a:pPr lvl="0"/>
            <a:r>
              <a:rPr lang="ru-RU" dirty="0"/>
              <a:t>Заголовок</a:t>
            </a:r>
          </a:p>
        </p:txBody>
      </p:sp>
      <p:sp>
        <p:nvSpPr>
          <p:cNvPr id="71" name="Текст 4">
            <a:extLst>
              <a:ext uri="{FF2B5EF4-FFF2-40B4-BE49-F238E27FC236}">
                <a16:creationId xmlns:a16="http://schemas.microsoft.com/office/drawing/2014/main" id="{2D2959AB-94F2-41D4-AC88-46CD68B908A5}"/>
              </a:ext>
            </a:extLst>
          </p:cNvPr>
          <p:cNvSpPr>
            <a:spLocks noGrp="1"/>
          </p:cNvSpPr>
          <p:nvPr>
            <p:ph type="body" sz="quarter" idx="19" hasCustomPrompt="1"/>
          </p:nvPr>
        </p:nvSpPr>
        <p:spPr>
          <a:xfrm>
            <a:off x="568180" y="4493323"/>
            <a:ext cx="1766105" cy="701836"/>
          </a:xfrm>
          <a:prstGeom prst="rect">
            <a:avLst/>
          </a:prstGeom>
        </p:spPr>
        <p:txBody>
          <a:bodyPr lIns="0" tIns="0" rIns="0" bIns="0"/>
          <a:lstStyle>
            <a:lvl1pPr>
              <a:lnSpc>
                <a:spcPts val="1675"/>
              </a:lnSpc>
              <a:spcBef>
                <a:spcPts val="0"/>
              </a:spcBef>
              <a:defRPr sz="1411" b="0">
                <a:solidFill>
                  <a:schemeClr val="tx1"/>
                </a:solidFill>
                <a:latin typeface="+mn-lt"/>
              </a:defRPr>
            </a:lvl1pPr>
          </a:lstStyle>
          <a:p>
            <a:r>
              <a:rPr lang="ru-RU" sz="1411" dirty="0"/>
              <a:t>Рекомендуемый объём текста </a:t>
            </a:r>
            <a:br>
              <a:rPr lang="ru-RU" sz="1411" dirty="0"/>
            </a:br>
            <a:r>
              <a:rPr lang="ru-RU" sz="1411" dirty="0"/>
              <a:t>для блока</a:t>
            </a:r>
          </a:p>
        </p:txBody>
      </p:sp>
      <p:sp>
        <p:nvSpPr>
          <p:cNvPr id="72" name="Текст 4">
            <a:extLst>
              <a:ext uri="{FF2B5EF4-FFF2-40B4-BE49-F238E27FC236}">
                <a16:creationId xmlns:a16="http://schemas.microsoft.com/office/drawing/2014/main" id="{D37DC7A6-3875-4EBD-BC25-FD4F40B8334B}"/>
              </a:ext>
            </a:extLst>
          </p:cNvPr>
          <p:cNvSpPr>
            <a:spLocks noGrp="1"/>
          </p:cNvSpPr>
          <p:nvPr>
            <p:ph type="body" sz="quarter" idx="75" hasCustomPrompt="1"/>
          </p:nvPr>
        </p:nvSpPr>
        <p:spPr>
          <a:xfrm>
            <a:off x="2908058" y="4493323"/>
            <a:ext cx="1766105" cy="701836"/>
          </a:xfrm>
          <a:prstGeom prst="rect">
            <a:avLst/>
          </a:prstGeom>
        </p:spPr>
        <p:txBody>
          <a:bodyPr lIns="0" tIns="0" rIns="0" bIns="0"/>
          <a:lstStyle>
            <a:lvl1pPr>
              <a:lnSpc>
                <a:spcPts val="1675"/>
              </a:lnSpc>
              <a:spcBef>
                <a:spcPts val="0"/>
              </a:spcBef>
              <a:defRPr sz="1411" b="0">
                <a:solidFill>
                  <a:schemeClr val="tx1"/>
                </a:solidFill>
                <a:latin typeface="+mn-lt"/>
              </a:defRPr>
            </a:lvl1pPr>
          </a:lstStyle>
          <a:p>
            <a:r>
              <a:rPr lang="ru-RU" sz="1411" dirty="0"/>
              <a:t>Рекомендуемый объём текста </a:t>
            </a:r>
            <a:br>
              <a:rPr lang="ru-RU" sz="1411" dirty="0"/>
            </a:br>
            <a:r>
              <a:rPr lang="ru-RU" sz="1411" dirty="0"/>
              <a:t>для блока</a:t>
            </a:r>
          </a:p>
        </p:txBody>
      </p:sp>
      <p:sp>
        <p:nvSpPr>
          <p:cNvPr id="73" name="Текст 4">
            <a:extLst>
              <a:ext uri="{FF2B5EF4-FFF2-40B4-BE49-F238E27FC236}">
                <a16:creationId xmlns:a16="http://schemas.microsoft.com/office/drawing/2014/main" id="{C52AC642-0488-4ECA-9671-9CF937657A5F}"/>
              </a:ext>
            </a:extLst>
          </p:cNvPr>
          <p:cNvSpPr>
            <a:spLocks noGrp="1"/>
          </p:cNvSpPr>
          <p:nvPr>
            <p:ph type="body" sz="quarter" idx="76" hasCustomPrompt="1"/>
          </p:nvPr>
        </p:nvSpPr>
        <p:spPr>
          <a:xfrm>
            <a:off x="5212952" y="4493323"/>
            <a:ext cx="1766105" cy="701836"/>
          </a:xfrm>
          <a:prstGeom prst="rect">
            <a:avLst/>
          </a:prstGeom>
        </p:spPr>
        <p:txBody>
          <a:bodyPr lIns="0" tIns="0" rIns="0" bIns="0"/>
          <a:lstStyle>
            <a:lvl1pPr>
              <a:lnSpc>
                <a:spcPts val="1675"/>
              </a:lnSpc>
              <a:spcBef>
                <a:spcPts val="0"/>
              </a:spcBef>
              <a:defRPr sz="1411" b="0">
                <a:solidFill>
                  <a:schemeClr val="tx1"/>
                </a:solidFill>
                <a:latin typeface="+mn-lt"/>
              </a:defRPr>
            </a:lvl1pPr>
          </a:lstStyle>
          <a:p>
            <a:r>
              <a:rPr lang="ru-RU" sz="1411" dirty="0"/>
              <a:t>Рекомендуемый объём текста </a:t>
            </a:r>
            <a:br>
              <a:rPr lang="ru-RU" sz="1411" dirty="0"/>
            </a:br>
            <a:r>
              <a:rPr lang="ru-RU" sz="1411" dirty="0"/>
              <a:t>для блока</a:t>
            </a:r>
          </a:p>
        </p:txBody>
      </p:sp>
      <p:sp>
        <p:nvSpPr>
          <p:cNvPr id="74" name="Текст 4">
            <a:extLst>
              <a:ext uri="{FF2B5EF4-FFF2-40B4-BE49-F238E27FC236}">
                <a16:creationId xmlns:a16="http://schemas.microsoft.com/office/drawing/2014/main" id="{063EAF25-2C93-4088-977E-DCFF3DF8FE94}"/>
              </a:ext>
            </a:extLst>
          </p:cNvPr>
          <p:cNvSpPr>
            <a:spLocks noGrp="1"/>
          </p:cNvSpPr>
          <p:nvPr>
            <p:ph type="body" sz="quarter" idx="77" hasCustomPrompt="1"/>
          </p:nvPr>
        </p:nvSpPr>
        <p:spPr>
          <a:xfrm>
            <a:off x="7511210" y="4493323"/>
            <a:ext cx="1766105" cy="701836"/>
          </a:xfrm>
          <a:prstGeom prst="rect">
            <a:avLst/>
          </a:prstGeom>
        </p:spPr>
        <p:txBody>
          <a:bodyPr lIns="0" tIns="0" rIns="0" bIns="0"/>
          <a:lstStyle>
            <a:lvl1pPr>
              <a:lnSpc>
                <a:spcPts val="1675"/>
              </a:lnSpc>
              <a:spcBef>
                <a:spcPts val="0"/>
              </a:spcBef>
              <a:defRPr sz="1411" b="0">
                <a:solidFill>
                  <a:schemeClr val="tx1"/>
                </a:solidFill>
                <a:latin typeface="+mn-lt"/>
              </a:defRPr>
            </a:lvl1pPr>
          </a:lstStyle>
          <a:p>
            <a:r>
              <a:rPr lang="ru-RU" sz="1411" dirty="0"/>
              <a:t>Рекомендуемый объём текста </a:t>
            </a:r>
            <a:br>
              <a:rPr lang="ru-RU" sz="1411" dirty="0"/>
            </a:br>
            <a:r>
              <a:rPr lang="ru-RU" sz="1411" dirty="0"/>
              <a:t>для блока</a:t>
            </a:r>
          </a:p>
        </p:txBody>
      </p:sp>
      <p:sp>
        <p:nvSpPr>
          <p:cNvPr id="75" name="Текст 4">
            <a:extLst>
              <a:ext uri="{FF2B5EF4-FFF2-40B4-BE49-F238E27FC236}">
                <a16:creationId xmlns:a16="http://schemas.microsoft.com/office/drawing/2014/main" id="{DD5B052A-35C0-44C0-B1AC-E9290857D62E}"/>
              </a:ext>
            </a:extLst>
          </p:cNvPr>
          <p:cNvSpPr>
            <a:spLocks noGrp="1"/>
          </p:cNvSpPr>
          <p:nvPr>
            <p:ph type="body" sz="quarter" idx="78" hasCustomPrompt="1"/>
          </p:nvPr>
        </p:nvSpPr>
        <p:spPr>
          <a:xfrm>
            <a:off x="9867552" y="4493323"/>
            <a:ext cx="1766105" cy="701836"/>
          </a:xfrm>
          <a:prstGeom prst="rect">
            <a:avLst/>
          </a:prstGeom>
        </p:spPr>
        <p:txBody>
          <a:bodyPr lIns="0" tIns="0" rIns="0" bIns="0"/>
          <a:lstStyle>
            <a:lvl1pPr>
              <a:lnSpc>
                <a:spcPts val="1675"/>
              </a:lnSpc>
              <a:spcBef>
                <a:spcPts val="0"/>
              </a:spcBef>
              <a:defRPr sz="1411" b="0">
                <a:solidFill>
                  <a:schemeClr val="tx1"/>
                </a:solidFill>
                <a:latin typeface="+mn-lt"/>
              </a:defRPr>
            </a:lvl1pPr>
          </a:lstStyle>
          <a:p>
            <a:r>
              <a:rPr lang="ru-RU" sz="1411" dirty="0"/>
              <a:t>Рекомендуемый объём текста </a:t>
            </a:r>
            <a:br>
              <a:rPr lang="ru-RU" sz="1411" dirty="0"/>
            </a:br>
            <a:r>
              <a:rPr lang="ru-RU" sz="1411" dirty="0"/>
              <a:t>для блока</a:t>
            </a:r>
          </a:p>
        </p:txBody>
      </p:sp>
    </p:spTree>
    <p:extLst>
      <p:ext uri="{BB962C8B-B14F-4D97-AF65-F5344CB8AC3E}">
        <p14:creationId xmlns:p14="http://schemas.microsoft.com/office/powerpoint/2010/main" val="3119449688"/>
      </p:ext>
    </p:extLst>
  </p:cSld>
  <p:clrMapOvr>
    <a:masterClrMapping/>
  </p:clrMapOvr>
  <p:extLst mod="1">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карта">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D638961E-5B7F-4306-9518-62374CA953AE}"/>
              </a:ext>
            </a:extLst>
          </p:cNvPr>
          <p:cNvSpPr>
            <a:spLocks noGrp="1"/>
          </p:cNvSpPr>
          <p:nvPr>
            <p:ph type="title" hasCustomPrompt="1"/>
          </p:nvPr>
        </p:nvSpPr>
        <p:spPr>
          <a:xfrm>
            <a:off x="417518" y="419101"/>
            <a:ext cx="8079940"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лайд с картой</a:t>
            </a:r>
          </a:p>
        </p:txBody>
      </p:sp>
      <p:grpSp>
        <p:nvGrpSpPr>
          <p:cNvPr id="391" name="Рисунок 388">
            <a:extLst>
              <a:ext uri="{FF2B5EF4-FFF2-40B4-BE49-F238E27FC236}">
                <a16:creationId xmlns:a16="http://schemas.microsoft.com/office/drawing/2014/main" id="{1DA397FD-DC6E-439E-BB40-D0F80476817D}"/>
              </a:ext>
            </a:extLst>
          </p:cNvPr>
          <p:cNvGrpSpPr/>
          <p:nvPr/>
        </p:nvGrpSpPr>
        <p:grpSpPr>
          <a:xfrm>
            <a:off x="642323" y="315993"/>
            <a:ext cx="10976796" cy="5876471"/>
            <a:chOff x="468763" y="445203"/>
            <a:chExt cx="12889901" cy="6894322"/>
          </a:xfrm>
          <a:solidFill>
            <a:srgbClr val="E3E8EC"/>
          </a:solidFill>
        </p:grpSpPr>
        <p:sp>
          <p:nvSpPr>
            <p:cNvPr id="392" name="Полилиния: фигура 391">
              <a:extLst>
                <a:ext uri="{FF2B5EF4-FFF2-40B4-BE49-F238E27FC236}">
                  <a16:creationId xmlns:a16="http://schemas.microsoft.com/office/drawing/2014/main" id="{4256E17B-115A-4693-A3FB-EED063FDD081}"/>
                </a:ext>
              </a:extLst>
            </p:cNvPr>
            <p:cNvSpPr/>
            <p:nvPr/>
          </p:nvSpPr>
          <p:spPr>
            <a:xfrm>
              <a:off x="4765927" y="4857095"/>
              <a:ext cx="665906" cy="951495"/>
            </a:xfrm>
            <a:custGeom>
              <a:avLst/>
              <a:gdLst>
                <a:gd name="connsiteX0" fmla="*/ 636024 w 665906"/>
                <a:gd name="connsiteY0" fmla="*/ 205566 h 951495"/>
                <a:gd name="connsiteX1" fmla="*/ 637671 w 665906"/>
                <a:gd name="connsiteY1" fmla="*/ 238123 h 951495"/>
                <a:gd name="connsiteX2" fmla="*/ 644258 w 665906"/>
                <a:gd name="connsiteY2" fmla="*/ 271441 h 951495"/>
                <a:gd name="connsiteX3" fmla="*/ 625510 w 665906"/>
                <a:gd name="connsiteY3" fmla="*/ 305265 h 951495"/>
                <a:gd name="connsiteX4" fmla="*/ 621456 w 665906"/>
                <a:gd name="connsiteY4" fmla="*/ 347703 h 951495"/>
                <a:gd name="connsiteX5" fmla="*/ 647679 w 665906"/>
                <a:gd name="connsiteY5" fmla="*/ 419533 h 951495"/>
                <a:gd name="connsiteX6" fmla="*/ 647805 w 665906"/>
                <a:gd name="connsiteY6" fmla="*/ 459437 h 951495"/>
                <a:gd name="connsiteX7" fmla="*/ 627536 w 665906"/>
                <a:gd name="connsiteY7" fmla="*/ 486294 h 951495"/>
                <a:gd name="connsiteX8" fmla="*/ 603086 w 665906"/>
                <a:gd name="connsiteY8" fmla="*/ 511757 h 951495"/>
                <a:gd name="connsiteX9" fmla="*/ 608534 w 665906"/>
                <a:gd name="connsiteY9" fmla="*/ 553562 h 951495"/>
                <a:gd name="connsiteX10" fmla="*/ 584971 w 665906"/>
                <a:gd name="connsiteY10" fmla="*/ 582573 h 951495"/>
                <a:gd name="connsiteX11" fmla="*/ 553934 w 665906"/>
                <a:gd name="connsiteY11" fmla="*/ 573199 h 951495"/>
                <a:gd name="connsiteX12" fmla="*/ 506301 w 665906"/>
                <a:gd name="connsiteY12" fmla="*/ 571932 h 951495"/>
                <a:gd name="connsiteX13" fmla="*/ 482232 w 665906"/>
                <a:gd name="connsiteY13" fmla="*/ 607023 h 951495"/>
                <a:gd name="connsiteX14" fmla="*/ 451447 w 665906"/>
                <a:gd name="connsiteY14" fmla="*/ 623618 h 951495"/>
                <a:gd name="connsiteX15" fmla="*/ 457022 w 665906"/>
                <a:gd name="connsiteY15" fmla="*/ 639960 h 951495"/>
                <a:gd name="connsiteX16" fmla="*/ 453854 w 665906"/>
                <a:gd name="connsiteY16" fmla="*/ 654782 h 951495"/>
                <a:gd name="connsiteX17" fmla="*/ 437259 w 665906"/>
                <a:gd name="connsiteY17" fmla="*/ 694307 h 951495"/>
                <a:gd name="connsiteX18" fmla="*/ 447394 w 665906"/>
                <a:gd name="connsiteY18" fmla="*/ 731678 h 951495"/>
                <a:gd name="connsiteX19" fmla="*/ 463102 w 665906"/>
                <a:gd name="connsiteY19" fmla="*/ 770443 h 951495"/>
                <a:gd name="connsiteX20" fmla="*/ 464876 w 665906"/>
                <a:gd name="connsiteY20" fmla="*/ 789699 h 951495"/>
                <a:gd name="connsiteX21" fmla="*/ 438019 w 665906"/>
                <a:gd name="connsiteY21" fmla="*/ 812628 h 951495"/>
                <a:gd name="connsiteX22" fmla="*/ 431812 w 665906"/>
                <a:gd name="connsiteY22" fmla="*/ 821116 h 951495"/>
                <a:gd name="connsiteX23" fmla="*/ 431559 w 665906"/>
                <a:gd name="connsiteY23" fmla="*/ 847719 h 951495"/>
                <a:gd name="connsiteX24" fmla="*/ 430799 w 665906"/>
                <a:gd name="connsiteY24" fmla="*/ 873689 h 951495"/>
                <a:gd name="connsiteX25" fmla="*/ 434852 w 665906"/>
                <a:gd name="connsiteY25" fmla="*/ 905613 h 951495"/>
                <a:gd name="connsiteX26" fmla="*/ 410276 w 665906"/>
                <a:gd name="connsiteY26" fmla="*/ 920435 h 951495"/>
                <a:gd name="connsiteX27" fmla="*/ 395201 w 665906"/>
                <a:gd name="connsiteY27" fmla="*/ 931963 h 951495"/>
                <a:gd name="connsiteX28" fmla="*/ 380759 w 665906"/>
                <a:gd name="connsiteY28" fmla="*/ 930443 h 951495"/>
                <a:gd name="connsiteX29" fmla="*/ 360110 w 665906"/>
                <a:gd name="connsiteY29" fmla="*/ 936397 h 951495"/>
                <a:gd name="connsiteX30" fmla="*/ 334013 w 665906"/>
                <a:gd name="connsiteY30" fmla="*/ 930950 h 951495"/>
                <a:gd name="connsiteX31" fmla="*/ 321852 w 665906"/>
                <a:gd name="connsiteY31" fmla="*/ 940704 h 951495"/>
                <a:gd name="connsiteX32" fmla="*/ 305003 w 665906"/>
                <a:gd name="connsiteY32" fmla="*/ 929683 h 951495"/>
                <a:gd name="connsiteX33" fmla="*/ 288787 w 665906"/>
                <a:gd name="connsiteY33" fmla="*/ 918155 h 951495"/>
                <a:gd name="connsiteX34" fmla="*/ 260410 w 665906"/>
                <a:gd name="connsiteY34" fmla="*/ 950459 h 951495"/>
                <a:gd name="connsiteX35" fmla="*/ 231147 w 665906"/>
                <a:gd name="connsiteY35" fmla="*/ 925376 h 951495"/>
                <a:gd name="connsiteX36" fmla="*/ 217845 w 665906"/>
                <a:gd name="connsiteY36" fmla="*/ 904093 h 951495"/>
                <a:gd name="connsiteX37" fmla="*/ 197702 w 665906"/>
                <a:gd name="connsiteY37" fmla="*/ 911314 h 951495"/>
                <a:gd name="connsiteX38" fmla="*/ 164765 w 665906"/>
                <a:gd name="connsiteY38" fmla="*/ 900799 h 951495"/>
                <a:gd name="connsiteX39" fmla="*/ 191115 w 665906"/>
                <a:gd name="connsiteY39" fmla="*/ 869762 h 951495"/>
                <a:gd name="connsiteX40" fmla="*/ 230007 w 665906"/>
                <a:gd name="connsiteY40" fmla="*/ 843285 h 951495"/>
                <a:gd name="connsiteX41" fmla="*/ 189975 w 665906"/>
                <a:gd name="connsiteY41" fmla="*/ 826310 h 951495"/>
                <a:gd name="connsiteX42" fmla="*/ 170086 w 665906"/>
                <a:gd name="connsiteY42" fmla="*/ 820103 h 951495"/>
                <a:gd name="connsiteX43" fmla="*/ 152223 w 665906"/>
                <a:gd name="connsiteY43" fmla="*/ 795399 h 951495"/>
                <a:gd name="connsiteX44" fmla="*/ 135882 w 665906"/>
                <a:gd name="connsiteY44" fmla="*/ 784252 h 951495"/>
                <a:gd name="connsiteX45" fmla="*/ 107885 w 665906"/>
                <a:gd name="connsiteY45" fmla="*/ 796413 h 951495"/>
                <a:gd name="connsiteX46" fmla="*/ 121440 w 665906"/>
                <a:gd name="connsiteY46" fmla="*/ 764362 h 951495"/>
                <a:gd name="connsiteX47" fmla="*/ 114599 w 665906"/>
                <a:gd name="connsiteY47" fmla="*/ 729398 h 951495"/>
                <a:gd name="connsiteX48" fmla="*/ 102564 w 665906"/>
                <a:gd name="connsiteY48" fmla="*/ 723697 h 951495"/>
                <a:gd name="connsiteX49" fmla="*/ 101044 w 665906"/>
                <a:gd name="connsiteY49" fmla="*/ 737506 h 951495"/>
                <a:gd name="connsiteX50" fmla="*/ 75581 w 665906"/>
                <a:gd name="connsiteY50" fmla="*/ 746373 h 951495"/>
                <a:gd name="connsiteX51" fmla="*/ 44923 w 665906"/>
                <a:gd name="connsiteY51" fmla="*/ 728765 h 951495"/>
                <a:gd name="connsiteX52" fmla="*/ 7299 w 665906"/>
                <a:gd name="connsiteY52" fmla="*/ 721164 h 951495"/>
                <a:gd name="connsiteX53" fmla="*/ 23514 w 665906"/>
                <a:gd name="connsiteY53" fmla="*/ 659722 h 951495"/>
                <a:gd name="connsiteX54" fmla="*/ 50624 w 665906"/>
                <a:gd name="connsiteY54" fmla="*/ 633499 h 951495"/>
                <a:gd name="connsiteX55" fmla="*/ 41123 w 665906"/>
                <a:gd name="connsiteY55" fmla="*/ 590047 h 951495"/>
                <a:gd name="connsiteX56" fmla="*/ 52271 w 665906"/>
                <a:gd name="connsiteY56" fmla="*/ 530000 h 951495"/>
                <a:gd name="connsiteX57" fmla="*/ 23894 w 665906"/>
                <a:gd name="connsiteY57" fmla="*/ 506563 h 951495"/>
                <a:gd name="connsiteX58" fmla="*/ 30735 w 665906"/>
                <a:gd name="connsiteY58" fmla="*/ 496809 h 951495"/>
                <a:gd name="connsiteX59" fmla="*/ 61646 w 665906"/>
                <a:gd name="connsiteY59" fmla="*/ 474133 h 951495"/>
                <a:gd name="connsiteX60" fmla="*/ 69880 w 665906"/>
                <a:gd name="connsiteY60" fmla="*/ 435368 h 951495"/>
                <a:gd name="connsiteX61" fmla="*/ 83435 w 665906"/>
                <a:gd name="connsiteY61" fmla="*/ 422826 h 951495"/>
                <a:gd name="connsiteX62" fmla="*/ 84955 w 665906"/>
                <a:gd name="connsiteY62" fmla="*/ 407118 h 951495"/>
                <a:gd name="connsiteX63" fmla="*/ 104844 w 665906"/>
                <a:gd name="connsiteY63" fmla="*/ 401037 h 951495"/>
                <a:gd name="connsiteX64" fmla="*/ 113332 w 665906"/>
                <a:gd name="connsiteY64" fmla="*/ 392549 h 951495"/>
                <a:gd name="connsiteX65" fmla="*/ 143102 w 665906"/>
                <a:gd name="connsiteY65" fmla="*/ 380388 h 951495"/>
                <a:gd name="connsiteX66" fmla="*/ 141709 w 665906"/>
                <a:gd name="connsiteY66" fmla="*/ 346183 h 951495"/>
                <a:gd name="connsiteX67" fmla="*/ 155264 w 665906"/>
                <a:gd name="connsiteY67" fmla="*/ 334655 h 951495"/>
                <a:gd name="connsiteX68" fmla="*/ 170466 w 665906"/>
                <a:gd name="connsiteY68" fmla="*/ 321607 h 951495"/>
                <a:gd name="connsiteX69" fmla="*/ 178447 w 665906"/>
                <a:gd name="connsiteY69" fmla="*/ 314639 h 951495"/>
                <a:gd name="connsiteX70" fmla="*/ 193902 w 665906"/>
                <a:gd name="connsiteY70" fmla="*/ 322241 h 951495"/>
                <a:gd name="connsiteX71" fmla="*/ 227473 w 665906"/>
                <a:gd name="connsiteY71" fmla="*/ 310079 h 951495"/>
                <a:gd name="connsiteX72" fmla="*/ 224306 w 665906"/>
                <a:gd name="connsiteY72" fmla="*/ 190364 h 951495"/>
                <a:gd name="connsiteX73" fmla="*/ 213285 w 665906"/>
                <a:gd name="connsiteY73" fmla="*/ 117902 h 951495"/>
                <a:gd name="connsiteX74" fmla="*/ 216198 w 665906"/>
                <a:gd name="connsiteY74" fmla="*/ 65075 h 951495"/>
                <a:gd name="connsiteX75" fmla="*/ 237354 w 665906"/>
                <a:gd name="connsiteY75" fmla="*/ 49746 h 951495"/>
                <a:gd name="connsiteX76" fmla="*/ 256863 w 665906"/>
                <a:gd name="connsiteY76" fmla="*/ 26944 h 951495"/>
                <a:gd name="connsiteX77" fmla="*/ 292208 w 665906"/>
                <a:gd name="connsiteY77" fmla="*/ 467 h 951495"/>
                <a:gd name="connsiteX78" fmla="*/ 310450 w 665906"/>
                <a:gd name="connsiteY78" fmla="*/ 35811 h 951495"/>
                <a:gd name="connsiteX79" fmla="*/ 284860 w 665906"/>
                <a:gd name="connsiteY79" fmla="*/ 75970 h 951495"/>
                <a:gd name="connsiteX80" fmla="*/ 286507 w 665906"/>
                <a:gd name="connsiteY80" fmla="*/ 106247 h 951495"/>
                <a:gd name="connsiteX81" fmla="*/ 330846 w 665906"/>
                <a:gd name="connsiteY81" fmla="*/ 99532 h 951495"/>
                <a:gd name="connsiteX82" fmla="*/ 362643 w 665906"/>
                <a:gd name="connsiteY82" fmla="*/ 117902 h 951495"/>
                <a:gd name="connsiteX83" fmla="*/ 403562 w 665906"/>
                <a:gd name="connsiteY83" fmla="*/ 147292 h 951495"/>
                <a:gd name="connsiteX84" fmla="*/ 446760 w 665906"/>
                <a:gd name="connsiteY84" fmla="*/ 151599 h 951495"/>
                <a:gd name="connsiteX85" fmla="*/ 466396 w 665906"/>
                <a:gd name="connsiteY85" fmla="*/ 137791 h 951495"/>
                <a:gd name="connsiteX86" fmla="*/ 492746 w 665906"/>
                <a:gd name="connsiteY86" fmla="*/ 139184 h 951495"/>
                <a:gd name="connsiteX87" fmla="*/ 536072 w 665906"/>
                <a:gd name="connsiteY87" fmla="*/ 166168 h 951495"/>
                <a:gd name="connsiteX88" fmla="*/ 577497 w 665906"/>
                <a:gd name="connsiteY88" fmla="*/ 164267 h 951495"/>
                <a:gd name="connsiteX89" fmla="*/ 623483 w 665906"/>
                <a:gd name="connsiteY89" fmla="*/ 154513 h 951495"/>
                <a:gd name="connsiteX90" fmla="*/ 654393 w 665906"/>
                <a:gd name="connsiteY90" fmla="*/ 136144 h 951495"/>
                <a:gd name="connsiteX91" fmla="*/ 662881 w 665906"/>
                <a:gd name="connsiteY91" fmla="*/ 136650 h 951495"/>
                <a:gd name="connsiteX92" fmla="*/ 664528 w 665906"/>
                <a:gd name="connsiteY92" fmla="*/ 154893 h 951495"/>
                <a:gd name="connsiteX93" fmla="*/ 636024 w 665906"/>
                <a:gd name="connsiteY93" fmla="*/ 205566 h 95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65906" h="951495">
                  <a:moveTo>
                    <a:pt x="636024" y="205566"/>
                  </a:moveTo>
                  <a:cubicBezTo>
                    <a:pt x="628803" y="218234"/>
                    <a:pt x="630070" y="226342"/>
                    <a:pt x="637671" y="238123"/>
                  </a:cubicBezTo>
                  <a:cubicBezTo>
                    <a:pt x="644512" y="248638"/>
                    <a:pt x="648819" y="259026"/>
                    <a:pt x="644258" y="271441"/>
                  </a:cubicBezTo>
                  <a:cubicBezTo>
                    <a:pt x="639698" y="283602"/>
                    <a:pt x="630324" y="293230"/>
                    <a:pt x="625510" y="305265"/>
                  </a:cubicBezTo>
                  <a:cubicBezTo>
                    <a:pt x="620316" y="318567"/>
                    <a:pt x="619555" y="333642"/>
                    <a:pt x="621456" y="347703"/>
                  </a:cubicBezTo>
                  <a:cubicBezTo>
                    <a:pt x="625003" y="374054"/>
                    <a:pt x="645145" y="392929"/>
                    <a:pt x="647679" y="419533"/>
                  </a:cubicBezTo>
                  <a:cubicBezTo>
                    <a:pt x="648946" y="432454"/>
                    <a:pt x="649706" y="446642"/>
                    <a:pt x="647805" y="459437"/>
                  </a:cubicBezTo>
                  <a:cubicBezTo>
                    <a:pt x="645905" y="472233"/>
                    <a:pt x="638051" y="479580"/>
                    <a:pt x="627536" y="486294"/>
                  </a:cubicBezTo>
                  <a:cubicBezTo>
                    <a:pt x="617782" y="492628"/>
                    <a:pt x="604480" y="498709"/>
                    <a:pt x="603086" y="511757"/>
                  </a:cubicBezTo>
                  <a:cubicBezTo>
                    <a:pt x="601566" y="525693"/>
                    <a:pt x="609674" y="539247"/>
                    <a:pt x="608534" y="553562"/>
                  </a:cubicBezTo>
                  <a:cubicBezTo>
                    <a:pt x="607520" y="567244"/>
                    <a:pt x="598906" y="579786"/>
                    <a:pt x="584971" y="582573"/>
                  </a:cubicBezTo>
                  <a:cubicBezTo>
                    <a:pt x="573190" y="584980"/>
                    <a:pt x="563562" y="578773"/>
                    <a:pt x="553934" y="573199"/>
                  </a:cubicBezTo>
                  <a:cubicBezTo>
                    <a:pt x="539112" y="564584"/>
                    <a:pt x="521123" y="562304"/>
                    <a:pt x="506301" y="571932"/>
                  </a:cubicBezTo>
                  <a:cubicBezTo>
                    <a:pt x="492746" y="580546"/>
                    <a:pt x="496293" y="598028"/>
                    <a:pt x="482232" y="607023"/>
                  </a:cubicBezTo>
                  <a:cubicBezTo>
                    <a:pt x="473871" y="612343"/>
                    <a:pt x="453981" y="612090"/>
                    <a:pt x="451447" y="623618"/>
                  </a:cubicBezTo>
                  <a:cubicBezTo>
                    <a:pt x="450181" y="629699"/>
                    <a:pt x="454995" y="634640"/>
                    <a:pt x="457022" y="639960"/>
                  </a:cubicBezTo>
                  <a:cubicBezTo>
                    <a:pt x="459429" y="646041"/>
                    <a:pt x="457402" y="649588"/>
                    <a:pt x="453854" y="654782"/>
                  </a:cubicBezTo>
                  <a:cubicBezTo>
                    <a:pt x="445874" y="666563"/>
                    <a:pt x="440426" y="680499"/>
                    <a:pt x="437259" y="694307"/>
                  </a:cubicBezTo>
                  <a:cubicBezTo>
                    <a:pt x="434346" y="707102"/>
                    <a:pt x="441060" y="720657"/>
                    <a:pt x="447394" y="731678"/>
                  </a:cubicBezTo>
                  <a:cubicBezTo>
                    <a:pt x="454995" y="744980"/>
                    <a:pt x="460062" y="755241"/>
                    <a:pt x="463102" y="770443"/>
                  </a:cubicBezTo>
                  <a:cubicBezTo>
                    <a:pt x="464369" y="776524"/>
                    <a:pt x="466650" y="783492"/>
                    <a:pt x="464876" y="789699"/>
                  </a:cubicBezTo>
                  <a:cubicBezTo>
                    <a:pt x="461456" y="801733"/>
                    <a:pt x="447647" y="807054"/>
                    <a:pt x="438019" y="812628"/>
                  </a:cubicBezTo>
                  <a:cubicBezTo>
                    <a:pt x="434599" y="814655"/>
                    <a:pt x="432699" y="817316"/>
                    <a:pt x="431812" y="821116"/>
                  </a:cubicBezTo>
                  <a:cubicBezTo>
                    <a:pt x="429532" y="829984"/>
                    <a:pt x="430799" y="838852"/>
                    <a:pt x="431559" y="847719"/>
                  </a:cubicBezTo>
                  <a:cubicBezTo>
                    <a:pt x="432319" y="856334"/>
                    <a:pt x="429912" y="864948"/>
                    <a:pt x="430799" y="873689"/>
                  </a:cubicBezTo>
                  <a:cubicBezTo>
                    <a:pt x="431812" y="884331"/>
                    <a:pt x="433332" y="894972"/>
                    <a:pt x="434852" y="905613"/>
                  </a:cubicBezTo>
                  <a:cubicBezTo>
                    <a:pt x="425225" y="906627"/>
                    <a:pt x="417370" y="912454"/>
                    <a:pt x="410276" y="920435"/>
                  </a:cubicBezTo>
                  <a:cubicBezTo>
                    <a:pt x="405208" y="926263"/>
                    <a:pt x="403181" y="931203"/>
                    <a:pt x="395201" y="931963"/>
                  </a:cubicBezTo>
                  <a:cubicBezTo>
                    <a:pt x="390640" y="932343"/>
                    <a:pt x="385193" y="931710"/>
                    <a:pt x="380759" y="930443"/>
                  </a:cubicBezTo>
                  <a:cubicBezTo>
                    <a:pt x="370244" y="927529"/>
                    <a:pt x="368851" y="932597"/>
                    <a:pt x="360110" y="936397"/>
                  </a:cubicBezTo>
                  <a:cubicBezTo>
                    <a:pt x="351115" y="940324"/>
                    <a:pt x="343007" y="931077"/>
                    <a:pt x="334013" y="930950"/>
                  </a:cubicBezTo>
                  <a:cubicBezTo>
                    <a:pt x="325525" y="930697"/>
                    <a:pt x="327932" y="938044"/>
                    <a:pt x="321852" y="940704"/>
                  </a:cubicBezTo>
                  <a:cubicBezTo>
                    <a:pt x="314884" y="943871"/>
                    <a:pt x="308043" y="934497"/>
                    <a:pt x="305003" y="929683"/>
                  </a:cubicBezTo>
                  <a:cubicBezTo>
                    <a:pt x="300569" y="922842"/>
                    <a:pt x="297782" y="918662"/>
                    <a:pt x="288787" y="918155"/>
                  </a:cubicBezTo>
                  <a:cubicBezTo>
                    <a:pt x="264338" y="916635"/>
                    <a:pt x="276753" y="944758"/>
                    <a:pt x="260410" y="950459"/>
                  </a:cubicBezTo>
                  <a:cubicBezTo>
                    <a:pt x="243942" y="956159"/>
                    <a:pt x="234694" y="937031"/>
                    <a:pt x="231147" y="925376"/>
                  </a:cubicBezTo>
                  <a:cubicBezTo>
                    <a:pt x="229120" y="918662"/>
                    <a:pt x="225446" y="906753"/>
                    <a:pt x="217845" y="904093"/>
                  </a:cubicBezTo>
                  <a:cubicBezTo>
                    <a:pt x="211004" y="901813"/>
                    <a:pt x="203530" y="908400"/>
                    <a:pt x="197702" y="911314"/>
                  </a:cubicBezTo>
                  <a:cubicBezTo>
                    <a:pt x="186808" y="916761"/>
                    <a:pt x="164258" y="918915"/>
                    <a:pt x="164765" y="900799"/>
                  </a:cubicBezTo>
                  <a:cubicBezTo>
                    <a:pt x="165145" y="886484"/>
                    <a:pt x="181361" y="877617"/>
                    <a:pt x="191115" y="869762"/>
                  </a:cubicBezTo>
                  <a:cubicBezTo>
                    <a:pt x="202136" y="860894"/>
                    <a:pt x="234947" y="864061"/>
                    <a:pt x="230007" y="843285"/>
                  </a:cubicBezTo>
                  <a:cubicBezTo>
                    <a:pt x="225320" y="823903"/>
                    <a:pt x="204163" y="829477"/>
                    <a:pt x="189975" y="826310"/>
                  </a:cubicBezTo>
                  <a:cubicBezTo>
                    <a:pt x="183894" y="824917"/>
                    <a:pt x="175660" y="823016"/>
                    <a:pt x="170086" y="820103"/>
                  </a:cubicBezTo>
                  <a:cubicBezTo>
                    <a:pt x="161091" y="815289"/>
                    <a:pt x="155897" y="804267"/>
                    <a:pt x="152223" y="795399"/>
                  </a:cubicBezTo>
                  <a:cubicBezTo>
                    <a:pt x="149183" y="787925"/>
                    <a:pt x="145509" y="777537"/>
                    <a:pt x="135882" y="784252"/>
                  </a:cubicBezTo>
                  <a:cubicBezTo>
                    <a:pt x="129294" y="788812"/>
                    <a:pt x="118146" y="807941"/>
                    <a:pt x="107885" y="796413"/>
                  </a:cubicBezTo>
                  <a:cubicBezTo>
                    <a:pt x="100410" y="788179"/>
                    <a:pt x="119666" y="773230"/>
                    <a:pt x="121440" y="764362"/>
                  </a:cubicBezTo>
                  <a:cubicBezTo>
                    <a:pt x="123467" y="754481"/>
                    <a:pt x="120553" y="737632"/>
                    <a:pt x="114599" y="729398"/>
                  </a:cubicBezTo>
                  <a:cubicBezTo>
                    <a:pt x="112319" y="726104"/>
                    <a:pt x="106871" y="720784"/>
                    <a:pt x="102564" y="723697"/>
                  </a:cubicBezTo>
                  <a:cubicBezTo>
                    <a:pt x="98510" y="726484"/>
                    <a:pt x="101044" y="733705"/>
                    <a:pt x="101044" y="737506"/>
                  </a:cubicBezTo>
                  <a:cubicBezTo>
                    <a:pt x="100917" y="751314"/>
                    <a:pt x="85842" y="750554"/>
                    <a:pt x="75581" y="746373"/>
                  </a:cubicBezTo>
                  <a:cubicBezTo>
                    <a:pt x="64179" y="741686"/>
                    <a:pt x="57465" y="731552"/>
                    <a:pt x="44923" y="728765"/>
                  </a:cubicBezTo>
                  <a:cubicBezTo>
                    <a:pt x="32889" y="726104"/>
                    <a:pt x="18320" y="727118"/>
                    <a:pt x="7299" y="721164"/>
                  </a:cubicBezTo>
                  <a:cubicBezTo>
                    <a:pt x="-12590" y="710269"/>
                    <a:pt x="13380" y="669097"/>
                    <a:pt x="23514" y="659722"/>
                  </a:cubicBezTo>
                  <a:cubicBezTo>
                    <a:pt x="33395" y="650475"/>
                    <a:pt x="49231" y="649081"/>
                    <a:pt x="50624" y="633499"/>
                  </a:cubicBezTo>
                  <a:cubicBezTo>
                    <a:pt x="52018" y="618424"/>
                    <a:pt x="44923" y="604109"/>
                    <a:pt x="41123" y="590047"/>
                  </a:cubicBezTo>
                  <a:cubicBezTo>
                    <a:pt x="35042" y="567244"/>
                    <a:pt x="52651" y="551916"/>
                    <a:pt x="52271" y="530000"/>
                  </a:cubicBezTo>
                  <a:cubicBezTo>
                    <a:pt x="52018" y="512391"/>
                    <a:pt x="38843" y="507830"/>
                    <a:pt x="23894" y="506563"/>
                  </a:cubicBezTo>
                  <a:cubicBezTo>
                    <a:pt x="25795" y="503396"/>
                    <a:pt x="27822" y="500102"/>
                    <a:pt x="30735" y="496809"/>
                  </a:cubicBezTo>
                  <a:cubicBezTo>
                    <a:pt x="39603" y="487308"/>
                    <a:pt x="52271" y="483001"/>
                    <a:pt x="61646" y="474133"/>
                  </a:cubicBezTo>
                  <a:cubicBezTo>
                    <a:pt x="72667" y="463745"/>
                    <a:pt x="69753" y="449049"/>
                    <a:pt x="69880" y="435368"/>
                  </a:cubicBezTo>
                  <a:cubicBezTo>
                    <a:pt x="77734" y="432328"/>
                    <a:pt x="84829" y="433214"/>
                    <a:pt x="83435" y="422826"/>
                  </a:cubicBezTo>
                  <a:cubicBezTo>
                    <a:pt x="82802" y="418139"/>
                    <a:pt x="80901" y="410918"/>
                    <a:pt x="84955" y="407118"/>
                  </a:cubicBezTo>
                  <a:cubicBezTo>
                    <a:pt x="89642" y="402684"/>
                    <a:pt x="99143" y="404584"/>
                    <a:pt x="104844" y="401037"/>
                  </a:cubicBezTo>
                  <a:cubicBezTo>
                    <a:pt x="108265" y="398756"/>
                    <a:pt x="110165" y="395083"/>
                    <a:pt x="113332" y="392549"/>
                  </a:cubicBezTo>
                  <a:cubicBezTo>
                    <a:pt x="121567" y="385455"/>
                    <a:pt x="136388" y="389129"/>
                    <a:pt x="143102" y="380388"/>
                  </a:cubicBezTo>
                  <a:cubicBezTo>
                    <a:pt x="150957" y="370126"/>
                    <a:pt x="137275" y="357078"/>
                    <a:pt x="141709" y="346183"/>
                  </a:cubicBezTo>
                  <a:cubicBezTo>
                    <a:pt x="143989" y="340483"/>
                    <a:pt x="150577" y="337696"/>
                    <a:pt x="155264" y="334655"/>
                  </a:cubicBezTo>
                  <a:cubicBezTo>
                    <a:pt x="160965" y="330982"/>
                    <a:pt x="166159" y="326928"/>
                    <a:pt x="170466" y="321607"/>
                  </a:cubicBezTo>
                  <a:cubicBezTo>
                    <a:pt x="172746" y="318820"/>
                    <a:pt x="174393" y="314766"/>
                    <a:pt x="178447" y="314639"/>
                  </a:cubicBezTo>
                  <a:cubicBezTo>
                    <a:pt x="183134" y="314386"/>
                    <a:pt x="189722" y="320340"/>
                    <a:pt x="193902" y="322241"/>
                  </a:cubicBezTo>
                  <a:cubicBezTo>
                    <a:pt x="208977" y="329461"/>
                    <a:pt x="222026" y="326801"/>
                    <a:pt x="227473" y="310079"/>
                  </a:cubicBezTo>
                  <a:cubicBezTo>
                    <a:pt x="240395" y="269921"/>
                    <a:pt x="229500" y="230776"/>
                    <a:pt x="224306" y="190364"/>
                  </a:cubicBezTo>
                  <a:cubicBezTo>
                    <a:pt x="221139" y="165914"/>
                    <a:pt x="219112" y="141971"/>
                    <a:pt x="213285" y="117902"/>
                  </a:cubicBezTo>
                  <a:cubicBezTo>
                    <a:pt x="209231" y="100926"/>
                    <a:pt x="200616" y="78503"/>
                    <a:pt x="216198" y="65075"/>
                  </a:cubicBezTo>
                  <a:cubicBezTo>
                    <a:pt x="222786" y="59374"/>
                    <a:pt x="230767" y="55447"/>
                    <a:pt x="237354" y="49746"/>
                  </a:cubicBezTo>
                  <a:cubicBezTo>
                    <a:pt x="245082" y="43159"/>
                    <a:pt x="251162" y="35178"/>
                    <a:pt x="256863" y="26944"/>
                  </a:cubicBezTo>
                  <a:cubicBezTo>
                    <a:pt x="264718" y="15669"/>
                    <a:pt x="275613" y="-3207"/>
                    <a:pt x="292208" y="467"/>
                  </a:cubicBezTo>
                  <a:cubicBezTo>
                    <a:pt x="307283" y="3761"/>
                    <a:pt x="311970" y="22510"/>
                    <a:pt x="310450" y="35811"/>
                  </a:cubicBezTo>
                  <a:cubicBezTo>
                    <a:pt x="308550" y="53800"/>
                    <a:pt x="296641" y="63935"/>
                    <a:pt x="284860" y="75970"/>
                  </a:cubicBezTo>
                  <a:cubicBezTo>
                    <a:pt x="275739" y="85471"/>
                    <a:pt x="271939" y="99532"/>
                    <a:pt x="286507" y="106247"/>
                  </a:cubicBezTo>
                  <a:cubicBezTo>
                    <a:pt x="301709" y="113214"/>
                    <a:pt x="316277" y="102573"/>
                    <a:pt x="330846" y="99532"/>
                  </a:cubicBezTo>
                  <a:cubicBezTo>
                    <a:pt x="345794" y="96492"/>
                    <a:pt x="353902" y="107894"/>
                    <a:pt x="362643" y="117902"/>
                  </a:cubicBezTo>
                  <a:cubicBezTo>
                    <a:pt x="374045" y="131077"/>
                    <a:pt x="387726" y="140324"/>
                    <a:pt x="403562" y="147292"/>
                  </a:cubicBezTo>
                  <a:cubicBezTo>
                    <a:pt x="416483" y="152992"/>
                    <a:pt x="433459" y="159960"/>
                    <a:pt x="446760" y="151599"/>
                  </a:cubicBezTo>
                  <a:cubicBezTo>
                    <a:pt x="453348" y="147418"/>
                    <a:pt x="458922" y="140451"/>
                    <a:pt x="466396" y="137791"/>
                  </a:cubicBezTo>
                  <a:cubicBezTo>
                    <a:pt x="474631" y="134877"/>
                    <a:pt x="484385" y="137664"/>
                    <a:pt x="492746" y="139184"/>
                  </a:cubicBezTo>
                  <a:cubicBezTo>
                    <a:pt x="510228" y="142478"/>
                    <a:pt x="518843" y="160847"/>
                    <a:pt x="536072" y="166168"/>
                  </a:cubicBezTo>
                  <a:cubicBezTo>
                    <a:pt x="549373" y="170221"/>
                    <a:pt x="564195" y="166294"/>
                    <a:pt x="577497" y="164267"/>
                  </a:cubicBezTo>
                  <a:cubicBezTo>
                    <a:pt x="592825" y="161860"/>
                    <a:pt x="609041" y="160467"/>
                    <a:pt x="623483" y="154513"/>
                  </a:cubicBezTo>
                  <a:cubicBezTo>
                    <a:pt x="634631" y="149952"/>
                    <a:pt x="643245" y="140071"/>
                    <a:pt x="654393" y="136144"/>
                  </a:cubicBezTo>
                  <a:cubicBezTo>
                    <a:pt x="658447" y="134750"/>
                    <a:pt x="661107" y="135130"/>
                    <a:pt x="662881" y="136650"/>
                  </a:cubicBezTo>
                  <a:cubicBezTo>
                    <a:pt x="666935" y="139944"/>
                    <a:pt x="666301" y="148812"/>
                    <a:pt x="664528" y="154893"/>
                  </a:cubicBezTo>
                  <a:cubicBezTo>
                    <a:pt x="658827" y="173515"/>
                    <a:pt x="645525" y="188717"/>
                    <a:pt x="636024" y="20556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393" name="Полилиния: фигура 392">
              <a:extLst>
                <a:ext uri="{FF2B5EF4-FFF2-40B4-BE49-F238E27FC236}">
                  <a16:creationId xmlns:a16="http://schemas.microsoft.com/office/drawing/2014/main" id="{21FED34D-F433-43DD-81A4-A68A67AC498A}"/>
                </a:ext>
              </a:extLst>
            </p:cNvPr>
            <p:cNvSpPr/>
            <p:nvPr/>
          </p:nvSpPr>
          <p:spPr>
            <a:xfrm>
              <a:off x="4400572" y="4630599"/>
              <a:ext cx="1030015" cy="732806"/>
            </a:xfrm>
            <a:custGeom>
              <a:avLst/>
              <a:gdLst>
                <a:gd name="connsiteX0" fmla="*/ 1029503 w 1030015"/>
                <a:gd name="connsiteY0" fmla="*/ 360107 h 732806"/>
                <a:gd name="connsiteX1" fmla="*/ 1027983 w 1030015"/>
                <a:gd name="connsiteY1" fmla="*/ 362767 h 732806"/>
                <a:gd name="connsiteX2" fmla="*/ 1027983 w 1030015"/>
                <a:gd name="connsiteY2" fmla="*/ 362894 h 732806"/>
                <a:gd name="connsiteX3" fmla="*/ 1019495 w 1030015"/>
                <a:gd name="connsiteY3" fmla="*/ 362387 h 732806"/>
                <a:gd name="connsiteX4" fmla="*/ 988585 w 1030015"/>
                <a:gd name="connsiteY4" fmla="*/ 380756 h 732806"/>
                <a:gd name="connsiteX5" fmla="*/ 942599 w 1030015"/>
                <a:gd name="connsiteY5" fmla="*/ 390510 h 732806"/>
                <a:gd name="connsiteX6" fmla="*/ 901173 w 1030015"/>
                <a:gd name="connsiteY6" fmla="*/ 392411 h 732806"/>
                <a:gd name="connsiteX7" fmla="*/ 857848 w 1030015"/>
                <a:gd name="connsiteY7" fmla="*/ 365427 h 732806"/>
                <a:gd name="connsiteX8" fmla="*/ 831498 w 1030015"/>
                <a:gd name="connsiteY8" fmla="*/ 364034 h 732806"/>
                <a:gd name="connsiteX9" fmla="*/ 811862 w 1030015"/>
                <a:gd name="connsiteY9" fmla="*/ 377842 h 732806"/>
                <a:gd name="connsiteX10" fmla="*/ 768663 w 1030015"/>
                <a:gd name="connsiteY10" fmla="*/ 373535 h 732806"/>
                <a:gd name="connsiteX11" fmla="*/ 727745 w 1030015"/>
                <a:gd name="connsiteY11" fmla="*/ 344144 h 732806"/>
                <a:gd name="connsiteX12" fmla="*/ 695948 w 1030015"/>
                <a:gd name="connsiteY12" fmla="*/ 325776 h 732806"/>
                <a:gd name="connsiteX13" fmla="*/ 651609 w 1030015"/>
                <a:gd name="connsiteY13" fmla="*/ 332490 h 732806"/>
                <a:gd name="connsiteX14" fmla="*/ 649962 w 1030015"/>
                <a:gd name="connsiteY14" fmla="*/ 302213 h 732806"/>
                <a:gd name="connsiteX15" fmla="*/ 675552 w 1030015"/>
                <a:gd name="connsiteY15" fmla="*/ 262054 h 732806"/>
                <a:gd name="connsiteX16" fmla="*/ 657309 w 1030015"/>
                <a:gd name="connsiteY16" fmla="*/ 226710 h 732806"/>
                <a:gd name="connsiteX17" fmla="*/ 621965 w 1030015"/>
                <a:gd name="connsiteY17" fmla="*/ 253186 h 732806"/>
                <a:gd name="connsiteX18" fmla="*/ 602456 w 1030015"/>
                <a:gd name="connsiteY18" fmla="*/ 275990 h 732806"/>
                <a:gd name="connsiteX19" fmla="*/ 581300 w 1030015"/>
                <a:gd name="connsiteY19" fmla="*/ 291318 h 732806"/>
                <a:gd name="connsiteX20" fmla="*/ 578387 w 1030015"/>
                <a:gd name="connsiteY20" fmla="*/ 344144 h 732806"/>
                <a:gd name="connsiteX21" fmla="*/ 589408 w 1030015"/>
                <a:gd name="connsiteY21" fmla="*/ 416607 h 732806"/>
                <a:gd name="connsiteX22" fmla="*/ 592575 w 1030015"/>
                <a:gd name="connsiteY22" fmla="*/ 536322 h 732806"/>
                <a:gd name="connsiteX23" fmla="*/ 559004 w 1030015"/>
                <a:gd name="connsiteY23" fmla="*/ 548483 h 732806"/>
                <a:gd name="connsiteX24" fmla="*/ 543549 w 1030015"/>
                <a:gd name="connsiteY24" fmla="*/ 540882 h 732806"/>
                <a:gd name="connsiteX25" fmla="*/ 535568 w 1030015"/>
                <a:gd name="connsiteY25" fmla="*/ 547850 h 732806"/>
                <a:gd name="connsiteX26" fmla="*/ 520366 w 1030015"/>
                <a:gd name="connsiteY26" fmla="*/ 560898 h 732806"/>
                <a:gd name="connsiteX27" fmla="*/ 506811 w 1030015"/>
                <a:gd name="connsiteY27" fmla="*/ 572427 h 732806"/>
                <a:gd name="connsiteX28" fmla="*/ 508204 w 1030015"/>
                <a:gd name="connsiteY28" fmla="*/ 606631 h 732806"/>
                <a:gd name="connsiteX29" fmla="*/ 478434 w 1030015"/>
                <a:gd name="connsiteY29" fmla="*/ 618792 h 732806"/>
                <a:gd name="connsiteX30" fmla="*/ 469946 w 1030015"/>
                <a:gd name="connsiteY30" fmla="*/ 627280 h 732806"/>
                <a:gd name="connsiteX31" fmla="*/ 450057 w 1030015"/>
                <a:gd name="connsiteY31" fmla="*/ 633361 h 732806"/>
                <a:gd name="connsiteX32" fmla="*/ 448537 w 1030015"/>
                <a:gd name="connsiteY32" fmla="*/ 649069 h 732806"/>
                <a:gd name="connsiteX33" fmla="*/ 434982 w 1030015"/>
                <a:gd name="connsiteY33" fmla="*/ 661611 h 732806"/>
                <a:gd name="connsiteX34" fmla="*/ 426748 w 1030015"/>
                <a:gd name="connsiteY34" fmla="*/ 700376 h 732806"/>
                <a:gd name="connsiteX35" fmla="*/ 395837 w 1030015"/>
                <a:gd name="connsiteY35" fmla="*/ 723052 h 732806"/>
                <a:gd name="connsiteX36" fmla="*/ 388996 w 1030015"/>
                <a:gd name="connsiteY36" fmla="*/ 732807 h 732806"/>
                <a:gd name="connsiteX37" fmla="*/ 358846 w 1030015"/>
                <a:gd name="connsiteY37" fmla="*/ 731920 h 732806"/>
                <a:gd name="connsiteX38" fmla="*/ 329329 w 1030015"/>
                <a:gd name="connsiteY38" fmla="*/ 722039 h 732806"/>
                <a:gd name="connsiteX39" fmla="*/ 308046 w 1030015"/>
                <a:gd name="connsiteY39" fmla="*/ 691508 h 732806"/>
                <a:gd name="connsiteX40" fmla="*/ 281063 w 1030015"/>
                <a:gd name="connsiteY40" fmla="*/ 672632 h 732806"/>
                <a:gd name="connsiteX41" fmla="*/ 267254 w 1030015"/>
                <a:gd name="connsiteY41" fmla="*/ 674026 h 732806"/>
                <a:gd name="connsiteX42" fmla="*/ 247238 w 1030015"/>
                <a:gd name="connsiteY42" fmla="*/ 667058 h 732806"/>
                <a:gd name="connsiteX43" fmla="*/ 248252 w 1030015"/>
                <a:gd name="connsiteY43" fmla="*/ 637288 h 732806"/>
                <a:gd name="connsiteX44" fmla="*/ 244831 w 1030015"/>
                <a:gd name="connsiteY44" fmla="*/ 617906 h 732806"/>
                <a:gd name="connsiteX45" fmla="*/ 227349 w 1030015"/>
                <a:gd name="connsiteY45" fmla="*/ 593836 h 732806"/>
                <a:gd name="connsiteX46" fmla="*/ 221522 w 1030015"/>
                <a:gd name="connsiteY46" fmla="*/ 560518 h 732806"/>
                <a:gd name="connsiteX47" fmla="*/ 187064 w 1030015"/>
                <a:gd name="connsiteY47" fmla="*/ 553677 h 732806"/>
                <a:gd name="connsiteX48" fmla="*/ 159321 w 1030015"/>
                <a:gd name="connsiteY48" fmla="*/ 533535 h 732806"/>
                <a:gd name="connsiteX49" fmla="*/ 149946 w 1030015"/>
                <a:gd name="connsiteY49" fmla="*/ 499077 h 732806"/>
                <a:gd name="connsiteX50" fmla="*/ 124990 w 1030015"/>
                <a:gd name="connsiteY50" fmla="*/ 437763 h 732806"/>
                <a:gd name="connsiteX51" fmla="*/ 94966 w 1030015"/>
                <a:gd name="connsiteY51" fmla="*/ 427629 h 732806"/>
                <a:gd name="connsiteX52" fmla="*/ 80271 w 1030015"/>
                <a:gd name="connsiteY52" fmla="*/ 398618 h 732806"/>
                <a:gd name="connsiteX53" fmla="*/ 51514 w 1030015"/>
                <a:gd name="connsiteY53" fmla="*/ 373662 h 732806"/>
                <a:gd name="connsiteX54" fmla="*/ 15409 w 1030015"/>
                <a:gd name="connsiteY54" fmla="*/ 336290 h 732806"/>
                <a:gd name="connsiteX55" fmla="*/ 4895 w 1030015"/>
                <a:gd name="connsiteY55" fmla="*/ 278397 h 732806"/>
                <a:gd name="connsiteX56" fmla="*/ 27064 w 1030015"/>
                <a:gd name="connsiteY56" fmla="*/ 246472 h 732806"/>
                <a:gd name="connsiteX57" fmla="*/ 28711 w 1030015"/>
                <a:gd name="connsiteY57" fmla="*/ 241278 h 732806"/>
                <a:gd name="connsiteX58" fmla="*/ 67096 w 1030015"/>
                <a:gd name="connsiteY58" fmla="*/ 187945 h 732806"/>
                <a:gd name="connsiteX59" fmla="*/ 77484 w 1030015"/>
                <a:gd name="connsiteY59" fmla="*/ 131065 h 732806"/>
                <a:gd name="connsiteX60" fmla="*/ 119036 w 1030015"/>
                <a:gd name="connsiteY60" fmla="*/ 109275 h 732806"/>
                <a:gd name="connsiteX61" fmla="*/ 181364 w 1030015"/>
                <a:gd name="connsiteY61" fmla="*/ 129038 h 732806"/>
                <a:gd name="connsiteX62" fmla="*/ 222029 w 1030015"/>
                <a:gd name="connsiteY62" fmla="*/ 111682 h 732806"/>
                <a:gd name="connsiteX63" fmla="*/ 252685 w 1030015"/>
                <a:gd name="connsiteY63" fmla="*/ 90399 h 732806"/>
                <a:gd name="connsiteX64" fmla="*/ 253319 w 1030015"/>
                <a:gd name="connsiteY64" fmla="*/ 44920 h 732806"/>
                <a:gd name="connsiteX65" fmla="*/ 269661 w 1030015"/>
                <a:gd name="connsiteY65" fmla="*/ 18571 h 732806"/>
                <a:gd name="connsiteX66" fmla="*/ 321474 w 1030015"/>
                <a:gd name="connsiteY66" fmla="*/ 41120 h 732806"/>
                <a:gd name="connsiteX67" fmla="*/ 434982 w 1030015"/>
                <a:gd name="connsiteY67" fmla="*/ 11476 h 732806"/>
                <a:gd name="connsiteX68" fmla="*/ 662630 w 1030015"/>
                <a:gd name="connsiteY68" fmla="*/ 6156 h 732806"/>
                <a:gd name="connsiteX69" fmla="*/ 709503 w 1030015"/>
                <a:gd name="connsiteY69" fmla="*/ 11476 h 732806"/>
                <a:gd name="connsiteX70" fmla="*/ 828331 w 1030015"/>
                <a:gd name="connsiteY70" fmla="*/ 62276 h 732806"/>
                <a:gd name="connsiteX71" fmla="*/ 849487 w 1030015"/>
                <a:gd name="connsiteY71" fmla="*/ 165902 h 732806"/>
                <a:gd name="connsiteX72" fmla="*/ 875964 w 1030015"/>
                <a:gd name="connsiteY72" fmla="*/ 217969 h 732806"/>
                <a:gd name="connsiteX73" fmla="*/ 872036 w 1030015"/>
                <a:gd name="connsiteY73" fmla="*/ 255593 h 732806"/>
                <a:gd name="connsiteX74" fmla="*/ 941332 w 1030015"/>
                <a:gd name="connsiteY74" fmla="*/ 278016 h 732806"/>
                <a:gd name="connsiteX75" fmla="*/ 980857 w 1030015"/>
                <a:gd name="connsiteY75" fmla="*/ 330083 h 732806"/>
                <a:gd name="connsiteX76" fmla="*/ 985544 w 1030015"/>
                <a:gd name="connsiteY76" fmla="*/ 331730 h 732806"/>
                <a:gd name="connsiteX77" fmla="*/ 989091 w 1030015"/>
                <a:gd name="connsiteY77" fmla="*/ 332870 h 732806"/>
                <a:gd name="connsiteX78" fmla="*/ 1000999 w 1030015"/>
                <a:gd name="connsiteY78" fmla="*/ 337050 h 732806"/>
                <a:gd name="connsiteX79" fmla="*/ 1007080 w 1030015"/>
                <a:gd name="connsiteY79" fmla="*/ 339457 h 732806"/>
                <a:gd name="connsiteX80" fmla="*/ 1009107 w 1030015"/>
                <a:gd name="connsiteY80" fmla="*/ 340344 h 732806"/>
                <a:gd name="connsiteX81" fmla="*/ 1013034 w 1030015"/>
                <a:gd name="connsiteY81" fmla="*/ 342118 h 732806"/>
                <a:gd name="connsiteX82" fmla="*/ 1013034 w 1030015"/>
                <a:gd name="connsiteY82" fmla="*/ 342118 h 732806"/>
                <a:gd name="connsiteX83" fmla="*/ 1018481 w 1030015"/>
                <a:gd name="connsiteY83" fmla="*/ 344778 h 732806"/>
                <a:gd name="connsiteX84" fmla="*/ 1018481 w 1030015"/>
                <a:gd name="connsiteY84" fmla="*/ 344778 h 732806"/>
                <a:gd name="connsiteX85" fmla="*/ 1021648 w 1030015"/>
                <a:gd name="connsiteY85" fmla="*/ 346678 h 732806"/>
                <a:gd name="connsiteX86" fmla="*/ 1024435 w 1030015"/>
                <a:gd name="connsiteY86" fmla="*/ 348705 h 732806"/>
                <a:gd name="connsiteX87" fmla="*/ 1025702 w 1030015"/>
                <a:gd name="connsiteY87" fmla="*/ 349719 h 732806"/>
                <a:gd name="connsiteX88" fmla="*/ 1026842 w 1030015"/>
                <a:gd name="connsiteY88" fmla="*/ 350732 h 732806"/>
                <a:gd name="connsiteX89" fmla="*/ 1027856 w 1030015"/>
                <a:gd name="connsiteY89" fmla="*/ 351745 h 732806"/>
                <a:gd name="connsiteX90" fmla="*/ 1029756 w 1030015"/>
                <a:gd name="connsiteY90" fmla="*/ 355039 h 732806"/>
                <a:gd name="connsiteX91" fmla="*/ 1029503 w 1030015"/>
                <a:gd name="connsiteY91" fmla="*/ 360107 h 7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030015" h="732806">
                  <a:moveTo>
                    <a:pt x="1029503" y="360107"/>
                  </a:moveTo>
                  <a:cubicBezTo>
                    <a:pt x="1029123" y="360993"/>
                    <a:pt x="1028616" y="361880"/>
                    <a:pt x="1027983" y="362767"/>
                  </a:cubicBezTo>
                  <a:cubicBezTo>
                    <a:pt x="1027983" y="362894"/>
                    <a:pt x="1027983" y="362894"/>
                    <a:pt x="1027983" y="362894"/>
                  </a:cubicBezTo>
                  <a:cubicBezTo>
                    <a:pt x="1026209" y="361373"/>
                    <a:pt x="1023422" y="360993"/>
                    <a:pt x="1019495" y="362387"/>
                  </a:cubicBezTo>
                  <a:cubicBezTo>
                    <a:pt x="1008347" y="366314"/>
                    <a:pt x="999732" y="376195"/>
                    <a:pt x="988585" y="380756"/>
                  </a:cubicBezTo>
                  <a:cubicBezTo>
                    <a:pt x="974143" y="386710"/>
                    <a:pt x="957927" y="388103"/>
                    <a:pt x="942599" y="390510"/>
                  </a:cubicBezTo>
                  <a:cubicBezTo>
                    <a:pt x="929297" y="392537"/>
                    <a:pt x="914475" y="396464"/>
                    <a:pt x="901173" y="392411"/>
                  </a:cubicBezTo>
                  <a:cubicBezTo>
                    <a:pt x="883818" y="387090"/>
                    <a:pt x="875330" y="368721"/>
                    <a:pt x="857848" y="365427"/>
                  </a:cubicBezTo>
                  <a:cubicBezTo>
                    <a:pt x="849614" y="363907"/>
                    <a:pt x="839859" y="361120"/>
                    <a:pt x="831498" y="364034"/>
                  </a:cubicBezTo>
                  <a:cubicBezTo>
                    <a:pt x="824024" y="366694"/>
                    <a:pt x="818450" y="373662"/>
                    <a:pt x="811862" y="377842"/>
                  </a:cubicBezTo>
                  <a:cubicBezTo>
                    <a:pt x="798687" y="386203"/>
                    <a:pt x="781585" y="379236"/>
                    <a:pt x="768663" y="373535"/>
                  </a:cubicBezTo>
                  <a:cubicBezTo>
                    <a:pt x="752828" y="366567"/>
                    <a:pt x="739020" y="357320"/>
                    <a:pt x="727745" y="344144"/>
                  </a:cubicBezTo>
                  <a:cubicBezTo>
                    <a:pt x="719004" y="334010"/>
                    <a:pt x="710896" y="322609"/>
                    <a:pt x="695948" y="325776"/>
                  </a:cubicBezTo>
                  <a:cubicBezTo>
                    <a:pt x="681379" y="328689"/>
                    <a:pt x="666811" y="339457"/>
                    <a:pt x="651609" y="332490"/>
                  </a:cubicBezTo>
                  <a:cubicBezTo>
                    <a:pt x="637041" y="325776"/>
                    <a:pt x="640714" y="311714"/>
                    <a:pt x="649962" y="302213"/>
                  </a:cubicBezTo>
                  <a:cubicBezTo>
                    <a:pt x="661743" y="290051"/>
                    <a:pt x="673652" y="279917"/>
                    <a:pt x="675552" y="262054"/>
                  </a:cubicBezTo>
                  <a:cubicBezTo>
                    <a:pt x="676945" y="248753"/>
                    <a:pt x="672258" y="230130"/>
                    <a:pt x="657309" y="226710"/>
                  </a:cubicBezTo>
                  <a:cubicBezTo>
                    <a:pt x="640714" y="222910"/>
                    <a:pt x="629820" y="241912"/>
                    <a:pt x="621965" y="253186"/>
                  </a:cubicBezTo>
                  <a:cubicBezTo>
                    <a:pt x="616264" y="261421"/>
                    <a:pt x="610184" y="269402"/>
                    <a:pt x="602456" y="275990"/>
                  </a:cubicBezTo>
                  <a:cubicBezTo>
                    <a:pt x="595869" y="281690"/>
                    <a:pt x="587888" y="285744"/>
                    <a:pt x="581300" y="291318"/>
                  </a:cubicBezTo>
                  <a:cubicBezTo>
                    <a:pt x="565718" y="304746"/>
                    <a:pt x="574333" y="327296"/>
                    <a:pt x="578387" y="344144"/>
                  </a:cubicBezTo>
                  <a:cubicBezTo>
                    <a:pt x="584214" y="368214"/>
                    <a:pt x="586241" y="392157"/>
                    <a:pt x="589408" y="416607"/>
                  </a:cubicBezTo>
                  <a:cubicBezTo>
                    <a:pt x="594602" y="457019"/>
                    <a:pt x="605623" y="496163"/>
                    <a:pt x="592575" y="536322"/>
                  </a:cubicBezTo>
                  <a:cubicBezTo>
                    <a:pt x="587128" y="553171"/>
                    <a:pt x="574079" y="555704"/>
                    <a:pt x="559004" y="548483"/>
                  </a:cubicBezTo>
                  <a:cubicBezTo>
                    <a:pt x="554950" y="546583"/>
                    <a:pt x="548363" y="540629"/>
                    <a:pt x="543549" y="540882"/>
                  </a:cubicBezTo>
                  <a:cubicBezTo>
                    <a:pt x="539495" y="541009"/>
                    <a:pt x="537848" y="545063"/>
                    <a:pt x="535568" y="547850"/>
                  </a:cubicBezTo>
                  <a:cubicBezTo>
                    <a:pt x="531261" y="553171"/>
                    <a:pt x="526067" y="557225"/>
                    <a:pt x="520366" y="560898"/>
                  </a:cubicBezTo>
                  <a:cubicBezTo>
                    <a:pt x="515679" y="563939"/>
                    <a:pt x="509091" y="566853"/>
                    <a:pt x="506811" y="572427"/>
                  </a:cubicBezTo>
                  <a:cubicBezTo>
                    <a:pt x="502377" y="583321"/>
                    <a:pt x="516059" y="596369"/>
                    <a:pt x="508204" y="606631"/>
                  </a:cubicBezTo>
                  <a:cubicBezTo>
                    <a:pt x="501490" y="615372"/>
                    <a:pt x="486668" y="611825"/>
                    <a:pt x="478434" y="618792"/>
                  </a:cubicBezTo>
                  <a:cubicBezTo>
                    <a:pt x="475394" y="621326"/>
                    <a:pt x="473493" y="625000"/>
                    <a:pt x="469946" y="627280"/>
                  </a:cubicBezTo>
                  <a:cubicBezTo>
                    <a:pt x="464245" y="630954"/>
                    <a:pt x="454744" y="629054"/>
                    <a:pt x="450057" y="633361"/>
                  </a:cubicBezTo>
                  <a:cubicBezTo>
                    <a:pt x="446003" y="637035"/>
                    <a:pt x="448030" y="644382"/>
                    <a:pt x="448537" y="649069"/>
                  </a:cubicBezTo>
                  <a:cubicBezTo>
                    <a:pt x="449803" y="659457"/>
                    <a:pt x="442836" y="658571"/>
                    <a:pt x="434982" y="661611"/>
                  </a:cubicBezTo>
                  <a:cubicBezTo>
                    <a:pt x="434855" y="675293"/>
                    <a:pt x="437769" y="690115"/>
                    <a:pt x="426748" y="700376"/>
                  </a:cubicBezTo>
                  <a:cubicBezTo>
                    <a:pt x="417373" y="709244"/>
                    <a:pt x="404705" y="713551"/>
                    <a:pt x="395837" y="723052"/>
                  </a:cubicBezTo>
                  <a:cubicBezTo>
                    <a:pt x="392923" y="726219"/>
                    <a:pt x="390896" y="729640"/>
                    <a:pt x="388996" y="732807"/>
                  </a:cubicBezTo>
                  <a:cubicBezTo>
                    <a:pt x="378482" y="731920"/>
                    <a:pt x="367207" y="732680"/>
                    <a:pt x="358846" y="731920"/>
                  </a:cubicBezTo>
                  <a:cubicBezTo>
                    <a:pt x="348711" y="730906"/>
                    <a:pt x="337943" y="727866"/>
                    <a:pt x="329329" y="722039"/>
                  </a:cubicBezTo>
                  <a:cubicBezTo>
                    <a:pt x="318814" y="714944"/>
                    <a:pt x="314253" y="702149"/>
                    <a:pt x="308046" y="691508"/>
                  </a:cubicBezTo>
                  <a:cubicBezTo>
                    <a:pt x="302218" y="681500"/>
                    <a:pt x="293351" y="673012"/>
                    <a:pt x="281063" y="672632"/>
                  </a:cubicBezTo>
                  <a:cubicBezTo>
                    <a:pt x="276375" y="672506"/>
                    <a:pt x="271941" y="674406"/>
                    <a:pt x="267254" y="674026"/>
                  </a:cubicBezTo>
                  <a:cubicBezTo>
                    <a:pt x="260033" y="673393"/>
                    <a:pt x="253699" y="670225"/>
                    <a:pt x="247238" y="667058"/>
                  </a:cubicBezTo>
                  <a:cubicBezTo>
                    <a:pt x="248252" y="657177"/>
                    <a:pt x="248885" y="647296"/>
                    <a:pt x="248252" y="637288"/>
                  </a:cubicBezTo>
                  <a:cubicBezTo>
                    <a:pt x="247872" y="630827"/>
                    <a:pt x="246731" y="624113"/>
                    <a:pt x="244831" y="617906"/>
                  </a:cubicBezTo>
                  <a:cubicBezTo>
                    <a:pt x="241538" y="606504"/>
                    <a:pt x="231403" y="604224"/>
                    <a:pt x="227349" y="593836"/>
                  </a:cubicBezTo>
                  <a:cubicBezTo>
                    <a:pt x="223675" y="584335"/>
                    <a:pt x="229630" y="567359"/>
                    <a:pt x="221522" y="560518"/>
                  </a:cubicBezTo>
                  <a:cubicBezTo>
                    <a:pt x="213034" y="553297"/>
                    <a:pt x="197072" y="554437"/>
                    <a:pt x="187064" y="553677"/>
                  </a:cubicBezTo>
                  <a:cubicBezTo>
                    <a:pt x="173002" y="552664"/>
                    <a:pt x="162994" y="547723"/>
                    <a:pt x="159321" y="533535"/>
                  </a:cubicBezTo>
                  <a:cubicBezTo>
                    <a:pt x="156027" y="521120"/>
                    <a:pt x="157040" y="510479"/>
                    <a:pt x="149946" y="499077"/>
                  </a:cubicBezTo>
                  <a:cubicBezTo>
                    <a:pt x="137531" y="479062"/>
                    <a:pt x="153113" y="446504"/>
                    <a:pt x="124990" y="437763"/>
                  </a:cubicBezTo>
                  <a:cubicBezTo>
                    <a:pt x="115489" y="434849"/>
                    <a:pt x="103707" y="432062"/>
                    <a:pt x="94966" y="427629"/>
                  </a:cubicBezTo>
                  <a:cubicBezTo>
                    <a:pt x="83945" y="422054"/>
                    <a:pt x="84578" y="408373"/>
                    <a:pt x="80271" y="398618"/>
                  </a:cubicBezTo>
                  <a:cubicBezTo>
                    <a:pt x="75457" y="387850"/>
                    <a:pt x="59368" y="382529"/>
                    <a:pt x="51514" y="373662"/>
                  </a:cubicBezTo>
                  <a:cubicBezTo>
                    <a:pt x="39986" y="360740"/>
                    <a:pt x="25291" y="350479"/>
                    <a:pt x="15409" y="336290"/>
                  </a:cubicBezTo>
                  <a:cubicBezTo>
                    <a:pt x="3248" y="318808"/>
                    <a:pt x="-6127" y="298792"/>
                    <a:pt x="4895" y="278397"/>
                  </a:cubicBezTo>
                  <a:cubicBezTo>
                    <a:pt x="11102" y="266995"/>
                    <a:pt x="21237" y="258000"/>
                    <a:pt x="27064" y="246472"/>
                  </a:cubicBezTo>
                  <a:cubicBezTo>
                    <a:pt x="28204" y="244445"/>
                    <a:pt x="28711" y="242672"/>
                    <a:pt x="28711" y="241278"/>
                  </a:cubicBezTo>
                  <a:cubicBezTo>
                    <a:pt x="28711" y="241278"/>
                    <a:pt x="63675" y="219616"/>
                    <a:pt x="67096" y="187945"/>
                  </a:cubicBezTo>
                  <a:cubicBezTo>
                    <a:pt x="70516" y="156274"/>
                    <a:pt x="64562" y="144873"/>
                    <a:pt x="77484" y="131065"/>
                  </a:cubicBezTo>
                  <a:cubicBezTo>
                    <a:pt x="90279" y="117256"/>
                    <a:pt x="95346" y="107375"/>
                    <a:pt x="119036" y="109275"/>
                  </a:cubicBezTo>
                  <a:cubicBezTo>
                    <a:pt x="142725" y="111302"/>
                    <a:pt x="161094" y="140439"/>
                    <a:pt x="181364" y="129038"/>
                  </a:cubicBezTo>
                  <a:cubicBezTo>
                    <a:pt x="201632" y="117636"/>
                    <a:pt x="209107" y="113709"/>
                    <a:pt x="222029" y="111682"/>
                  </a:cubicBezTo>
                  <a:cubicBezTo>
                    <a:pt x="234824" y="109655"/>
                    <a:pt x="257119" y="104715"/>
                    <a:pt x="252685" y="90399"/>
                  </a:cubicBezTo>
                  <a:cubicBezTo>
                    <a:pt x="248252" y="76085"/>
                    <a:pt x="240524" y="60756"/>
                    <a:pt x="253319" y="44920"/>
                  </a:cubicBezTo>
                  <a:cubicBezTo>
                    <a:pt x="263454" y="32379"/>
                    <a:pt x="271181" y="26932"/>
                    <a:pt x="269661" y="18571"/>
                  </a:cubicBezTo>
                  <a:cubicBezTo>
                    <a:pt x="279796" y="25918"/>
                    <a:pt x="305892" y="43274"/>
                    <a:pt x="321474" y="41120"/>
                  </a:cubicBezTo>
                  <a:cubicBezTo>
                    <a:pt x="341237" y="38460"/>
                    <a:pt x="409265" y="11476"/>
                    <a:pt x="434982" y="11476"/>
                  </a:cubicBezTo>
                  <a:cubicBezTo>
                    <a:pt x="460698" y="11476"/>
                    <a:pt x="640208" y="-10313"/>
                    <a:pt x="662630" y="6156"/>
                  </a:cubicBezTo>
                  <a:cubicBezTo>
                    <a:pt x="685053" y="22625"/>
                    <a:pt x="673145" y="12743"/>
                    <a:pt x="709503" y="11476"/>
                  </a:cubicBezTo>
                  <a:cubicBezTo>
                    <a:pt x="745861" y="10083"/>
                    <a:pt x="808442" y="-3726"/>
                    <a:pt x="828331" y="62276"/>
                  </a:cubicBezTo>
                  <a:cubicBezTo>
                    <a:pt x="848093" y="128278"/>
                    <a:pt x="836312" y="144113"/>
                    <a:pt x="849487" y="165902"/>
                  </a:cubicBezTo>
                  <a:cubicBezTo>
                    <a:pt x="862662" y="187692"/>
                    <a:pt x="891039" y="202133"/>
                    <a:pt x="875964" y="217969"/>
                  </a:cubicBezTo>
                  <a:cubicBezTo>
                    <a:pt x="860762" y="233804"/>
                    <a:pt x="859495" y="253567"/>
                    <a:pt x="872036" y="255593"/>
                  </a:cubicBezTo>
                  <a:cubicBezTo>
                    <a:pt x="884578" y="257620"/>
                    <a:pt x="931451" y="261548"/>
                    <a:pt x="941332" y="278016"/>
                  </a:cubicBezTo>
                  <a:cubicBezTo>
                    <a:pt x="951213" y="294485"/>
                    <a:pt x="963754" y="324256"/>
                    <a:pt x="980857" y="330083"/>
                  </a:cubicBezTo>
                  <a:cubicBezTo>
                    <a:pt x="982250" y="330590"/>
                    <a:pt x="983897" y="331096"/>
                    <a:pt x="985544" y="331730"/>
                  </a:cubicBezTo>
                  <a:cubicBezTo>
                    <a:pt x="986684" y="332110"/>
                    <a:pt x="987824" y="332490"/>
                    <a:pt x="989091" y="332870"/>
                  </a:cubicBezTo>
                  <a:cubicBezTo>
                    <a:pt x="992765" y="334137"/>
                    <a:pt x="996945" y="335530"/>
                    <a:pt x="1000999" y="337050"/>
                  </a:cubicBezTo>
                  <a:cubicBezTo>
                    <a:pt x="1003026" y="337810"/>
                    <a:pt x="1005053" y="338571"/>
                    <a:pt x="1007080" y="339457"/>
                  </a:cubicBezTo>
                  <a:cubicBezTo>
                    <a:pt x="1007713" y="339711"/>
                    <a:pt x="1008473" y="339964"/>
                    <a:pt x="1009107" y="340344"/>
                  </a:cubicBezTo>
                  <a:cubicBezTo>
                    <a:pt x="1010500" y="340977"/>
                    <a:pt x="1011767" y="341484"/>
                    <a:pt x="1013034" y="342118"/>
                  </a:cubicBezTo>
                  <a:cubicBezTo>
                    <a:pt x="1013034" y="342118"/>
                    <a:pt x="1013034" y="342118"/>
                    <a:pt x="1013034" y="342118"/>
                  </a:cubicBezTo>
                  <a:cubicBezTo>
                    <a:pt x="1014934" y="343004"/>
                    <a:pt x="1016708" y="343891"/>
                    <a:pt x="1018481" y="344778"/>
                  </a:cubicBezTo>
                  <a:lnTo>
                    <a:pt x="1018481" y="344778"/>
                  </a:lnTo>
                  <a:cubicBezTo>
                    <a:pt x="1019621" y="345411"/>
                    <a:pt x="1020635" y="346045"/>
                    <a:pt x="1021648" y="346678"/>
                  </a:cubicBezTo>
                  <a:cubicBezTo>
                    <a:pt x="1022662" y="347312"/>
                    <a:pt x="1023549" y="348072"/>
                    <a:pt x="1024435" y="348705"/>
                  </a:cubicBezTo>
                  <a:cubicBezTo>
                    <a:pt x="1024816" y="349085"/>
                    <a:pt x="1025322" y="349465"/>
                    <a:pt x="1025702" y="349719"/>
                  </a:cubicBezTo>
                  <a:cubicBezTo>
                    <a:pt x="1026082" y="350099"/>
                    <a:pt x="1026462" y="350352"/>
                    <a:pt x="1026842" y="350732"/>
                  </a:cubicBezTo>
                  <a:cubicBezTo>
                    <a:pt x="1027223" y="351112"/>
                    <a:pt x="1027476" y="351492"/>
                    <a:pt x="1027856" y="351745"/>
                  </a:cubicBezTo>
                  <a:cubicBezTo>
                    <a:pt x="1028743" y="352759"/>
                    <a:pt x="1029376" y="353899"/>
                    <a:pt x="1029756" y="355039"/>
                  </a:cubicBezTo>
                  <a:cubicBezTo>
                    <a:pt x="1030136" y="356940"/>
                    <a:pt x="1030136" y="358460"/>
                    <a:pt x="1029503" y="36010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394" name="Полилиния: фигура 393">
              <a:extLst>
                <a:ext uri="{FF2B5EF4-FFF2-40B4-BE49-F238E27FC236}">
                  <a16:creationId xmlns:a16="http://schemas.microsoft.com/office/drawing/2014/main" id="{C22728C3-66EB-4622-AB6C-B5F42F54FC6F}"/>
                </a:ext>
              </a:extLst>
            </p:cNvPr>
            <p:cNvSpPr/>
            <p:nvPr/>
          </p:nvSpPr>
          <p:spPr>
            <a:xfrm>
              <a:off x="6395027" y="6255834"/>
              <a:ext cx="1158372" cy="709489"/>
            </a:xfrm>
            <a:custGeom>
              <a:avLst/>
              <a:gdLst>
                <a:gd name="connsiteX0" fmla="*/ 1158373 w 1158372"/>
                <a:gd name="connsiteY0" fmla="*/ 147381 h 709489"/>
                <a:gd name="connsiteX1" fmla="*/ 1157106 w 1158372"/>
                <a:gd name="connsiteY1" fmla="*/ 151055 h 709489"/>
                <a:gd name="connsiteX2" fmla="*/ 1155840 w 1158372"/>
                <a:gd name="connsiteY2" fmla="*/ 152828 h 709489"/>
                <a:gd name="connsiteX3" fmla="*/ 1154953 w 1158372"/>
                <a:gd name="connsiteY3" fmla="*/ 153715 h 709489"/>
                <a:gd name="connsiteX4" fmla="*/ 1139244 w 1158372"/>
                <a:gd name="connsiteY4" fmla="*/ 160556 h 709489"/>
                <a:gd name="connsiteX5" fmla="*/ 1123282 w 1158372"/>
                <a:gd name="connsiteY5" fmla="*/ 160049 h 709489"/>
                <a:gd name="connsiteX6" fmla="*/ 1123916 w 1158372"/>
                <a:gd name="connsiteY6" fmla="*/ 191087 h 709489"/>
                <a:gd name="connsiteX7" fmla="*/ 1124422 w 1158372"/>
                <a:gd name="connsiteY7" fmla="*/ 209202 h 709489"/>
                <a:gd name="connsiteX8" fmla="*/ 1120875 w 1158372"/>
                <a:gd name="connsiteY8" fmla="*/ 235172 h 709489"/>
                <a:gd name="connsiteX9" fmla="*/ 1111754 w 1158372"/>
                <a:gd name="connsiteY9" fmla="*/ 271023 h 709489"/>
                <a:gd name="connsiteX10" fmla="*/ 1119102 w 1158372"/>
                <a:gd name="connsiteY10" fmla="*/ 287112 h 709489"/>
                <a:gd name="connsiteX11" fmla="*/ 1119862 w 1158372"/>
                <a:gd name="connsiteY11" fmla="*/ 289012 h 709489"/>
                <a:gd name="connsiteX12" fmla="*/ 1115048 w 1158372"/>
                <a:gd name="connsiteY12" fmla="*/ 291039 h 709489"/>
                <a:gd name="connsiteX13" fmla="*/ 1104406 w 1158372"/>
                <a:gd name="connsiteY13" fmla="*/ 326130 h 709489"/>
                <a:gd name="connsiteX14" fmla="*/ 1077170 w 1158372"/>
                <a:gd name="connsiteY14" fmla="*/ 360208 h 709489"/>
                <a:gd name="connsiteX15" fmla="*/ 1025737 w 1158372"/>
                <a:gd name="connsiteY15" fmla="*/ 407460 h 709489"/>
                <a:gd name="connsiteX16" fmla="*/ 1014842 w 1158372"/>
                <a:gd name="connsiteY16" fmla="*/ 462440 h 709489"/>
                <a:gd name="connsiteX17" fmla="*/ 1018009 w 1158372"/>
                <a:gd name="connsiteY17" fmla="*/ 518561 h 709489"/>
                <a:gd name="connsiteX18" fmla="*/ 1045626 w 1158372"/>
                <a:gd name="connsiteY18" fmla="*/ 576201 h 709489"/>
                <a:gd name="connsiteX19" fmla="*/ 1029917 w 1158372"/>
                <a:gd name="connsiteY19" fmla="*/ 644357 h 709489"/>
                <a:gd name="connsiteX20" fmla="*/ 1005087 w 1158372"/>
                <a:gd name="connsiteY20" fmla="*/ 653858 h 709489"/>
                <a:gd name="connsiteX21" fmla="*/ 975064 w 1158372"/>
                <a:gd name="connsiteY21" fmla="*/ 677421 h 709489"/>
                <a:gd name="connsiteX22" fmla="*/ 918943 w 1158372"/>
                <a:gd name="connsiteY22" fmla="*/ 708458 h 709489"/>
                <a:gd name="connsiteX23" fmla="*/ 875491 w 1158372"/>
                <a:gd name="connsiteY23" fmla="*/ 690089 h 709489"/>
                <a:gd name="connsiteX24" fmla="*/ 817724 w 1158372"/>
                <a:gd name="connsiteY24" fmla="*/ 684388 h 709489"/>
                <a:gd name="connsiteX25" fmla="*/ 785800 w 1158372"/>
                <a:gd name="connsiteY25" fmla="*/ 665386 h 709489"/>
                <a:gd name="connsiteX26" fmla="*/ 763124 w 1158372"/>
                <a:gd name="connsiteY26" fmla="*/ 656265 h 709489"/>
                <a:gd name="connsiteX27" fmla="*/ 735633 w 1158372"/>
                <a:gd name="connsiteY27" fmla="*/ 662979 h 709489"/>
                <a:gd name="connsiteX28" fmla="*/ 668365 w 1158372"/>
                <a:gd name="connsiteY28" fmla="*/ 644230 h 709489"/>
                <a:gd name="connsiteX29" fmla="*/ 637835 w 1158372"/>
                <a:gd name="connsiteY29" fmla="*/ 610786 h 709489"/>
                <a:gd name="connsiteX30" fmla="*/ 619339 w 1158372"/>
                <a:gd name="connsiteY30" fmla="*/ 595964 h 709489"/>
                <a:gd name="connsiteX31" fmla="*/ 605784 w 1158372"/>
                <a:gd name="connsiteY31" fmla="*/ 571514 h 709489"/>
                <a:gd name="connsiteX32" fmla="*/ 587035 w 1158372"/>
                <a:gd name="connsiteY32" fmla="*/ 542124 h 709489"/>
                <a:gd name="connsiteX33" fmla="*/ 567399 w 1158372"/>
                <a:gd name="connsiteY33" fmla="*/ 532243 h 709489"/>
                <a:gd name="connsiteX34" fmla="*/ 500131 w 1158372"/>
                <a:gd name="connsiteY34" fmla="*/ 529455 h 709489"/>
                <a:gd name="connsiteX35" fmla="*/ 464153 w 1158372"/>
                <a:gd name="connsiteY35" fmla="*/ 530976 h 709489"/>
                <a:gd name="connsiteX36" fmla="*/ 429949 w 1158372"/>
                <a:gd name="connsiteY36" fmla="*/ 542631 h 709489"/>
                <a:gd name="connsiteX37" fmla="*/ 410440 w 1158372"/>
                <a:gd name="connsiteY37" fmla="*/ 540857 h 709489"/>
                <a:gd name="connsiteX38" fmla="*/ 413860 w 1158372"/>
                <a:gd name="connsiteY38" fmla="*/ 519954 h 709489"/>
                <a:gd name="connsiteX39" fmla="*/ 420448 w 1158372"/>
                <a:gd name="connsiteY39" fmla="*/ 494111 h 709489"/>
                <a:gd name="connsiteX40" fmla="*/ 399671 w 1158372"/>
                <a:gd name="connsiteY40" fmla="*/ 487397 h 709489"/>
                <a:gd name="connsiteX41" fmla="*/ 366481 w 1158372"/>
                <a:gd name="connsiteY41" fmla="*/ 495251 h 709489"/>
                <a:gd name="connsiteX42" fmla="*/ 337090 w 1158372"/>
                <a:gd name="connsiteY42" fmla="*/ 499559 h 709489"/>
                <a:gd name="connsiteX43" fmla="*/ 283250 w 1158372"/>
                <a:gd name="connsiteY43" fmla="*/ 518434 h 709489"/>
                <a:gd name="connsiteX44" fmla="*/ 236251 w 1158372"/>
                <a:gd name="connsiteY44" fmla="*/ 531862 h 709489"/>
                <a:gd name="connsiteX45" fmla="*/ 212942 w 1158372"/>
                <a:gd name="connsiteY45" fmla="*/ 532369 h 709489"/>
                <a:gd name="connsiteX46" fmla="*/ 194066 w 1158372"/>
                <a:gd name="connsiteY46" fmla="*/ 543897 h 709489"/>
                <a:gd name="connsiteX47" fmla="*/ 168223 w 1158372"/>
                <a:gd name="connsiteY47" fmla="*/ 559606 h 709489"/>
                <a:gd name="connsiteX48" fmla="*/ 125277 w 1158372"/>
                <a:gd name="connsiteY48" fmla="*/ 578735 h 709489"/>
                <a:gd name="connsiteX49" fmla="*/ 93480 w 1158372"/>
                <a:gd name="connsiteY49" fmla="*/ 575821 h 709489"/>
                <a:gd name="connsiteX50" fmla="*/ 71057 w 1158372"/>
                <a:gd name="connsiteY50" fmla="*/ 574048 h 709489"/>
                <a:gd name="connsiteX51" fmla="*/ 65357 w 1158372"/>
                <a:gd name="connsiteY51" fmla="*/ 576455 h 709489"/>
                <a:gd name="connsiteX52" fmla="*/ 50028 w 1158372"/>
                <a:gd name="connsiteY52" fmla="*/ 557959 h 709489"/>
                <a:gd name="connsiteX53" fmla="*/ 35459 w 1158372"/>
                <a:gd name="connsiteY53" fmla="*/ 536043 h 709489"/>
                <a:gd name="connsiteX54" fmla="*/ 29885 w 1158372"/>
                <a:gd name="connsiteY54" fmla="*/ 517167 h 709489"/>
                <a:gd name="connsiteX55" fmla="*/ 45214 w 1158372"/>
                <a:gd name="connsiteY55" fmla="*/ 500572 h 709489"/>
                <a:gd name="connsiteX56" fmla="*/ 66623 w 1158372"/>
                <a:gd name="connsiteY56" fmla="*/ 519194 h 709489"/>
                <a:gd name="connsiteX57" fmla="*/ 84359 w 1158372"/>
                <a:gd name="connsiteY57" fmla="*/ 512733 h 709489"/>
                <a:gd name="connsiteX58" fmla="*/ 75491 w 1158372"/>
                <a:gd name="connsiteY58" fmla="*/ 474855 h 709489"/>
                <a:gd name="connsiteX59" fmla="*/ 52815 w 1158372"/>
                <a:gd name="connsiteY59" fmla="*/ 453826 h 709489"/>
                <a:gd name="connsiteX60" fmla="*/ 37613 w 1158372"/>
                <a:gd name="connsiteY60" fmla="*/ 427476 h 709489"/>
                <a:gd name="connsiteX61" fmla="*/ 3409 w 1158372"/>
                <a:gd name="connsiteY61" fmla="*/ 371989 h 709489"/>
                <a:gd name="connsiteX62" fmla="*/ 1762 w 1158372"/>
                <a:gd name="connsiteY62" fmla="*/ 307634 h 709489"/>
                <a:gd name="connsiteX63" fmla="*/ 1508 w 1158372"/>
                <a:gd name="connsiteY63" fmla="*/ 302694 h 709489"/>
                <a:gd name="connsiteX64" fmla="*/ 1128 w 1158372"/>
                <a:gd name="connsiteY64" fmla="*/ 298133 h 709489"/>
                <a:gd name="connsiteX65" fmla="*/ 1128 w 1158372"/>
                <a:gd name="connsiteY65" fmla="*/ 297753 h 709489"/>
                <a:gd name="connsiteX66" fmla="*/ 748 w 1158372"/>
                <a:gd name="connsiteY66" fmla="*/ 293193 h 709489"/>
                <a:gd name="connsiteX67" fmla="*/ 748 w 1158372"/>
                <a:gd name="connsiteY67" fmla="*/ 292939 h 709489"/>
                <a:gd name="connsiteX68" fmla="*/ 622 w 1158372"/>
                <a:gd name="connsiteY68" fmla="*/ 289519 h 709489"/>
                <a:gd name="connsiteX69" fmla="*/ 1382 w 1158372"/>
                <a:gd name="connsiteY69" fmla="*/ 279638 h 709489"/>
                <a:gd name="connsiteX70" fmla="*/ 2268 w 1158372"/>
                <a:gd name="connsiteY70" fmla="*/ 276344 h 709489"/>
                <a:gd name="connsiteX71" fmla="*/ 2902 w 1158372"/>
                <a:gd name="connsiteY71" fmla="*/ 274824 h 709489"/>
                <a:gd name="connsiteX72" fmla="*/ 2902 w 1158372"/>
                <a:gd name="connsiteY72" fmla="*/ 274824 h 709489"/>
                <a:gd name="connsiteX73" fmla="*/ 4042 w 1158372"/>
                <a:gd name="connsiteY73" fmla="*/ 272543 h 709489"/>
                <a:gd name="connsiteX74" fmla="*/ 4549 w 1158372"/>
                <a:gd name="connsiteY74" fmla="*/ 271657 h 709489"/>
                <a:gd name="connsiteX75" fmla="*/ 6576 w 1158372"/>
                <a:gd name="connsiteY75" fmla="*/ 268869 h 709489"/>
                <a:gd name="connsiteX76" fmla="*/ 12783 w 1158372"/>
                <a:gd name="connsiteY76" fmla="*/ 263929 h 709489"/>
                <a:gd name="connsiteX77" fmla="*/ 57629 w 1158372"/>
                <a:gd name="connsiteY77" fmla="*/ 270516 h 709489"/>
                <a:gd name="connsiteX78" fmla="*/ 97027 w 1158372"/>
                <a:gd name="connsiteY78" fmla="*/ 276724 h 709489"/>
                <a:gd name="connsiteX79" fmla="*/ 117803 w 1158372"/>
                <a:gd name="connsiteY79" fmla="*/ 256708 h 709489"/>
                <a:gd name="connsiteX80" fmla="*/ 126037 w 1158372"/>
                <a:gd name="connsiteY80" fmla="*/ 235679 h 709489"/>
                <a:gd name="connsiteX81" fmla="*/ 142886 w 1158372"/>
                <a:gd name="connsiteY81" fmla="*/ 201221 h 709489"/>
                <a:gd name="connsiteX82" fmla="*/ 166829 w 1158372"/>
                <a:gd name="connsiteY82" fmla="*/ 192734 h 709489"/>
                <a:gd name="connsiteX83" fmla="*/ 168096 w 1158372"/>
                <a:gd name="connsiteY83" fmla="*/ 192860 h 709489"/>
                <a:gd name="connsiteX84" fmla="*/ 169743 w 1158372"/>
                <a:gd name="connsiteY84" fmla="*/ 193114 h 709489"/>
                <a:gd name="connsiteX85" fmla="*/ 173037 w 1158372"/>
                <a:gd name="connsiteY85" fmla="*/ 193747 h 709489"/>
                <a:gd name="connsiteX86" fmla="*/ 174430 w 1158372"/>
                <a:gd name="connsiteY86" fmla="*/ 194000 h 709489"/>
                <a:gd name="connsiteX87" fmla="*/ 184564 w 1158372"/>
                <a:gd name="connsiteY87" fmla="*/ 197801 h 709489"/>
                <a:gd name="connsiteX88" fmla="*/ 185958 w 1158372"/>
                <a:gd name="connsiteY88" fmla="*/ 198561 h 709489"/>
                <a:gd name="connsiteX89" fmla="*/ 189378 w 1158372"/>
                <a:gd name="connsiteY89" fmla="*/ 200461 h 709489"/>
                <a:gd name="connsiteX90" fmla="*/ 191152 w 1158372"/>
                <a:gd name="connsiteY90" fmla="*/ 201601 h 709489"/>
                <a:gd name="connsiteX91" fmla="*/ 192925 w 1158372"/>
                <a:gd name="connsiteY91" fmla="*/ 202868 h 709489"/>
                <a:gd name="connsiteX92" fmla="*/ 194572 w 1158372"/>
                <a:gd name="connsiteY92" fmla="*/ 204135 h 709489"/>
                <a:gd name="connsiteX93" fmla="*/ 194572 w 1158372"/>
                <a:gd name="connsiteY93" fmla="*/ 204135 h 709489"/>
                <a:gd name="connsiteX94" fmla="*/ 196473 w 1158372"/>
                <a:gd name="connsiteY94" fmla="*/ 205655 h 709489"/>
                <a:gd name="connsiteX95" fmla="*/ 196979 w 1158372"/>
                <a:gd name="connsiteY95" fmla="*/ 206162 h 709489"/>
                <a:gd name="connsiteX96" fmla="*/ 198246 w 1158372"/>
                <a:gd name="connsiteY96" fmla="*/ 207302 h 709489"/>
                <a:gd name="connsiteX97" fmla="*/ 199893 w 1158372"/>
                <a:gd name="connsiteY97" fmla="*/ 209075 h 709489"/>
                <a:gd name="connsiteX98" fmla="*/ 201413 w 1158372"/>
                <a:gd name="connsiteY98" fmla="*/ 210722 h 709489"/>
                <a:gd name="connsiteX99" fmla="*/ 206101 w 1158372"/>
                <a:gd name="connsiteY99" fmla="*/ 218196 h 709489"/>
                <a:gd name="connsiteX100" fmla="*/ 235744 w 1158372"/>
                <a:gd name="connsiteY100" fmla="*/ 266589 h 709489"/>
                <a:gd name="connsiteX101" fmla="*/ 265515 w 1158372"/>
                <a:gd name="connsiteY101" fmla="*/ 252781 h 709489"/>
                <a:gd name="connsiteX102" fmla="*/ 293131 w 1158372"/>
                <a:gd name="connsiteY102" fmla="*/ 250754 h 709489"/>
                <a:gd name="connsiteX103" fmla="*/ 314541 w 1158372"/>
                <a:gd name="connsiteY103" fmla="*/ 274317 h 709489"/>
                <a:gd name="connsiteX104" fmla="*/ 331643 w 1158372"/>
                <a:gd name="connsiteY104" fmla="*/ 281538 h 709489"/>
                <a:gd name="connsiteX105" fmla="*/ 364454 w 1158372"/>
                <a:gd name="connsiteY105" fmla="*/ 294460 h 709489"/>
                <a:gd name="connsiteX106" fmla="*/ 397644 w 1158372"/>
                <a:gd name="connsiteY106" fmla="*/ 292939 h 709489"/>
                <a:gd name="connsiteX107" fmla="*/ 418547 w 1158372"/>
                <a:gd name="connsiteY107" fmla="*/ 283058 h 709489"/>
                <a:gd name="connsiteX108" fmla="*/ 441603 w 1158372"/>
                <a:gd name="connsiteY108" fmla="*/ 271276 h 709489"/>
                <a:gd name="connsiteX109" fmla="*/ 464533 w 1158372"/>
                <a:gd name="connsiteY109" fmla="*/ 260762 h 709489"/>
                <a:gd name="connsiteX110" fmla="*/ 481762 w 1158372"/>
                <a:gd name="connsiteY110" fmla="*/ 247334 h 709489"/>
                <a:gd name="connsiteX111" fmla="*/ 517740 w 1158372"/>
                <a:gd name="connsiteY111" fmla="*/ 221617 h 709489"/>
                <a:gd name="connsiteX112" fmla="*/ 549030 w 1158372"/>
                <a:gd name="connsiteY112" fmla="*/ 202361 h 709489"/>
                <a:gd name="connsiteX113" fmla="*/ 580447 w 1158372"/>
                <a:gd name="connsiteY113" fmla="*/ 180825 h 709489"/>
                <a:gd name="connsiteX114" fmla="*/ 599703 w 1158372"/>
                <a:gd name="connsiteY114" fmla="*/ 163090 h 709489"/>
                <a:gd name="connsiteX115" fmla="*/ 625293 w 1158372"/>
                <a:gd name="connsiteY115" fmla="*/ 152955 h 709489"/>
                <a:gd name="connsiteX116" fmla="*/ 638722 w 1158372"/>
                <a:gd name="connsiteY116" fmla="*/ 146114 h 709489"/>
                <a:gd name="connsiteX117" fmla="*/ 650503 w 1158372"/>
                <a:gd name="connsiteY117" fmla="*/ 138387 h 709489"/>
                <a:gd name="connsiteX118" fmla="*/ 664184 w 1158372"/>
                <a:gd name="connsiteY118" fmla="*/ 132939 h 709489"/>
                <a:gd name="connsiteX119" fmla="*/ 669505 w 1158372"/>
                <a:gd name="connsiteY119" fmla="*/ 123818 h 709489"/>
                <a:gd name="connsiteX120" fmla="*/ 675586 w 1158372"/>
                <a:gd name="connsiteY120" fmla="*/ 93414 h 709489"/>
                <a:gd name="connsiteX121" fmla="*/ 668619 w 1158372"/>
                <a:gd name="connsiteY121" fmla="*/ 62757 h 709489"/>
                <a:gd name="connsiteX122" fmla="*/ 695855 w 1158372"/>
                <a:gd name="connsiteY122" fmla="*/ 27286 h 709489"/>
                <a:gd name="connsiteX123" fmla="*/ 712197 w 1158372"/>
                <a:gd name="connsiteY123" fmla="*/ 28046 h 709489"/>
                <a:gd name="connsiteX124" fmla="*/ 738167 w 1158372"/>
                <a:gd name="connsiteY124" fmla="*/ 35394 h 709489"/>
                <a:gd name="connsiteX125" fmla="*/ 767558 w 1158372"/>
                <a:gd name="connsiteY125" fmla="*/ 32860 h 709489"/>
                <a:gd name="connsiteX126" fmla="*/ 788713 w 1158372"/>
                <a:gd name="connsiteY126" fmla="*/ 36914 h 709489"/>
                <a:gd name="connsiteX127" fmla="*/ 833812 w 1158372"/>
                <a:gd name="connsiteY127" fmla="*/ 42868 h 709489"/>
                <a:gd name="connsiteX128" fmla="*/ 875491 w 1158372"/>
                <a:gd name="connsiteY128" fmla="*/ 45022 h 709489"/>
                <a:gd name="connsiteX129" fmla="*/ 877011 w 1158372"/>
                <a:gd name="connsiteY129" fmla="*/ 44135 h 709489"/>
                <a:gd name="connsiteX130" fmla="*/ 878532 w 1158372"/>
                <a:gd name="connsiteY130" fmla="*/ 43121 h 709489"/>
                <a:gd name="connsiteX131" fmla="*/ 879671 w 1158372"/>
                <a:gd name="connsiteY131" fmla="*/ 42235 h 709489"/>
                <a:gd name="connsiteX132" fmla="*/ 884612 w 1158372"/>
                <a:gd name="connsiteY132" fmla="*/ 36407 h 709489"/>
                <a:gd name="connsiteX133" fmla="*/ 885245 w 1158372"/>
                <a:gd name="connsiteY133" fmla="*/ 35267 h 709489"/>
                <a:gd name="connsiteX134" fmla="*/ 886005 w 1158372"/>
                <a:gd name="connsiteY134" fmla="*/ 33874 h 709489"/>
                <a:gd name="connsiteX135" fmla="*/ 886513 w 1158372"/>
                <a:gd name="connsiteY135" fmla="*/ 32734 h 709489"/>
                <a:gd name="connsiteX136" fmla="*/ 889933 w 1158372"/>
                <a:gd name="connsiteY136" fmla="*/ 23739 h 709489"/>
                <a:gd name="connsiteX137" fmla="*/ 892593 w 1158372"/>
                <a:gd name="connsiteY137" fmla="*/ 16898 h 709489"/>
                <a:gd name="connsiteX138" fmla="*/ 893480 w 1158372"/>
                <a:gd name="connsiteY138" fmla="*/ 15124 h 709489"/>
                <a:gd name="connsiteX139" fmla="*/ 897407 w 1158372"/>
                <a:gd name="connsiteY139" fmla="*/ 9297 h 709489"/>
                <a:gd name="connsiteX140" fmla="*/ 898927 w 1158372"/>
                <a:gd name="connsiteY140" fmla="*/ 7777 h 709489"/>
                <a:gd name="connsiteX141" fmla="*/ 932751 w 1158372"/>
                <a:gd name="connsiteY141" fmla="*/ 7903 h 709489"/>
                <a:gd name="connsiteX142" fmla="*/ 966322 w 1158372"/>
                <a:gd name="connsiteY142" fmla="*/ 37041 h 709489"/>
                <a:gd name="connsiteX143" fmla="*/ 991786 w 1158372"/>
                <a:gd name="connsiteY143" fmla="*/ 46288 h 709489"/>
                <a:gd name="connsiteX144" fmla="*/ 1007874 w 1158372"/>
                <a:gd name="connsiteY144" fmla="*/ 52749 h 709489"/>
                <a:gd name="connsiteX145" fmla="*/ 1022823 w 1158372"/>
                <a:gd name="connsiteY145" fmla="*/ 64657 h 709489"/>
                <a:gd name="connsiteX146" fmla="*/ 1034097 w 1158372"/>
                <a:gd name="connsiteY146" fmla="*/ 75932 h 709489"/>
                <a:gd name="connsiteX147" fmla="*/ 1040431 w 1158372"/>
                <a:gd name="connsiteY147" fmla="*/ 89107 h 709489"/>
                <a:gd name="connsiteX148" fmla="*/ 1048033 w 1158372"/>
                <a:gd name="connsiteY148" fmla="*/ 101015 h 709489"/>
                <a:gd name="connsiteX149" fmla="*/ 1054113 w 1158372"/>
                <a:gd name="connsiteY149" fmla="*/ 110896 h 709489"/>
                <a:gd name="connsiteX150" fmla="*/ 1075776 w 1158372"/>
                <a:gd name="connsiteY150" fmla="*/ 117357 h 709489"/>
                <a:gd name="connsiteX151" fmla="*/ 1108334 w 1158372"/>
                <a:gd name="connsiteY151" fmla="*/ 97088 h 709489"/>
                <a:gd name="connsiteX152" fmla="*/ 1138104 w 1158372"/>
                <a:gd name="connsiteY152" fmla="*/ 97595 h 709489"/>
                <a:gd name="connsiteX153" fmla="*/ 1142285 w 1158372"/>
                <a:gd name="connsiteY153" fmla="*/ 131926 h 709489"/>
                <a:gd name="connsiteX154" fmla="*/ 1144058 w 1158372"/>
                <a:gd name="connsiteY154" fmla="*/ 134080 h 709489"/>
                <a:gd name="connsiteX155" fmla="*/ 1150899 w 1158372"/>
                <a:gd name="connsiteY155" fmla="*/ 139020 h 709489"/>
                <a:gd name="connsiteX156" fmla="*/ 1153052 w 1158372"/>
                <a:gd name="connsiteY156" fmla="*/ 140414 h 709489"/>
                <a:gd name="connsiteX157" fmla="*/ 1158373 w 1158372"/>
                <a:gd name="connsiteY157" fmla="*/ 147381 h 7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158372" h="709489">
                  <a:moveTo>
                    <a:pt x="1158373" y="147381"/>
                  </a:moveTo>
                  <a:cubicBezTo>
                    <a:pt x="1158373" y="148521"/>
                    <a:pt x="1157993" y="149661"/>
                    <a:pt x="1157106" y="151055"/>
                  </a:cubicBezTo>
                  <a:cubicBezTo>
                    <a:pt x="1156726" y="151562"/>
                    <a:pt x="1156346" y="152195"/>
                    <a:pt x="1155840" y="152828"/>
                  </a:cubicBezTo>
                  <a:cubicBezTo>
                    <a:pt x="1155586" y="153082"/>
                    <a:pt x="1155333" y="153335"/>
                    <a:pt x="1154953" y="153715"/>
                  </a:cubicBezTo>
                  <a:cubicBezTo>
                    <a:pt x="1150899" y="157896"/>
                    <a:pt x="1145071" y="160429"/>
                    <a:pt x="1139244" y="160556"/>
                  </a:cubicBezTo>
                  <a:cubicBezTo>
                    <a:pt x="1134050" y="160683"/>
                    <a:pt x="1128349" y="158402"/>
                    <a:pt x="1123282" y="160049"/>
                  </a:cubicBezTo>
                  <a:cubicBezTo>
                    <a:pt x="1109474" y="164356"/>
                    <a:pt x="1121128" y="183106"/>
                    <a:pt x="1123916" y="191087"/>
                  </a:cubicBezTo>
                  <a:cubicBezTo>
                    <a:pt x="1125942" y="197041"/>
                    <a:pt x="1125055" y="203121"/>
                    <a:pt x="1124422" y="209202"/>
                  </a:cubicBezTo>
                  <a:cubicBezTo>
                    <a:pt x="1123535" y="217816"/>
                    <a:pt x="1122902" y="226684"/>
                    <a:pt x="1120875" y="235172"/>
                  </a:cubicBezTo>
                  <a:cubicBezTo>
                    <a:pt x="1117708" y="248220"/>
                    <a:pt x="1107953" y="256708"/>
                    <a:pt x="1111754" y="271023"/>
                  </a:cubicBezTo>
                  <a:cubicBezTo>
                    <a:pt x="1113274" y="276851"/>
                    <a:pt x="1116695" y="281665"/>
                    <a:pt x="1119102" y="287112"/>
                  </a:cubicBezTo>
                  <a:cubicBezTo>
                    <a:pt x="1119355" y="287745"/>
                    <a:pt x="1119608" y="288379"/>
                    <a:pt x="1119862" y="289012"/>
                  </a:cubicBezTo>
                  <a:cubicBezTo>
                    <a:pt x="1118215" y="289139"/>
                    <a:pt x="1116568" y="289772"/>
                    <a:pt x="1115048" y="291039"/>
                  </a:cubicBezTo>
                  <a:cubicBezTo>
                    <a:pt x="1107447" y="297247"/>
                    <a:pt x="1107700" y="317389"/>
                    <a:pt x="1104406" y="326130"/>
                  </a:cubicBezTo>
                  <a:cubicBezTo>
                    <a:pt x="1099085" y="340445"/>
                    <a:pt x="1089457" y="351340"/>
                    <a:pt x="1077170" y="360208"/>
                  </a:cubicBezTo>
                  <a:cubicBezTo>
                    <a:pt x="1058294" y="373763"/>
                    <a:pt x="1041191" y="390105"/>
                    <a:pt x="1025737" y="407460"/>
                  </a:cubicBezTo>
                  <a:cubicBezTo>
                    <a:pt x="1011548" y="423549"/>
                    <a:pt x="1013828" y="442045"/>
                    <a:pt x="1014842" y="462440"/>
                  </a:cubicBezTo>
                  <a:cubicBezTo>
                    <a:pt x="1015728" y="481443"/>
                    <a:pt x="1012941" y="499812"/>
                    <a:pt x="1018009" y="518561"/>
                  </a:cubicBezTo>
                  <a:cubicBezTo>
                    <a:pt x="1023709" y="539590"/>
                    <a:pt x="1041572" y="554792"/>
                    <a:pt x="1045626" y="576201"/>
                  </a:cubicBezTo>
                  <a:cubicBezTo>
                    <a:pt x="1049426" y="595711"/>
                    <a:pt x="1047906" y="631435"/>
                    <a:pt x="1029917" y="644357"/>
                  </a:cubicBezTo>
                  <a:cubicBezTo>
                    <a:pt x="1022696" y="649424"/>
                    <a:pt x="1013068" y="650311"/>
                    <a:pt x="1005087" y="653858"/>
                  </a:cubicBezTo>
                  <a:cubicBezTo>
                    <a:pt x="993306" y="659178"/>
                    <a:pt x="983805" y="668046"/>
                    <a:pt x="975064" y="677421"/>
                  </a:cubicBezTo>
                  <a:cubicBezTo>
                    <a:pt x="959228" y="694270"/>
                    <a:pt x="944786" y="714286"/>
                    <a:pt x="918943" y="708458"/>
                  </a:cubicBezTo>
                  <a:cubicBezTo>
                    <a:pt x="903235" y="704910"/>
                    <a:pt x="890693" y="694016"/>
                    <a:pt x="875491" y="690089"/>
                  </a:cubicBezTo>
                  <a:cubicBezTo>
                    <a:pt x="856489" y="685275"/>
                    <a:pt x="836979" y="691356"/>
                    <a:pt x="817724" y="684388"/>
                  </a:cubicBezTo>
                  <a:cubicBezTo>
                    <a:pt x="805816" y="680081"/>
                    <a:pt x="795934" y="672860"/>
                    <a:pt x="785800" y="665386"/>
                  </a:cubicBezTo>
                  <a:cubicBezTo>
                    <a:pt x="778832" y="660318"/>
                    <a:pt x="772118" y="655505"/>
                    <a:pt x="763124" y="656265"/>
                  </a:cubicBezTo>
                  <a:cubicBezTo>
                    <a:pt x="753749" y="657025"/>
                    <a:pt x="745008" y="661712"/>
                    <a:pt x="735633" y="662979"/>
                  </a:cubicBezTo>
                  <a:cubicBezTo>
                    <a:pt x="714224" y="665892"/>
                    <a:pt x="684073" y="660318"/>
                    <a:pt x="668365" y="644230"/>
                  </a:cubicBezTo>
                  <a:cubicBezTo>
                    <a:pt x="657850" y="633462"/>
                    <a:pt x="648983" y="621047"/>
                    <a:pt x="637835" y="610786"/>
                  </a:cubicBezTo>
                  <a:cubicBezTo>
                    <a:pt x="631880" y="605465"/>
                    <a:pt x="624786" y="601791"/>
                    <a:pt x="619339" y="595964"/>
                  </a:cubicBezTo>
                  <a:cubicBezTo>
                    <a:pt x="612498" y="588743"/>
                    <a:pt x="609711" y="580382"/>
                    <a:pt x="605784" y="571514"/>
                  </a:cubicBezTo>
                  <a:cubicBezTo>
                    <a:pt x="601350" y="561379"/>
                    <a:pt x="594889" y="549978"/>
                    <a:pt x="587035" y="542124"/>
                  </a:cubicBezTo>
                  <a:cubicBezTo>
                    <a:pt x="581588" y="536676"/>
                    <a:pt x="574367" y="534903"/>
                    <a:pt x="567399" y="532243"/>
                  </a:cubicBezTo>
                  <a:cubicBezTo>
                    <a:pt x="546243" y="524135"/>
                    <a:pt x="522047" y="525022"/>
                    <a:pt x="500131" y="529455"/>
                  </a:cubicBezTo>
                  <a:cubicBezTo>
                    <a:pt x="487716" y="531989"/>
                    <a:pt x="476695" y="531229"/>
                    <a:pt x="464153" y="530976"/>
                  </a:cubicBezTo>
                  <a:cubicBezTo>
                    <a:pt x="450091" y="530722"/>
                    <a:pt x="441730" y="536170"/>
                    <a:pt x="429949" y="542631"/>
                  </a:cubicBezTo>
                  <a:cubicBezTo>
                    <a:pt x="423868" y="545924"/>
                    <a:pt x="413733" y="549598"/>
                    <a:pt x="410440" y="540857"/>
                  </a:cubicBezTo>
                  <a:cubicBezTo>
                    <a:pt x="408286" y="535030"/>
                    <a:pt x="412340" y="525528"/>
                    <a:pt x="413860" y="519954"/>
                  </a:cubicBezTo>
                  <a:cubicBezTo>
                    <a:pt x="416014" y="512607"/>
                    <a:pt x="422475" y="501712"/>
                    <a:pt x="420448" y="494111"/>
                  </a:cubicBezTo>
                  <a:cubicBezTo>
                    <a:pt x="418167" y="485117"/>
                    <a:pt x="406892" y="485877"/>
                    <a:pt x="399671" y="487397"/>
                  </a:cubicBezTo>
                  <a:cubicBezTo>
                    <a:pt x="388523" y="489551"/>
                    <a:pt x="377882" y="493605"/>
                    <a:pt x="366481" y="495251"/>
                  </a:cubicBezTo>
                  <a:cubicBezTo>
                    <a:pt x="356599" y="496645"/>
                    <a:pt x="346718" y="496772"/>
                    <a:pt x="337090" y="499559"/>
                  </a:cubicBezTo>
                  <a:cubicBezTo>
                    <a:pt x="318848" y="505006"/>
                    <a:pt x="301239" y="512100"/>
                    <a:pt x="283250" y="518434"/>
                  </a:cubicBezTo>
                  <a:cubicBezTo>
                    <a:pt x="268175" y="523755"/>
                    <a:pt x="252466" y="533129"/>
                    <a:pt x="236251" y="531862"/>
                  </a:cubicBezTo>
                  <a:cubicBezTo>
                    <a:pt x="228270" y="531102"/>
                    <a:pt x="220543" y="528949"/>
                    <a:pt x="212942" y="532369"/>
                  </a:cubicBezTo>
                  <a:cubicBezTo>
                    <a:pt x="206734" y="535030"/>
                    <a:pt x="199513" y="539970"/>
                    <a:pt x="194066" y="543897"/>
                  </a:cubicBezTo>
                  <a:cubicBezTo>
                    <a:pt x="185831" y="549725"/>
                    <a:pt x="175950" y="553525"/>
                    <a:pt x="168223" y="559606"/>
                  </a:cubicBezTo>
                  <a:cubicBezTo>
                    <a:pt x="154668" y="570374"/>
                    <a:pt x="143646" y="579495"/>
                    <a:pt x="125277" y="578735"/>
                  </a:cubicBezTo>
                  <a:cubicBezTo>
                    <a:pt x="114763" y="578355"/>
                    <a:pt x="103741" y="577848"/>
                    <a:pt x="93480" y="575821"/>
                  </a:cubicBezTo>
                  <a:cubicBezTo>
                    <a:pt x="86512" y="574554"/>
                    <a:pt x="78151" y="572654"/>
                    <a:pt x="71057" y="574048"/>
                  </a:cubicBezTo>
                  <a:cubicBezTo>
                    <a:pt x="68904" y="574428"/>
                    <a:pt x="67003" y="575314"/>
                    <a:pt x="65357" y="576455"/>
                  </a:cubicBezTo>
                  <a:cubicBezTo>
                    <a:pt x="59782" y="570754"/>
                    <a:pt x="54335" y="564800"/>
                    <a:pt x="50028" y="557959"/>
                  </a:cubicBezTo>
                  <a:cubicBezTo>
                    <a:pt x="45340" y="550485"/>
                    <a:pt x="40906" y="543011"/>
                    <a:pt x="35459" y="536043"/>
                  </a:cubicBezTo>
                  <a:cubicBezTo>
                    <a:pt x="31025" y="530216"/>
                    <a:pt x="28112" y="524768"/>
                    <a:pt x="29885" y="517167"/>
                  </a:cubicBezTo>
                  <a:cubicBezTo>
                    <a:pt x="31532" y="510326"/>
                    <a:pt x="36979" y="500065"/>
                    <a:pt x="45214" y="500572"/>
                  </a:cubicBezTo>
                  <a:cubicBezTo>
                    <a:pt x="54588" y="501205"/>
                    <a:pt x="60543" y="513620"/>
                    <a:pt x="66623" y="519194"/>
                  </a:cubicBezTo>
                  <a:cubicBezTo>
                    <a:pt x="74731" y="526668"/>
                    <a:pt x="81825" y="522995"/>
                    <a:pt x="84359" y="512733"/>
                  </a:cubicBezTo>
                  <a:cubicBezTo>
                    <a:pt x="87526" y="499812"/>
                    <a:pt x="83472" y="485243"/>
                    <a:pt x="75491" y="474855"/>
                  </a:cubicBezTo>
                  <a:cubicBezTo>
                    <a:pt x="69030" y="466621"/>
                    <a:pt x="59656" y="461680"/>
                    <a:pt x="52815" y="453826"/>
                  </a:cubicBezTo>
                  <a:cubicBezTo>
                    <a:pt x="46101" y="446225"/>
                    <a:pt x="42427" y="436217"/>
                    <a:pt x="37613" y="427476"/>
                  </a:cubicBezTo>
                  <a:cubicBezTo>
                    <a:pt x="27225" y="408600"/>
                    <a:pt x="10123" y="392892"/>
                    <a:pt x="3409" y="371989"/>
                  </a:cubicBezTo>
                  <a:cubicBezTo>
                    <a:pt x="-3306" y="351467"/>
                    <a:pt x="2015" y="328790"/>
                    <a:pt x="1762" y="307634"/>
                  </a:cubicBezTo>
                  <a:cubicBezTo>
                    <a:pt x="1762" y="305987"/>
                    <a:pt x="1635" y="304341"/>
                    <a:pt x="1508" y="302694"/>
                  </a:cubicBezTo>
                  <a:cubicBezTo>
                    <a:pt x="1382" y="301174"/>
                    <a:pt x="1255" y="299653"/>
                    <a:pt x="1128" y="298133"/>
                  </a:cubicBezTo>
                  <a:lnTo>
                    <a:pt x="1128" y="297753"/>
                  </a:lnTo>
                  <a:cubicBezTo>
                    <a:pt x="1002" y="296233"/>
                    <a:pt x="1002" y="294713"/>
                    <a:pt x="748" y="293193"/>
                  </a:cubicBezTo>
                  <a:lnTo>
                    <a:pt x="748" y="292939"/>
                  </a:lnTo>
                  <a:cubicBezTo>
                    <a:pt x="622" y="291799"/>
                    <a:pt x="622" y="290659"/>
                    <a:pt x="622" y="289519"/>
                  </a:cubicBezTo>
                  <a:cubicBezTo>
                    <a:pt x="495" y="286099"/>
                    <a:pt x="748" y="282805"/>
                    <a:pt x="1382" y="279638"/>
                  </a:cubicBezTo>
                  <a:cubicBezTo>
                    <a:pt x="1635" y="278497"/>
                    <a:pt x="1888" y="277484"/>
                    <a:pt x="2268" y="276344"/>
                  </a:cubicBezTo>
                  <a:cubicBezTo>
                    <a:pt x="2522" y="275837"/>
                    <a:pt x="2649" y="275330"/>
                    <a:pt x="2902" y="274824"/>
                  </a:cubicBezTo>
                  <a:lnTo>
                    <a:pt x="2902" y="274824"/>
                  </a:lnTo>
                  <a:cubicBezTo>
                    <a:pt x="3155" y="274064"/>
                    <a:pt x="3662" y="273303"/>
                    <a:pt x="4042" y="272543"/>
                  </a:cubicBezTo>
                  <a:cubicBezTo>
                    <a:pt x="4169" y="272290"/>
                    <a:pt x="4295" y="271910"/>
                    <a:pt x="4549" y="271657"/>
                  </a:cubicBezTo>
                  <a:cubicBezTo>
                    <a:pt x="5182" y="270770"/>
                    <a:pt x="5816" y="269756"/>
                    <a:pt x="6576" y="268869"/>
                  </a:cubicBezTo>
                  <a:cubicBezTo>
                    <a:pt x="8223" y="267096"/>
                    <a:pt x="10250" y="265449"/>
                    <a:pt x="12783" y="263929"/>
                  </a:cubicBezTo>
                  <a:cubicBezTo>
                    <a:pt x="29252" y="254428"/>
                    <a:pt x="42807" y="262409"/>
                    <a:pt x="57629" y="270516"/>
                  </a:cubicBezTo>
                  <a:cubicBezTo>
                    <a:pt x="69537" y="276977"/>
                    <a:pt x="83852" y="282425"/>
                    <a:pt x="97027" y="276724"/>
                  </a:cubicBezTo>
                  <a:cubicBezTo>
                    <a:pt x="106402" y="272670"/>
                    <a:pt x="113369" y="265829"/>
                    <a:pt x="117803" y="256708"/>
                  </a:cubicBezTo>
                  <a:cubicBezTo>
                    <a:pt x="121097" y="249867"/>
                    <a:pt x="123630" y="242773"/>
                    <a:pt x="126037" y="235679"/>
                  </a:cubicBezTo>
                  <a:cubicBezTo>
                    <a:pt x="129711" y="224531"/>
                    <a:pt x="135412" y="210215"/>
                    <a:pt x="142886" y="201221"/>
                  </a:cubicBezTo>
                  <a:cubicBezTo>
                    <a:pt x="148713" y="194254"/>
                    <a:pt x="157455" y="191973"/>
                    <a:pt x="166829" y="192734"/>
                  </a:cubicBezTo>
                  <a:cubicBezTo>
                    <a:pt x="167209" y="192734"/>
                    <a:pt x="167716" y="192860"/>
                    <a:pt x="168096" y="192860"/>
                  </a:cubicBezTo>
                  <a:cubicBezTo>
                    <a:pt x="168603" y="192860"/>
                    <a:pt x="169236" y="192987"/>
                    <a:pt x="169743" y="193114"/>
                  </a:cubicBezTo>
                  <a:cubicBezTo>
                    <a:pt x="170883" y="193240"/>
                    <a:pt x="171896" y="193494"/>
                    <a:pt x="173037" y="193747"/>
                  </a:cubicBezTo>
                  <a:cubicBezTo>
                    <a:pt x="173543" y="193874"/>
                    <a:pt x="173923" y="194000"/>
                    <a:pt x="174430" y="194000"/>
                  </a:cubicBezTo>
                  <a:cubicBezTo>
                    <a:pt x="177850" y="194887"/>
                    <a:pt x="181271" y="196154"/>
                    <a:pt x="184564" y="197801"/>
                  </a:cubicBezTo>
                  <a:cubicBezTo>
                    <a:pt x="185071" y="198054"/>
                    <a:pt x="185451" y="198307"/>
                    <a:pt x="185958" y="198561"/>
                  </a:cubicBezTo>
                  <a:cubicBezTo>
                    <a:pt x="187098" y="199194"/>
                    <a:pt x="188238" y="199828"/>
                    <a:pt x="189378" y="200461"/>
                  </a:cubicBezTo>
                  <a:cubicBezTo>
                    <a:pt x="190012" y="200841"/>
                    <a:pt x="190645" y="201221"/>
                    <a:pt x="191152" y="201601"/>
                  </a:cubicBezTo>
                  <a:cubicBezTo>
                    <a:pt x="191785" y="201981"/>
                    <a:pt x="192292" y="202361"/>
                    <a:pt x="192925" y="202868"/>
                  </a:cubicBezTo>
                  <a:cubicBezTo>
                    <a:pt x="193432" y="203248"/>
                    <a:pt x="194066" y="203755"/>
                    <a:pt x="194572" y="204135"/>
                  </a:cubicBezTo>
                  <a:lnTo>
                    <a:pt x="194572" y="204135"/>
                  </a:lnTo>
                  <a:cubicBezTo>
                    <a:pt x="195206" y="204641"/>
                    <a:pt x="195839" y="205148"/>
                    <a:pt x="196473" y="205655"/>
                  </a:cubicBezTo>
                  <a:cubicBezTo>
                    <a:pt x="196599" y="205782"/>
                    <a:pt x="196853" y="206035"/>
                    <a:pt x="196979" y="206162"/>
                  </a:cubicBezTo>
                  <a:cubicBezTo>
                    <a:pt x="197359" y="206542"/>
                    <a:pt x="197866" y="206922"/>
                    <a:pt x="198246" y="207302"/>
                  </a:cubicBezTo>
                  <a:cubicBezTo>
                    <a:pt x="198880" y="207935"/>
                    <a:pt x="199386" y="208442"/>
                    <a:pt x="199893" y="209075"/>
                  </a:cubicBezTo>
                  <a:cubicBezTo>
                    <a:pt x="200400" y="209582"/>
                    <a:pt x="200907" y="210215"/>
                    <a:pt x="201413" y="210722"/>
                  </a:cubicBezTo>
                  <a:cubicBezTo>
                    <a:pt x="203440" y="213129"/>
                    <a:pt x="204960" y="215663"/>
                    <a:pt x="206101" y="218196"/>
                  </a:cubicBezTo>
                  <a:cubicBezTo>
                    <a:pt x="213448" y="235172"/>
                    <a:pt x="211675" y="263929"/>
                    <a:pt x="235744" y="266589"/>
                  </a:cubicBezTo>
                  <a:cubicBezTo>
                    <a:pt x="247019" y="267856"/>
                    <a:pt x="255127" y="255821"/>
                    <a:pt x="265515" y="252781"/>
                  </a:cubicBezTo>
                  <a:cubicBezTo>
                    <a:pt x="274509" y="250121"/>
                    <a:pt x="284264" y="245307"/>
                    <a:pt x="293131" y="250754"/>
                  </a:cubicBezTo>
                  <a:cubicBezTo>
                    <a:pt x="302759" y="256581"/>
                    <a:pt x="305420" y="268236"/>
                    <a:pt x="314541" y="274317"/>
                  </a:cubicBezTo>
                  <a:cubicBezTo>
                    <a:pt x="319735" y="277737"/>
                    <a:pt x="325562" y="279891"/>
                    <a:pt x="331643" y="281538"/>
                  </a:cubicBezTo>
                  <a:cubicBezTo>
                    <a:pt x="343171" y="284452"/>
                    <a:pt x="353179" y="291673"/>
                    <a:pt x="364454" y="294460"/>
                  </a:cubicBezTo>
                  <a:cubicBezTo>
                    <a:pt x="375222" y="297120"/>
                    <a:pt x="386876" y="294840"/>
                    <a:pt x="397644" y="292939"/>
                  </a:cubicBezTo>
                  <a:cubicBezTo>
                    <a:pt x="406259" y="291419"/>
                    <a:pt x="411580" y="287999"/>
                    <a:pt x="418547" y="283058"/>
                  </a:cubicBezTo>
                  <a:cubicBezTo>
                    <a:pt x="425642" y="278117"/>
                    <a:pt x="433876" y="275077"/>
                    <a:pt x="441603" y="271276"/>
                  </a:cubicBezTo>
                  <a:cubicBezTo>
                    <a:pt x="449204" y="267603"/>
                    <a:pt x="457185" y="264689"/>
                    <a:pt x="464533" y="260762"/>
                  </a:cubicBezTo>
                  <a:cubicBezTo>
                    <a:pt x="471121" y="257468"/>
                    <a:pt x="475808" y="251767"/>
                    <a:pt x="481762" y="247334"/>
                  </a:cubicBezTo>
                  <a:cubicBezTo>
                    <a:pt x="493543" y="238466"/>
                    <a:pt x="505958" y="230485"/>
                    <a:pt x="517740" y="221617"/>
                  </a:cubicBezTo>
                  <a:cubicBezTo>
                    <a:pt x="527621" y="214269"/>
                    <a:pt x="538895" y="209582"/>
                    <a:pt x="549030" y="202361"/>
                  </a:cubicBezTo>
                  <a:cubicBezTo>
                    <a:pt x="559418" y="195140"/>
                    <a:pt x="570566" y="188680"/>
                    <a:pt x="580447" y="180825"/>
                  </a:cubicBezTo>
                  <a:cubicBezTo>
                    <a:pt x="587541" y="175251"/>
                    <a:pt x="593496" y="169677"/>
                    <a:pt x="599703" y="163090"/>
                  </a:cubicBezTo>
                  <a:cubicBezTo>
                    <a:pt x="606544" y="155615"/>
                    <a:pt x="616299" y="155869"/>
                    <a:pt x="625293" y="152955"/>
                  </a:cubicBezTo>
                  <a:cubicBezTo>
                    <a:pt x="629981" y="151435"/>
                    <a:pt x="634921" y="149281"/>
                    <a:pt x="638722" y="146114"/>
                  </a:cubicBezTo>
                  <a:cubicBezTo>
                    <a:pt x="642649" y="142821"/>
                    <a:pt x="645435" y="139780"/>
                    <a:pt x="650503" y="138387"/>
                  </a:cubicBezTo>
                  <a:cubicBezTo>
                    <a:pt x="655063" y="136993"/>
                    <a:pt x="660637" y="136613"/>
                    <a:pt x="664184" y="132939"/>
                  </a:cubicBezTo>
                  <a:cubicBezTo>
                    <a:pt x="666591" y="130406"/>
                    <a:pt x="667605" y="126732"/>
                    <a:pt x="669505" y="123818"/>
                  </a:cubicBezTo>
                  <a:cubicBezTo>
                    <a:pt x="676092" y="114063"/>
                    <a:pt x="679513" y="105322"/>
                    <a:pt x="675586" y="93414"/>
                  </a:cubicBezTo>
                  <a:cubicBezTo>
                    <a:pt x="672039" y="83026"/>
                    <a:pt x="669379" y="73905"/>
                    <a:pt x="668619" y="62757"/>
                  </a:cubicBezTo>
                  <a:cubicBezTo>
                    <a:pt x="667478" y="47302"/>
                    <a:pt x="683821" y="34507"/>
                    <a:pt x="695855" y="27286"/>
                  </a:cubicBezTo>
                  <a:cubicBezTo>
                    <a:pt x="702316" y="23486"/>
                    <a:pt x="706117" y="24372"/>
                    <a:pt x="712197" y="28046"/>
                  </a:cubicBezTo>
                  <a:cubicBezTo>
                    <a:pt x="720305" y="32987"/>
                    <a:pt x="728666" y="35394"/>
                    <a:pt x="738167" y="35394"/>
                  </a:cubicBezTo>
                  <a:cubicBezTo>
                    <a:pt x="748049" y="35394"/>
                    <a:pt x="757676" y="33240"/>
                    <a:pt x="767558" y="32860"/>
                  </a:cubicBezTo>
                  <a:cubicBezTo>
                    <a:pt x="775031" y="32607"/>
                    <a:pt x="781746" y="34507"/>
                    <a:pt x="788713" y="36914"/>
                  </a:cubicBezTo>
                  <a:cubicBezTo>
                    <a:pt x="803535" y="41981"/>
                    <a:pt x="818484" y="49836"/>
                    <a:pt x="833812" y="42868"/>
                  </a:cubicBezTo>
                  <a:cubicBezTo>
                    <a:pt x="848127" y="36281"/>
                    <a:pt x="861049" y="51609"/>
                    <a:pt x="875491" y="45022"/>
                  </a:cubicBezTo>
                  <a:cubicBezTo>
                    <a:pt x="875998" y="44768"/>
                    <a:pt x="876631" y="44388"/>
                    <a:pt x="877011" y="44135"/>
                  </a:cubicBezTo>
                  <a:cubicBezTo>
                    <a:pt x="877518" y="43755"/>
                    <a:pt x="878024" y="43502"/>
                    <a:pt x="878532" y="43121"/>
                  </a:cubicBezTo>
                  <a:cubicBezTo>
                    <a:pt x="878911" y="42868"/>
                    <a:pt x="879292" y="42615"/>
                    <a:pt x="879671" y="42235"/>
                  </a:cubicBezTo>
                  <a:cubicBezTo>
                    <a:pt x="881699" y="40588"/>
                    <a:pt x="883346" y="38688"/>
                    <a:pt x="884612" y="36407"/>
                  </a:cubicBezTo>
                  <a:cubicBezTo>
                    <a:pt x="884866" y="36027"/>
                    <a:pt x="885119" y="35647"/>
                    <a:pt x="885245" y="35267"/>
                  </a:cubicBezTo>
                  <a:cubicBezTo>
                    <a:pt x="885499" y="34887"/>
                    <a:pt x="885753" y="34380"/>
                    <a:pt x="886005" y="33874"/>
                  </a:cubicBezTo>
                  <a:cubicBezTo>
                    <a:pt x="886259" y="33494"/>
                    <a:pt x="886386" y="33114"/>
                    <a:pt x="886513" y="32734"/>
                  </a:cubicBezTo>
                  <a:cubicBezTo>
                    <a:pt x="887779" y="29946"/>
                    <a:pt x="888793" y="26779"/>
                    <a:pt x="889933" y="23739"/>
                  </a:cubicBezTo>
                  <a:cubicBezTo>
                    <a:pt x="890693" y="21459"/>
                    <a:pt x="891579" y="19178"/>
                    <a:pt x="892593" y="16898"/>
                  </a:cubicBezTo>
                  <a:cubicBezTo>
                    <a:pt x="892847" y="16265"/>
                    <a:pt x="893100" y="15758"/>
                    <a:pt x="893480" y="15124"/>
                  </a:cubicBezTo>
                  <a:cubicBezTo>
                    <a:pt x="894494" y="12971"/>
                    <a:pt x="895760" y="11071"/>
                    <a:pt x="897407" y="9297"/>
                  </a:cubicBezTo>
                  <a:cubicBezTo>
                    <a:pt x="897787" y="8790"/>
                    <a:pt x="898294" y="8283"/>
                    <a:pt x="898927" y="7777"/>
                  </a:cubicBezTo>
                  <a:cubicBezTo>
                    <a:pt x="910202" y="-2231"/>
                    <a:pt x="921984" y="-2991"/>
                    <a:pt x="932751" y="7903"/>
                  </a:cubicBezTo>
                  <a:cubicBezTo>
                    <a:pt x="943266" y="18545"/>
                    <a:pt x="952894" y="30073"/>
                    <a:pt x="966322" y="37041"/>
                  </a:cubicBezTo>
                  <a:cubicBezTo>
                    <a:pt x="974303" y="41221"/>
                    <a:pt x="983424" y="42361"/>
                    <a:pt x="991786" y="46288"/>
                  </a:cubicBezTo>
                  <a:cubicBezTo>
                    <a:pt x="997106" y="48822"/>
                    <a:pt x="1002300" y="51356"/>
                    <a:pt x="1007874" y="52749"/>
                  </a:cubicBezTo>
                  <a:cubicBezTo>
                    <a:pt x="1014082" y="54396"/>
                    <a:pt x="1018135" y="60730"/>
                    <a:pt x="1022823" y="64657"/>
                  </a:cubicBezTo>
                  <a:cubicBezTo>
                    <a:pt x="1026876" y="68078"/>
                    <a:pt x="1031057" y="71498"/>
                    <a:pt x="1034097" y="75932"/>
                  </a:cubicBezTo>
                  <a:cubicBezTo>
                    <a:pt x="1036885" y="79986"/>
                    <a:pt x="1038278" y="84800"/>
                    <a:pt x="1040431" y="89107"/>
                  </a:cubicBezTo>
                  <a:cubicBezTo>
                    <a:pt x="1042586" y="93414"/>
                    <a:pt x="1045372" y="97088"/>
                    <a:pt x="1048033" y="101015"/>
                  </a:cubicBezTo>
                  <a:cubicBezTo>
                    <a:pt x="1050186" y="104309"/>
                    <a:pt x="1051580" y="107856"/>
                    <a:pt x="1054113" y="110896"/>
                  </a:cubicBezTo>
                  <a:cubicBezTo>
                    <a:pt x="1059561" y="117231"/>
                    <a:pt x="1067668" y="119511"/>
                    <a:pt x="1075776" y="117357"/>
                  </a:cubicBezTo>
                  <a:cubicBezTo>
                    <a:pt x="1088064" y="114190"/>
                    <a:pt x="1096426" y="101902"/>
                    <a:pt x="1108334" y="97088"/>
                  </a:cubicBezTo>
                  <a:cubicBezTo>
                    <a:pt x="1116695" y="93794"/>
                    <a:pt x="1130250" y="92148"/>
                    <a:pt x="1138104" y="97595"/>
                  </a:cubicBezTo>
                  <a:cubicBezTo>
                    <a:pt x="1149506" y="105576"/>
                    <a:pt x="1136203" y="121791"/>
                    <a:pt x="1142285" y="131926"/>
                  </a:cubicBezTo>
                  <a:cubicBezTo>
                    <a:pt x="1142664" y="132686"/>
                    <a:pt x="1143298" y="133446"/>
                    <a:pt x="1144058" y="134080"/>
                  </a:cubicBezTo>
                  <a:cubicBezTo>
                    <a:pt x="1145958" y="135980"/>
                    <a:pt x="1148492" y="137500"/>
                    <a:pt x="1150899" y="139020"/>
                  </a:cubicBezTo>
                  <a:cubicBezTo>
                    <a:pt x="1151659" y="139527"/>
                    <a:pt x="1152419" y="139907"/>
                    <a:pt x="1153052" y="140414"/>
                  </a:cubicBezTo>
                  <a:cubicBezTo>
                    <a:pt x="1155966" y="142441"/>
                    <a:pt x="1158373" y="144594"/>
                    <a:pt x="1158373" y="1473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395" name="Полилиния: фигура 394">
              <a:extLst>
                <a:ext uri="{FF2B5EF4-FFF2-40B4-BE49-F238E27FC236}">
                  <a16:creationId xmlns:a16="http://schemas.microsoft.com/office/drawing/2014/main" id="{59B75241-59C3-471A-8E44-1A95CBF27021}"/>
                </a:ext>
              </a:extLst>
            </p:cNvPr>
            <p:cNvSpPr/>
            <p:nvPr/>
          </p:nvSpPr>
          <p:spPr>
            <a:xfrm>
              <a:off x="3096583" y="3313485"/>
              <a:ext cx="831994" cy="890775"/>
            </a:xfrm>
            <a:custGeom>
              <a:avLst/>
              <a:gdLst>
                <a:gd name="connsiteX0" fmla="*/ 821663 w 831994"/>
                <a:gd name="connsiteY0" fmla="*/ 524789 h 890775"/>
                <a:gd name="connsiteX1" fmla="*/ 760728 w 831994"/>
                <a:gd name="connsiteY1" fmla="*/ 542145 h 890775"/>
                <a:gd name="connsiteX2" fmla="*/ 709802 w 831994"/>
                <a:gd name="connsiteY2" fmla="*/ 572295 h 890775"/>
                <a:gd name="connsiteX3" fmla="*/ 723611 w 831994"/>
                <a:gd name="connsiteY3" fmla="*/ 621321 h 890775"/>
                <a:gd name="connsiteX4" fmla="*/ 695360 w 831994"/>
                <a:gd name="connsiteY4" fmla="*/ 650079 h 890775"/>
                <a:gd name="connsiteX5" fmla="*/ 689913 w 831994"/>
                <a:gd name="connsiteY5" fmla="*/ 696698 h 890775"/>
                <a:gd name="connsiteX6" fmla="*/ 680539 w 831994"/>
                <a:gd name="connsiteY6" fmla="*/ 717473 h 890775"/>
                <a:gd name="connsiteX7" fmla="*/ 618591 w 831994"/>
                <a:gd name="connsiteY7" fmla="*/ 661860 h 890775"/>
                <a:gd name="connsiteX8" fmla="*/ 568424 w 831994"/>
                <a:gd name="connsiteY8" fmla="*/ 663507 h 890775"/>
                <a:gd name="connsiteX9" fmla="*/ 562850 w 831994"/>
                <a:gd name="connsiteY9" fmla="*/ 640451 h 890775"/>
                <a:gd name="connsiteX10" fmla="*/ 537134 w 831994"/>
                <a:gd name="connsiteY10" fmla="*/ 611187 h 890775"/>
                <a:gd name="connsiteX11" fmla="*/ 479367 w 831994"/>
                <a:gd name="connsiteY11" fmla="*/ 628289 h 890775"/>
                <a:gd name="connsiteX12" fmla="*/ 447063 w 831994"/>
                <a:gd name="connsiteY12" fmla="*/ 703159 h 890775"/>
                <a:gd name="connsiteX13" fmla="*/ 401203 w 831994"/>
                <a:gd name="connsiteY13" fmla="*/ 742683 h 890775"/>
                <a:gd name="connsiteX14" fmla="*/ 363326 w 831994"/>
                <a:gd name="connsiteY14" fmla="*/ 718234 h 890775"/>
                <a:gd name="connsiteX15" fmla="*/ 326968 w 831994"/>
                <a:gd name="connsiteY15" fmla="*/ 722541 h 890775"/>
                <a:gd name="connsiteX16" fmla="*/ 322027 w 831994"/>
                <a:gd name="connsiteY16" fmla="*/ 786262 h 890775"/>
                <a:gd name="connsiteX17" fmla="*/ 307585 w 831994"/>
                <a:gd name="connsiteY17" fmla="*/ 819199 h 890775"/>
                <a:gd name="connsiteX18" fmla="*/ 253998 w 831994"/>
                <a:gd name="connsiteY18" fmla="*/ 816539 h 890775"/>
                <a:gd name="connsiteX19" fmla="*/ 253492 w 831994"/>
                <a:gd name="connsiteY19" fmla="*/ 867086 h 890775"/>
                <a:gd name="connsiteX20" fmla="*/ 239303 w 831994"/>
                <a:gd name="connsiteY20" fmla="*/ 878614 h 890775"/>
                <a:gd name="connsiteX21" fmla="*/ 227142 w 831994"/>
                <a:gd name="connsiteY21" fmla="*/ 890775 h 890775"/>
                <a:gd name="connsiteX22" fmla="*/ 189770 w 831994"/>
                <a:gd name="connsiteY22" fmla="*/ 863158 h 890775"/>
                <a:gd name="connsiteX23" fmla="*/ 203325 w 831994"/>
                <a:gd name="connsiteY23" fmla="*/ 825534 h 890775"/>
                <a:gd name="connsiteX24" fmla="*/ 186857 w 831994"/>
                <a:gd name="connsiteY24" fmla="*/ 800831 h 890775"/>
                <a:gd name="connsiteX25" fmla="*/ 201298 w 831994"/>
                <a:gd name="connsiteY25" fmla="*/ 771440 h 890775"/>
                <a:gd name="connsiteX26" fmla="*/ 182423 w 831994"/>
                <a:gd name="connsiteY26" fmla="*/ 728748 h 890775"/>
                <a:gd name="connsiteX27" fmla="*/ 195471 w 831994"/>
                <a:gd name="connsiteY27" fmla="*/ 710886 h 890775"/>
                <a:gd name="connsiteX28" fmla="*/ 203325 w 831994"/>
                <a:gd name="connsiteY28" fmla="*/ 663380 h 890775"/>
                <a:gd name="connsiteX29" fmla="*/ 194838 w 831994"/>
                <a:gd name="connsiteY29" fmla="*/ 638170 h 890775"/>
                <a:gd name="connsiteX30" fmla="*/ 188377 w 831994"/>
                <a:gd name="connsiteY30" fmla="*/ 602573 h 890775"/>
                <a:gd name="connsiteX31" fmla="*/ 187490 w 831994"/>
                <a:gd name="connsiteY31" fmla="*/ 585344 h 890775"/>
                <a:gd name="connsiteX32" fmla="*/ 155313 w 831994"/>
                <a:gd name="connsiteY32" fmla="*/ 592691 h 890775"/>
                <a:gd name="connsiteX33" fmla="*/ 123642 w 831994"/>
                <a:gd name="connsiteY33" fmla="*/ 557980 h 890775"/>
                <a:gd name="connsiteX34" fmla="*/ 48899 w 831994"/>
                <a:gd name="connsiteY34" fmla="*/ 530237 h 890775"/>
                <a:gd name="connsiteX35" fmla="*/ 0 w 831994"/>
                <a:gd name="connsiteY35" fmla="*/ 467022 h 890775"/>
                <a:gd name="connsiteX36" fmla="*/ 59288 w 831994"/>
                <a:gd name="connsiteY36" fmla="*/ 407228 h 890775"/>
                <a:gd name="connsiteX37" fmla="*/ 86018 w 831994"/>
                <a:gd name="connsiteY37" fmla="*/ 433578 h 890775"/>
                <a:gd name="connsiteX38" fmla="*/ 109074 w 831994"/>
                <a:gd name="connsiteY38" fmla="*/ 430284 h 890775"/>
                <a:gd name="connsiteX39" fmla="*/ 159493 w 831994"/>
                <a:gd name="connsiteY39" fmla="*/ 415462 h 890775"/>
                <a:gd name="connsiteX40" fmla="*/ 133143 w 831994"/>
                <a:gd name="connsiteY40" fmla="*/ 338946 h 890775"/>
                <a:gd name="connsiteX41" fmla="*/ 131623 w 831994"/>
                <a:gd name="connsiteY41" fmla="*/ 336919 h 890775"/>
                <a:gd name="connsiteX42" fmla="*/ 130483 w 831994"/>
                <a:gd name="connsiteY42" fmla="*/ 335273 h 890775"/>
                <a:gd name="connsiteX43" fmla="*/ 130356 w 831994"/>
                <a:gd name="connsiteY43" fmla="*/ 335019 h 890775"/>
                <a:gd name="connsiteX44" fmla="*/ 129216 w 831994"/>
                <a:gd name="connsiteY44" fmla="*/ 333119 h 890775"/>
                <a:gd name="connsiteX45" fmla="*/ 127569 w 831994"/>
                <a:gd name="connsiteY45" fmla="*/ 330205 h 890775"/>
                <a:gd name="connsiteX46" fmla="*/ 121615 w 831994"/>
                <a:gd name="connsiteY46" fmla="*/ 319184 h 890775"/>
                <a:gd name="connsiteX47" fmla="*/ 176595 w 831994"/>
                <a:gd name="connsiteY47" fmla="*/ 269904 h 890775"/>
                <a:gd name="connsiteX48" fmla="*/ 209280 w 831994"/>
                <a:gd name="connsiteY48" fmla="*/ 280799 h 890775"/>
                <a:gd name="connsiteX49" fmla="*/ 244371 w 831994"/>
                <a:gd name="connsiteY49" fmla="*/ 272945 h 890775"/>
                <a:gd name="connsiteX50" fmla="*/ 279462 w 831994"/>
                <a:gd name="connsiteY50" fmla="*/ 275478 h 890775"/>
                <a:gd name="connsiteX51" fmla="*/ 301251 w 831994"/>
                <a:gd name="connsiteY51" fmla="*/ 279406 h 890775"/>
                <a:gd name="connsiteX52" fmla="*/ 314679 w 831994"/>
                <a:gd name="connsiteY52" fmla="*/ 242794 h 890775"/>
                <a:gd name="connsiteX53" fmla="*/ 320633 w 831994"/>
                <a:gd name="connsiteY53" fmla="*/ 201622 h 890775"/>
                <a:gd name="connsiteX54" fmla="*/ 345463 w 831994"/>
                <a:gd name="connsiteY54" fmla="*/ 186927 h 890775"/>
                <a:gd name="connsiteX55" fmla="*/ 361172 w 831994"/>
                <a:gd name="connsiteY55" fmla="*/ 149176 h 890775"/>
                <a:gd name="connsiteX56" fmla="*/ 374093 w 831994"/>
                <a:gd name="connsiteY56" fmla="*/ 119152 h 890775"/>
                <a:gd name="connsiteX57" fmla="*/ 352304 w 831994"/>
                <a:gd name="connsiteY57" fmla="*/ 67719 h 890775"/>
                <a:gd name="connsiteX58" fmla="*/ 405131 w 831994"/>
                <a:gd name="connsiteY58" fmla="*/ 63032 h 890775"/>
                <a:gd name="connsiteX59" fmla="*/ 477340 w 831994"/>
                <a:gd name="connsiteY59" fmla="*/ 42256 h 890775"/>
                <a:gd name="connsiteX60" fmla="*/ 506730 w 831994"/>
                <a:gd name="connsiteY60" fmla="*/ 17806 h 890775"/>
                <a:gd name="connsiteX61" fmla="*/ 503436 w 831994"/>
                <a:gd name="connsiteY61" fmla="*/ 6151 h 890775"/>
                <a:gd name="connsiteX62" fmla="*/ 547268 w 831994"/>
                <a:gd name="connsiteY62" fmla="*/ 7545 h 890775"/>
                <a:gd name="connsiteX63" fmla="*/ 562850 w 831994"/>
                <a:gd name="connsiteY63" fmla="*/ 49730 h 890775"/>
                <a:gd name="connsiteX64" fmla="*/ 556896 w 831994"/>
                <a:gd name="connsiteY64" fmla="*/ 74813 h 890775"/>
                <a:gd name="connsiteX65" fmla="*/ 573365 w 831994"/>
                <a:gd name="connsiteY65" fmla="*/ 82921 h 890775"/>
                <a:gd name="connsiteX66" fmla="*/ 570325 w 831994"/>
                <a:gd name="connsiteY66" fmla="*/ 92929 h 890775"/>
                <a:gd name="connsiteX67" fmla="*/ 535107 w 831994"/>
                <a:gd name="connsiteY67" fmla="*/ 160577 h 890775"/>
                <a:gd name="connsiteX68" fmla="*/ 515598 w 831994"/>
                <a:gd name="connsiteY68" fmla="*/ 188321 h 890775"/>
                <a:gd name="connsiteX69" fmla="*/ 478606 w 831994"/>
                <a:gd name="connsiteY69" fmla="*/ 206816 h 890775"/>
                <a:gd name="connsiteX70" fmla="*/ 434014 w 831994"/>
                <a:gd name="connsiteY70" fmla="*/ 267244 h 890775"/>
                <a:gd name="connsiteX71" fmla="*/ 463658 w 831994"/>
                <a:gd name="connsiteY71" fmla="*/ 319184 h 890775"/>
                <a:gd name="connsiteX72" fmla="*/ 458337 w 831994"/>
                <a:gd name="connsiteY72" fmla="*/ 374417 h 890775"/>
                <a:gd name="connsiteX73" fmla="*/ 509137 w 831994"/>
                <a:gd name="connsiteY73" fmla="*/ 369097 h 890775"/>
                <a:gd name="connsiteX74" fmla="*/ 523579 w 831994"/>
                <a:gd name="connsiteY74" fmla="*/ 336159 h 890775"/>
                <a:gd name="connsiteX75" fmla="*/ 574378 w 831994"/>
                <a:gd name="connsiteY75" fmla="*/ 345407 h 890775"/>
                <a:gd name="connsiteX76" fmla="*/ 622265 w 831994"/>
                <a:gd name="connsiteY76" fmla="*/ 359596 h 890775"/>
                <a:gd name="connsiteX77" fmla="*/ 663563 w 831994"/>
                <a:gd name="connsiteY77" fmla="*/ 372770 h 890775"/>
                <a:gd name="connsiteX78" fmla="*/ 684339 w 831994"/>
                <a:gd name="connsiteY78" fmla="*/ 409762 h 890775"/>
                <a:gd name="connsiteX79" fmla="*/ 731212 w 831994"/>
                <a:gd name="connsiteY79" fmla="*/ 365930 h 890775"/>
                <a:gd name="connsiteX80" fmla="*/ 768456 w 831994"/>
                <a:gd name="connsiteY80" fmla="*/ 401021 h 890775"/>
                <a:gd name="connsiteX81" fmla="*/ 778211 w 831994"/>
                <a:gd name="connsiteY81" fmla="*/ 430791 h 890775"/>
                <a:gd name="connsiteX82" fmla="*/ 824323 w 831994"/>
                <a:gd name="connsiteY82" fmla="*/ 460941 h 890775"/>
                <a:gd name="connsiteX83" fmla="*/ 821663 w 831994"/>
                <a:gd name="connsiteY83" fmla="*/ 524789 h 89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831994" h="890775">
                  <a:moveTo>
                    <a:pt x="821663" y="524789"/>
                  </a:moveTo>
                  <a:cubicBezTo>
                    <a:pt x="818116" y="546579"/>
                    <a:pt x="789485" y="540118"/>
                    <a:pt x="760728" y="542145"/>
                  </a:cubicBezTo>
                  <a:cubicBezTo>
                    <a:pt x="732098" y="544045"/>
                    <a:pt x="723611" y="560007"/>
                    <a:pt x="709802" y="572295"/>
                  </a:cubicBezTo>
                  <a:cubicBezTo>
                    <a:pt x="695994" y="584710"/>
                    <a:pt x="709802" y="597505"/>
                    <a:pt x="723611" y="621321"/>
                  </a:cubicBezTo>
                  <a:cubicBezTo>
                    <a:pt x="737419" y="645138"/>
                    <a:pt x="713223" y="641591"/>
                    <a:pt x="695360" y="650079"/>
                  </a:cubicBezTo>
                  <a:cubicBezTo>
                    <a:pt x="677498" y="658440"/>
                    <a:pt x="690420" y="679215"/>
                    <a:pt x="689913" y="696698"/>
                  </a:cubicBezTo>
                  <a:cubicBezTo>
                    <a:pt x="689659" y="703539"/>
                    <a:pt x="686112" y="710506"/>
                    <a:pt x="680539" y="717473"/>
                  </a:cubicBezTo>
                  <a:cubicBezTo>
                    <a:pt x="624292" y="736096"/>
                    <a:pt x="619351" y="680989"/>
                    <a:pt x="618591" y="661860"/>
                  </a:cubicBezTo>
                  <a:cubicBezTo>
                    <a:pt x="617957" y="642731"/>
                    <a:pt x="580333" y="669461"/>
                    <a:pt x="568424" y="663507"/>
                  </a:cubicBezTo>
                  <a:cubicBezTo>
                    <a:pt x="556516" y="657553"/>
                    <a:pt x="556516" y="650965"/>
                    <a:pt x="562850" y="640451"/>
                  </a:cubicBezTo>
                  <a:cubicBezTo>
                    <a:pt x="569058" y="629936"/>
                    <a:pt x="553603" y="623602"/>
                    <a:pt x="537134" y="611187"/>
                  </a:cubicBezTo>
                  <a:cubicBezTo>
                    <a:pt x="520665" y="598646"/>
                    <a:pt x="499889" y="619041"/>
                    <a:pt x="479367" y="628289"/>
                  </a:cubicBezTo>
                  <a:cubicBezTo>
                    <a:pt x="458971" y="637537"/>
                    <a:pt x="453017" y="684029"/>
                    <a:pt x="447063" y="703159"/>
                  </a:cubicBezTo>
                  <a:cubicBezTo>
                    <a:pt x="441109" y="722287"/>
                    <a:pt x="415392" y="741797"/>
                    <a:pt x="401203" y="742683"/>
                  </a:cubicBezTo>
                  <a:cubicBezTo>
                    <a:pt x="387015" y="743697"/>
                    <a:pt x="368899" y="730142"/>
                    <a:pt x="363326" y="718234"/>
                  </a:cubicBezTo>
                  <a:cubicBezTo>
                    <a:pt x="357751" y="706326"/>
                    <a:pt x="346857" y="707719"/>
                    <a:pt x="326968" y="722541"/>
                  </a:cubicBezTo>
                  <a:cubicBezTo>
                    <a:pt x="307205" y="737363"/>
                    <a:pt x="316073" y="768400"/>
                    <a:pt x="322027" y="786262"/>
                  </a:cubicBezTo>
                  <a:cubicBezTo>
                    <a:pt x="327981" y="804125"/>
                    <a:pt x="322407" y="809698"/>
                    <a:pt x="307585" y="819199"/>
                  </a:cubicBezTo>
                  <a:cubicBezTo>
                    <a:pt x="292763" y="828827"/>
                    <a:pt x="274268" y="822493"/>
                    <a:pt x="253998" y="816539"/>
                  </a:cubicBezTo>
                  <a:cubicBezTo>
                    <a:pt x="233729" y="810585"/>
                    <a:pt x="250831" y="849604"/>
                    <a:pt x="253492" y="867086"/>
                  </a:cubicBezTo>
                  <a:cubicBezTo>
                    <a:pt x="256152" y="884568"/>
                    <a:pt x="248551" y="876333"/>
                    <a:pt x="239303" y="878614"/>
                  </a:cubicBezTo>
                  <a:cubicBezTo>
                    <a:pt x="233223" y="880134"/>
                    <a:pt x="229295" y="886468"/>
                    <a:pt x="227142" y="890775"/>
                  </a:cubicBezTo>
                  <a:cubicBezTo>
                    <a:pt x="221568" y="882794"/>
                    <a:pt x="196865" y="873293"/>
                    <a:pt x="189770" y="863158"/>
                  </a:cubicBezTo>
                  <a:cubicBezTo>
                    <a:pt x="180523" y="849984"/>
                    <a:pt x="193317" y="839722"/>
                    <a:pt x="203325" y="825534"/>
                  </a:cubicBezTo>
                  <a:cubicBezTo>
                    <a:pt x="213207" y="811345"/>
                    <a:pt x="190150" y="811979"/>
                    <a:pt x="186857" y="800831"/>
                  </a:cubicBezTo>
                  <a:cubicBezTo>
                    <a:pt x="183563" y="789556"/>
                    <a:pt x="191797" y="781702"/>
                    <a:pt x="201298" y="771440"/>
                  </a:cubicBezTo>
                  <a:cubicBezTo>
                    <a:pt x="210926" y="761179"/>
                    <a:pt x="182423" y="728748"/>
                    <a:pt x="182423" y="728748"/>
                  </a:cubicBezTo>
                  <a:cubicBezTo>
                    <a:pt x="189390" y="724568"/>
                    <a:pt x="194838" y="718994"/>
                    <a:pt x="195471" y="710886"/>
                  </a:cubicBezTo>
                  <a:cubicBezTo>
                    <a:pt x="196991" y="692644"/>
                    <a:pt x="203325" y="672755"/>
                    <a:pt x="203325" y="663380"/>
                  </a:cubicBezTo>
                  <a:cubicBezTo>
                    <a:pt x="203325" y="654006"/>
                    <a:pt x="202312" y="645518"/>
                    <a:pt x="194838" y="638170"/>
                  </a:cubicBezTo>
                  <a:cubicBezTo>
                    <a:pt x="187490" y="630696"/>
                    <a:pt x="181536" y="609920"/>
                    <a:pt x="188377" y="602573"/>
                  </a:cubicBezTo>
                  <a:cubicBezTo>
                    <a:pt x="195344" y="595225"/>
                    <a:pt x="197371" y="580783"/>
                    <a:pt x="187490" y="585344"/>
                  </a:cubicBezTo>
                  <a:cubicBezTo>
                    <a:pt x="177609" y="589778"/>
                    <a:pt x="167728" y="606120"/>
                    <a:pt x="155313" y="592691"/>
                  </a:cubicBezTo>
                  <a:cubicBezTo>
                    <a:pt x="142898" y="579390"/>
                    <a:pt x="142391" y="549113"/>
                    <a:pt x="123642" y="557980"/>
                  </a:cubicBezTo>
                  <a:cubicBezTo>
                    <a:pt x="104766" y="566975"/>
                    <a:pt x="67268" y="554053"/>
                    <a:pt x="48899" y="530237"/>
                  </a:cubicBezTo>
                  <a:cubicBezTo>
                    <a:pt x="32304" y="508701"/>
                    <a:pt x="29897" y="481464"/>
                    <a:pt x="0" y="467022"/>
                  </a:cubicBezTo>
                  <a:cubicBezTo>
                    <a:pt x="18242" y="453721"/>
                    <a:pt x="47886" y="418123"/>
                    <a:pt x="59288" y="407228"/>
                  </a:cubicBezTo>
                  <a:cubicBezTo>
                    <a:pt x="72462" y="394687"/>
                    <a:pt x="78417" y="425090"/>
                    <a:pt x="86018" y="433578"/>
                  </a:cubicBezTo>
                  <a:cubicBezTo>
                    <a:pt x="93618" y="442193"/>
                    <a:pt x="102486" y="435858"/>
                    <a:pt x="109074" y="430284"/>
                  </a:cubicBezTo>
                  <a:cubicBezTo>
                    <a:pt x="115661" y="424710"/>
                    <a:pt x="142138" y="417996"/>
                    <a:pt x="159493" y="415462"/>
                  </a:cubicBezTo>
                  <a:cubicBezTo>
                    <a:pt x="176975" y="412802"/>
                    <a:pt x="141631" y="348827"/>
                    <a:pt x="133143" y="338946"/>
                  </a:cubicBezTo>
                  <a:cubicBezTo>
                    <a:pt x="132637" y="338313"/>
                    <a:pt x="132130" y="337680"/>
                    <a:pt x="131623" y="336919"/>
                  </a:cubicBezTo>
                  <a:cubicBezTo>
                    <a:pt x="131243" y="336413"/>
                    <a:pt x="130863" y="335906"/>
                    <a:pt x="130483" y="335273"/>
                  </a:cubicBezTo>
                  <a:cubicBezTo>
                    <a:pt x="130483" y="335146"/>
                    <a:pt x="130356" y="335146"/>
                    <a:pt x="130356" y="335019"/>
                  </a:cubicBezTo>
                  <a:cubicBezTo>
                    <a:pt x="129976" y="334386"/>
                    <a:pt x="129596" y="333752"/>
                    <a:pt x="129216" y="333119"/>
                  </a:cubicBezTo>
                  <a:cubicBezTo>
                    <a:pt x="128709" y="332232"/>
                    <a:pt x="128076" y="331219"/>
                    <a:pt x="127569" y="330205"/>
                  </a:cubicBezTo>
                  <a:cubicBezTo>
                    <a:pt x="125669" y="326911"/>
                    <a:pt x="123769" y="323111"/>
                    <a:pt x="121615" y="319184"/>
                  </a:cubicBezTo>
                  <a:cubicBezTo>
                    <a:pt x="121615" y="319184"/>
                    <a:pt x="168741" y="265344"/>
                    <a:pt x="176595" y="269904"/>
                  </a:cubicBezTo>
                  <a:cubicBezTo>
                    <a:pt x="184450" y="274338"/>
                    <a:pt x="189010" y="285740"/>
                    <a:pt x="209280" y="280799"/>
                  </a:cubicBezTo>
                  <a:cubicBezTo>
                    <a:pt x="229549" y="275858"/>
                    <a:pt x="227142" y="272945"/>
                    <a:pt x="244371" y="272945"/>
                  </a:cubicBezTo>
                  <a:cubicBezTo>
                    <a:pt x="261726" y="272945"/>
                    <a:pt x="275028" y="270538"/>
                    <a:pt x="279462" y="275478"/>
                  </a:cubicBezTo>
                  <a:cubicBezTo>
                    <a:pt x="283896" y="280419"/>
                    <a:pt x="294790" y="286880"/>
                    <a:pt x="301251" y="279406"/>
                  </a:cubicBezTo>
                  <a:cubicBezTo>
                    <a:pt x="307712" y="272058"/>
                    <a:pt x="315059" y="257616"/>
                    <a:pt x="314679" y="242794"/>
                  </a:cubicBezTo>
                  <a:cubicBezTo>
                    <a:pt x="314173" y="227846"/>
                    <a:pt x="307205" y="210490"/>
                    <a:pt x="320633" y="201622"/>
                  </a:cubicBezTo>
                  <a:cubicBezTo>
                    <a:pt x="330388" y="195162"/>
                    <a:pt x="342676" y="191868"/>
                    <a:pt x="345463" y="186927"/>
                  </a:cubicBezTo>
                  <a:cubicBezTo>
                    <a:pt x="379034" y="172232"/>
                    <a:pt x="364212" y="157410"/>
                    <a:pt x="361172" y="149176"/>
                  </a:cubicBezTo>
                  <a:cubicBezTo>
                    <a:pt x="358258" y="140942"/>
                    <a:pt x="356485" y="135368"/>
                    <a:pt x="374093" y="119152"/>
                  </a:cubicBezTo>
                  <a:cubicBezTo>
                    <a:pt x="391576" y="102937"/>
                    <a:pt x="357245" y="88115"/>
                    <a:pt x="352304" y="67719"/>
                  </a:cubicBezTo>
                  <a:cubicBezTo>
                    <a:pt x="347363" y="47196"/>
                    <a:pt x="392842" y="62145"/>
                    <a:pt x="405131" y="63032"/>
                  </a:cubicBezTo>
                  <a:cubicBezTo>
                    <a:pt x="417419" y="64045"/>
                    <a:pt x="465558" y="46563"/>
                    <a:pt x="477340" y="42256"/>
                  </a:cubicBezTo>
                  <a:cubicBezTo>
                    <a:pt x="489248" y="37949"/>
                    <a:pt x="498116" y="31615"/>
                    <a:pt x="506730" y="17806"/>
                  </a:cubicBezTo>
                  <a:cubicBezTo>
                    <a:pt x="508757" y="14512"/>
                    <a:pt x="507237" y="10459"/>
                    <a:pt x="503436" y="6151"/>
                  </a:cubicBezTo>
                  <a:cubicBezTo>
                    <a:pt x="513951" y="1844"/>
                    <a:pt x="537894" y="-5884"/>
                    <a:pt x="547268" y="7545"/>
                  </a:cubicBezTo>
                  <a:cubicBezTo>
                    <a:pt x="559430" y="25027"/>
                    <a:pt x="567411" y="36555"/>
                    <a:pt x="562850" y="49730"/>
                  </a:cubicBezTo>
                  <a:cubicBezTo>
                    <a:pt x="558163" y="62905"/>
                    <a:pt x="549295" y="67592"/>
                    <a:pt x="556896" y="74813"/>
                  </a:cubicBezTo>
                  <a:cubicBezTo>
                    <a:pt x="561584" y="79247"/>
                    <a:pt x="570198" y="80007"/>
                    <a:pt x="573365" y="82921"/>
                  </a:cubicBezTo>
                  <a:cubicBezTo>
                    <a:pt x="575392" y="84821"/>
                    <a:pt x="575265" y="87608"/>
                    <a:pt x="570325" y="92929"/>
                  </a:cubicBezTo>
                  <a:cubicBezTo>
                    <a:pt x="557783" y="106484"/>
                    <a:pt x="536627" y="141828"/>
                    <a:pt x="535107" y="160577"/>
                  </a:cubicBezTo>
                  <a:cubicBezTo>
                    <a:pt x="533460" y="179326"/>
                    <a:pt x="528773" y="188574"/>
                    <a:pt x="515598" y="188321"/>
                  </a:cubicBezTo>
                  <a:cubicBezTo>
                    <a:pt x="502423" y="187941"/>
                    <a:pt x="488868" y="194528"/>
                    <a:pt x="478606" y="206816"/>
                  </a:cubicBezTo>
                  <a:cubicBezTo>
                    <a:pt x="468345" y="219105"/>
                    <a:pt x="420839" y="250649"/>
                    <a:pt x="434014" y="267244"/>
                  </a:cubicBezTo>
                  <a:cubicBezTo>
                    <a:pt x="447189" y="283713"/>
                    <a:pt x="480127" y="302842"/>
                    <a:pt x="463658" y="319184"/>
                  </a:cubicBezTo>
                  <a:cubicBezTo>
                    <a:pt x="447189" y="335526"/>
                    <a:pt x="445162" y="365550"/>
                    <a:pt x="458337" y="374417"/>
                  </a:cubicBezTo>
                  <a:cubicBezTo>
                    <a:pt x="471512" y="383285"/>
                    <a:pt x="505210" y="386959"/>
                    <a:pt x="509137" y="369097"/>
                  </a:cubicBezTo>
                  <a:cubicBezTo>
                    <a:pt x="513064" y="351234"/>
                    <a:pt x="509770" y="334132"/>
                    <a:pt x="523579" y="336159"/>
                  </a:cubicBezTo>
                  <a:cubicBezTo>
                    <a:pt x="537387" y="338186"/>
                    <a:pt x="557150" y="336159"/>
                    <a:pt x="574378" y="345407"/>
                  </a:cubicBezTo>
                  <a:cubicBezTo>
                    <a:pt x="591607" y="354655"/>
                    <a:pt x="611623" y="357949"/>
                    <a:pt x="622265" y="359596"/>
                  </a:cubicBezTo>
                  <a:cubicBezTo>
                    <a:pt x="632779" y="361242"/>
                    <a:pt x="668504" y="359596"/>
                    <a:pt x="663563" y="372770"/>
                  </a:cubicBezTo>
                  <a:cubicBezTo>
                    <a:pt x="658622" y="385946"/>
                    <a:pt x="672051" y="422303"/>
                    <a:pt x="684339" y="409762"/>
                  </a:cubicBezTo>
                  <a:cubicBezTo>
                    <a:pt x="696500" y="397220"/>
                    <a:pt x="718670" y="362636"/>
                    <a:pt x="731212" y="365930"/>
                  </a:cubicBezTo>
                  <a:cubicBezTo>
                    <a:pt x="743753" y="369223"/>
                    <a:pt x="764022" y="378598"/>
                    <a:pt x="768456" y="401021"/>
                  </a:cubicBezTo>
                  <a:cubicBezTo>
                    <a:pt x="758068" y="414702"/>
                    <a:pt x="769976" y="417109"/>
                    <a:pt x="778211" y="430791"/>
                  </a:cubicBezTo>
                  <a:cubicBezTo>
                    <a:pt x="787205" y="445613"/>
                    <a:pt x="807474" y="456508"/>
                    <a:pt x="824323" y="460941"/>
                  </a:cubicBezTo>
                  <a:cubicBezTo>
                    <a:pt x="841425" y="465375"/>
                    <a:pt x="825083" y="503000"/>
                    <a:pt x="821663" y="52478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396" name="Полилиния: фигура 395">
              <a:extLst>
                <a:ext uri="{FF2B5EF4-FFF2-40B4-BE49-F238E27FC236}">
                  <a16:creationId xmlns:a16="http://schemas.microsoft.com/office/drawing/2014/main" id="{29661610-703A-4F24-94AF-A089B8FC55A7}"/>
                </a:ext>
              </a:extLst>
            </p:cNvPr>
            <p:cNvSpPr/>
            <p:nvPr/>
          </p:nvSpPr>
          <p:spPr>
            <a:xfrm>
              <a:off x="5196443" y="5271434"/>
              <a:ext cx="946110" cy="807075"/>
            </a:xfrm>
            <a:custGeom>
              <a:avLst/>
              <a:gdLst>
                <a:gd name="connsiteX0" fmla="*/ 942041 w 946110"/>
                <a:gd name="connsiteY0" fmla="*/ 477213 h 807075"/>
                <a:gd name="connsiteX1" fmla="*/ 910877 w 946110"/>
                <a:gd name="connsiteY1" fmla="*/ 459857 h 807075"/>
                <a:gd name="connsiteX2" fmla="*/ 920758 w 946110"/>
                <a:gd name="connsiteY2" fmla="*/ 426667 h 807075"/>
                <a:gd name="connsiteX3" fmla="*/ 900235 w 946110"/>
                <a:gd name="connsiteY3" fmla="*/ 413365 h 807075"/>
                <a:gd name="connsiteX4" fmla="*/ 865904 w 946110"/>
                <a:gd name="connsiteY4" fmla="*/ 427173 h 807075"/>
                <a:gd name="connsiteX5" fmla="*/ 848042 w 946110"/>
                <a:gd name="connsiteY5" fmla="*/ 433127 h 807075"/>
                <a:gd name="connsiteX6" fmla="*/ 830940 w 946110"/>
                <a:gd name="connsiteY6" fmla="*/ 451623 h 807075"/>
                <a:gd name="connsiteX7" fmla="*/ 801296 w 946110"/>
                <a:gd name="connsiteY7" fmla="*/ 446936 h 807075"/>
                <a:gd name="connsiteX8" fmla="*/ 809151 w 946110"/>
                <a:gd name="connsiteY8" fmla="*/ 416532 h 807075"/>
                <a:gd name="connsiteX9" fmla="*/ 807124 w 946110"/>
                <a:gd name="connsiteY9" fmla="*/ 374347 h 807075"/>
                <a:gd name="connsiteX10" fmla="*/ 826886 w 946110"/>
                <a:gd name="connsiteY10" fmla="*/ 311005 h 807075"/>
                <a:gd name="connsiteX11" fmla="*/ 779381 w 946110"/>
                <a:gd name="connsiteY11" fmla="*/ 307078 h 807075"/>
                <a:gd name="connsiteX12" fmla="*/ 739729 w 946110"/>
                <a:gd name="connsiteY12" fmla="*/ 310372 h 807075"/>
                <a:gd name="connsiteX13" fmla="*/ 690196 w 946110"/>
                <a:gd name="connsiteY13" fmla="*/ 320253 h 807075"/>
                <a:gd name="connsiteX14" fmla="*/ 654598 w 946110"/>
                <a:gd name="connsiteY14" fmla="*/ 265526 h 807075"/>
                <a:gd name="connsiteX15" fmla="*/ 572128 w 946110"/>
                <a:gd name="connsiteY15" fmla="*/ 235883 h 807075"/>
                <a:gd name="connsiteX16" fmla="*/ 518668 w 946110"/>
                <a:gd name="connsiteY16" fmla="*/ 186350 h 807075"/>
                <a:gd name="connsiteX17" fmla="*/ 414408 w 946110"/>
                <a:gd name="connsiteY17" fmla="*/ 80063 h 807075"/>
                <a:gd name="connsiteX18" fmla="*/ 216403 w 946110"/>
                <a:gd name="connsiteY18" fmla="*/ 0 h 807075"/>
                <a:gd name="connsiteX19" fmla="*/ 217163 w 946110"/>
                <a:gd name="connsiteY19" fmla="*/ 5321 h 807075"/>
                <a:gd name="connsiteX20" fmla="*/ 217290 w 946110"/>
                <a:gd name="connsiteY20" fmla="*/ 45226 h 807075"/>
                <a:gd name="connsiteX21" fmla="*/ 197021 w 946110"/>
                <a:gd name="connsiteY21" fmla="*/ 72082 h 807075"/>
                <a:gd name="connsiteX22" fmla="*/ 172571 w 946110"/>
                <a:gd name="connsiteY22" fmla="*/ 97546 h 807075"/>
                <a:gd name="connsiteX23" fmla="*/ 178019 w 946110"/>
                <a:gd name="connsiteY23" fmla="*/ 139351 h 807075"/>
                <a:gd name="connsiteX24" fmla="*/ 154455 w 946110"/>
                <a:gd name="connsiteY24" fmla="*/ 168361 h 807075"/>
                <a:gd name="connsiteX25" fmla="*/ 123418 w 946110"/>
                <a:gd name="connsiteY25" fmla="*/ 158986 h 807075"/>
                <a:gd name="connsiteX26" fmla="*/ 75786 w 946110"/>
                <a:gd name="connsiteY26" fmla="*/ 157720 h 807075"/>
                <a:gd name="connsiteX27" fmla="*/ 51716 w 946110"/>
                <a:gd name="connsiteY27" fmla="*/ 192811 h 807075"/>
                <a:gd name="connsiteX28" fmla="*/ 20932 w 946110"/>
                <a:gd name="connsiteY28" fmla="*/ 209406 h 807075"/>
                <a:gd name="connsiteX29" fmla="*/ 26506 w 946110"/>
                <a:gd name="connsiteY29" fmla="*/ 225748 h 807075"/>
                <a:gd name="connsiteX30" fmla="*/ 23339 w 946110"/>
                <a:gd name="connsiteY30" fmla="*/ 240570 h 807075"/>
                <a:gd name="connsiteX31" fmla="*/ 6744 w 946110"/>
                <a:gd name="connsiteY31" fmla="*/ 280095 h 807075"/>
                <a:gd name="connsiteX32" fmla="*/ 16878 w 946110"/>
                <a:gd name="connsiteY32" fmla="*/ 317466 h 807075"/>
                <a:gd name="connsiteX33" fmla="*/ 32587 w 946110"/>
                <a:gd name="connsiteY33" fmla="*/ 356231 h 807075"/>
                <a:gd name="connsiteX34" fmla="*/ 34361 w 946110"/>
                <a:gd name="connsiteY34" fmla="*/ 375487 h 807075"/>
                <a:gd name="connsiteX35" fmla="*/ 7504 w 946110"/>
                <a:gd name="connsiteY35" fmla="*/ 398417 h 807075"/>
                <a:gd name="connsiteX36" fmla="*/ 1296 w 946110"/>
                <a:gd name="connsiteY36" fmla="*/ 406904 h 807075"/>
                <a:gd name="connsiteX37" fmla="*/ 1043 w 946110"/>
                <a:gd name="connsiteY37" fmla="*/ 433508 h 807075"/>
                <a:gd name="connsiteX38" fmla="*/ 283 w 946110"/>
                <a:gd name="connsiteY38" fmla="*/ 459477 h 807075"/>
                <a:gd name="connsiteX39" fmla="*/ 4337 w 946110"/>
                <a:gd name="connsiteY39" fmla="*/ 491402 h 807075"/>
                <a:gd name="connsiteX40" fmla="*/ 13711 w 946110"/>
                <a:gd name="connsiteY40" fmla="*/ 491908 h 807075"/>
                <a:gd name="connsiteX41" fmla="*/ 54250 w 946110"/>
                <a:gd name="connsiteY41" fmla="*/ 483420 h 807075"/>
                <a:gd name="connsiteX42" fmla="*/ 96435 w 946110"/>
                <a:gd name="connsiteY42" fmla="*/ 484054 h 807075"/>
                <a:gd name="connsiteX43" fmla="*/ 127092 w 946110"/>
                <a:gd name="connsiteY43" fmla="*/ 480127 h 807075"/>
                <a:gd name="connsiteX44" fmla="*/ 149008 w 946110"/>
                <a:gd name="connsiteY44" fmla="*/ 477593 h 807075"/>
                <a:gd name="connsiteX45" fmla="*/ 125192 w 946110"/>
                <a:gd name="connsiteY45" fmla="*/ 518638 h 807075"/>
                <a:gd name="connsiteX46" fmla="*/ 100362 w 946110"/>
                <a:gd name="connsiteY46" fmla="*/ 523199 h 807075"/>
                <a:gd name="connsiteX47" fmla="*/ 78446 w 946110"/>
                <a:gd name="connsiteY47" fmla="*/ 525859 h 807075"/>
                <a:gd name="connsiteX48" fmla="*/ 77179 w 946110"/>
                <a:gd name="connsiteY48" fmla="*/ 565130 h 807075"/>
                <a:gd name="connsiteX49" fmla="*/ 96308 w 946110"/>
                <a:gd name="connsiteY49" fmla="*/ 593634 h 807075"/>
                <a:gd name="connsiteX50" fmla="*/ 113537 w 946110"/>
                <a:gd name="connsiteY50" fmla="*/ 631386 h 807075"/>
                <a:gd name="connsiteX51" fmla="*/ 140267 w 946110"/>
                <a:gd name="connsiteY51" fmla="*/ 669010 h 807075"/>
                <a:gd name="connsiteX52" fmla="*/ 147995 w 946110"/>
                <a:gd name="connsiteY52" fmla="*/ 689026 h 807075"/>
                <a:gd name="connsiteX53" fmla="*/ 149135 w 946110"/>
                <a:gd name="connsiteY53" fmla="*/ 687759 h 807075"/>
                <a:gd name="connsiteX54" fmla="*/ 159903 w 946110"/>
                <a:gd name="connsiteY54" fmla="*/ 648108 h 807075"/>
                <a:gd name="connsiteX55" fmla="*/ 175992 w 946110"/>
                <a:gd name="connsiteY55" fmla="*/ 658622 h 807075"/>
                <a:gd name="connsiteX56" fmla="*/ 193474 w 946110"/>
                <a:gd name="connsiteY56" fmla="*/ 672177 h 807075"/>
                <a:gd name="connsiteX57" fmla="*/ 246173 w 946110"/>
                <a:gd name="connsiteY57" fmla="*/ 668630 h 807075"/>
                <a:gd name="connsiteX58" fmla="*/ 264163 w 946110"/>
                <a:gd name="connsiteY58" fmla="*/ 655075 h 807075"/>
                <a:gd name="connsiteX59" fmla="*/ 290512 w 946110"/>
                <a:gd name="connsiteY59" fmla="*/ 655709 h 807075"/>
                <a:gd name="connsiteX60" fmla="*/ 321297 w 946110"/>
                <a:gd name="connsiteY60" fmla="*/ 663309 h 807075"/>
                <a:gd name="connsiteX61" fmla="*/ 347900 w 946110"/>
                <a:gd name="connsiteY61" fmla="*/ 662549 h 807075"/>
                <a:gd name="connsiteX62" fmla="*/ 372730 w 946110"/>
                <a:gd name="connsiteY62" fmla="*/ 653555 h 807075"/>
                <a:gd name="connsiteX63" fmla="*/ 392619 w 946110"/>
                <a:gd name="connsiteY63" fmla="*/ 642407 h 807075"/>
                <a:gd name="connsiteX64" fmla="*/ 447219 w 946110"/>
                <a:gd name="connsiteY64" fmla="*/ 641900 h 807075"/>
                <a:gd name="connsiteX65" fmla="*/ 471415 w 946110"/>
                <a:gd name="connsiteY65" fmla="*/ 646081 h 807075"/>
                <a:gd name="connsiteX66" fmla="*/ 493838 w 946110"/>
                <a:gd name="connsiteY66" fmla="*/ 633919 h 807075"/>
                <a:gd name="connsiteX67" fmla="*/ 504226 w 946110"/>
                <a:gd name="connsiteY67" fmla="*/ 625305 h 807075"/>
                <a:gd name="connsiteX68" fmla="*/ 522468 w 946110"/>
                <a:gd name="connsiteY68" fmla="*/ 625051 h 807075"/>
                <a:gd name="connsiteX69" fmla="*/ 529436 w 946110"/>
                <a:gd name="connsiteY69" fmla="*/ 666857 h 807075"/>
                <a:gd name="connsiteX70" fmla="*/ 566934 w 946110"/>
                <a:gd name="connsiteY70" fmla="*/ 693460 h 807075"/>
                <a:gd name="connsiteX71" fmla="*/ 588090 w 946110"/>
                <a:gd name="connsiteY71" fmla="*/ 711322 h 807075"/>
                <a:gd name="connsiteX72" fmla="*/ 590497 w 946110"/>
                <a:gd name="connsiteY72" fmla="*/ 738179 h 807075"/>
                <a:gd name="connsiteX73" fmla="*/ 578589 w 946110"/>
                <a:gd name="connsiteY73" fmla="*/ 754394 h 807075"/>
                <a:gd name="connsiteX74" fmla="*/ 579982 w 946110"/>
                <a:gd name="connsiteY74" fmla="*/ 777577 h 807075"/>
                <a:gd name="connsiteX75" fmla="*/ 604432 w 946110"/>
                <a:gd name="connsiteY75" fmla="*/ 805701 h 807075"/>
                <a:gd name="connsiteX76" fmla="*/ 621154 w 946110"/>
                <a:gd name="connsiteY76" fmla="*/ 794806 h 807075"/>
                <a:gd name="connsiteX77" fmla="*/ 636483 w 946110"/>
                <a:gd name="connsiteY77" fmla="*/ 782138 h 807075"/>
                <a:gd name="connsiteX78" fmla="*/ 642310 w 946110"/>
                <a:gd name="connsiteY78" fmla="*/ 760855 h 807075"/>
                <a:gd name="connsiteX79" fmla="*/ 657132 w 946110"/>
                <a:gd name="connsiteY79" fmla="*/ 756295 h 807075"/>
                <a:gd name="connsiteX80" fmla="*/ 676894 w 946110"/>
                <a:gd name="connsiteY80" fmla="*/ 756041 h 807075"/>
                <a:gd name="connsiteX81" fmla="*/ 684495 w 946110"/>
                <a:gd name="connsiteY81" fmla="*/ 728424 h 807075"/>
                <a:gd name="connsiteX82" fmla="*/ 692223 w 946110"/>
                <a:gd name="connsiteY82" fmla="*/ 720317 h 807075"/>
                <a:gd name="connsiteX83" fmla="*/ 710845 w 946110"/>
                <a:gd name="connsiteY83" fmla="*/ 729818 h 807075"/>
                <a:gd name="connsiteX84" fmla="*/ 737829 w 946110"/>
                <a:gd name="connsiteY84" fmla="*/ 718796 h 807075"/>
                <a:gd name="connsiteX85" fmla="*/ 753284 w 946110"/>
                <a:gd name="connsiteY85" fmla="*/ 703721 h 807075"/>
                <a:gd name="connsiteX86" fmla="*/ 785461 w 946110"/>
                <a:gd name="connsiteY86" fmla="*/ 731338 h 807075"/>
                <a:gd name="connsiteX87" fmla="*/ 818905 w 946110"/>
                <a:gd name="connsiteY87" fmla="*/ 725637 h 807075"/>
                <a:gd name="connsiteX88" fmla="*/ 839808 w 946110"/>
                <a:gd name="connsiteY88" fmla="*/ 729564 h 807075"/>
                <a:gd name="connsiteX89" fmla="*/ 860584 w 946110"/>
                <a:gd name="connsiteY89" fmla="*/ 722850 h 807075"/>
                <a:gd name="connsiteX90" fmla="*/ 881233 w 946110"/>
                <a:gd name="connsiteY90" fmla="*/ 709549 h 807075"/>
                <a:gd name="connsiteX91" fmla="*/ 899222 w 946110"/>
                <a:gd name="connsiteY91" fmla="*/ 699921 h 807075"/>
                <a:gd name="connsiteX92" fmla="*/ 913410 w 946110"/>
                <a:gd name="connsiteY92" fmla="*/ 659889 h 807075"/>
                <a:gd name="connsiteX93" fmla="*/ 913410 w 946110"/>
                <a:gd name="connsiteY93" fmla="*/ 627205 h 807075"/>
                <a:gd name="connsiteX94" fmla="*/ 909103 w 946110"/>
                <a:gd name="connsiteY94" fmla="*/ 592494 h 807075"/>
                <a:gd name="connsiteX95" fmla="*/ 918984 w 946110"/>
                <a:gd name="connsiteY95" fmla="*/ 575138 h 807075"/>
                <a:gd name="connsiteX96" fmla="*/ 921138 w 946110"/>
                <a:gd name="connsiteY96" fmla="*/ 527126 h 807075"/>
                <a:gd name="connsiteX97" fmla="*/ 942041 w 946110"/>
                <a:gd name="connsiteY97" fmla="*/ 477213 h 80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46110" h="807075">
                  <a:moveTo>
                    <a:pt x="942041" y="477213"/>
                  </a:moveTo>
                  <a:cubicBezTo>
                    <a:pt x="929119" y="468345"/>
                    <a:pt x="900995" y="478733"/>
                    <a:pt x="910877" y="459857"/>
                  </a:cubicBezTo>
                  <a:cubicBezTo>
                    <a:pt x="920758" y="441109"/>
                    <a:pt x="923545" y="432114"/>
                    <a:pt x="920758" y="426667"/>
                  </a:cubicBezTo>
                  <a:cubicBezTo>
                    <a:pt x="915944" y="427300"/>
                    <a:pt x="909483" y="419446"/>
                    <a:pt x="900235" y="413365"/>
                  </a:cubicBezTo>
                  <a:cubicBezTo>
                    <a:pt x="888327" y="405384"/>
                    <a:pt x="876419" y="410071"/>
                    <a:pt x="865904" y="427173"/>
                  </a:cubicBezTo>
                  <a:cubicBezTo>
                    <a:pt x="855390" y="444276"/>
                    <a:pt x="856657" y="437055"/>
                    <a:pt x="848042" y="433127"/>
                  </a:cubicBezTo>
                  <a:cubicBezTo>
                    <a:pt x="839428" y="429200"/>
                    <a:pt x="838161" y="443009"/>
                    <a:pt x="830940" y="451623"/>
                  </a:cubicBezTo>
                  <a:cubicBezTo>
                    <a:pt x="823719" y="460111"/>
                    <a:pt x="811811" y="451623"/>
                    <a:pt x="801296" y="446936"/>
                  </a:cubicBezTo>
                  <a:cubicBezTo>
                    <a:pt x="790782" y="442375"/>
                    <a:pt x="799903" y="425780"/>
                    <a:pt x="809151" y="416532"/>
                  </a:cubicBezTo>
                  <a:cubicBezTo>
                    <a:pt x="818399" y="407284"/>
                    <a:pt x="813711" y="393476"/>
                    <a:pt x="807124" y="374347"/>
                  </a:cubicBezTo>
                  <a:cubicBezTo>
                    <a:pt x="800536" y="355218"/>
                    <a:pt x="821566" y="335329"/>
                    <a:pt x="826886" y="311005"/>
                  </a:cubicBezTo>
                  <a:cubicBezTo>
                    <a:pt x="832080" y="286556"/>
                    <a:pt x="795849" y="298464"/>
                    <a:pt x="779381" y="307078"/>
                  </a:cubicBezTo>
                  <a:cubicBezTo>
                    <a:pt x="762912" y="315693"/>
                    <a:pt x="755691" y="315693"/>
                    <a:pt x="739729" y="310372"/>
                  </a:cubicBezTo>
                  <a:cubicBezTo>
                    <a:pt x="723894" y="305051"/>
                    <a:pt x="721867" y="311639"/>
                    <a:pt x="690196" y="320253"/>
                  </a:cubicBezTo>
                  <a:cubicBezTo>
                    <a:pt x="658525" y="328868"/>
                    <a:pt x="665113" y="309105"/>
                    <a:pt x="654598" y="265526"/>
                  </a:cubicBezTo>
                  <a:cubicBezTo>
                    <a:pt x="644083" y="221948"/>
                    <a:pt x="597211" y="227902"/>
                    <a:pt x="572128" y="235883"/>
                  </a:cubicBezTo>
                  <a:cubicBezTo>
                    <a:pt x="547044" y="243864"/>
                    <a:pt x="531970" y="223341"/>
                    <a:pt x="518668" y="186350"/>
                  </a:cubicBezTo>
                  <a:cubicBezTo>
                    <a:pt x="505493" y="149359"/>
                    <a:pt x="517401" y="154046"/>
                    <a:pt x="414408" y="80063"/>
                  </a:cubicBezTo>
                  <a:cubicBezTo>
                    <a:pt x="311415" y="6207"/>
                    <a:pt x="216403" y="0"/>
                    <a:pt x="216403" y="0"/>
                  </a:cubicBezTo>
                  <a:cubicBezTo>
                    <a:pt x="216657" y="1774"/>
                    <a:pt x="217037" y="3547"/>
                    <a:pt x="217163" y="5321"/>
                  </a:cubicBezTo>
                  <a:cubicBezTo>
                    <a:pt x="218430" y="18242"/>
                    <a:pt x="219190" y="32431"/>
                    <a:pt x="217290" y="45226"/>
                  </a:cubicBezTo>
                  <a:cubicBezTo>
                    <a:pt x="215390" y="58020"/>
                    <a:pt x="207535" y="65368"/>
                    <a:pt x="197021" y="72082"/>
                  </a:cubicBezTo>
                  <a:cubicBezTo>
                    <a:pt x="187266" y="78416"/>
                    <a:pt x="173965" y="84497"/>
                    <a:pt x="172571" y="97546"/>
                  </a:cubicBezTo>
                  <a:cubicBezTo>
                    <a:pt x="171051" y="111480"/>
                    <a:pt x="179159" y="125036"/>
                    <a:pt x="178019" y="139351"/>
                  </a:cubicBezTo>
                  <a:cubicBezTo>
                    <a:pt x="177005" y="153032"/>
                    <a:pt x="168391" y="165574"/>
                    <a:pt x="154455" y="168361"/>
                  </a:cubicBezTo>
                  <a:cubicBezTo>
                    <a:pt x="142674" y="170768"/>
                    <a:pt x="133046" y="164560"/>
                    <a:pt x="123418" y="158986"/>
                  </a:cubicBezTo>
                  <a:cubicBezTo>
                    <a:pt x="108596" y="150372"/>
                    <a:pt x="90607" y="148092"/>
                    <a:pt x="75786" y="157720"/>
                  </a:cubicBezTo>
                  <a:cubicBezTo>
                    <a:pt x="62231" y="166334"/>
                    <a:pt x="65778" y="183816"/>
                    <a:pt x="51716" y="192811"/>
                  </a:cubicBezTo>
                  <a:cubicBezTo>
                    <a:pt x="43355" y="198132"/>
                    <a:pt x="23466" y="197878"/>
                    <a:pt x="20932" y="209406"/>
                  </a:cubicBezTo>
                  <a:cubicBezTo>
                    <a:pt x="19665" y="215487"/>
                    <a:pt x="24479" y="220427"/>
                    <a:pt x="26506" y="225748"/>
                  </a:cubicBezTo>
                  <a:cubicBezTo>
                    <a:pt x="28913" y="231829"/>
                    <a:pt x="26886" y="235376"/>
                    <a:pt x="23339" y="240570"/>
                  </a:cubicBezTo>
                  <a:cubicBezTo>
                    <a:pt x="15358" y="252352"/>
                    <a:pt x="9911" y="266286"/>
                    <a:pt x="6744" y="280095"/>
                  </a:cubicBezTo>
                  <a:cubicBezTo>
                    <a:pt x="3830" y="292890"/>
                    <a:pt x="10544" y="306445"/>
                    <a:pt x="16878" y="317466"/>
                  </a:cubicBezTo>
                  <a:cubicBezTo>
                    <a:pt x="24479" y="330768"/>
                    <a:pt x="29547" y="341029"/>
                    <a:pt x="32587" y="356231"/>
                  </a:cubicBezTo>
                  <a:cubicBezTo>
                    <a:pt x="33854" y="362312"/>
                    <a:pt x="36134" y="369279"/>
                    <a:pt x="34361" y="375487"/>
                  </a:cubicBezTo>
                  <a:cubicBezTo>
                    <a:pt x="30940" y="387522"/>
                    <a:pt x="17132" y="392843"/>
                    <a:pt x="7504" y="398417"/>
                  </a:cubicBezTo>
                  <a:cubicBezTo>
                    <a:pt x="4083" y="400443"/>
                    <a:pt x="2183" y="403104"/>
                    <a:pt x="1296" y="406904"/>
                  </a:cubicBezTo>
                  <a:cubicBezTo>
                    <a:pt x="-984" y="415772"/>
                    <a:pt x="283" y="424640"/>
                    <a:pt x="1043" y="433508"/>
                  </a:cubicBezTo>
                  <a:cubicBezTo>
                    <a:pt x="1803" y="442122"/>
                    <a:pt x="-604" y="450736"/>
                    <a:pt x="283" y="459477"/>
                  </a:cubicBezTo>
                  <a:cubicBezTo>
                    <a:pt x="1296" y="470119"/>
                    <a:pt x="2816" y="480760"/>
                    <a:pt x="4337" y="491402"/>
                  </a:cubicBezTo>
                  <a:cubicBezTo>
                    <a:pt x="7250" y="491021"/>
                    <a:pt x="10418" y="491275"/>
                    <a:pt x="13711" y="491908"/>
                  </a:cubicBezTo>
                  <a:cubicBezTo>
                    <a:pt x="29927" y="495202"/>
                    <a:pt x="40188" y="489881"/>
                    <a:pt x="54250" y="483420"/>
                  </a:cubicBezTo>
                  <a:cubicBezTo>
                    <a:pt x="69705" y="476326"/>
                    <a:pt x="80853" y="483294"/>
                    <a:pt x="96435" y="484054"/>
                  </a:cubicBezTo>
                  <a:cubicBezTo>
                    <a:pt x="107456" y="484687"/>
                    <a:pt x="116451" y="480887"/>
                    <a:pt x="127092" y="480127"/>
                  </a:cubicBezTo>
                  <a:cubicBezTo>
                    <a:pt x="133680" y="479747"/>
                    <a:pt x="142674" y="476706"/>
                    <a:pt x="149008" y="477593"/>
                  </a:cubicBezTo>
                  <a:cubicBezTo>
                    <a:pt x="144827" y="493302"/>
                    <a:pt x="134440" y="505717"/>
                    <a:pt x="125192" y="518638"/>
                  </a:cubicBezTo>
                  <a:cubicBezTo>
                    <a:pt x="117338" y="529660"/>
                    <a:pt x="111510" y="531053"/>
                    <a:pt x="100362" y="523199"/>
                  </a:cubicBezTo>
                  <a:cubicBezTo>
                    <a:pt x="91241" y="516864"/>
                    <a:pt x="85287" y="515091"/>
                    <a:pt x="78446" y="525859"/>
                  </a:cubicBezTo>
                  <a:cubicBezTo>
                    <a:pt x="70972" y="537514"/>
                    <a:pt x="71099" y="552969"/>
                    <a:pt x="77179" y="565130"/>
                  </a:cubicBezTo>
                  <a:cubicBezTo>
                    <a:pt x="82373" y="575519"/>
                    <a:pt x="91241" y="582993"/>
                    <a:pt x="96308" y="593634"/>
                  </a:cubicBezTo>
                  <a:cubicBezTo>
                    <a:pt x="102389" y="606302"/>
                    <a:pt x="103909" y="620491"/>
                    <a:pt x="113537" y="631386"/>
                  </a:cubicBezTo>
                  <a:cubicBezTo>
                    <a:pt x="124685" y="643927"/>
                    <a:pt x="133553" y="653048"/>
                    <a:pt x="140267" y="669010"/>
                  </a:cubicBezTo>
                  <a:cubicBezTo>
                    <a:pt x="143054" y="675598"/>
                    <a:pt x="145588" y="682312"/>
                    <a:pt x="147995" y="689026"/>
                  </a:cubicBezTo>
                  <a:cubicBezTo>
                    <a:pt x="148375" y="688646"/>
                    <a:pt x="148755" y="688139"/>
                    <a:pt x="149135" y="687759"/>
                  </a:cubicBezTo>
                  <a:cubicBezTo>
                    <a:pt x="156229" y="678511"/>
                    <a:pt x="144954" y="652415"/>
                    <a:pt x="159903" y="648108"/>
                  </a:cubicBezTo>
                  <a:cubicBezTo>
                    <a:pt x="166237" y="646334"/>
                    <a:pt x="172065" y="654822"/>
                    <a:pt x="175992" y="658622"/>
                  </a:cubicBezTo>
                  <a:cubicBezTo>
                    <a:pt x="181312" y="663563"/>
                    <a:pt x="187140" y="668630"/>
                    <a:pt x="193474" y="672177"/>
                  </a:cubicBezTo>
                  <a:cubicBezTo>
                    <a:pt x="206775" y="679525"/>
                    <a:pt x="233379" y="676231"/>
                    <a:pt x="246173" y="668630"/>
                  </a:cubicBezTo>
                  <a:cubicBezTo>
                    <a:pt x="252634" y="664830"/>
                    <a:pt x="256815" y="657482"/>
                    <a:pt x="264163" y="655075"/>
                  </a:cubicBezTo>
                  <a:cubicBezTo>
                    <a:pt x="272144" y="652415"/>
                    <a:pt x="282405" y="654315"/>
                    <a:pt x="290512" y="655709"/>
                  </a:cubicBezTo>
                  <a:cubicBezTo>
                    <a:pt x="301027" y="657482"/>
                    <a:pt x="310782" y="661536"/>
                    <a:pt x="321297" y="663309"/>
                  </a:cubicBezTo>
                  <a:cubicBezTo>
                    <a:pt x="330038" y="664830"/>
                    <a:pt x="339159" y="663816"/>
                    <a:pt x="347900" y="662549"/>
                  </a:cubicBezTo>
                  <a:cubicBezTo>
                    <a:pt x="357021" y="661156"/>
                    <a:pt x="365129" y="658876"/>
                    <a:pt x="372730" y="653555"/>
                  </a:cubicBezTo>
                  <a:cubicBezTo>
                    <a:pt x="379190" y="648995"/>
                    <a:pt x="384764" y="644687"/>
                    <a:pt x="392619" y="642407"/>
                  </a:cubicBezTo>
                  <a:cubicBezTo>
                    <a:pt x="409214" y="637466"/>
                    <a:pt x="430750" y="636073"/>
                    <a:pt x="447219" y="641900"/>
                  </a:cubicBezTo>
                  <a:cubicBezTo>
                    <a:pt x="454820" y="644561"/>
                    <a:pt x="463434" y="648108"/>
                    <a:pt x="471415" y="646081"/>
                  </a:cubicBezTo>
                  <a:cubicBezTo>
                    <a:pt x="479903" y="643927"/>
                    <a:pt x="487504" y="639873"/>
                    <a:pt x="493838" y="633919"/>
                  </a:cubicBezTo>
                  <a:cubicBezTo>
                    <a:pt x="497258" y="630752"/>
                    <a:pt x="499919" y="627205"/>
                    <a:pt x="504226" y="625305"/>
                  </a:cubicBezTo>
                  <a:cubicBezTo>
                    <a:pt x="509547" y="622898"/>
                    <a:pt x="516768" y="623404"/>
                    <a:pt x="522468" y="625051"/>
                  </a:cubicBezTo>
                  <a:cubicBezTo>
                    <a:pt x="519175" y="641014"/>
                    <a:pt x="513980" y="656215"/>
                    <a:pt x="529436" y="666857"/>
                  </a:cubicBezTo>
                  <a:cubicBezTo>
                    <a:pt x="542357" y="675724"/>
                    <a:pt x="555152" y="682945"/>
                    <a:pt x="566934" y="693460"/>
                  </a:cubicBezTo>
                  <a:cubicBezTo>
                    <a:pt x="573775" y="699668"/>
                    <a:pt x="581376" y="704862"/>
                    <a:pt x="588090" y="711322"/>
                  </a:cubicBezTo>
                  <a:cubicBezTo>
                    <a:pt x="597211" y="720317"/>
                    <a:pt x="599871" y="728044"/>
                    <a:pt x="590497" y="738179"/>
                  </a:cubicBezTo>
                  <a:cubicBezTo>
                    <a:pt x="585810" y="743246"/>
                    <a:pt x="580489" y="747554"/>
                    <a:pt x="578589" y="754394"/>
                  </a:cubicBezTo>
                  <a:cubicBezTo>
                    <a:pt x="576562" y="761869"/>
                    <a:pt x="578462" y="770229"/>
                    <a:pt x="579982" y="777577"/>
                  </a:cubicBezTo>
                  <a:cubicBezTo>
                    <a:pt x="582389" y="789105"/>
                    <a:pt x="587963" y="813048"/>
                    <a:pt x="604432" y="805701"/>
                  </a:cubicBezTo>
                  <a:cubicBezTo>
                    <a:pt x="610513" y="803041"/>
                    <a:pt x="615580" y="798227"/>
                    <a:pt x="621154" y="794806"/>
                  </a:cubicBezTo>
                  <a:cubicBezTo>
                    <a:pt x="626855" y="791259"/>
                    <a:pt x="632936" y="788092"/>
                    <a:pt x="636483" y="782138"/>
                  </a:cubicBezTo>
                  <a:cubicBezTo>
                    <a:pt x="640283" y="775423"/>
                    <a:pt x="639650" y="767696"/>
                    <a:pt x="642310" y="760855"/>
                  </a:cubicBezTo>
                  <a:cubicBezTo>
                    <a:pt x="645097" y="753634"/>
                    <a:pt x="650797" y="754394"/>
                    <a:pt x="657132" y="756295"/>
                  </a:cubicBezTo>
                  <a:cubicBezTo>
                    <a:pt x="663466" y="758195"/>
                    <a:pt x="671574" y="762122"/>
                    <a:pt x="676894" y="756041"/>
                  </a:cubicBezTo>
                  <a:cubicBezTo>
                    <a:pt x="682848" y="749200"/>
                    <a:pt x="682722" y="736912"/>
                    <a:pt x="684495" y="728424"/>
                  </a:cubicBezTo>
                  <a:cubicBezTo>
                    <a:pt x="685509" y="723357"/>
                    <a:pt x="686269" y="716643"/>
                    <a:pt x="692223" y="720317"/>
                  </a:cubicBezTo>
                  <a:cubicBezTo>
                    <a:pt x="698810" y="724370"/>
                    <a:pt x="702484" y="728931"/>
                    <a:pt x="710845" y="729818"/>
                  </a:cubicBezTo>
                  <a:cubicBezTo>
                    <a:pt x="720980" y="730831"/>
                    <a:pt x="730861" y="726271"/>
                    <a:pt x="737829" y="718796"/>
                  </a:cubicBezTo>
                  <a:cubicBezTo>
                    <a:pt x="742516" y="713982"/>
                    <a:pt x="746696" y="706002"/>
                    <a:pt x="753284" y="703721"/>
                  </a:cubicBezTo>
                  <a:cubicBezTo>
                    <a:pt x="767599" y="698781"/>
                    <a:pt x="776087" y="725004"/>
                    <a:pt x="785461" y="731338"/>
                  </a:cubicBezTo>
                  <a:cubicBezTo>
                    <a:pt x="796102" y="738306"/>
                    <a:pt x="807250" y="724370"/>
                    <a:pt x="818905" y="725637"/>
                  </a:cubicBezTo>
                  <a:cubicBezTo>
                    <a:pt x="826000" y="726397"/>
                    <a:pt x="832714" y="729438"/>
                    <a:pt x="839808" y="729564"/>
                  </a:cubicBezTo>
                  <a:cubicBezTo>
                    <a:pt x="847409" y="729691"/>
                    <a:pt x="854123" y="726524"/>
                    <a:pt x="860584" y="722850"/>
                  </a:cubicBezTo>
                  <a:cubicBezTo>
                    <a:pt x="867678" y="718796"/>
                    <a:pt x="874392" y="714109"/>
                    <a:pt x="881233" y="709549"/>
                  </a:cubicBezTo>
                  <a:cubicBezTo>
                    <a:pt x="886047" y="706255"/>
                    <a:pt x="893015" y="699921"/>
                    <a:pt x="899222" y="699921"/>
                  </a:cubicBezTo>
                  <a:cubicBezTo>
                    <a:pt x="899222" y="699921"/>
                    <a:pt x="903909" y="667363"/>
                    <a:pt x="913410" y="659889"/>
                  </a:cubicBezTo>
                  <a:cubicBezTo>
                    <a:pt x="922785" y="652415"/>
                    <a:pt x="918858" y="641520"/>
                    <a:pt x="913410" y="627205"/>
                  </a:cubicBezTo>
                  <a:cubicBezTo>
                    <a:pt x="907963" y="612890"/>
                    <a:pt x="902896" y="596548"/>
                    <a:pt x="909103" y="592494"/>
                  </a:cubicBezTo>
                  <a:cubicBezTo>
                    <a:pt x="915311" y="588567"/>
                    <a:pt x="925699" y="583626"/>
                    <a:pt x="918984" y="575138"/>
                  </a:cubicBezTo>
                  <a:cubicBezTo>
                    <a:pt x="912270" y="566651"/>
                    <a:pt x="907710" y="541948"/>
                    <a:pt x="921138" y="527126"/>
                  </a:cubicBezTo>
                  <a:cubicBezTo>
                    <a:pt x="934567" y="512304"/>
                    <a:pt x="954835" y="486081"/>
                    <a:pt x="942041" y="47721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397" name="Полилиния: фигура 396">
              <a:extLst>
                <a:ext uri="{FF2B5EF4-FFF2-40B4-BE49-F238E27FC236}">
                  <a16:creationId xmlns:a16="http://schemas.microsoft.com/office/drawing/2014/main" id="{2A236A12-3DA2-4AE1-9B90-689B41114227}"/>
                </a:ext>
              </a:extLst>
            </p:cNvPr>
            <p:cNvSpPr/>
            <p:nvPr/>
          </p:nvSpPr>
          <p:spPr>
            <a:xfrm>
              <a:off x="11408330" y="5968100"/>
              <a:ext cx="617992" cy="1371425"/>
            </a:xfrm>
            <a:custGeom>
              <a:avLst/>
              <a:gdLst>
                <a:gd name="connsiteX0" fmla="*/ 617722 w 617992"/>
                <a:gd name="connsiteY0" fmla="*/ 322748 h 1371425"/>
                <a:gd name="connsiteX1" fmla="*/ 613795 w 617992"/>
                <a:gd name="connsiteY1" fmla="*/ 406485 h 1371425"/>
                <a:gd name="connsiteX2" fmla="*/ 610248 w 617992"/>
                <a:gd name="connsiteY2" fmla="*/ 479961 h 1371425"/>
                <a:gd name="connsiteX3" fmla="*/ 601887 w 617992"/>
                <a:gd name="connsiteY3" fmla="*/ 582194 h 1371425"/>
                <a:gd name="connsiteX4" fmla="*/ 571230 w 617992"/>
                <a:gd name="connsiteY4" fmla="*/ 662257 h 1371425"/>
                <a:gd name="connsiteX5" fmla="*/ 579084 w 617992"/>
                <a:gd name="connsiteY5" fmla="*/ 721925 h 1371425"/>
                <a:gd name="connsiteX6" fmla="*/ 559448 w 617992"/>
                <a:gd name="connsiteY6" fmla="*/ 765630 h 1371425"/>
                <a:gd name="connsiteX7" fmla="*/ 556535 w 617992"/>
                <a:gd name="connsiteY7" fmla="*/ 817190 h 1371425"/>
                <a:gd name="connsiteX8" fmla="*/ 552481 w 617992"/>
                <a:gd name="connsiteY8" fmla="*/ 901814 h 1371425"/>
                <a:gd name="connsiteX9" fmla="*/ 524738 w 617992"/>
                <a:gd name="connsiteY9" fmla="*/ 995052 h 1371425"/>
                <a:gd name="connsiteX10" fmla="*/ 492307 w 617992"/>
                <a:gd name="connsiteY10" fmla="*/ 1081449 h 1371425"/>
                <a:gd name="connsiteX11" fmla="*/ 434667 w 617992"/>
                <a:gd name="connsiteY11" fmla="*/ 1126422 h 1371425"/>
                <a:gd name="connsiteX12" fmla="*/ 404769 w 617992"/>
                <a:gd name="connsiteY12" fmla="*/ 1154672 h 1371425"/>
                <a:gd name="connsiteX13" fmla="*/ 389694 w 617992"/>
                <a:gd name="connsiteY13" fmla="*/ 1186216 h 1371425"/>
                <a:gd name="connsiteX14" fmla="*/ 326606 w 617992"/>
                <a:gd name="connsiteY14" fmla="*/ 1197111 h 1371425"/>
                <a:gd name="connsiteX15" fmla="*/ 294429 w 617992"/>
                <a:gd name="connsiteY15" fmla="*/ 1212186 h 1371425"/>
                <a:gd name="connsiteX16" fmla="*/ 261618 w 617992"/>
                <a:gd name="connsiteY16" fmla="*/ 1186849 h 1371425"/>
                <a:gd name="connsiteX17" fmla="*/ 237041 w 617992"/>
                <a:gd name="connsiteY17" fmla="*/ 1171268 h 1371425"/>
                <a:gd name="connsiteX18" fmla="*/ 217279 w 617992"/>
                <a:gd name="connsiteY18" fmla="*/ 1185836 h 1371425"/>
                <a:gd name="connsiteX19" fmla="*/ 192576 w 617992"/>
                <a:gd name="connsiteY19" fmla="*/ 1184823 h 1371425"/>
                <a:gd name="connsiteX20" fmla="*/ 184975 w 617992"/>
                <a:gd name="connsiteY20" fmla="*/ 1231569 h 1371425"/>
                <a:gd name="connsiteX21" fmla="*/ 176614 w 617992"/>
                <a:gd name="connsiteY21" fmla="*/ 1284268 h 1371425"/>
                <a:gd name="connsiteX22" fmla="*/ 173700 w 617992"/>
                <a:gd name="connsiteY22" fmla="*/ 1327720 h 1371425"/>
                <a:gd name="connsiteX23" fmla="*/ 142663 w 617992"/>
                <a:gd name="connsiteY23" fmla="*/ 1343936 h 1371425"/>
                <a:gd name="connsiteX24" fmla="*/ 117073 w 617992"/>
                <a:gd name="connsiteY24" fmla="*/ 1371426 h 1371425"/>
                <a:gd name="connsiteX25" fmla="*/ 77041 w 617992"/>
                <a:gd name="connsiteY25" fmla="*/ 1353057 h 1371425"/>
                <a:gd name="connsiteX26" fmla="*/ 52845 w 617992"/>
                <a:gd name="connsiteY26" fmla="*/ 1347609 h 1371425"/>
                <a:gd name="connsiteX27" fmla="*/ 58546 w 617992"/>
                <a:gd name="connsiteY27" fmla="*/ 1304411 h 1371425"/>
                <a:gd name="connsiteX28" fmla="*/ 109852 w 617992"/>
                <a:gd name="connsiteY28" fmla="*/ 1293136 h 1371425"/>
                <a:gd name="connsiteX29" fmla="*/ 124168 w 617992"/>
                <a:gd name="connsiteY29" fmla="*/ 1233849 h 1371425"/>
                <a:gd name="connsiteX30" fmla="*/ 86796 w 617992"/>
                <a:gd name="connsiteY30" fmla="*/ 1139724 h 1371425"/>
                <a:gd name="connsiteX31" fmla="*/ 65640 w 617992"/>
                <a:gd name="connsiteY31" fmla="*/ 1087784 h 1371425"/>
                <a:gd name="connsiteX32" fmla="*/ 29789 w 617992"/>
                <a:gd name="connsiteY32" fmla="*/ 1037997 h 1371425"/>
                <a:gd name="connsiteX33" fmla="*/ 7493 w 617992"/>
                <a:gd name="connsiteY33" fmla="*/ 1001133 h 1371425"/>
                <a:gd name="connsiteX34" fmla="*/ 272 w 617992"/>
                <a:gd name="connsiteY34" fmla="*/ 970096 h 1371425"/>
                <a:gd name="connsiteX35" fmla="*/ 11166 w 617992"/>
                <a:gd name="connsiteY35" fmla="*/ 943492 h 1371425"/>
                <a:gd name="connsiteX36" fmla="*/ 30043 w 617992"/>
                <a:gd name="connsiteY36" fmla="*/ 919169 h 1371425"/>
                <a:gd name="connsiteX37" fmla="*/ 43217 w 617992"/>
                <a:gd name="connsiteY37" fmla="*/ 861909 h 1371425"/>
                <a:gd name="connsiteX38" fmla="*/ 77422 w 617992"/>
                <a:gd name="connsiteY38" fmla="*/ 854561 h 1371425"/>
                <a:gd name="connsiteX39" fmla="*/ 105165 w 617992"/>
                <a:gd name="connsiteY39" fmla="*/ 834925 h 1371425"/>
                <a:gd name="connsiteX40" fmla="*/ 136203 w 617992"/>
                <a:gd name="connsiteY40" fmla="*/ 815923 h 1371425"/>
                <a:gd name="connsiteX41" fmla="*/ 166479 w 617992"/>
                <a:gd name="connsiteY41" fmla="*/ 847720 h 1371425"/>
                <a:gd name="connsiteX42" fmla="*/ 178008 w 617992"/>
                <a:gd name="connsiteY42" fmla="*/ 837966 h 1371425"/>
                <a:gd name="connsiteX43" fmla="*/ 179021 w 617992"/>
                <a:gd name="connsiteY43" fmla="*/ 798187 h 1371425"/>
                <a:gd name="connsiteX44" fmla="*/ 188522 w 617992"/>
                <a:gd name="connsiteY44" fmla="*/ 777918 h 1371425"/>
                <a:gd name="connsiteX45" fmla="*/ 178134 w 617992"/>
                <a:gd name="connsiteY45" fmla="*/ 713057 h 1371425"/>
                <a:gd name="connsiteX46" fmla="*/ 177627 w 617992"/>
                <a:gd name="connsiteY46" fmla="*/ 655543 h 1371425"/>
                <a:gd name="connsiteX47" fmla="*/ 183201 w 617992"/>
                <a:gd name="connsiteY47" fmla="*/ 598029 h 1371425"/>
                <a:gd name="connsiteX48" fmla="*/ 154444 w 617992"/>
                <a:gd name="connsiteY48" fmla="*/ 537728 h 1371425"/>
                <a:gd name="connsiteX49" fmla="*/ 173827 w 617992"/>
                <a:gd name="connsiteY49" fmla="*/ 523920 h 1371425"/>
                <a:gd name="connsiteX50" fmla="*/ 190549 w 617992"/>
                <a:gd name="connsiteY50" fmla="*/ 489335 h 1371425"/>
                <a:gd name="connsiteX51" fmla="*/ 182441 w 617992"/>
                <a:gd name="connsiteY51" fmla="*/ 467420 h 1371425"/>
                <a:gd name="connsiteX52" fmla="*/ 171420 w 617992"/>
                <a:gd name="connsiteY52" fmla="*/ 451964 h 1371425"/>
                <a:gd name="connsiteX53" fmla="*/ 188269 w 617992"/>
                <a:gd name="connsiteY53" fmla="*/ 411933 h 1371425"/>
                <a:gd name="connsiteX54" fmla="*/ 199544 w 617992"/>
                <a:gd name="connsiteY54" fmla="*/ 398378 h 1371425"/>
                <a:gd name="connsiteX55" fmla="*/ 205371 w 617992"/>
                <a:gd name="connsiteY55" fmla="*/ 380642 h 1371425"/>
                <a:gd name="connsiteX56" fmla="*/ 242996 w 617992"/>
                <a:gd name="connsiteY56" fmla="*/ 381402 h 1371425"/>
                <a:gd name="connsiteX57" fmla="*/ 265038 w 617992"/>
                <a:gd name="connsiteY57" fmla="*/ 408892 h 1371425"/>
                <a:gd name="connsiteX58" fmla="*/ 278086 w 617992"/>
                <a:gd name="connsiteY58" fmla="*/ 392043 h 1371425"/>
                <a:gd name="connsiteX59" fmla="*/ 298229 w 617992"/>
                <a:gd name="connsiteY59" fmla="*/ 388116 h 1371425"/>
                <a:gd name="connsiteX60" fmla="*/ 322172 w 617992"/>
                <a:gd name="connsiteY60" fmla="*/ 392803 h 1371425"/>
                <a:gd name="connsiteX61" fmla="*/ 330279 w 617992"/>
                <a:gd name="connsiteY61" fmla="*/ 381529 h 1371425"/>
                <a:gd name="connsiteX62" fmla="*/ 337627 w 617992"/>
                <a:gd name="connsiteY62" fmla="*/ 362653 h 1371425"/>
                <a:gd name="connsiteX63" fmla="*/ 354096 w 617992"/>
                <a:gd name="connsiteY63" fmla="*/ 364807 h 1371425"/>
                <a:gd name="connsiteX64" fmla="*/ 365371 w 617992"/>
                <a:gd name="connsiteY64" fmla="*/ 363287 h 1371425"/>
                <a:gd name="connsiteX65" fmla="*/ 373098 w 617992"/>
                <a:gd name="connsiteY65" fmla="*/ 359233 h 1371425"/>
                <a:gd name="connsiteX66" fmla="*/ 383994 w 617992"/>
                <a:gd name="connsiteY66" fmla="*/ 355686 h 1371425"/>
                <a:gd name="connsiteX67" fmla="*/ 399322 w 617992"/>
                <a:gd name="connsiteY67" fmla="*/ 340104 h 1371425"/>
                <a:gd name="connsiteX68" fmla="*/ 422124 w 617992"/>
                <a:gd name="connsiteY68" fmla="*/ 304886 h 1371425"/>
                <a:gd name="connsiteX69" fmla="*/ 413890 w 617992"/>
                <a:gd name="connsiteY69" fmla="*/ 289937 h 1371425"/>
                <a:gd name="connsiteX70" fmla="*/ 399575 w 617992"/>
                <a:gd name="connsiteY70" fmla="*/ 278916 h 1371425"/>
                <a:gd name="connsiteX71" fmla="*/ 384246 w 617992"/>
                <a:gd name="connsiteY71" fmla="*/ 256873 h 1371425"/>
                <a:gd name="connsiteX72" fmla="*/ 406163 w 617992"/>
                <a:gd name="connsiteY72" fmla="*/ 240658 h 1371425"/>
                <a:gd name="connsiteX73" fmla="*/ 442014 w 617992"/>
                <a:gd name="connsiteY73" fmla="*/ 214181 h 1371425"/>
                <a:gd name="connsiteX74" fmla="*/ 456709 w 617992"/>
                <a:gd name="connsiteY74" fmla="*/ 174529 h 1371425"/>
                <a:gd name="connsiteX75" fmla="*/ 442394 w 617992"/>
                <a:gd name="connsiteY75" fmla="*/ 133484 h 1371425"/>
                <a:gd name="connsiteX76" fmla="*/ 413764 w 617992"/>
                <a:gd name="connsiteY76" fmla="*/ 149193 h 1371425"/>
                <a:gd name="connsiteX77" fmla="*/ 391467 w 617992"/>
                <a:gd name="connsiteY77" fmla="*/ 135131 h 1371425"/>
                <a:gd name="connsiteX78" fmla="*/ 373098 w 617992"/>
                <a:gd name="connsiteY78" fmla="*/ 102447 h 1371425"/>
                <a:gd name="connsiteX79" fmla="*/ 372592 w 617992"/>
                <a:gd name="connsiteY79" fmla="*/ 75337 h 1371425"/>
                <a:gd name="connsiteX80" fmla="*/ 399955 w 617992"/>
                <a:gd name="connsiteY80" fmla="*/ 53421 h 1371425"/>
                <a:gd name="connsiteX81" fmla="*/ 409836 w 617992"/>
                <a:gd name="connsiteY81" fmla="*/ 23904 h 1371425"/>
                <a:gd name="connsiteX82" fmla="*/ 430613 w 617992"/>
                <a:gd name="connsiteY82" fmla="*/ 595 h 1371425"/>
                <a:gd name="connsiteX83" fmla="*/ 467223 w 617992"/>
                <a:gd name="connsiteY83" fmla="*/ 7182 h 1371425"/>
                <a:gd name="connsiteX84" fmla="*/ 490787 w 617992"/>
                <a:gd name="connsiteY84" fmla="*/ 33152 h 1371425"/>
                <a:gd name="connsiteX85" fmla="*/ 512576 w 617992"/>
                <a:gd name="connsiteY85" fmla="*/ 58995 h 1371425"/>
                <a:gd name="connsiteX86" fmla="*/ 527905 w 617992"/>
                <a:gd name="connsiteY86" fmla="*/ 98013 h 1371425"/>
                <a:gd name="connsiteX87" fmla="*/ 551088 w 617992"/>
                <a:gd name="connsiteY87" fmla="*/ 127657 h 1371425"/>
                <a:gd name="connsiteX88" fmla="*/ 577437 w 617992"/>
                <a:gd name="connsiteY88" fmla="*/ 111062 h 1371425"/>
                <a:gd name="connsiteX89" fmla="*/ 614049 w 617992"/>
                <a:gd name="connsiteY89" fmla="*/ 91679 h 1371425"/>
                <a:gd name="connsiteX90" fmla="*/ 615696 w 617992"/>
                <a:gd name="connsiteY90" fmla="*/ 89526 h 1371425"/>
                <a:gd name="connsiteX91" fmla="*/ 604294 w 617992"/>
                <a:gd name="connsiteY91" fmla="*/ 179977 h 1371425"/>
                <a:gd name="connsiteX92" fmla="*/ 609108 w 617992"/>
                <a:gd name="connsiteY92" fmla="*/ 246359 h 1371425"/>
                <a:gd name="connsiteX93" fmla="*/ 617722 w 617992"/>
                <a:gd name="connsiteY93" fmla="*/ 322748 h 137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617992" h="1371425">
                  <a:moveTo>
                    <a:pt x="617722" y="322748"/>
                  </a:moveTo>
                  <a:cubicBezTo>
                    <a:pt x="617216" y="350745"/>
                    <a:pt x="615569" y="378615"/>
                    <a:pt x="613795" y="406485"/>
                  </a:cubicBezTo>
                  <a:cubicBezTo>
                    <a:pt x="612402" y="431061"/>
                    <a:pt x="610882" y="455511"/>
                    <a:pt x="610248" y="479961"/>
                  </a:cubicBezTo>
                  <a:cubicBezTo>
                    <a:pt x="609235" y="513025"/>
                    <a:pt x="610121" y="549636"/>
                    <a:pt x="601887" y="582194"/>
                  </a:cubicBezTo>
                  <a:cubicBezTo>
                    <a:pt x="594919" y="609684"/>
                    <a:pt x="579465" y="635020"/>
                    <a:pt x="571230" y="662257"/>
                  </a:cubicBezTo>
                  <a:cubicBezTo>
                    <a:pt x="564136" y="685820"/>
                    <a:pt x="571610" y="700515"/>
                    <a:pt x="579084" y="721925"/>
                  </a:cubicBezTo>
                  <a:cubicBezTo>
                    <a:pt x="587825" y="747008"/>
                    <a:pt x="576424" y="750302"/>
                    <a:pt x="559448" y="765630"/>
                  </a:cubicBezTo>
                  <a:cubicBezTo>
                    <a:pt x="543107" y="780325"/>
                    <a:pt x="554255" y="799074"/>
                    <a:pt x="556535" y="817190"/>
                  </a:cubicBezTo>
                  <a:cubicBezTo>
                    <a:pt x="559955" y="845187"/>
                    <a:pt x="554128" y="874070"/>
                    <a:pt x="552481" y="901814"/>
                  </a:cubicBezTo>
                  <a:cubicBezTo>
                    <a:pt x="550581" y="934371"/>
                    <a:pt x="537279" y="965409"/>
                    <a:pt x="524738" y="995052"/>
                  </a:cubicBezTo>
                  <a:cubicBezTo>
                    <a:pt x="512829" y="1023049"/>
                    <a:pt x="509029" y="1055606"/>
                    <a:pt x="492307" y="1081449"/>
                  </a:cubicBezTo>
                  <a:cubicBezTo>
                    <a:pt x="478119" y="1103492"/>
                    <a:pt x="458102" y="1116034"/>
                    <a:pt x="434667" y="1126422"/>
                  </a:cubicBezTo>
                  <a:cubicBezTo>
                    <a:pt x="420098" y="1132882"/>
                    <a:pt x="410723" y="1139343"/>
                    <a:pt x="404769" y="1154672"/>
                  </a:cubicBezTo>
                  <a:cubicBezTo>
                    <a:pt x="400335" y="1166073"/>
                    <a:pt x="398435" y="1176842"/>
                    <a:pt x="389694" y="1186216"/>
                  </a:cubicBezTo>
                  <a:cubicBezTo>
                    <a:pt x="374112" y="1202811"/>
                    <a:pt x="346875" y="1182922"/>
                    <a:pt x="326606" y="1197111"/>
                  </a:cubicBezTo>
                  <a:cubicBezTo>
                    <a:pt x="316598" y="1204078"/>
                    <a:pt x="307224" y="1213579"/>
                    <a:pt x="294429" y="1212186"/>
                  </a:cubicBezTo>
                  <a:cubicBezTo>
                    <a:pt x="276947" y="1210286"/>
                    <a:pt x="269092" y="1202558"/>
                    <a:pt x="261618" y="1186849"/>
                  </a:cubicBezTo>
                  <a:cubicBezTo>
                    <a:pt x="255537" y="1174181"/>
                    <a:pt x="254270" y="1153785"/>
                    <a:pt x="237041" y="1171268"/>
                  </a:cubicBezTo>
                  <a:cubicBezTo>
                    <a:pt x="230074" y="1178235"/>
                    <a:pt x="228427" y="1184950"/>
                    <a:pt x="217279" y="1185836"/>
                  </a:cubicBezTo>
                  <a:cubicBezTo>
                    <a:pt x="209298" y="1186470"/>
                    <a:pt x="200684" y="1184316"/>
                    <a:pt x="192576" y="1184823"/>
                  </a:cubicBezTo>
                  <a:cubicBezTo>
                    <a:pt x="190295" y="1203572"/>
                    <a:pt x="198783" y="1216240"/>
                    <a:pt x="184975" y="1231569"/>
                  </a:cubicBezTo>
                  <a:cubicBezTo>
                    <a:pt x="173194" y="1244617"/>
                    <a:pt x="179655" y="1266786"/>
                    <a:pt x="176614" y="1284268"/>
                  </a:cubicBezTo>
                  <a:cubicBezTo>
                    <a:pt x="174081" y="1299090"/>
                    <a:pt x="174967" y="1313025"/>
                    <a:pt x="173700" y="1327720"/>
                  </a:cubicBezTo>
                  <a:cubicBezTo>
                    <a:pt x="172307" y="1345329"/>
                    <a:pt x="156725" y="1343303"/>
                    <a:pt x="142663" y="1343936"/>
                  </a:cubicBezTo>
                  <a:cubicBezTo>
                    <a:pt x="120240" y="1344949"/>
                    <a:pt x="122267" y="1353437"/>
                    <a:pt x="117073" y="1371426"/>
                  </a:cubicBezTo>
                  <a:cubicBezTo>
                    <a:pt x="103898" y="1365218"/>
                    <a:pt x="91737" y="1356477"/>
                    <a:pt x="77041" y="1353057"/>
                  </a:cubicBezTo>
                  <a:cubicBezTo>
                    <a:pt x="69060" y="1351157"/>
                    <a:pt x="60319" y="1352043"/>
                    <a:pt x="52845" y="1347609"/>
                  </a:cubicBezTo>
                  <a:cubicBezTo>
                    <a:pt x="35617" y="1337602"/>
                    <a:pt x="45371" y="1313659"/>
                    <a:pt x="58546" y="1304411"/>
                  </a:cubicBezTo>
                  <a:cubicBezTo>
                    <a:pt x="73368" y="1294023"/>
                    <a:pt x="93763" y="1300484"/>
                    <a:pt x="109852" y="1293136"/>
                  </a:cubicBezTo>
                  <a:cubicBezTo>
                    <a:pt x="133415" y="1282242"/>
                    <a:pt x="134556" y="1254625"/>
                    <a:pt x="124168" y="1233849"/>
                  </a:cubicBezTo>
                  <a:cubicBezTo>
                    <a:pt x="109092" y="1203318"/>
                    <a:pt x="101238" y="1170634"/>
                    <a:pt x="86796" y="1139724"/>
                  </a:cubicBezTo>
                  <a:cubicBezTo>
                    <a:pt x="78815" y="1122748"/>
                    <a:pt x="74888" y="1104252"/>
                    <a:pt x="65640" y="1087784"/>
                  </a:cubicBezTo>
                  <a:cubicBezTo>
                    <a:pt x="55505" y="1069795"/>
                    <a:pt x="40050" y="1055860"/>
                    <a:pt x="29789" y="1037997"/>
                  </a:cubicBezTo>
                  <a:cubicBezTo>
                    <a:pt x="22314" y="1025075"/>
                    <a:pt x="16614" y="1012914"/>
                    <a:pt x="7493" y="1001133"/>
                  </a:cubicBezTo>
                  <a:cubicBezTo>
                    <a:pt x="-108" y="991251"/>
                    <a:pt x="-488" y="982637"/>
                    <a:pt x="272" y="970096"/>
                  </a:cubicBezTo>
                  <a:cubicBezTo>
                    <a:pt x="1032" y="958441"/>
                    <a:pt x="2425" y="951220"/>
                    <a:pt x="11166" y="943492"/>
                  </a:cubicBezTo>
                  <a:cubicBezTo>
                    <a:pt x="19654" y="936018"/>
                    <a:pt x="28015" y="931204"/>
                    <a:pt x="30043" y="919169"/>
                  </a:cubicBezTo>
                  <a:cubicBezTo>
                    <a:pt x="33336" y="900800"/>
                    <a:pt x="30422" y="877744"/>
                    <a:pt x="43217" y="861909"/>
                  </a:cubicBezTo>
                  <a:cubicBezTo>
                    <a:pt x="52845" y="849874"/>
                    <a:pt x="64373" y="854688"/>
                    <a:pt x="77422" y="854561"/>
                  </a:cubicBezTo>
                  <a:cubicBezTo>
                    <a:pt x="91737" y="854308"/>
                    <a:pt x="96677" y="844680"/>
                    <a:pt x="105165" y="834925"/>
                  </a:cubicBezTo>
                  <a:cubicBezTo>
                    <a:pt x="112512" y="826564"/>
                    <a:pt x="124294" y="816177"/>
                    <a:pt x="136203" y="815923"/>
                  </a:cubicBezTo>
                  <a:cubicBezTo>
                    <a:pt x="155331" y="815670"/>
                    <a:pt x="155838" y="837459"/>
                    <a:pt x="166479" y="847720"/>
                  </a:cubicBezTo>
                  <a:cubicBezTo>
                    <a:pt x="175601" y="856588"/>
                    <a:pt x="178134" y="847720"/>
                    <a:pt x="178008" y="837966"/>
                  </a:cubicBezTo>
                  <a:cubicBezTo>
                    <a:pt x="178008" y="825044"/>
                    <a:pt x="176740" y="810856"/>
                    <a:pt x="179021" y="798187"/>
                  </a:cubicBezTo>
                  <a:cubicBezTo>
                    <a:pt x="180541" y="789826"/>
                    <a:pt x="185102" y="785266"/>
                    <a:pt x="188522" y="777918"/>
                  </a:cubicBezTo>
                  <a:cubicBezTo>
                    <a:pt x="198783" y="756382"/>
                    <a:pt x="186622" y="732946"/>
                    <a:pt x="178134" y="713057"/>
                  </a:cubicBezTo>
                  <a:cubicBezTo>
                    <a:pt x="169519" y="692788"/>
                    <a:pt x="169900" y="676065"/>
                    <a:pt x="177627" y="655543"/>
                  </a:cubicBezTo>
                  <a:cubicBezTo>
                    <a:pt x="185102" y="635780"/>
                    <a:pt x="191436" y="618805"/>
                    <a:pt x="183201" y="598029"/>
                  </a:cubicBezTo>
                  <a:cubicBezTo>
                    <a:pt x="174967" y="577126"/>
                    <a:pt x="160399" y="559645"/>
                    <a:pt x="154444" y="537728"/>
                  </a:cubicBezTo>
                  <a:cubicBezTo>
                    <a:pt x="161032" y="533294"/>
                    <a:pt x="167873" y="529114"/>
                    <a:pt x="173827" y="523920"/>
                  </a:cubicBezTo>
                  <a:cubicBezTo>
                    <a:pt x="185608" y="513785"/>
                    <a:pt x="193210" y="505551"/>
                    <a:pt x="190549" y="489335"/>
                  </a:cubicBezTo>
                  <a:cubicBezTo>
                    <a:pt x="189282" y="481608"/>
                    <a:pt x="187128" y="473880"/>
                    <a:pt x="182441" y="467420"/>
                  </a:cubicBezTo>
                  <a:cubicBezTo>
                    <a:pt x="178768" y="462226"/>
                    <a:pt x="173320" y="458172"/>
                    <a:pt x="171420" y="451964"/>
                  </a:cubicBezTo>
                  <a:cubicBezTo>
                    <a:pt x="166606" y="437142"/>
                    <a:pt x="177754" y="421054"/>
                    <a:pt x="188269" y="411933"/>
                  </a:cubicBezTo>
                  <a:cubicBezTo>
                    <a:pt x="192956" y="407879"/>
                    <a:pt x="197516" y="404458"/>
                    <a:pt x="199544" y="398378"/>
                  </a:cubicBezTo>
                  <a:cubicBezTo>
                    <a:pt x="201444" y="392423"/>
                    <a:pt x="201697" y="385836"/>
                    <a:pt x="205371" y="380642"/>
                  </a:cubicBezTo>
                  <a:cubicBezTo>
                    <a:pt x="212972" y="369747"/>
                    <a:pt x="234888" y="372408"/>
                    <a:pt x="242996" y="381402"/>
                  </a:cubicBezTo>
                  <a:cubicBezTo>
                    <a:pt x="249583" y="388496"/>
                    <a:pt x="250090" y="412186"/>
                    <a:pt x="265038" y="408892"/>
                  </a:cubicBezTo>
                  <a:cubicBezTo>
                    <a:pt x="272133" y="407372"/>
                    <a:pt x="274413" y="397111"/>
                    <a:pt x="278086" y="392043"/>
                  </a:cubicBezTo>
                  <a:cubicBezTo>
                    <a:pt x="283534" y="384569"/>
                    <a:pt x="290248" y="385456"/>
                    <a:pt x="298229" y="388116"/>
                  </a:cubicBezTo>
                  <a:cubicBezTo>
                    <a:pt x="305703" y="390650"/>
                    <a:pt x="314065" y="394324"/>
                    <a:pt x="322172" y="392803"/>
                  </a:cubicBezTo>
                  <a:cubicBezTo>
                    <a:pt x="328507" y="391663"/>
                    <a:pt x="329267" y="387229"/>
                    <a:pt x="330279" y="381529"/>
                  </a:cubicBezTo>
                  <a:cubicBezTo>
                    <a:pt x="331166" y="376081"/>
                    <a:pt x="331800" y="365567"/>
                    <a:pt x="337627" y="362653"/>
                  </a:cubicBezTo>
                  <a:cubicBezTo>
                    <a:pt x="342314" y="360246"/>
                    <a:pt x="349029" y="364807"/>
                    <a:pt x="354096" y="364807"/>
                  </a:cubicBezTo>
                  <a:cubicBezTo>
                    <a:pt x="357517" y="364807"/>
                    <a:pt x="362077" y="364047"/>
                    <a:pt x="365371" y="363287"/>
                  </a:cubicBezTo>
                  <a:cubicBezTo>
                    <a:pt x="368411" y="362526"/>
                    <a:pt x="370185" y="360500"/>
                    <a:pt x="373098" y="359233"/>
                  </a:cubicBezTo>
                  <a:cubicBezTo>
                    <a:pt x="376773" y="357586"/>
                    <a:pt x="380446" y="357713"/>
                    <a:pt x="383994" y="355686"/>
                  </a:cubicBezTo>
                  <a:cubicBezTo>
                    <a:pt x="390328" y="351758"/>
                    <a:pt x="394001" y="345044"/>
                    <a:pt x="399322" y="340104"/>
                  </a:cubicBezTo>
                  <a:cubicBezTo>
                    <a:pt x="407809" y="331869"/>
                    <a:pt x="423265" y="318187"/>
                    <a:pt x="422124" y="304886"/>
                  </a:cubicBezTo>
                  <a:cubicBezTo>
                    <a:pt x="421618" y="299439"/>
                    <a:pt x="416677" y="294371"/>
                    <a:pt x="413890" y="289937"/>
                  </a:cubicBezTo>
                  <a:cubicBezTo>
                    <a:pt x="410343" y="283983"/>
                    <a:pt x="406543" y="280436"/>
                    <a:pt x="399575" y="278916"/>
                  </a:cubicBezTo>
                  <a:cubicBezTo>
                    <a:pt x="388554" y="276509"/>
                    <a:pt x="383359" y="268401"/>
                    <a:pt x="384246" y="256873"/>
                  </a:cubicBezTo>
                  <a:cubicBezTo>
                    <a:pt x="385387" y="243318"/>
                    <a:pt x="395141" y="242558"/>
                    <a:pt x="406163" y="240658"/>
                  </a:cubicBezTo>
                  <a:cubicBezTo>
                    <a:pt x="421998" y="237997"/>
                    <a:pt x="433146" y="227103"/>
                    <a:pt x="442014" y="214181"/>
                  </a:cubicBezTo>
                  <a:cubicBezTo>
                    <a:pt x="449995" y="202273"/>
                    <a:pt x="456202" y="189098"/>
                    <a:pt x="456709" y="174529"/>
                  </a:cubicBezTo>
                  <a:cubicBezTo>
                    <a:pt x="457089" y="162621"/>
                    <a:pt x="455189" y="139438"/>
                    <a:pt x="442394" y="133484"/>
                  </a:cubicBezTo>
                  <a:cubicBezTo>
                    <a:pt x="430992" y="128164"/>
                    <a:pt x="421998" y="144252"/>
                    <a:pt x="413764" y="149193"/>
                  </a:cubicBezTo>
                  <a:cubicBezTo>
                    <a:pt x="403122" y="155654"/>
                    <a:pt x="396155" y="142986"/>
                    <a:pt x="391467" y="135131"/>
                  </a:cubicBezTo>
                  <a:cubicBezTo>
                    <a:pt x="385133" y="124363"/>
                    <a:pt x="378926" y="113469"/>
                    <a:pt x="373098" y="102447"/>
                  </a:cubicBezTo>
                  <a:cubicBezTo>
                    <a:pt x="368158" y="93326"/>
                    <a:pt x="364611" y="83698"/>
                    <a:pt x="372592" y="75337"/>
                  </a:cubicBezTo>
                  <a:cubicBezTo>
                    <a:pt x="380700" y="66849"/>
                    <a:pt x="392987" y="63176"/>
                    <a:pt x="399955" y="53421"/>
                  </a:cubicBezTo>
                  <a:cubicBezTo>
                    <a:pt x="406036" y="45060"/>
                    <a:pt x="406036" y="33405"/>
                    <a:pt x="409836" y="23904"/>
                  </a:cubicBezTo>
                  <a:cubicBezTo>
                    <a:pt x="413510" y="14783"/>
                    <a:pt x="419971" y="2875"/>
                    <a:pt x="430613" y="595"/>
                  </a:cubicBezTo>
                  <a:cubicBezTo>
                    <a:pt x="441761" y="-1812"/>
                    <a:pt x="456836" y="3635"/>
                    <a:pt x="467223" y="7182"/>
                  </a:cubicBezTo>
                  <a:cubicBezTo>
                    <a:pt x="481159" y="11869"/>
                    <a:pt x="487112" y="19343"/>
                    <a:pt x="490787" y="33152"/>
                  </a:cubicBezTo>
                  <a:cubicBezTo>
                    <a:pt x="494460" y="46707"/>
                    <a:pt x="500921" y="51774"/>
                    <a:pt x="512576" y="58995"/>
                  </a:cubicBezTo>
                  <a:cubicBezTo>
                    <a:pt x="526637" y="67736"/>
                    <a:pt x="526004" y="83191"/>
                    <a:pt x="527905" y="98013"/>
                  </a:cubicBezTo>
                  <a:cubicBezTo>
                    <a:pt x="529425" y="110175"/>
                    <a:pt x="533985" y="131964"/>
                    <a:pt x="551088" y="127657"/>
                  </a:cubicBezTo>
                  <a:cubicBezTo>
                    <a:pt x="561475" y="125123"/>
                    <a:pt x="567683" y="114989"/>
                    <a:pt x="577437" y="111062"/>
                  </a:cubicBezTo>
                  <a:cubicBezTo>
                    <a:pt x="590992" y="105614"/>
                    <a:pt x="603914" y="103334"/>
                    <a:pt x="614049" y="91679"/>
                  </a:cubicBezTo>
                  <a:cubicBezTo>
                    <a:pt x="614682" y="91046"/>
                    <a:pt x="615189" y="90286"/>
                    <a:pt x="615696" y="89526"/>
                  </a:cubicBezTo>
                  <a:cubicBezTo>
                    <a:pt x="621396" y="118789"/>
                    <a:pt x="616075" y="154641"/>
                    <a:pt x="604294" y="179977"/>
                  </a:cubicBezTo>
                  <a:cubicBezTo>
                    <a:pt x="592766" y="204934"/>
                    <a:pt x="604801" y="221782"/>
                    <a:pt x="609108" y="246359"/>
                  </a:cubicBezTo>
                  <a:cubicBezTo>
                    <a:pt x="613162" y="271188"/>
                    <a:pt x="618229" y="296778"/>
                    <a:pt x="617722" y="32274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398" name="Полилиния: фигура 397">
              <a:extLst>
                <a:ext uri="{FF2B5EF4-FFF2-40B4-BE49-F238E27FC236}">
                  <a16:creationId xmlns:a16="http://schemas.microsoft.com/office/drawing/2014/main" id="{2BB7FA1E-CD7B-4F6D-B89B-EF6D77C5E271}"/>
                </a:ext>
              </a:extLst>
            </p:cNvPr>
            <p:cNvSpPr/>
            <p:nvPr/>
          </p:nvSpPr>
          <p:spPr>
            <a:xfrm>
              <a:off x="11041096" y="6112298"/>
              <a:ext cx="487339" cy="394796"/>
            </a:xfrm>
            <a:custGeom>
              <a:avLst/>
              <a:gdLst>
                <a:gd name="connsiteX0" fmla="*/ 487221 w 487339"/>
                <a:gd name="connsiteY0" fmla="*/ 10442 h 394796"/>
                <a:gd name="connsiteX1" fmla="*/ 475440 w 487339"/>
                <a:gd name="connsiteY1" fmla="*/ 45026 h 394796"/>
                <a:gd name="connsiteX2" fmla="*/ 463151 w 487339"/>
                <a:gd name="connsiteY2" fmla="*/ 69982 h 394796"/>
                <a:gd name="connsiteX3" fmla="*/ 450610 w 487339"/>
                <a:gd name="connsiteY3" fmla="*/ 57694 h 394796"/>
                <a:gd name="connsiteX4" fmla="*/ 391703 w 487339"/>
                <a:gd name="connsiteY4" fmla="*/ 108114 h 394796"/>
                <a:gd name="connsiteX5" fmla="*/ 363325 w 487339"/>
                <a:gd name="connsiteY5" fmla="*/ 165754 h 394796"/>
                <a:gd name="connsiteX6" fmla="*/ 311513 w 487339"/>
                <a:gd name="connsiteY6" fmla="*/ 212374 h 394796"/>
                <a:gd name="connsiteX7" fmla="*/ 272621 w 487339"/>
                <a:gd name="connsiteY7" fmla="*/ 273308 h 394796"/>
                <a:gd name="connsiteX8" fmla="*/ 242597 w 487339"/>
                <a:gd name="connsiteY8" fmla="*/ 323981 h 394796"/>
                <a:gd name="connsiteX9" fmla="*/ 181409 w 487339"/>
                <a:gd name="connsiteY9" fmla="*/ 352865 h 394796"/>
                <a:gd name="connsiteX10" fmla="*/ 149359 w 487339"/>
                <a:gd name="connsiteY10" fmla="*/ 394796 h 394796"/>
                <a:gd name="connsiteX11" fmla="*/ 103880 w 487339"/>
                <a:gd name="connsiteY11" fmla="*/ 361606 h 394796"/>
                <a:gd name="connsiteX12" fmla="*/ 70562 w 487339"/>
                <a:gd name="connsiteY12" fmla="*/ 353371 h 394796"/>
                <a:gd name="connsiteX13" fmla="*/ 61694 w 487339"/>
                <a:gd name="connsiteY13" fmla="*/ 312959 h 394796"/>
                <a:gd name="connsiteX14" fmla="*/ 38512 w 487339"/>
                <a:gd name="connsiteY14" fmla="*/ 290283 h 394796"/>
                <a:gd name="connsiteX15" fmla="*/ 13555 w 487339"/>
                <a:gd name="connsiteY15" fmla="*/ 260260 h 394796"/>
                <a:gd name="connsiteX16" fmla="*/ 0 w 487339"/>
                <a:gd name="connsiteY16" fmla="*/ 239484 h 394796"/>
                <a:gd name="connsiteX17" fmla="*/ 17863 w 487339"/>
                <a:gd name="connsiteY17" fmla="*/ 180069 h 394796"/>
                <a:gd name="connsiteX18" fmla="*/ 33825 w 487339"/>
                <a:gd name="connsiteY18" fmla="*/ 105200 h 394796"/>
                <a:gd name="connsiteX19" fmla="*/ 39399 w 487339"/>
                <a:gd name="connsiteY19" fmla="*/ 101527 h 394796"/>
                <a:gd name="connsiteX20" fmla="*/ 54854 w 487339"/>
                <a:gd name="connsiteY20" fmla="*/ 105200 h 394796"/>
                <a:gd name="connsiteX21" fmla="*/ 84877 w 487339"/>
                <a:gd name="connsiteY21" fmla="*/ 108241 h 394796"/>
                <a:gd name="connsiteX22" fmla="*/ 119462 w 487339"/>
                <a:gd name="connsiteY22" fmla="*/ 61875 h 394796"/>
                <a:gd name="connsiteX23" fmla="*/ 145178 w 487339"/>
                <a:gd name="connsiteY23" fmla="*/ 64408 h 394796"/>
                <a:gd name="connsiteX24" fmla="*/ 177482 w 487339"/>
                <a:gd name="connsiteY24" fmla="*/ 70869 h 394796"/>
                <a:gd name="connsiteX25" fmla="*/ 210167 w 487339"/>
                <a:gd name="connsiteY25" fmla="*/ 49080 h 394796"/>
                <a:gd name="connsiteX26" fmla="*/ 241204 w 487339"/>
                <a:gd name="connsiteY26" fmla="*/ 55034 h 394796"/>
                <a:gd name="connsiteX27" fmla="*/ 313539 w 487339"/>
                <a:gd name="connsiteY27" fmla="*/ 88731 h 394796"/>
                <a:gd name="connsiteX28" fmla="*/ 365732 w 487339"/>
                <a:gd name="connsiteY28" fmla="*/ 78343 h 394796"/>
                <a:gd name="connsiteX29" fmla="*/ 389549 w 487339"/>
                <a:gd name="connsiteY29" fmla="*/ 40085 h 394796"/>
                <a:gd name="connsiteX30" fmla="*/ 429834 w 487339"/>
                <a:gd name="connsiteY30" fmla="*/ 18169 h 394796"/>
                <a:gd name="connsiteX31" fmla="*/ 469739 w 487339"/>
                <a:gd name="connsiteY31" fmla="*/ 3094 h 394796"/>
                <a:gd name="connsiteX32" fmla="*/ 487221 w 487339"/>
                <a:gd name="connsiteY32" fmla="*/ 10442 h 39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7339" h="394796">
                  <a:moveTo>
                    <a:pt x="487221" y="10442"/>
                  </a:moveTo>
                  <a:cubicBezTo>
                    <a:pt x="486081" y="22350"/>
                    <a:pt x="480381" y="34258"/>
                    <a:pt x="475440" y="45026"/>
                  </a:cubicBezTo>
                  <a:cubicBezTo>
                    <a:pt x="471639" y="53514"/>
                    <a:pt x="467459" y="61748"/>
                    <a:pt x="463151" y="69982"/>
                  </a:cubicBezTo>
                  <a:cubicBezTo>
                    <a:pt x="462265" y="62508"/>
                    <a:pt x="459098" y="56934"/>
                    <a:pt x="450610" y="57694"/>
                  </a:cubicBezTo>
                  <a:cubicBezTo>
                    <a:pt x="428061" y="59594"/>
                    <a:pt x="403231" y="91265"/>
                    <a:pt x="391703" y="108114"/>
                  </a:cubicBezTo>
                  <a:cubicBezTo>
                    <a:pt x="379414" y="126103"/>
                    <a:pt x="375107" y="147766"/>
                    <a:pt x="363325" y="165754"/>
                  </a:cubicBezTo>
                  <a:cubicBezTo>
                    <a:pt x="350531" y="185263"/>
                    <a:pt x="328614" y="197172"/>
                    <a:pt x="311513" y="212374"/>
                  </a:cubicBezTo>
                  <a:cubicBezTo>
                    <a:pt x="292257" y="229476"/>
                    <a:pt x="279969" y="248858"/>
                    <a:pt x="272621" y="273308"/>
                  </a:cubicBezTo>
                  <a:cubicBezTo>
                    <a:pt x="266414" y="293450"/>
                    <a:pt x="260840" y="311439"/>
                    <a:pt x="242597" y="323981"/>
                  </a:cubicBezTo>
                  <a:cubicBezTo>
                    <a:pt x="223849" y="336902"/>
                    <a:pt x="200919" y="341463"/>
                    <a:pt x="181409" y="352865"/>
                  </a:cubicBezTo>
                  <a:cubicBezTo>
                    <a:pt x="164687" y="362746"/>
                    <a:pt x="156073" y="377061"/>
                    <a:pt x="149359" y="394796"/>
                  </a:cubicBezTo>
                  <a:cubicBezTo>
                    <a:pt x="132004" y="384535"/>
                    <a:pt x="126049" y="364139"/>
                    <a:pt x="103880" y="361606"/>
                  </a:cubicBezTo>
                  <a:cubicBezTo>
                    <a:pt x="91972" y="360339"/>
                    <a:pt x="78797" y="364393"/>
                    <a:pt x="70562" y="353371"/>
                  </a:cubicBezTo>
                  <a:cubicBezTo>
                    <a:pt x="61948" y="341716"/>
                    <a:pt x="68662" y="325754"/>
                    <a:pt x="61694" y="312959"/>
                  </a:cubicBezTo>
                  <a:cubicBezTo>
                    <a:pt x="56501" y="303205"/>
                    <a:pt x="45733" y="298518"/>
                    <a:pt x="38512" y="290283"/>
                  </a:cubicBezTo>
                  <a:cubicBezTo>
                    <a:pt x="30150" y="280655"/>
                    <a:pt x="19889" y="271407"/>
                    <a:pt x="13555" y="260260"/>
                  </a:cubicBezTo>
                  <a:cubicBezTo>
                    <a:pt x="8995" y="252279"/>
                    <a:pt x="6081" y="244678"/>
                    <a:pt x="0" y="239484"/>
                  </a:cubicBezTo>
                  <a:cubicBezTo>
                    <a:pt x="14948" y="223015"/>
                    <a:pt x="19510" y="202873"/>
                    <a:pt x="17863" y="180069"/>
                  </a:cubicBezTo>
                  <a:cubicBezTo>
                    <a:pt x="16089" y="156127"/>
                    <a:pt x="16216" y="124329"/>
                    <a:pt x="33825" y="105200"/>
                  </a:cubicBezTo>
                  <a:cubicBezTo>
                    <a:pt x="35725" y="103173"/>
                    <a:pt x="37498" y="102033"/>
                    <a:pt x="39399" y="101527"/>
                  </a:cubicBezTo>
                  <a:cubicBezTo>
                    <a:pt x="44213" y="100006"/>
                    <a:pt x="49153" y="102793"/>
                    <a:pt x="54854" y="105200"/>
                  </a:cubicBezTo>
                  <a:cubicBezTo>
                    <a:pt x="64355" y="109381"/>
                    <a:pt x="74743" y="111408"/>
                    <a:pt x="84877" y="108241"/>
                  </a:cubicBezTo>
                  <a:cubicBezTo>
                    <a:pt x="106540" y="101527"/>
                    <a:pt x="103880" y="74923"/>
                    <a:pt x="119462" y="61875"/>
                  </a:cubicBezTo>
                  <a:cubicBezTo>
                    <a:pt x="128329" y="54401"/>
                    <a:pt x="136691" y="58834"/>
                    <a:pt x="145178" y="64408"/>
                  </a:cubicBezTo>
                  <a:cubicBezTo>
                    <a:pt x="155566" y="71249"/>
                    <a:pt x="165194" y="75936"/>
                    <a:pt x="177482" y="70869"/>
                  </a:cubicBezTo>
                  <a:cubicBezTo>
                    <a:pt x="189898" y="65928"/>
                    <a:pt x="198258" y="54654"/>
                    <a:pt x="210167" y="49080"/>
                  </a:cubicBezTo>
                  <a:cubicBezTo>
                    <a:pt x="221061" y="44013"/>
                    <a:pt x="231449" y="50220"/>
                    <a:pt x="241204" y="55034"/>
                  </a:cubicBezTo>
                  <a:cubicBezTo>
                    <a:pt x="264894" y="66942"/>
                    <a:pt x="289470" y="77583"/>
                    <a:pt x="313539" y="88731"/>
                  </a:cubicBezTo>
                  <a:cubicBezTo>
                    <a:pt x="332289" y="97346"/>
                    <a:pt x="354585" y="98739"/>
                    <a:pt x="365732" y="78343"/>
                  </a:cubicBezTo>
                  <a:cubicBezTo>
                    <a:pt x="372953" y="65168"/>
                    <a:pt x="377514" y="49840"/>
                    <a:pt x="389549" y="40085"/>
                  </a:cubicBezTo>
                  <a:cubicBezTo>
                    <a:pt x="402471" y="29444"/>
                    <a:pt x="412859" y="21590"/>
                    <a:pt x="429834" y="18169"/>
                  </a:cubicBezTo>
                  <a:cubicBezTo>
                    <a:pt x="444276" y="15382"/>
                    <a:pt x="456564" y="9428"/>
                    <a:pt x="469739" y="3094"/>
                  </a:cubicBezTo>
                  <a:cubicBezTo>
                    <a:pt x="479367" y="-1086"/>
                    <a:pt x="488488" y="-2987"/>
                    <a:pt x="487221" y="1044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399" name="Полилиния: фигура 398">
              <a:extLst>
                <a:ext uri="{FF2B5EF4-FFF2-40B4-BE49-F238E27FC236}">
                  <a16:creationId xmlns:a16="http://schemas.microsoft.com/office/drawing/2014/main" id="{972D3DD7-FC29-4DC3-9940-ACC630B48FB4}"/>
                </a:ext>
              </a:extLst>
            </p:cNvPr>
            <p:cNvSpPr/>
            <p:nvPr/>
          </p:nvSpPr>
          <p:spPr>
            <a:xfrm>
              <a:off x="9478141" y="5200833"/>
              <a:ext cx="1649818" cy="1151076"/>
            </a:xfrm>
            <a:custGeom>
              <a:avLst/>
              <a:gdLst>
                <a:gd name="connsiteX0" fmla="*/ 1648593 w 1649818"/>
                <a:gd name="connsiteY0" fmla="*/ 362731 h 1151076"/>
                <a:gd name="connsiteX1" fmla="*/ 1603114 w 1649818"/>
                <a:gd name="connsiteY1" fmla="*/ 389968 h 1151076"/>
                <a:gd name="connsiteX2" fmla="*/ 1561056 w 1649818"/>
                <a:gd name="connsiteY2" fmla="*/ 405296 h 1151076"/>
                <a:gd name="connsiteX3" fmla="*/ 1506582 w 1649818"/>
                <a:gd name="connsiteY3" fmla="*/ 419105 h 1151076"/>
                <a:gd name="connsiteX4" fmla="*/ 1522418 w 1649818"/>
                <a:gd name="connsiteY4" fmla="*/ 452296 h 1151076"/>
                <a:gd name="connsiteX5" fmla="*/ 1558015 w 1649818"/>
                <a:gd name="connsiteY5" fmla="*/ 488907 h 1151076"/>
                <a:gd name="connsiteX6" fmla="*/ 1489733 w 1649818"/>
                <a:gd name="connsiteY6" fmla="*/ 575431 h 1151076"/>
                <a:gd name="connsiteX7" fmla="*/ 1472378 w 1649818"/>
                <a:gd name="connsiteY7" fmla="*/ 630411 h 1151076"/>
                <a:gd name="connsiteX8" fmla="*/ 1410049 w 1649818"/>
                <a:gd name="connsiteY8" fmla="*/ 664109 h 1151076"/>
                <a:gd name="connsiteX9" fmla="*/ 1441720 w 1649818"/>
                <a:gd name="connsiteY9" fmla="*/ 725550 h 1151076"/>
                <a:gd name="connsiteX10" fmla="*/ 1404096 w 1649818"/>
                <a:gd name="connsiteY10" fmla="*/ 840324 h 1151076"/>
                <a:gd name="connsiteX11" fmla="*/ 1453122 w 1649818"/>
                <a:gd name="connsiteY11" fmla="*/ 866041 h 1151076"/>
                <a:gd name="connsiteX12" fmla="*/ 1496701 w 1649818"/>
                <a:gd name="connsiteY12" fmla="*/ 882889 h 1151076"/>
                <a:gd name="connsiteX13" fmla="*/ 1568910 w 1649818"/>
                <a:gd name="connsiteY13" fmla="*/ 923428 h 1151076"/>
                <a:gd name="connsiteX14" fmla="*/ 1602480 w 1649818"/>
                <a:gd name="connsiteY14" fmla="*/ 1013119 h 1151076"/>
                <a:gd name="connsiteX15" fmla="*/ 1596906 w 1649818"/>
                <a:gd name="connsiteY15" fmla="*/ 1016793 h 1151076"/>
                <a:gd name="connsiteX16" fmla="*/ 1580945 w 1649818"/>
                <a:gd name="connsiteY16" fmla="*/ 1091662 h 1151076"/>
                <a:gd name="connsiteX17" fmla="*/ 1563082 w 1649818"/>
                <a:gd name="connsiteY17" fmla="*/ 1151076 h 1151076"/>
                <a:gd name="connsiteX18" fmla="*/ 1553961 w 1649818"/>
                <a:gd name="connsiteY18" fmla="*/ 1145882 h 1151076"/>
                <a:gd name="connsiteX19" fmla="*/ 1457555 w 1649818"/>
                <a:gd name="connsiteY19" fmla="*/ 1138788 h 1151076"/>
                <a:gd name="connsiteX20" fmla="*/ 1409923 w 1649818"/>
                <a:gd name="connsiteY20" fmla="*/ 1114718 h 1151076"/>
                <a:gd name="connsiteX21" fmla="*/ 1376225 w 1649818"/>
                <a:gd name="connsiteY21" fmla="*/ 1122826 h 1151076"/>
                <a:gd name="connsiteX22" fmla="*/ 1329987 w 1649818"/>
                <a:gd name="connsiteY22" fmla="*/ 1122319 h 1151076"/>
                <a:gd name="connsiteX23" fmla="*/ 1296289 w 1649818"/>
                <a:gd name="connsiteY23" fmla="*/ 1126880 h 1151076"/>
                <a:gd name="connsiteX24" fmla="*/ 1258411 w 1649818"/>
                <a:gd name="connsiteY24" fmla="*/ 1148162 h 1151076"/>
                <a:gd name="connsiteX25" fmla="*/ 1224333 w 1649818"/>
                <a:gd name="connsiteY25" fmla="*/ 1134101 h 1151076"/>
                <a:gd name="connsiteX26" fmla="*/ 1137682 w 1649818"/>
                <a:gd name="connsiteY26" fmla="*/ 1093816 h 1151076"/>
                <a:gd name="connsiteX27" fmla="*/ 1100564 w 1649818"/>
                <a:gd name="connsiteY27" fmla="*/ 1029968 h 1151076"/>
                <a:gd name="connsiteX28" fmla="*/ 1083842 w 1649818"/>
                <a:gd name="connsiteY28" fmla="*/ 1001464 h 1151076"/>
                <a:gd name="connsiteX29" fmla="*/ 1065600 w 1649818"/>
                <a:gd name="connsiteY29" fmla="*/ 991076 h 1151076"/>
                <a:gd name="connsiteX30" fmla="*/ 1043177 w 1649818"/>
                <a:gd name="connsiteY30" fmla="*/ 954085 h 1151076"/>
                <a:gd name="connsiteX31" fmla="*/ 1020375 w 1649818"/>
                <a:gd name="connsiteY31" fmla="*/ 933435 h 1151076"/>
                <a:gd name="connsiteX32" fmla="*/ 984903 w 1649818"/>
                <a:gd name="connsiteY32" fmla="*/ 897331 h 1151076"/>
                <a:gd name="connsiteX33" fmla="*/ 969702 w 1649818"/>
                <a:gd name="connsiteY33" fmla="*/ 877949 h 1151076"/>
                <a:gd name="connsiteX34" fmla="*/ 959693 w 1649818"/>
                <a:gd name="connsiteY34" fmla="*/ 869334 h 1151076"/>
                <a:gd name="connsiteX35" fmla="*/ 944872 w 1649818"/>
                <a:gd name="connsiteY35" fmla="*/ 864267 h 1151076"/>
                <a:gd name="connsiteX36" fmla="*/ 922956 w 1649818"/>
                <a:gd name="connsiteY36" fmla="*/ 808653 h 1151076"/>
                <a:gd name="connsiteX37" fmla="*/ 899139 w 1649818"/>
                <a:gd name="connsiteY37" fmla="*/ 804726 h 1151076"/>
                <a:gd name="connsiteX38" fmla="*/ 873930 w 1649818"/>
                <a:gd name="connsiteY38" fmla="*/ 766975 h 1151076"/>
                <a:gd name="connsiteX39" fmla="*/ 845933 w 1649818"/>
                <a:gd name="connsiteY39" fmla="*/ 754560 h 1151076"/>
                <a:gd name="connsiteX40" fmla="*/ 796780 w 1649818"/>
                <a:gd name="connsiteY40" fmla="*/ 712121 h 1151076"/>
                <a:gd name="connsiteX41" fmla="*/ 726725 w 1649818"/>
                <a:gd name="connsiteY41" fmla="*/ 702747 h 1151076"/>
                <a:gd name="connsiteX42" fmla="*/ 695687 w 1649818"/>
                <a:gd name="connsiteY42" fmla="*/ 695779 h 1151076"/>
                <a:gd name="connsiteX43" fmla="*/ 676052 w 1649818"/>
                <a:gd name="connsiteY43" fmla="*/ 713388 h 1151076"/>
                <a:gd name="connsiteX44" fmla="*/ 601942 w 1649818"/>
                <a:gd name="connsiteY44" fmla="*/ 705281 h 1151076"/>
                <a:gd name="connsiteX45" fmla="*/ 530240 w 1649818"/>
                <a:gd name="connsiteY45" fmla="*/ 695906 h 1151076"/>
                <a:gd name="connsiteX46" fmla="*/ 478047 w 1649818"/>
                <a:gd name="connsiteY46" fmla="*/ 743412 h 1151076"/>
                <a:gd name="connsiteX47" fmla="*/ 411158 w 1649818"/>
                <a:gd name="connsiteY47" fmla="*/ 752153 h 1151076"/>
                <a:gd name="connsiteX48" fmla="*/ 405457 w 1649818"/>
                <a:gd name="connsiteY48" fmla="*/ 755573 h 1151076"/>
                <a:gd name="connsiteX49" fmla="*/ 380248 w 1649818"/>
                <a:gd name="connsiteY49" fmla="*/ 719469 h 1151076"/>
                <a:gd name="connsiteX50" fmla="*/ 365299 w 1649818"/>
                <a:gd name="connsiteY50" fmla="*/ 693626 h 1151076"/>
                <a:gd name="connsiteX51" fmla="*/ 330842 w 1649818"/>
                <a:gd name="connsiteY51" fmla="*/ 687798 h 1151076"/>
                <a:gd name="connsiteX52" fmla="*/ 308038 w 1649818"/>
                <a:gd name="connsiteY52" fmla="*/ 621923 h 1151076"/>
                <a:gd name="connsiteX53" fmla="*/ 335909 w 1649818"/>
                <a:gd name="connsiteY53" fmla="*/ 587719 h 1151076"/>
                <a:gd name="connsiteX54" fmla="*/ 326281 w 1649818"/>
                <a:gd name="connsiteY54" fmla="*/ 555795 h 1151076"/>
                <a:gd name="connsiteX55" fmla="*/ 261673 w 1649818"/>
                <a:gd name="connsiteY55" fmla="*/ 547941 h 1151076"/>
                <a:gd name="connsiteX56" fmla="*/ 276241 w 1649818"/>
                <a:gd name="connsiteY56" fmla="*/ 509049 h 1151076"/>
                <a:gd name="connsiteX57" fmla="*/ 284856 w 1649818"/>
                <a:gd name="connsiteY57" fmla="*/ 464457 h 1151076"/>
                <a:gd name="connsiteX58" fmla="*/ 281309 w 1649818"/>
                <a:gd name="connsiteY58" fmla="*/ 428606 h 1151076"/>
                <a:gd name="connsiteX59" fmla="*/ 255592 w 1649818"/>
                <a:gd name="connsiteY59" fmla="*/ 393261 h 1151076"/>
                <a:gd name="connsiteX60" fmla="*/ 204412 w 1649818"/>
                <a:gd name="connsiteY60" fmla="*/ 419611 h 1151076"/>
                <a:gd name="connsiteX61" fmla="*/ 177429 w 1649818"/>
                <a:gd name="connsiteY61" fmla="*/ 340435 h 1151076"/>
                <a:gd name="connsiteX62" fmla="*/ 129543 w 1649818"/>
                <a:gd name="connsiteY62" fmla="*/ 347022 h 1151076"/>
                <a:gd name="connsiteX63" fmla="*/ 111681 w 1649818"/>
                <a:gd name="connsiteY63" fmla="*/ 366278 h 1151076"/>
                <a:gd name="connsiteX64" fmla="*/ 93692 w 1649818"/>
                <a:gd name="connsiteY64" fmla="*/ 376919 h 1151076"/>
                <a:gd name="connsiteX65" fmla="*/ 64935 w 1649818"/>
                <a:gd name="connsiteY65" fmla="*/ 357030 h 1151076"/>
                <a:gd name="connsiteX66" fmla="*/ 82797 w 1649818"/>
                <a:gd name="connsiteY66" fmla="*/ 324853 h 1151076"/>
                <a:gd name="connsiteX67" fmla="*/ 56574 w 1649818"/>
                <a:gd name="connsiteY67" fmla="*/ 299390 h 1151076"/>
                <a:gd name="connsiteX68" fmla="*/ 20089 w 1649818"/>
                <a:gd name="connsiteY68" fmla="*/ 287355 h 1151076"/>
                <a:gd name="connsiteX69" fmla="*/ 707 w 1649818"/>
                <a:gd name="connsiteY69" fmla="*/ 258851 h 1151076"/>
                <a:gd name="connsiteX70" fmla="*/ 12108 w 1649818"/>
                <a:gd name="connsiteY70" fmla="*/ 223887 h 1151076"/>
                <a:gd name="connsiteX71" fmla="*/ 1720 w 1649818"/>
                <a:gd name="connsiteY71" fmla="*/ 219706 h 1151076"/>
                <a:gd name="connsiteX72" fmla="*/ 84571 w 1649818"/>
                <a:gd name="connsiteY72" fmla="*/ 207165 h 1151076"/>
                <a:gd name="connsiteX73" fmla="*/ 149306 w 1649818"/>
                <a:gd name="connsiteY73" fmla="*/ 188669 h 1151076"/>
                <a:gd name="connsiteX74" fmla="*/ 179963 w 1649818"/>
                <a:gd name="connsiteY74" fmla="*/ 202604 h 1151076"/>
                <a:gd name="connsiteX75" fmla="*/ 224175 w 1649818"/>
                <a:gd name="connsiteY75" fmla="*/ 204885 h 1151076"/>
                <a:gd name="connsiteX76" fmla="*/ 280802 w 1649818"/>
                <a:gd name="connsiteY76" fmla="*/ 228194 h 1151076"/>
                <a:gd name="connsiteX77" fmla="*/ 431808 w 1649818"/>
                <a:gd name="connsiteY77" fmla="*/ 229461 h 1151076"/>
                <a:gd name="connsiteX78" fmla="*/ 495655 w 1649818"/>
                <a:gd name="connsiteY78" fmla="*/ 267846 h 1151076"/>
                <a:gd name="connsiteX79" fmla="*/ 608530 w 1649818"/>
                <a:gd name="connsiteY79" fmla="*/ 249984 h 1151076"/>
                <a:gd name="connsiteX80" fmla="*/ 678332 w 1649818"/>
                <a:gd name="connsiteY80" fmla="*/ 253404 h 1151076"/>
                <a:gd name="connsiteX81" fmla="*/ 739266 w 1649818"/>
                <a:gd name="connsiteY81" fmla="*/ 206405 h 1151076"/>
                <a:gd name="connsiteX82" fmla="*/ 788292 w 1649818"/>
                <a:gd name="connsiteY82" fmla="*/ 209319 h 1151076"/>
                <a:gd name="connsiteX83" fmla="*/ 844666 w 1649818"/>
                <a:gd name="connsiteY83" fmla="*/ 178154 h 1151076"/>
                <a:gd name="connsiteX84" fmla="*/ 929796 w 1649818"/>
                <a:gd name="connsiteY84" fmla="*/ 168780 h 1151076"/>
                <a:gd name="connsiteX85" fmla="*/ 930050 w 1649818"/>
                <a:gd name="connsiteY85" fmla="*/ 118234 h 1151076"/>
                <a:gd name="connsiteX86" fmla="*/ 976796 w 1649818"/>
                <a:gd name="connsiteY86" fmla="*/ 90997 h 1151076"/>
                <a:gd name="connsiteX87" fmla="*/ 1039123 w 1649818"/>
                <a:gd name="connsiteY87" fmla="*/ 62367 h 1151076"/>
                <a:gd name="connsiteX88" fmla="*/ 1069780 w 1649818"/>
                <a:gd name="connsiteY88" fmla="*/ 51219 h 1151076"/>
                <a:gd name="connsiteX89" fmla="*/ 1122354 w 1649818"/>
                <a:gd name="connsiteY89" fmla="*/ 35637 h 1151076"/>
                <a:gd name="connsiteX90" fmla="*/ 1214452 w 1649818"/>
                <a:gd name="connsiteY90" fmla="*/ 546 h 1151076"/>
                <a:gd name="connsiteX91" fmla="*/ 1254990 w 1649818"/>
                <a:gd name="connsiteY91" fmla="*/ 25629 h 1151076"/>
                <a:gd name="connsiteX92" fmla="*/ 1247136 w 1649818"/>
                <a:gd name="connsiteY92" fmla="*/ 48052 h 1151076"/>
                <a:gd name="connsiteX93" fmla="*/ 1246123 w 1649818"/>
                <a:gd name="connsiteY93" fmla="*/ 72755 h 1151076"/>
                <a:gd name="connsiteX94" fmla="*/ 1216859 w 1649818"/>
                <a:gd name="connsiteY94" fmla="*/ 102399 h 1151076"/>
                <a:gd name="connsiteX95" fmla="*/ 1198617 w 1649818"/>
                <a:gd name="connsiteY95" fmla="*/ 150411 h 1151076"/>
                <a:gd name="connsiteX96" fmla="*/ 1168467 w 1649818"/>
                <a:gd name="connsiteY96" fmla="*/ 193483 h 1151076"/>
                <a:gd name="connsiteX97" fmla="*/ 1167453 w 1649818"/>
                <a:gd name="connsiteY97" fmla="*/ 272280 h 1151076"/>
                <a:gd name="connsiteX98" fmla="*/ 1139203 w 1649818"/>
                <a:gd name="connsiteY98" fmla="*/ 328653 h 1151076"/>
                <a:gd name="connsiteX99" fmla="*/ 1178854 w 1649818"/>
                <a:gd name="connsiteY99" fmla="*/ 347402 h 1151076"/>
                <a:gd name="connsiteX100" fmla="*/ 1285774 w 1649818"/>
                <a:gd name="connsiteY100" fmla="*/ 366658 h 1151076"/>
                <a:gd name="connsiteX101" fmla="*/ 1305030 w 1649818"/>
                <a:gd name="connsiteY101" fmla="*/ 432533 h 1151076"/>
                <a:gd name="connsiteX102" fmla="*/ 1344555 w 1649818"/>
                <a:gd name="connsiteY102" fmla="*/ 410744 h 1151076"/>
                <a:gd name="connsiteX103" fmla="*/ 1366345 w 1649818"/>
                <a:gd name="connsiteY103" fmla="*/ 363238 h 1151076"/>
                <a:gd name="connsiteX104" fmla="*/ 1414863 w 1649818"/>
                <a:gd name="connsiteY104" fmla="*/ 342462 h 1151076"/>
                <a:gd name="connsiteX105" fmla="*/ 1457429 w 1649818"/>
                <a:gd name="connsiteY105" fmla="*/ 261765 h 1151076"/>
                <a:gd name="connsiteX106" fmla="*/ 1506962 w 1649818"/>
                <a:gd name="connsiteY106" fmla="*/ 261765 h 1151076"/>
                <a:gd name="connsiteX107" fmla="*/ 1557889 w 1649818"/>
                <a:gd name="connsiteY107" fmla="*/ 209319 h 1151076"/>
                <a:gd name="connsiteX108" fmla="*/ 1601974 w 1649818"/>
                <a:gd name="connsiteY108" fmla="*/ 260372 h 1151076"/>
                <a:gd name="connsiteX109" fmla="*/ 1615783 w 1649818"/>
                <a:gd name="connsiteY109" fmla="*/ 316745 h 1151076"/>
                <a:gd name="connsiteX110" fmla="*/ 1648593 w 1649818"/>
                <a:gd name="connsiteY110" fmla="*/ 362731 h 115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649818" h="1151076">
                  <a:moveTo>
                    <a:pt x="1648593" y="362731"/>
                  </a:moveTo>
                  <a:cubicBezTo>
                    <a:pt x="1641752" y="385407"/>
                    <a:pt x="1624397" y="389461"/>
                    <a:pt x="1603114" y="389968"/>
                  </a:cubicBezTo>
                  <a:cubicBezTo>
                    <a:pt x="1581832" y="390474"/>
                    <a:pt x="1575371" y="404283"/>
                    <a:pt x="1561056" y="405296"/>
                  </a:cubicBezTo>
                  <a:cubicBezTo>
                    <a:pt x="1546740" y="406310"/>
                    <a:pt x="1511522" y="404283"/>
                    <a:pt x="1506582" y="419105"/>
                  </a:cubicBezTo>
                  <a:cubicBezTo>
                    <a:pt x="1501641" y="433926"/>
                    <a:pt x="1512030" y="447862"/>
                    <a:pt x="1522418" y="452296"/>
                  </a:cubicBezTo>
                  <a:cubicBezTo>
                    <a:pt x="1532805" y="456730"/>
                    <a:pt x="1571444" y="478519"/>
                    <a:pt x="1558015" y="488907"/>
                  </a:cubicBezTo>
                  <a:cubicBezTo>
                    <a:pt x="1544713" y="499295"/>
                    <a:pt x="1491253" y="558709"/>
                    <a:pt x="1489733" y="575431"/>
                  </a:cubicBezTo>
                  <a:cubicBezTo>
                    <a:pt x="1488213" y="592280"/>
                    <a:pt x="1486820" y="625470"/>
                    <a:pt x="1472378" y="630411"/>
                  </a:cubicBezTo>
                  <a:cubicBezTo>
                    <a:pt x="1458063" y="635352"/>
                    <a:pt x="1412077" y="653214"/>
                    <a:pt x="1410049" y="664109"/>
                  </a:cubicBezTo>
                  <a:cubicBezTo>
                    <a:pt x="1408023" y="675003"/>
                    <a:pt x="1452615" y="715162"/>
                    <a:pt x="1441720" y="725550"/>
                  </a:cubicBezTo>
                  <a:cubicBezTo>
                    <a:pt x="1430826" y="735937"/>
                    <a:pt x="1375339" y="810680"/>
                    <a:pt x="1404096" y="840324"/>
                  </a:cubicBezTo>
                  <a:cubicBezTo>
                    <a:pt x="1432726" y="869968"/>
                    <a:pt x="1443241" y="857680"/>
                    <a:pt x="1453122" y="866041"/>
                  </a:cubicBezTo>
                  <a:cubicBezTo>
                    <a:pt x="1463003" y="874402"/>
                    <a:pt x="1479345" y="876935"/>
                    <a:pt x="1496701" y="882889"/>
                  </a:cubicBezTo>
                  <a:cubicBezTo>
                    <a:pt x="1513929" y="888843"/>
                    <a:pt x="1565996" y="881876"/>
                    <a:pt x="1568910" y="923428"/>
                  </a:cubicBezTo>
                  <a:cubicBezTo>
                    <a:pt x="1571823" y="964980"/>
                    <a:pt x="1564223" y="976508"/>
                    <a:pt x="1602480" y="1013119"/>
                  </a:cubicBezTo>
                  <a:cubicBezTo>
                    <a:pt x="1600707" y="1013626"/>
                    <a:pt x="1598807" y="1014766"/>
                    <a:pt x="1596906" y="1016793"/>
                  </a:cubicBezTo>
                  <a:cubicBezTo>
                    <a:pt x="1579298" y="1035922"/>
                    <a:pt x="1579298" y="1067593"/>
                    <a:pt x="1580945" y="1091662"/>
                  </a:cubicBezTo>
                  <a:cubicBezTo>
                    <a:pt x="1582592" y="1114465"/>
                    <a:pt x="1578031" y="1134734"/>
                    <a:pt x="1563082" y="1151076"/>
                  </a:cubicBezTo>
                  <a:cubicBezTo>
                    <a:pt x="1560675" y="1148923"/>
                    <a:pt x="1557762" y="1147149"/>
                    <a:pt x="1553961" y="1145882"/>
                  </a:cubicBezTo>
                  <a:cubicBezTo>
                    <a:pt x="1524191" y="1135747"/>
                    <a:pt x="1488466" y="1140815"/>
                    <a:pt x="1457555" y="1138788"/>
                  </a:cubicBezTo>
                  <a:cubicBezTo>
                    <a:pt x="1435513" y="1137394"/>
                    <a:pt x="1428545" y="1122699"/>
                    <a:pt x="1409923" y="1114718"/>
                  </a:cubicBezTo>
                  <a:cubicBezTo>
                    <a:pt x="1394848" y="1108258"/>
                    <a:pt x="1387627" y="1114085"/>
                    <a:pt x="1376225" y="1122826"/>
                  </a:cubicBezTo>
                  <a:cubicBezTo>
                    <a:pt x="1358616" y="1136127"/>
                    <a:pt x="1346455" y="1130807"/>
                    <a:pt x="1329987" y="1122319"/>
                  </a:cubicBezTo>
                  <a:cubicBezTo>
                    <a:pt x="1317192" y="1115732"/>
                    <a:pt x="1307691" y="1119152"/>
                    <a:pt x="1296289" y="1126880"/>
                  </a:cubicBezTo>
                  <a:cubicBezTo>
                    <a:pt x="1284761" y="1134734"/>
                    <a:pt x="1273233" y="1150316"/>
                    <a:pt x="1258411" y="1148162"/>
                  </a:cubicBezTo>
                  <a:cubicBezTo>
                    <a:pt x="1245996" y="1146262"/>
                    <a:pt x="1236495" y="1136761"/>
                    <a:pt x="1224333" y="1134101"/>
                  </a:cubicBezTo>
                  <a:cubicBezTo>
                    <a:pt x="1193043" y="1127387"/>
                    <a:pt x="1160992" y="1117886"/>
                    <a:pt x="1137682" y="1093816"/>
                  </a:cubicBezTo>
                  <a:cubicBezTo>
                    <a:pt x="1119314" y="1074687"/>
                    <a:pt x="1102844" y="1056571"/>
                    <a:pt x="1100564" y="1029968"/>
                  </a:cubicBezTo>
                  <a:cubicBezTo>
                    <a:pt x="1099551" y="1016666"/>
                    <a:pt x="1093343" y="1010079"/>
                    <a:pt x="1083842" y="1001464"/>
                  </a:cubicBezTo>
                  <a:cubicBezTo>
                    <a:pt x="1076875" y="995130"/>
                    <a:pt x="1073581" y="993736"/>
                    <a:pt x="1065600" y="991076"/>
                  </a:cubicBezTo>
                  <a:cubicBezTo>
                    <a:pt x="1052298" y="986642"/>
                    <a:pt x="1046091" y="966373"/>
                    <a:pt x="1043177" y="954085"/>
                  </a:cubicBezTo>
                  <a:cubicBezTo>
                    <a:pt x="1039123" y="937743"/>
                    <a:pt x="1038237" y="934069"/>
                    <a:pt x="1020375" y="933435"/>
                  </a:cubicBezTo>
                  <a:cubicBezTo>
                    <a:pt x="992758" y="932422"/>
                    <a:pt x="994785" y="918867"/>
                    <a:pt x="984903" y="897331"/>
                  </a:cubicBezTo>
                  <a:cubicBezTo>
                    <a:pt x="981483" y="889857"/>
                    <a:pt x="975529" y="883649"/>
                    <a:pt x="969702" y="877949"/>
                  </a:cubicBezTo>
                  <a:cubicBezTo>
                    <a:pt x="966281" y="874655"/>
                    <a:pt x="964128" y="871615"/>
                    <a:pt x="959693" y="869334"/>
                  </a:cubicBezTo>
                  <a:cubicBezTo>
                    <a:pt x="955513" y="867054"/>
                    <a:pt x="948419" y="867181"/>
                    <a:pt x="944872" y="864267"/>
                  </a:cubicBezTo>
                  <a:cubicBezTo>
                    <a:pt x="928276" y="850839"/>
                    <a:pt x="946772" y="821195"/>
                    <a:pt x="922956" y="808653"/>
                  </a:cubicBezTo>
                  <a:cubicBezTo>
                    <a:pt x="915735" y="804853"/>
                    <a:pt x="906740" y="808527"/>
                    <a:pt x="899139" y="804726"/>
                  </a:cubicBezTo>
                  <a:cubicBezTo>
                    <a:pt x="885078" y="797759"/>
                    <a:pt x="884571" y="777109"/>
                    <a:pt x="873930" y="766975"/>
                  </a:cubicBezTo>
                  <a:cubicBezTo>
                    <a:pt x="865949" y="759374"/>
                    <a:pt x="856067" y="757474"/>
                    <a:pt x="845933" y="754560"/>
                  </a:cubicBezTo>
                  <a:cubicBezTo>
                    <a:pt x="821989" y="747466"/>
                    <a:pt x="816669" y="724536"/>
                    <a:pt x="796780" y="712121"/>
                  </a:cubicBezTo>
                  <a:cubicBezTo>
                    <a:pt x="776511" y="699453"/>
                    <a:pt x="749274" y="709841"/>
                    <a:pt x="726725" y="702747"/>
                  </a:cubicBezTo>
                  <a:cubicBezTo>
                    <a:pt x="717350" y="699833"/>
                    <a:pt x="705822" y="692992"/>
                    <a:pt x="695687" y="695779"/>
                  </a:cubicBezTo>
                  <a:cubicBezTo>
                    <a:pt x="686566" y="698313"/>
                    <a:pt x="682639" y="707561"/>
                    <a:pt x="676052" y="713388"/>
                  </a:cubicBezTo>
                  <a:cubicBezTo>
                    <a:pt x="655276" y="731377"/>
                    <a:pt x="623605" y="712755"/>
                    <a:pt x="601942" y="705281"/>
                  </a:cubicBezTo>
                  <a:cubicBezTo>
                    <a:pt x="580659" y="697933"/>
                    <a:pt x="552662" y="688432"/>
                    <a:pt x="530240" y="695906"/>
                  </a:cubicBezTo>
                  <a:cubicBezTo>
                    <a:pt x="505790" y="704140"/>
                    <a:pt x="501737" y="735177"/>
                    <a:pt x="478047" y="743412"/>
                  </a:cubicBezTo>
                  <a:cubicBezTo>
                    <a:pt x="456004" y="751266"/>
                    <a:pt x="432948" y="739991"/>
                    <a:pt x="411158" y="752153"/>
                  </a:cubicBezTo>
                  <a:cubicBezTo>
                    <a:pt x="409258" y="753293"/>
                    <a:pt x="407231" y="754433"/>
                    <a:pt x="405457" y="755573"/>
                  </a:cubicBezTo>
                  <a:cubicBezTo>
                    <a:pt x="396337" y="744679"/>
                    <a:pt x="387849" y="732897"/>
                    <a:pt x="380248" y="719469"/>
                  </a:cubicBezTo>
                  <a:cubicBezTo>
                    <a:pt x="375434" y="710981"/>
                    <a:pt x="372520" y="700213"/>
                    <a:pt x="365299" y="693626"/>
                  </a:cubicBezTo>
                  <a:cubicBezTo>
                    <a:pt x="354405" y="683618"/>
                    <a:pt x="343383" y="691852"/>
                    <a:pt x="330842" y="687798"/>
                  </a:cubicBezTo>
                  <a:cubicBezTo>
                    <a:pt x="306899" y="680070"/>
                    <a:pt x="302591" y="642699"/>
                    <a:pt x="308038" y="621923"/>
                  </a:cubicBezTo>
                  <a:cubicBezTo>
                    <a:pt x="311713" y="607608"/>
                    <a:pt x="329321" y="601148"/>
                    <a:pt x="335909" y="587719"/>
                  </a:cubicBezTo>
                  <a:cubicBezTo>
                    <a:pt x="341229" y="576951"/>
                    <a:pt x="335655" y="562889"/>
                    <a:pt x="326281" y="555795"/>
                  </a:cubicBezTo>
                  <a:cubicBezTo>
                    <a:pt x="307659" y="541987"/>
                    <a:pt x="282575" y="551488"/>
                    <a:pt x="261673" y="547941"/>
                  </a:cubicBezTo>
                  <a:cubicBezTo>
                    <a:pt x="264334" y="534132"/>
                    <a:pt x="270794" y="521971"/>
                    <a:pt x="276241" y="509049"/>
                  </a:cubicBezTo>
                  <a:cubicBezTo>
                    <a:pt x="282322" y="494481"/>
                    <a:pt x="284729" y="480165"/>
                    <a:pt x="284856" y="464457"/>
                  </a:cubicBezTo>
                  <a:cubicBezTo>
                    <a:pt x="284982" y="452422"/>
                    <a:pt x="285109" y="440261"/>
                    <a:pt x="281309" y="428606"/>
                  </a:cubicBezTo>
                  <a:cubicBezTo>
                    <a:pt x="277255" y="416318"/>
                    <a:pt x="268261" y="398709"/>
                    <a:pt x="255592" y="393261"/>
                  </a:cubicBezTo>
                  <a:cubicBezTo>
                    <a:pt x="232283" y="383507"/>
                    <a:pt x="229496" y="441274"/>
                    <a:pt x="204412" y="419611"/>
                  </a:cubicBezTo>
                  <a:cubicBezTo>
                    <a:pt x="180849" y="398962"/>
                    <a:pt x="203146" y="357917"/>
                    <a:pt x="177429" y="340435"/>
                  </a:cubicBezTo>
                  <a:cubicBezTo>
                    <a:pt x="161847" y="329793"/>
                    <a:pt x="143224" y="336381"/>
                    <a:pt x="129543" y="347022"/>
                  </a:cubicBezTo>
                  <a:cubicBezTo>
                    <a:pt x="122829" y="352216"/>
                    <a:pt x="116242" y="359057"/>
                    <a:pt x="111681" y="366278"/>
                  </a:cubicBezTo>
                  <a:cubicBezTo>
                    <a:pt x="107247" y="373499"/>
                    <a:pt x="103193" y="377553"/>
                    <a:pt x="93692" y="376919"/>
                  </a:cubicBezTo>
                  <a:cubicBezTo>
                    <a:pt x="82037" y="376159"/>
                    <a:pt x="66708" y="370712"/>
                    <a:pt x="64935" y="357030"/>
                  </a:cubicBezTo>
                  <a:cubicBezTo>
                    <a:pt x="62908" y="342462"/>
                    <a:pt x="80770" y="337394"/>
                    <a:pt x="82797" y="324853"/>
                  </a:cubicBezTo>
                  <a:cubicBezTo>
                    <a:pt x="84697" y="313198"/>
                    <a:pt x="63922" y="304204"/>
                    <a:pt x="56574" y="299390"/>
                  </a:cubicBezTo>
                  <a:cubicBezTo>
                    <a:pt x="44666" y="291409"/>
                    <a:pt x="33011" y="291915"/>
                    <a:pt x="20089" y="287355"/>
                  </a:cubicBezTo>
                  <a:cubicBezTo>
                    <a:pt x="8308" y="283301"/>
                    <a:pt x="-2967" y="272153"/>
                    <a:pt x="707" y="258851"/>
                  </a:cubicBezTo>
                  <a:cubicBezTo>
                    <a:pt x="3621" y="248210"/>
                    <a:pt x="25157" y="233008"/>
                    <a:pt x="12108" y="223887"/>
                  </a:cubicBezTo>
                  <a:cubicBezTo>
                    <a:pt x="8941" y="221733"/>
                    <a:pt x="5395" y="220466"/>
                    <a:pt x="1720" y="219706"/>
                  </a:cubicBezTo>
                  <a:cubicBezTo>
                    <a:pt x="5014" y="219453"/>
                    <a:pt x="66835" y="215273"/>
                    <a:pt x="84571" y="207165"/>
                  </a:cubicBezTo>
                  <a:cubicBezTo>
                    <a:pt x="102687" y="198931"/>
                    <a:pt x="138664" y="177774"/>
                    <a:pt x="149306" y="188669"/>
                  </a:cubicBezTo>
                  <a:cubicBezTo>
                    <a:pt x="159821" y="199564"/>
                    <a:pt x="170082" y="203365"/>
                    <a:pt x="179963" y="202604"/>
                  </a:cubicBezTo>
                  <a:cubicBezTo>
                    <a:pt x="189844" y="201844"/>
                    <a:pt x="214547" y="193610"/>
                    <a:pt x="224175" y="204885"/>
                  </a:cubicBezTo>
                  <a:cubicBezTo>
                    <a:pt x="233803" y="216033"/>
                    <a:pt x="254072" y="234528"/>
                    <a:pt x="280802" y="228194"/>
                  </a:cubicBezTo>
                  <a:cubicBezTo>
                    <a:pt x="307532" y="221733"/>
                    <a:pt x="411031" y="208559"/>
                    <a:pt x="431808" y="229461"/>
                  </a:cubicBezTo>
                  <a:cubicBezTo>
                    <a:pt x="452584" y="250364"/>
                    <a:pt x="459045" y="276207"/>
                    <a:pt x="495655" y="267846"/>
                  </a:cubicBezTo>
                  <a:cubicBezTo>
                    <a:pt x="532267" y="259358"/>
                    <a:pt x="582306" y="235162"/>
                    <a:pt x="608530" y="249984"/>
                  </a:cubicBezTo>
                  <a:cubicBezTo>
                    <a:pt x="634753" y="264805"/>
                    <a:pt x="661483" y="271266"/>
                    <a:pt x="678332" y="253404"/>
                  </a:cubicBezTo>
                  <a:cubicBezTo>
                    <a:pt x="695180" y="235542"/>
                    <a:pt x="719377" y="197917"/>
                    <a:pt x="739266" y="206405"/>
                  </a:cubicBezTo>
                  <a:cubicBezTo>
                    <a:pt x="759029" y="214766"/>
                    <a:pt x="771443" y="221227"/>
                    <a:pt x="788292" y="209319"/>
                  </a:cubicBezTo>
                  <a:cubicBezTo>
                    <a:pt x="805140" y="197410"/>
                    <a:pt x="826424" y="178661"/>
                    <a:pt x="844666" y="178154"/>
                  </a:cubicBezTo>
                  <a:cubicBezTo>
                    <a:pt x="862908" y="177648"/>
                    <a:pt x="934737" y="187022"/>
                    <a:pt x="929796" y="168780"/>
                  </a:cubicBezTo>
                  <a:cubicBezTo>
                    <a:pt x="924856" y="150411"/>
                    <a:pt x="921309" y="123681"/>
                    <a:pt x="930050" y="118234"/>
                  </a:cubicBezTo>
                  <a:cubicBezTo>
                    <a:pt x="938664" y="112786"/>
                    <a:pt x="962987" y="103412"/>
                    <a:pt x="976796" y="90997"/>
                  </a:cubicBezTo>
                  <a:cubicBezTo>
                    <a:pt x="990604" y="78582"/>
                    <a:pt x="1025822" y="67307"/>
                    <a:pt x="1039123" y="62367"/>
                  </a:cubicBezTo>
                  <a:cubicBezTo>
                    <a:pt x="1049258" y="58566"/>
                    <a:pt x="1063320" y="60847"/>
                    <a:pt x="1069780" y="51219"/>
                  </a:cubicBezTo>
                  <a:cubicBezTo>
                    <a:pt x="1069780" y="51219"/>
                    <a:pt x="1112980" y="43998"/>
                    <a:pt x="1122354" y="35637"/>
                  </a:cubicBezTo>
                  <a:cubicBezTo>
                    <a:pt x="1131728" y="27149"/>
                    <a:pt x="1187722" y="-4522"/>
                    <a:pt x="1214452" y="546"/>
                  </a:cubicBezTo>
                  <a:cubicBezTo>
                    <a:pt x="1241182" y="5486"/>
                    <a:pt x="1262465" y="20055"/>
                    <a:pt x="1254990" y="25629"/>
                  </a:cubicBezTo>
                  <a:cubicBezTo>
                    <a:pt x="1247643" y="31203"/>
                    <a:pt x="1244096" y="37157"/>
                    <a:pt x="1247136" y="48052"/>
                  </a:cubicBezTo>
                  <a:cubicBezTo>
                    <a:pt x="1250176" y="58946"/>
                    <a:pt x="1260058" y="67814"/>
                    <a:pt x="1246123" y="72755"/>
                  </a:cubicBezTo>
                  <a:cubicBezTo>
                    <a:pt x="1232314" y="77695"/>
                    <a:pt x="1222307" y="83649"/>
                    <a:pt x="1216859" y="102399"/>
                  </a:cubicBezTo>
                  <a:cubicBezTo>
                    <a:pt x="1211411" y="121274"/>
                    <a:pt x="1209891" y="143570"/>
                    <a:pt x="1198617" y="150411"/>
                  </a:cubicBezTo>
                  <a:cubicBezTo>
                    <a:pt x="1187215" y="157379"/>
                    <a:pt x="1166439" y="177141"/>
                    <a:pt x="1168467" y="193483"/>
                  </a:cubicBezTo>
                  <a:cubicBezTo>
                    <a:pt x="1170493" y="209825"/>
                    <a:pt x="1178347" y="265312"/>
                    <a:pt x="1167453" y="272280"/>
                  </a:cubicBezTo>
                  <a:cubicBezTo>
                    <a:pt x="1156558" y="279120"/>
                    <a:pt x="1125901" y="311425"/>
                    <a:pt x="1139203" y="328653"/>
                  </a:cubicBezTo>
                  <a:cubicBezTo>
                    <a:pt x="1152505" y="346009"/>
                    <a:pt x="1157952" y="353357"/>
                    <a:pt x="1178854" y="347402"/>
                  </a:cubicBezTo>
                  <a:cubicBezTo>
                    <a:pt x="1199630" y="341448"/>
                    <a:pt x="1285774" y="321179"/>
                    <a:pt x="1285774" y="366658"/>
                  </a:cubicBezTo>
                  <a:cubicBezTo>
                    <a:pt x="1285774" y="412264"/>
                    <a:pt x="1283241" y="439374"/>
                    <a:pt x="1305030" y="432533"/>
                  </a:cubicBezTo>
                  <a:cubicBezTo>
                    <a:pt x="1326820" y="425565"/>
                    <a:pt x="1344555" y="431013"/>
                    <a:pt x="1344555" y="410744"/>
                  </a:cubicBezTo>
                  <a:cubicBezTo>
                    <a:pt x="1344555" y="390474"/>
                    <a:pt x="1347469" y="363238"/>
                    <a:pt x="1366345" y="363238"/>
                  </a:cubicBezTo>
                  <a:cubicBezTo>
                    <a:pt x="1385093" y="363238"/>
                    <a:pt x="1402955" y="367672"/>
                    <a:pt x="1414863" y="342462"/>
                  </a:cubicBezTo>
                  <a:cubicBezTo>
                    <a:pt x="1426772" y="317252"/>
                    <a:pt x="1434246" y="259232"/>
                    <a:pt x="1457429" y="261765"/>
                  </a:cubicBezTo>
                  <a:cubicBezTo>
                    <a:pt x="1480739" y="264172"/>
                    <a:pt x="1498981" y="276080"/>
                    <a:pt x="1506962" y="261765"/>
                  </a:cubicBezTo>
                  <a:cubicBezTo>
                    <a:pt x="1514943" y="247323"/>
                    <a:pt x="1540153" y="207292"/>
                    <a:pt x="1557889" y="209319"/>
                  </a:cubicBezTo>
                  <a:cubicBezTo>
                    <a:pt x="1575750" y="211345"/>
                    <a:pt x="1597033" y="227181"/>
                    <a:pt x="1601974" y="260372"/>
                  </a:cubicBezTo>
                  <a:cubicBezTo>
                    <a:pt x="1606915" y="293562"/>
                    <a:pt x="1599947" y="309398"/>
                    <a:pt x="1615783" y="316745"/>
                  </a:cubicBezTo>
                  <a:cubicBezTo>
                    <a:pt x="1631237" y="324093"/>
                    <a:pt x="1655560" y="339928"/>
                    <a:pt x="1648593" y="36273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0" name="Полилиния: фигура 399">
              <a:extLst>
                <a:ext uri="{FF2B5EF4-FFF2-40B4-BE49-F238E27FC236}">
                  <a16:creationId xmlns:a16="http://schemas.microsoft.com/office/drawing/2014/main" id="{FDE1024C-1B7B-4D55-A555-C3B955320644}"/>
                </a:ext>
              </a:extLst>
            </p:cNvPr>
            <p:cNvSpPr/>
            <p:nvPr/>
          </p:nvSpPr>
          <p:spPr>
            <a:xfrm>
              <a:off x="3528940" y="2776042"/>
              <a:ext cx="1952187" cy="1095438"/>
            </a:xfrm>
            <a:custGeom>
              <a:avLst/>
              <a:gdLst>
                <a:gd name="connsiteX0" fmla="*/ 1942053 w 1952187"/>
                <a:gd name="connsiteY0" fmla="*/ 463151 h 1095438"/>
                <a:gd name="connsiteX1" fmla="*/ 1926851 w 1952187"/>
                <a:gd name="connsiteY1" fmla="*/ 505717 h 1095438"/>
                <a:gd name="connsiteX2" fmla="*/ 1908736 w 1952187"/>
                <a:gd name="connsiteY2" fmla="*/ 527506 h 1095438"/>
                <a:gd name="connsiteX3" fmla="*/ 1835133 w 1952187"/>
                <a:gd name="connsiteY3" fmla="*/ 536754 h 1095438"/>
                <a:gd name="connsiteX4" fmla="*/ 1787881 w 1952187"/>
                <a:gd name="connsiteY4" fmla="*/ 569438 h 1095438"/>
                <a:gd name="connsiteX5" fmla="*/ 1722259 w 1952187"/>
                <a:gd name="connsiteY5" fmla="*/ 567791 h 1095438"/>
                <a:gd name="connsiteX6" fmla="*/ 1648530 w 1952187"/>
                <a:gd name="connsiteY6" fmla="*/ 565384 h 1095438"/>
                <a:gd name="connsiteX7" fmla="*/ 1573027 w 1952187"/>
                <a:gd name="connsiteY7" fmla="*/ 633413 h 1095438"/>
                <a:gd name="connsiteX8" fmla="*/ 1512346 w 1952187"/>
                <a:gd name="connsiteY8" fmla="*/ 636326 h 1095438"/>
                <a:gd name="connsiteX9" fmla="*/ 1480802 w 1952187"/>
                <a:gd name="connsiteY9" fmla="*/ 634679 h 1095438"/>
                <a:gd name="connsiteX10" fmla="*/ 1397445 w 1952187"/>
                <a:gd name="connsiteY10" fmla="*/ 692320 h 1095438"/>
                <a:gd name="connsiteX11" fmla="*/ 1347279 w 1952187"/>
                <a:gd name="connsiteY11" fmla="*/ 714489 h 1095438"/>
                <a:gd name="connsiteX12" fmla="*/ 1330430 w 1952187"/>
                <a:gd name="connsiteY12" fmla="*/ 660016 h 1095438"/>
                <a:gd name="connsiteX13" fmla="*/ 1282671 w 1952187"/>
                <a:gd name="connsiteY13" fmla="*/ 663943 h 1095438"/>
                <a:gd name="connsiteX14" fmla="*/ 1269116 w 1952187"/>
                <a:gd name="connsiteY14" fmla="*/ 695613 h 1095438"/>
                <a:gd name="connsiteX15" fmla="*/ 1225790 w 1952187"/>
                <a:gd name="connsiteY15" fmla="*/ 715629 h 1095438"/>
                <a:gd name="connsiteX16" fmla="*/ 1212869 w 1952187"/>
                <a:gd name="connsiteY16" fmla="*/ 772510 h 1095438"/>
                <a:gd name="connsiteX17" fmla="*/ 1144841 w 1952187"/>
                <a:gd name="connsiteY17" fmla="*/ 863341 h 1095438"/>
                <a:gd name="connsiteX18" fmla="*/ 1100502 w 1952187"/>
                <a:gd name="connsiteY18" fmla="*/ 897419 h 1095438"/>
                <a:gd name="connsiteX19" fmla="*/ 1070604 w 1952187"/>
                <a:gd name="connsiteY19" fmla="*/ 944164 h 1095438"/>
                <a:gd name="connsiteX20" fmla="*/ 1049068 w 1952187"/>
                <a:gd name="connsiteY20" fmla="*/ 973048 h 1095438"/>
                <a:gd name="connsiteX21" fmla="*/ 1044128 w 1952187"/>
                <a:gd name="connsiteY21" fmla="*/ 1009406 h 1095438"/>
                <a:gd name="connsiteX22" fmla="*/ 1015117 w 1952187"/>
                <a:gd name="connsiteY22" fmla="*/ 1058432 h 1095438"/>
                <a:gd name="connsiteX23" fmla="*/ 979773 w 1952187"/>
                <a:gd name="connsiteY23" fmla="*/ 1078195 h 1095438"/>
                <a:gd name="connsiteX24" fmla="*/ 974326 w 1952187"/>
                <a:gd name="connsiteY24" fmla="*/ 1076675 h 1095438"/>
                <a:gd name="connsiteX25" fmla="*/ 939235 w 1952187"/>
                <a:gd name="connsiteY25" fmla="*/ 1094917 h 1095438"/>
                <a:gd name="connsiteX26" fmla="*/ 777841 w 1952187"/>
                <a:gd name="connsiteY26" fmla="*/ 1021694 h 1095438"/>
                <a:gd name="connsiteX27" fmla="*/ 711079 w 1952187"/>
                <a:gd name="connsiteY27" fmla="*/ 1029675 h 1095438"/>
                <a:gd name="connsiteX28" fmla="*/ 678902 w 1952187"/>
                <a:gd name="connsiteY28" fmla="*/ 1020808 h 1095438"/>
                <a:gd name="connsiteX29" fmla="*/ 654199 w 1952187"/>
                <a:gd name="connsiteY29" fmla="*/ 1020301 h 1095438"/>
                <a:gd name="connsiteX30" fmla="*/ 614547 w 1952187"/>
                <a:gd name="connsiteY30" fmla="*/ 993571 h 1095438"/>
                <a:gd name="connsiteX31" fmla="*/ 578443 w 1952187"/>
                <a:gd name="connsiteY31" fmla="*/ 1004465 h 1095438"/>
                <a:gd name="connsiteX32" fmla="*/ 550699 w 1952187"/>
                <a:gd name="connsiteY32" fmla="*/ 973809 h 1095438"/>
                <a:gd name="connsiteX33" fmla="*/ 523969 w 1952187"/>
                <a:gd name="connsiteY33" fmla="*/ 942138 h 1095438"/>
                <a:gd name="connsiteX34" fmla="*/ 487358 w 1952187"/>
                <a:gd name="connsiteY34" fmla="*/ 937197 h 1095438"/>
                <a:gd name="connsiteX35" fmla="*/ 484445 w 1952187"/>
                <a:gd name="connsiteY35" fmla="*/ 912494 h 1095438"/>
                <a:gd name="connsiteX36" fmla="*/ 447833 w 1952187"/>
                <a:gd name="connsiteY36" fmla="*/ 861441 h 1095438"/>
                <a:gd name="connsiteX37" fmla="*/ 434532 w 1952187"/>
                <a:gd name="connsiteY37" fmla="*/ 865875 h 1095438"/>
                <a:gd name="connsiteX38" fmla="*/ 407801 w 1952187"/>
                <a:gd name="connsiteY38" fmla="*/ 846619 h 1095438"/>
                <a:gd name="connsiteX39" fmla="*/ 393993 w 1952187"/>
                <a:gd name="connsiteY39" fmla="*/ 853967 h 1095438"/>
                <a:gd name="connsiteX40" fmla="*/ 377651 w 1952187"/>
                <a:gd name="connsiteY40" fmla="*/ 838131 h 1095438"/>
                <a:gd name="connsiteX41" fmla="*/ 344967 w 1952187"/>
                <a:gd name="connsiteY41" fmla="*/ 865875 h 1095438"/>
                <a:gd name="connsiteX42" fmla="*/ 351934 w 1952187"/>
                <a:gd name="connsiteY42" fmla="*/ 899572 h 1095438"/>
                <a:gd name="connsiteX43" fmla="*/ 340027 w 1952187"/>
                <a:gd name="connsiteY43" fmla="*/ 934283 h 1095438"/>
                <a:gd name="connsiteX44" fmla="*/ 336733 w 1952187"/>
                <a:gd name="connsiteY44" fmla="*/ 938210 h 1095438"/>
                <a:gd name="connsiteX45" fmla="*/ 299488 w 1952187"/>
                <a:gd name="connsiteY45" fmla="*/ 903119 h 1095438"/>
                <a:gd name="connsiteX46" fmla="*/ 252615 w 1952187"/>
                <a:gd name="connsiteY46" fmla="*/ 946951 h 1095438"/>
                <a:gd name="connsiteX47" fmla="*/ 231840 w 1952187"/>
                <a:gd name="connsiteY47" fmla="*/ 909960 h 1095438"/>
                <a:gd name="connsiteX48" fmla="*/ 190541 w 1952187"/>
                <a:gd name="connsiteY48" fmla="*/ 896785 h 1095438"/>
                <a:gd name="connsiteX49" fmla="*/ 142655 w 1952187"/>
                <a:gd name="connsiteY49" fmla="*/ 882597 h 1095438"/>
                <a:gd name="connsiteX50" fmla="*/ 91855 w 1952187"/>
                <a:gd name="connsiteY50" fmla="*/ 873349 h 1095438"/>
                <a:gd name="connsiteX51" fmla="*/ 77414 w 1952187"/>
                <a:gd name="connsiteY51" fmla="*/ 906287 h 1095438"/>
                <a:gd name="connsiteX52" fmla="*/ 26614 w 1952187"/>
                <a:gd name="connsiteY52" fmla="*/ 911607 h 1095438"/>
                <a:gd name="connsiteX53" fmla="*/ 31935 w 1952187"/>
                <a:gd name="connsiteY53" fmla="*/ 856374 h 1095438"/>
                <a:gd name="connsiteX54" fmla="*/ 2291 w 1952187"/>
                <a:gd name="connsiteY54" fmla="*/ 804434 h 1095438"/>
                <a:gd name="connsiteX55" fmla="*/ 46883 w 1952187"/>
                <a:gd name="connsiteY55" fmla="*/ 744006 h 1095438"/>
                <a:gd name="connsiteX56" fmla="*/ 83874 w 1952187"/>
                <a:gd name="connsiteY56" fmla="*/ 725511 h 1095438"/>
                <a:gd name="connsiteX57" fmla="*/ 103384 w 1952187"/>
                <a:gd name="connsiteY57" fmla="*/ 697767 h 1095438"/>
                <a:gd name="connsiteX58" fmla="*/ 138601 w 1952187"/>
                <a:gd name="connsiteY58" fmla="*/ 630119 h 1095438"/>
                <a:gd name="connsiteX59" fmla="*/ 141642 w 1952187"/>
                <a:gd name="connsiteY59" fmla="*/ 620111 h 1095438"/>
                <a:gd name="connsiteX60" fmla="*/ 183827 w 1952187"/>
                <a:gd name="connsiteY60" fmla="*/ 612003 h 1095438"/>
                <a:gd name="connsiteX61" fmla="*/ 258569 w 1952187"/>
                <a:gd name="connsiteY61" fmla="*/ 638733 h 1095438"/>
                <a:gd name="connsiteX62" fmla="*/ 299615 w 1952187"/>
                <a:gd name="connsiteY62" fmla="*/ 590720 h 1095438"/>
                <a:gd name="connsiteX63" fmla="*/ 304048 w 1952187"/>
                <a:gd name="connsiteY63" fmla="*/ 551195 h 1095438"/>
                <a:gd name="connsiteX64" fmla="*/ 352948 w 1952187"/>
                <a:gd name="connsiteY64" fmla="*/ 529406 h 1095438"/>
                <a:gd name="connsiteX65" fmla="*/ 410335 w 1952187"/>
                <a:gd name="connsiteY65" fmla="*/ 500269 h 1095438"/>
                <a:gd name="connsiteX66" fmla="*/ 438079 w 1952187"/>
                <a:gd name="connsiteY66" fmla="*/ 470625 h 1095438"/>
                <a:gd name="connsiteX67" fmla="*/ 409322 w 1952187"/>
                <a:gd name="connsiteY67" fmla="*/ 403357 h 1095438"/>
                <a:gd name="connsiteX68" fmla="*/ 382085 w 1952187"/>
                <a:gd name="connsiteY68" fmla="*/ 420712 h 1095438"/>
                <a:gd name="connsiteX69" fmla="*/ 364729 w 1952187"/>
                <a:gd name="connsiteY69" fmla="*/ 411845 h 1095438"/>
                <a:gd name="connsiteX70" fmla="*/ 310256 w 1952187"/>
                <a:gd name="connsiteY70" fmla="*/ 437055 h 1095438"/>
                <a:gd name="connsiteX71" fmla="*/ 282513 w 1952187"/>
                <a:gd name="connsiteY71" fmla="*/ 416785 h 1095438"/>
                <a:gd name="connsiteX72" fmla="*/ 255276 w 1952187"/>
                <a:gd name="connsiteY72" fmla="*/ 419192 h 1095438"/>
                <a:gd name="connsiteX73" fmla="*/ 268197 w 1952187"/>
                <a:gd name="connsiteY73" fmla="*/ 391449 h 1095438"/>
                <a:gd name="connsiteX74" fmla="*/ 272125 w 1952187"/>
                <a:gd name="connsiteY74" fmla="*/ 365732 h 1095438"/>
                <a:gd name="connsiteX75" fmla="*/ 296321 w 1952187"/>
                <a:gd name="connsiteY75" fmla="*/ 352431 h 1095438"/>
                <a:gd name="connsiteX76" fmla="*/ 320517 w 1952187"/>
                <a:gd name="connsiteY76" fmla="*/ 320253 h 1095438"/>
                <a:gd name="connsiteX77" fmla="*/ 370557 w 1952187"/>
                <a:gd name="connsiteY77" fmla="*/ 295550 h 1095438"/>
                <a:gd name="connsiteX78" fmla="*/ 364603 w 1952187"/>
                <a:gd name="connsiteY78" fmla="*/ 229169 h 1095438"/>
                <a:gd name="connsiteX79" fmla="*/ 419963 w 1952187"/>
                <a:gd name="connsiteY79" fmla="*/ 155439 h 1095438"/>
                <a:gd name="connsiteX80" fmla="*/ 372964 w 1952187"/>
                <a:gd name="connsiteY80" fmla="*/ 66382 h 1095438"/>
                <a:gd name="connsiteX81" fmla="*/ 397160 w 1952187"/>
                <a:gd name="connsiteY81" fmla="*/ 47633 h 1095438"/>
                <a:gd name="connsiteX82" fmla="*/ 441753 w 1952187"/>
                <a:gd name="connsiteY82" fmla="*/ 81710 h 1095438"/>
                <a:gd name="connsiteX83" fmla="*/ 470889 w 1952187"/>
                <a:gd name="connsiteY83" fmla="*/ 124782 h 1095438"/>
                <a:gd name="connsiteX84" fmla="*/ 546139 w 1952187"/>
                <a:gd name="connsiteY84" fmla="*/ 175709 h 1095438"/>
                <a:gd name="connsiteX85" fmla="*/ 558047 w 1952187"/>
                <a:gd name="connsiteY85" fmla="*/ 216754 h 1095438"/>
                <a:gd name="connsiteX86" fmla="*/ 613534 w 1952187"/>
                <a:gd name="connsiteY86" fmla="*/ 223721 h 1095438"/>
                <a:gd name="connsiteX87" fmla="*/ 651665 w 1952187"/>
                <a:gd name="connsiteY87" fmla="*/ 244497 h 1095438"/>
                <a:gd name="connsiteX88" fmla="*/ 672948 w 1952187"/>
                <a:gd name="connsiteY88" fmla="*/ 253492 h 1095438"/>
                <a:gd name="connsiteX89" fmla="*/ 705125 w 1952187"/>
                <a:gd name="connsiteY89" fmla="*/ 278195 h 1095438"/>
                <a:gd name="connsiteX90" fmla="*/ 729448 w 1952187"/>
                <a:gd name="connsiteY90" fmla="*/ 244497 h 1095438"/>
                <a:gd name="connsiteX91" fmla="*/ 718047 w 1952187"/>
                <a:gd name="connsiteY91" fmla="*/ 205479 h 1095438"/>
                <a:gd name="connsiteX92" fmla="*/ 736796 w 1952187"/>
                <a:gd name="connsiteY92" fmla="*/ 149485 h 1095438"/>
                <a:gd name="connsiteX93" fmla="*/ 726408 w 1952187"/>
                <a:gd name="connsiteY93" fmla="*/ 103880 h 1095438"/>
                <a:gd name="connsiteX94" fmla="*/ 831808 w 1952187"/>
                <a:gd name="connsiteY94" fmla="*/ 0 h 1095438"/>
                <a:gd name="connsiteX95" fmla="*/ 839156 w 1952187"/>
                <a:gd name="connsiteY95" fmla="*/ 760 h 1095438"/>
                <a:gd name="connsiteX96" fmla="*/ 895023 w 1952187"/>
                <a:gd name="connsiteY96" fmla="*/ 12921 h 1095438"/>
                <a:gd name="connsiteX97" fmla="*/ 923399 w 1952187"/>
                <a:gd name="connsiteY97" fmla="*/ 16469 h 1095438"/>
                <a:gd name="connsiteX98" fmla="*/ 948863 w 1952187"/>
                <a:gd name="connsiteY98" fmla="*/ 13682 h 1095438"/>
                <a:gd name="connsiteX99" fmla="*/ 977113 w 1952187"/>
                <a:gd name="connsiteY99" fmla="*/ 21663 h 1095438"/>
                <a:gd name="connsiteX100" fmla="*/ 1006250 w 1952187"/>
                <a:gd name="connsiteY100" fmla="*/ 28884 h 1095438"/>
                <a:gd name="connsiteX101" fmla="*/ 1054516 w 1952187"/>
                <a:gd name="connsiteY101" fmla="*/ 38131 h 1095438"/>
                <a:gd name="connsiteX102" fmla="*/ 1113550 w 1952187"/>
                <a:gd name="connsiteY102" fmla="*/ 50926 h 1095438"/>
                <a:gd name="connsiteX103" fmla="*/ 1133439 w 1952187"/>
                <a:gd name="connsiteY103" fmla="*/ 76896 h 1095438"/>
                <a:gd name="connsiteX104" fmla="*/ 1158269 w 1952187"/>
                <a:gd name="connsiteY104" fmla="*/ 110087 h 1095438"/>
                <a:gd name="connsiteX105" fmla="*/ 1182085 w 1952187"/>
                <a:gd name="connsiteY105" fmla="*/ 128076 h 1095438"/>
                <a:gd name="connsiteX106" fmla="*/ 1199821 w 1952187"/>
                <a:gd name="connsiteY106" fmla="*/ 145938 h 1095438"/>
                <a:gd name="connsiteX107" fmla="*/ 1218569 w 1952187"/>
                <a:gd name="connsiteY107" fmla="*/ 166081 h 1095438"/>
                <a:gd name="connsiteX108" fmla="*/ 1239979 w 1952187"/>
                <a:gd name="connsiteY108" fmla="*/ 186857 h 1095438"/>
                <a:gd name="connsiteX109" fmla="*/ 1281277 w 1952187"/>
                <a:gd name="connsiteY109" fmla="*/ 217514 h 1095438"/>
                <a:gd name="connsiteX110" fmla="*/ 1323716 w 1952187"/>
                <a:gd name="connsiteY110" fmla="*/ 243610 h 1095438"/>
                <a:gd name="connsiteX111" fmla="*/ 1341832 w 1952187"/>
                <a:gd name="connsiteY111" fmla="*/ 253618 h 1095438"/>
                <a:gd name="connsiteX112" fmla="*/ 1377049 w 1952187"/>
                <a:gd name="connsiteY112" fmla="*/ 272874 h 1095438"/>
                <a:gd name="connsiteX113" fmla="*/ 1406820 w 1952187"/>
                <a:gd name="connsiteY113" fmla="*/ 295804 h 1095438"/>
                <a:gd name="connsiteX114" fmla="*/ 1435197 w 1952187"/>
                <a:gd name="connsiteY114" fmla="*/ 319493 h 1095438"/>
                <a:gd name="connsiteX115" fmla="*/ 1495624 w 1952187"/>
                <a:gd name="connsiteY115" fmla="*/ 357371 h 1095438"/>
                <a:gd name="connsiteX116" fmla="*/ 1558585 w 1952187"/>
                <a:gd name="connsiteY116" fmla="*/ 400063 h 1095438"/>
                <a:gd name="connsiteX117" fmla="*/ 1590890 w 1952187"/>
                <a:gd name="connsiteY117" fmla="*/ 420839 h 1095438"/>
                <a:gd name="connsiteX118" fmla="*/ 1606978 w 1952187"/>
                <a:gd name="connsiteY118" fmla="*/ 423373 h 1095438"/>
                <a:gd name="connsiteX119" fmla="*/ 1623700 w 1952187"/>
                <a:gd name="connsiteY119" fmla="*/ 429327 h 1095438"/>
                <a:gd name="connsiteX120" fmla="*/ 1635735 w 1952187"/>
                <a:gd name="connsiteY120" fmla="*/ 429200 h 1095438"/>
                <a:gd name="connsiteX121" fmla="*/ 1686661 w 1952187"/>
                <a:gd name="connsiteY121" fmla="*/ 412732 h 1095438"/>
                <a:gd name="connsiteX122" fmla="*/ 1717825 w 1952187"/>
                <a:gd name="connsiteY122" fmla="*/ 382835 h 1095438"/>
                <a:gd name="connsiteX123" fmla="*/ 1749876 w 1952187"/>
                <a:gd name="connsiteY123" fmla="*/ 359272 h 1095438"/>
                <a:gd name="connsiteX124" fmla="*/ 1764698 w 1952187"/>
                <a:gd name="connsiteY124" fmla="*/ 355598 h 1095438"/>
                <a:gd name="connsiteX125" fmla="*/ 1781800 w 1952187"/>
                <a:gd name="connsiteY125" fmla="*/ 362819 h 1095438"/>
                <a:gd name="connsiteX126" fmla="*/ 1812457 w 1952187"/>
                <a:gd name="connsiteY126" fmla="*/ 365606 h 1095438"/>
                <a:gd name="connsiteX127" fmla="*/ 1855529 w 1952187"/>
                <a:gd name="connsiteY127" fmla="*/ 344323 h 1095438"/>
                <a:gd name="connsiteX128" fmla="*/ 1885553 w 1952187"/>
                <a:gd name="connsiteY128" fmla="*/ 339762 h 1095438"/>
                <a:gd name="connsiteX129" fmla="*/ 1923684 w 1952187"/>
                <a:gd name="connsiteY129" fmla="*/ 335962 h 1095438"/>
                <a:gd name="connsiteX130" fmla="*/ 1936859 w 1952187"/>
                <a:gd name="connsiteY130" fmla="*/ 339762 h 1095438"/>
                <a:gd name="connsiteX131" fmla="*/ 1948894 w 1952187"/>
                <a:gd name="connsiteY131" fmla="*/ 347743 h 1095438"/>
                <a:gd name="connsiteX132" fmla="*/ 1952188 w 1952187"/>
                <a:gd name="connsiteY132" fmla="*/ 347490 h 1095438"/>
                <a:gd name="connsiteX133" fmla="*/ 1942053 w 1952187"/>
                <a:gd name="connsiteY133" fmla="*/ 463151 h 109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952187" h="1095438">
                  <a:moveTo>
                    <a:pt x="1942053" y="463151"/>
                  </a:moveTo>
                  <a:cubicBezTo>
                    <a:pt x="1958522" y="480000"/>
                    <a:pt x="1943700" y="505717"/>
                    <a:pt x="1926851" y="505717"/>
                  </a:cubicBezTo>
                  <a:cubicBezTo>
                    <a:pt x="1910003" y="505717"/>
                    <a:pt x="1918870" y="515344"/>
                    <a:pt x="1908736" y="527506"/>
                  </a:cubicBezTo>
                  <a:cubicBezTo>
                    <a:pt x="1898475" y="539794"/>
                    <a:pt x="1848308" y="537387"/>
                    <a:pt x="1835133" y="536754"/>
                  </a:cubicBezTo>
                  <a:cubicBezTo>
                    <a:pt x="1821958" y="536120"/>
                    <a:pt x="1805110" y="556136"/>
                    <a:pt x="1787881" y="569438"/>
                  </a:cubicBezTo>
                  <a:cubicBezTo>
                    <a:pt x="1770778" y="582613"/>
                    <a:pt x="1743035" y="575012"/>
                    <a:pt x="1722259" y="567791"/>
                  </a:cubicBezTo>
                  <a:cubicBezTo>
                    <a:pt x="1701483" y="560570"/>
                    <a:pt x="1669432" y="563104"/>
                    <a:pt x="1648530" y="565384"/>
                  </a:cubicBezTo>
                  <a:cubicBezTo>
                    <a:pt x="1627754" y="567664"/>
                    <a:pt x="1584935" y="621884"/>
                    <a:pt x="1573027" y="633413"/>
                  </a:cubicBezTo>
                  <a:cubicBezTo>
                    <a:pt x="1565426" y="640887"/>
                    <a:pt x="1536543" y="638480"/>
                    <a:pt x="1512346" y="636326"/>
                  </a:cubicBezTo>
                  <a:cubicBezTo>
                    <a:pt x="1498791" y="635059"/>
                    <a:pt x="1486756" y="633919"/>
                    <a:pt x="1480802" y="634679"/>
                  </a:cubicBezTo>
                  <a:cubicBezTo>
                    <a:pt x="1463953" y="636706"/>
                    <a:pt x="1411507" y="681679"/>
                    <a:pt x="1397445" y="692320"/>
                  </a:cubicBezTo>
                  <a:cubicBezTo>
                    <a:pt x="1383384" y="702961"/>
                    <a:pt x="1363748" y="708155"/>
                    <a:pt x="1347279" y="714489"/>
                  </a:cubicBezTo>
                  <a:cubicBezTo>
                    <a:pt x="1330684" y="720950"/>
                    <a:pt x="1327517" y="684339"/>
                    <a:pt x="1330430" y="660016"/>
                  </a:cubicBezTo>
                  <a:cubicBezTo>
                    <a:pt x="1333344" y="635820"/>
                    <a:pt x="1294453" y="654568"/>
                    <a:pt x="1282671" y="663943"/>
                  </a:cubicBezTo>
                  <a:cubicBezTo>
                    <a:pt x="1270763" y="673317"/>
                    <a:pt x="1269876" y="681298"/>
                    <a:pt x="1269116" y="695613"/>
                  </a:cubicBezTo>
                  <a:cubicBezTo>
                    <a:pt x="1268356" y="709929"/>
                    <a:pt x="1241373" y="710942"/>
                    <a:pt x="1225790" y="715629"/>
                  </a:cubicBezTo>
                  <a:cubicBezTo>
                    <a:pt x="1210208" y="720317"/>
                    <a:pt x="1218823" y="742359"/>
                    <a:pt x="1212869" y="772510"/>
                  </a:cubicBezTo>
                  <a:cubicBezTo>
                    <a:pt x="1206915" y="802660"/>
                    <a:pt x="1155228" y="851940"/>
                    <a:pt x="1144841" y="863341"/>
                  </a:cubicBezTo>
                  <a:cubicBezTo>
                    <a:pt x="1134452" y="874743"/>
                    <a:pt x="1108229" y="886524"/>
                    <a:pt x="1100502" y="897419"/>
                  </a:cubicBezTo>
                  <a:cubicBezTo>
                    <a:pt x="1092901" y="908313"/>
                    <a:pt x="1076812" y="931623"/>
                    <a:pt x="1070604" y="944164"/>
                  </a:cubicBezTo>
                  <a:cubicBezTo>
                    <a:pt x="1064397" y="956706"/>
                    <a:pt x="1056796" y="965447"/>
                    <a:pt x="1049068" y="973048"/>
                  </a:cubicBezTo>
                  <a:cubicBezTo>
                    <a:pt x="1041468" y="980649"/>
                    <a:pt x="1045141" y="989644"/>
                    <a:pt x="1044128" y="1009406"/>
                  </a:cubicBezTo>
                  <a:cubicBezTo>
                    <a:pt x="1043114" y="1029169"/>
                    <a:pt x="1035893" y="1039303"/>
                    <a:pt x="1015117" y="1058432"/>
                  </a:cubicBezTo>
                  <a:cubicBezTo>
                    <a:pt x="999536" y="1072748"/>
                    <a:pt x="985727" y="1076928"/>
                    <a:pt x="979773" y="1078195"/>
                  </a:cubicBezTo>
                  <a:cubicBezTo>
                    <a:pt x="977873" y="1076421"/>
                    <a:pt x="975973" y="1075788"/>
                    <a:pt x="974326" y="1076675"/>
                  </a:cubicBezTo>
                  <a:cubicBezTo>
                    <a:pt x="962924" y="1082629"/>
                    <a:pt x="941642" y="1083135"/>
                    <a:pt x="939235" y="1094917"/>
                  </a:cubicBezTo>
                  <a:cubicBezTo>
                    <a:pt x="874373" y="1102391"/>
                    <a:pt x="798617" y="1027142"/>
                    <a:pt x="777841" y="1021694"/>
                  </a:cubicBezTo>
                  <a:cubicBezTo>
                    <a:pt x="757065" y="1016247"/>
                    <a:pt x="735276" y="1023215"/>
                    <a:pt x="711079" y="1029675"/>
                  </a:cubicBezTo>
                  <a:cubicBezTo>
                    <a:pt x="686757" y="1036136"/>
                    <a:pt x="685363" y="1027649"/>
                    <a:pt x="678902" y="1020808"/>
                  </a:cubicBezTo>
                  <a:cubicBezTo>
                    <a:pt x="672441" y="1013967"/>
                    <a:pt x="668514" y="1019794"/>
                    <a:pt x="654199" y="1020301"/>
                  </a:cubicBezTo>
                  <a:cubicBezTo>
                    <a:pt x="639884" y="1020808"/>
                    <a:pt x="627469" y="1003959"/>
                    <a:pt x="614547" y="993571"/>
                  </a:cubicBezTo>
                  <a:cubicBezTo>
                    <a:pt x="601626" y="983183"/>
                    <a:pt x="594278" y="995978"/>
                    <a:pt x="578443" y="1004465"/>
                  </a:cubicBezTo>
                  <a:cubicBezTo>
                    <a:pt x="562607" y="1012827"/>
                    <a:pt x="555260" y="986223"/>
                    <a:pt x="550699" y="973809"/>
                  </a:cubicBezTo>
                  <a:cubicBezTo>
                    <a:pt x="546266" y="961393"/>
                    <a:pt x="535878" y="955946"/>
                    <a:pt x="523969" y="942138"/>
                  </a:cubicBezTo>
                  <a:cubicBezTo>
                    <a:pt x="512061" y="928329"/>
                    <a:pt x="505094" y="944671"/>
                    <a:pt x="487358" y="937197"/>
                  </a:cubicBezTo>
                  <a:cubicBezTo>
                    <a:pt x="469496" y="929850"/>
                    <a:pt x="478490" y="921362"/>
                    <a:pt x="484445" y="912494"/>
                  </a:cubicBezTo>
                  <a:cubicBezTo>
                    <a:pt x="490399" y="903499"/>
                    <a:pt x="458221" y="871449"/>
                    <a:pt x="447833" y="861441"/>
                  </a:cubicBezTo>
                  <a:cubicBezTo>
                    <a:pt x="437445" y="851560"/>
                    <a:pt x="440486" y="857514"/>
                    <a:pt x="434532" y="865875"/>
                  </a:cubicBezTo>
                  <a:cubicBezTo>
                    <a:pt x="428578" y="874362"/>
                    <a:pt x="413249" y="853967"/>
                    <a:pt x="407801" y="846619"/>
                  </a:cubicBezTo>
                  <a:cubicBezTo>
                    <a:pt x="402354" y="839272"/>
                    <a:pt x="401341" y="849153"/>
                    <a:pt x="393993" y="853967"/>
                  </a:cubicBezTo>
                  <a:cubicBezTo>
                    <a:pt x="386646" y="858907"/>
                    <a:pt x="383605" y="848519"/>
                    <a:pt x="377651" y="838131"/>
                  </a:cubicBezTo>
                  <a:cubicBezTo>
                    <a:pt x="371697" y="827743"/>
                    <a:pt x="358395" y="852573"/>
                    <a:pt x="344967" y="865875"/>
                  </a:cubicBezTo>
                  <a:cubicBezTo>
                    <a:pt x="331665" y="879303"/>
                    <a:pt x="343447" y="890198"/>
                    <a:pt x="351934" y="899572"/>
                  </a:cubicBezTo>
                  <a:cubicBezTo>
                    <a:pt x="360295" y="908947"/>
                    <a:pt x="355862" y="916928"/>
                    <a:pt x="340027" y="934283"/>
                  </a:cubicBezTo>
                  <a:cubicBezTo>
                    <a:pt x="338760" y="935677"/>
                    <a:pt x="337620" y="937070"/>
                    <a:pt x="336733" y="938210"/>
                  </a:cubicBezTo>
                  <a:cubicBezTo>
                    <a:pt x="332299" y="915661"/>
                    <a:pt x="312029" y="906413"/>
                    <a:pt x="299488" y="903119"/>
                  </a:cubicBezTo>
                  <a:cubicBezTo>
                    <a:pt x="286947" y="899826"/>
                    <a:pt x="264777" y="934537"/>
                    <a:pt x="252615" y="946951"/>
                  </a:cubicBezTo>
                  <a:cubicBezTo>
                    <a:pt x="240454" y="959493"/>
                    <a:pt x="226899" y="923136"/>
                    <a:pt x="231840" y="909960"/>
                  </a:cubicBezTo>
                  <a:cubicBezTo>
                    <a:pt x="236780" y="896785"/>
                    <a:pt x="201182" y="898432"/>
                    <a:pt x="190541" y="896785"/>
                  </a:cubicBezTo>
                  <a:cubicBezTo>
                    <a:pt x="180027" y="895138"/>
                    <a:pt x="159884" y="891845"/>
                    <a:pt x="142655" y="882597"/>
                  </a:cubicBezTo>
                  <a:cubicBezTo>
                    <a:pt x="125426" y="873349"/>
                    <a:pt x="105664" y="875376"/>
                    <a:pt x="91855" y="873349"/>
                  </a:cubicBezTo>
                  <a:cubicBezTo>
                    <a:pt x="78047" y="871322"/>
                    <a:pt x="81341" y="888551"/>
                    <a:pt x="77414" y="906287"/>
                  </a:cubicBezTo>
                  <a:cubicBezTo>
                    <a:pt x="73486" y="924022"/>
                    <a:pt x="39789" y="920475"/>
                    <a:pt x="26614" y="911607"/>
                  </a:cubicBezTo>
                  <a:cubicBezTo>
                    <a:pt x="13439" y="902739"/>
                    <a:pt x="15466" y="872716"/>
                    <a:pt x="31935" y="856374"/>
                  </a:cubicBezTo>
                  <a:cubicBezTo>
                    <a:pt x="48403" y="840032"/>
                    <a:pt x="15466" y="820903"/>
                    <a:pt x="2291" y="804434"/>
                  </a:cubicBezTo>
                  <a:cubicBezTo>
                    <a:pt x="-10884" y="787965"/>
                    <a:pt x="36622" y="756294"/>
                    <a:pt x="46883" y="744006"/>
                  </a:cubicBezTo>
                  <a:cubicBezTo>
                    <a:pt x="57144" y="731845"/>
                    <a:pt x="70699" y="725131"/>
                    <a:pt x="83874" y="725511"/>
                  </a:cubicBezTo>
                  <a:cubicBezTo>
                    <a:pt x="97049" y="725891"/>
                    <a:pt x="101737" y="716643"/>
                    <a:pt x="103384" y="697767"/>
                  </a:cubicBezTo>
                  <a:cubicBezTo>
                    <a:pt x="105030" y="679018"/>
                    <a:pt x="126186" y="643674"/>
                    <a:pt x="138601" y="630119"/>
                  </a:cubicBezTo>
                  <a:cubicBezTo>
                    <a:pt x="143542" y="624925"/>
                    <a:pt x="143668" y="622011"/>
                    <a:pt x="141642" y="620111"/>
                  </a:cubicBezTo>
                  <a:cubicBezTo>
                    <a:pt x="150383" y="614283"/>
                    <a:pt x="167105" y="605796"/>
                    <a:pt x="183827" y="612003"/>
                  </a:cubicBezTo>
                  <a:cubicBezTo>
                    <a:pt x="208023" y="620871"/>
                    <a:pt x="239314" y="649121"/>
                    <a:pt x="258569" y="638733"/>
                  </a:cubicBezTo>
                  <a:cubicBezTo>
                    <a:pt x="277825" y="628345"/>
                    <a:pt x="306075" y="602122"/>
                    <a:pt x="299615" y="590720"/>
                  </a:cubicBezTo>
                  <a:cubicBezTo>
                    <a:pt x="293154" y="579319"/>
                    <a:pt x="290240" y="568044"/>
                    <a:pt x="304048" y="551195"/>
                  </a:cubicBezTo>
                  <a:cubicBezTo>
                    <a:pt x="317857" y="534347"/>
                    <a:pt x="315957" y="544228"/>
                    <a:pt x="352948" y="529406"/>
                  </a:cubicBezTo>
                  <a:cubicBezTo>
                    <a:pt x="390066" y="514584"/>
                    <a:pt x="386139" y="510150"/>
                    <a:pt x="410335" y="500269"/>
                  </a:cubicBezTo>
                  <a:cubicBezTo>
                    <a:pt x="434658" y="490388"/>
                    <a:pt x="444033" y="487348"/>
                    <a:pt x="438079" y="470625"/>
                  </a:cubicBezTo>
                  <a:cubicBezTo>
                    <a:pt x="432125" y="453777"/>
                    <a:pt x="428197" y="386508"/>
                    <a:pt x="409322" y="403357"/>
                  </a:cubicBezTo>
                  <a:cubicBezTo>
                    <a:pt x="390573" y="420206"/>
                    <a:pt x="389559" y="429580"/>
                    <a:pt x="382085" y="420712"/>
                  </a:cubicBezTo>
                  <a:cubicBezTo>
                    <a:pt x="374737" y="411845"/>
                    <a:pt x="376638" y="402470"/>
                    <a:pt x="364729" y="411845"/>
                  </a:cubicBezTo>
                  <a:cubicBezTo>
                    <a:pt x="352821" y="421219"/>
                    <a:pt x="327105" y="446049"/>
                    <a:pt x="310256" y="437055"/>
                  </a:cubicBezTo>
                  <a:cubicBezTo>
                    <a:pt x="293407" y="428187"/>
                    <a:pt x="292394" y="413238"/>
                    <a:pt x="282513" y="416785"/>
                  </a:cubicBezTo>
                  <a:cubicBezTo>
                    <a:pt x="272631" y="420206"/>
                    <a:pt x="251855" y="433634"/>
                    <a:pt x="255276" y="419192"/>
                  </a:cubicBezTo>
                  <a:cubicBezTo>
                    <a:pt x="258823" y="404877"/>
                    <a:pt x="273645" y="401837"/>
                    <a:pt x="268197" y="391449"/>
                  </a:cubicBezTo>
                  <a:cubicBezTo>
                    <a:pt x="262750" y="381061"/>
                    <a:pt x="254769" y="370166"/>
                    <a:pt x="272125" y="365732"/>
                  </a:cubicBezTo>
                  <a:cubicBezTo>
                    <a:pt x="289480" y="361298"/>
                    <a:pt x="291887" y="367252"/>
                    <a:pt x="296321" y="352431"/>
                  </a:cubicBezTo>
                  <a:cubicBezTo>
                    <a:pt x="300755" y="337482"/>
                    <a:pt x="297841" y="319240"/>
                    <a:pt x="320517" y="320253"/>
                  </a:cubicBezTo>
                  <a:cubicBezTo>
                    <a:pt x="343320" y="321267"/>
                    <a:pt x="375498" y="319240"/>
                    <a:pt x="370557" y="295550"/>
                  </a:cubicBezTo>
                  <a:cubicBezTo>
                    <a:pt x="365616" y="271734"/>
                    <a:pt x="348767" y="242090"/>
                    <a:pt x="364603" y="229169"/>
                  </a:cubicBezTo>
                  <a:cubicBezTo>
                    <a:pt x="380438" y="216247"/>
                    <a:pt x="448720" y="201932"/>
                    <a:pt x="419963" y="155439"/>
                  </a:cubicBezTo>
                  <a:cubicBezTo>
                    <a:pt x="391206" y="108947"/>
                    <a:pt x="373471" y="80697"/>
                    <a:pt x="372964" y="66382"/>
                  </a:cubicBezTo>
                  <a:cubicBezTo>
                    <a:pt x="372457" y="52067"/>
                    <a:pt x="370937" y="27363"/>
                    <a:pt x="397160" y="47633"/>
                  </a:cubicBezTo>
                  <a:cubicBezTo>
                    <a:pt x="423383" y="67902"/>
                    <a:pt x="432378" y="62961"/>
                    <a:pt x="441753" y="81710"/>
                  </a:cubicBezTo>
                  <a:cubicBezTo>
                    <a:pt x="451127" y="100459"/>
                    <a:pt x="450240" y="115408"/>
                    <a:pt x="470889" y="124782"/>
                  </a:cubicBezTo>
                  <a:cubicBezTo>
                    <a:pt x="491665" y="134157"/>
                    <a:pt x="547152" y="154426"/>
                    <a:pt x="546139" y="175709"/>
                  </a:cubicBezTo>
                  <a:cubicBezTo>
                    <a:pt x="545125" y="196991"/>
                    <a:pt x="536765" y="218274"/>
                    <a:pt x="558047" y="216754"/>
                  </a:cubicBezTo>
                  <a:cubicBezTo>
                    <a:pt x="579330" y="215233"/>
                    <a:pt x="592251" y="206366"/>
                    <a:pt x="613534" y="223721"/>
                  </a:cubicBezTo>
                  <a:cubicBezTo>
                    <a:pt x="634817" y="241077"/>
                    <a:pt x="639757" y="242470"/>
                    <a:pt x="651665" y="244497"/>
                  </a:cubicBezTo>
                  <a:cubicBezTo>
                    <a:pt x="663573" y="246524"/>
                    <a:pt x="668007" y="241077"/>
                    <a:pt x="672948" y="253492"/>
                  </a:cubicBezTo>
                  <a:cubicBezTo>
                    <a:pt x="677889" y="265906"/>
                    <a:pt x="689290" y="285669"/>
                    <a:pt x="705125" y="278195"/>
                  </a:cubicBezTo>
                  <a:cubicBezTo>
                    <a:pt x="720961" y="270720"/>
                    <a:pt x="740217" y="262359"/>
                    <a:pt x="729448" y="244497"/>
                  </a:cubicBezTo>
                  <a:cubicBezTo>
                    <a:pt x="718554" y="226762"/>
                    <a:pt x="710573" y="219287"/>
                    <a:pt x="718047" y="205479"/>
                  </a:cubicBezTo>
                  <a:cubicBezTo>
                    <a:pt x="725521" y="191670"/>
                    <a:pt x="748704" y="161393"/>
                    <a:pt x="736796" y="149485"/>
                  </a:cubicBezTo>
                  <a:cubicBezTo>
                    <a:pt x="724888" y="137577"/>
                    <a:pt x="702212" y="123769"/>
                    <a:pt x="726408" y="103880"/>
                  </a:cubicBezTo>
                  <a:cubicBezTo>
                    <a:pt x="750731" y="84117"/>
                    <a:pt x="802544" y="37118"/>
                    <a:pt x="831808" y="0"/>
                  </a:cubicBezTo>
                  <a:cubicBezTo>
                    <a:pt x="834088" y="380"/>
                    <a:pt x="836622" y="633"/>
                    <a:pt x="839156" y="760"/>
                  </a:cubicBezTo>
                  <a:cubicBezTo>
                    <a:pt x="858538" y="1394"/>
                    <a:pt x="875893" y="10515"/>
                    <a:pt x="895023" y="12921"/>
                  </a:cubicBezTo>
                  <a:cubicBezTo>
                    <a:pt x="904524" y="14062"/>
                    <a:pt x="913898" y="16089"/>
                    <a:pt x="923399" y="16469"/>
                  </a:cubicBezTo>
                  <a:cubicBezTo>
                    <a:pt x="932014" y="16849"/>
                    <a:pt x="940755" y="13048"/>
                    <a:pt x="948863" y="13682"/>
                  </a:cubicBezTo>
                  <a:cubicBezTo>
                    <a:pt x="957857" y="14442"/>
                    <a:pt x="968371" y="19256"/>
                    <a:pt x="977113" y="21663"/>
                  </a:cubicBezTo>
                  <a:cubicBezTo>
                    <a:pt x="986741" y="24196"/>
                    <a:pt x="996495" y="26730"/>
                    <a:pt x="1006250" y="28884"/>
                  </a:cubicBezTo>
                  <a:cubicBezTo>
                    <a:pt x="1022592" y="32557"/>
                    <a:pt x="1038047" y="35471"/>
                    <a:pt x="1054516" y="38131"/>
                  </a:cubicBezTo>
                  <a:cubicBezTo>
                    <a:pt x="1075798" y="41552"/>
                    <a:pt x="1095941" y="34964"/>
                    <a:pt x="1113550" y="50926"/>
                  </a:cubicBezTo>
                  <a:cubicBezTo>
                    <a:pt x="1121404" y="58021"/>
                    <a:pt x="1129765" y="67015"/>
                    <a:pt x="1133439" y="76896"/>
                  </a:cubicBezTo>
                  <a:cubicBezTo>
                    <a:pt x="1138380" y="89818"/>
                    <a:pt x="1147121" y="101979"/>
                    <a:pt x="1158269" y="110087"/>
                  </a:cubicBezTo>
                  <a:cubicBezTo>
                    <a:pt x="1166250" y="115914"/>
                    <a:pt x="1175244" y="120728"/>
                    <a:pt x="1182085" y="128076"/>
                  </a:cubicBezTo>
                  <a:cubicBezTo>
                    <a:pt x="1187913" y="134410"/>
                    <a:pt x="1193360" y="140237"/>
                    <a:pt x="1199821" y="145938"/>
                  </a:cubicBezTo>
                  <a:cubicBezTo>
                    <a:pt x="1206661" y="152146"/>
                    <a:pt x="1211982" y="159620"/>
                    <a:pt x="1218569" y="166081"/>
                  </a:cubicBezTo>
                  <a:cubicBezTo>
                    <a:pt x="1225790" y="173048"/>
                    <a:pt x="1233138" y="179509"/>
                    <a:pt x="1239979" y="186857"/>
                  </a:cubicBezTo>
                  <a:cubicBezTo>
                    <a:pt x="1251760" y="199525"/>
                    <a:pt x="1266582" y="208773"/>
                    <a:pt x="1281277" y="217514"/>
                  </a:cubicBezTo>
                  <a:cubicBezTo>
                    <a:pt x="1295466" y="226128"/>
                    <a:pt x="1309401" y="235249"/>
                    <a:pt x="1323716" y="243610"/>
                  </a:cubicBezTo>
                  <a:cubicBezTo>
                    <a:pt x="1329670" y="247157"/>
                    <a:pt x="1335751" y="250325"/>
                    <a:pt x="1341832" y="253618"/>
                  </a:cubicBezTo>
                  <a:cubicBezTo>
                    <a:pt x="1353360" y="259952"/>
                    <a:pt x="1366408" y="265146"/>
                    <a:pt x="1377049" y="272874"/>
                  </a:cubicBezTo>
                  <a:cubicBezTo>
                    <a:pt x="1387437" y="280348"/>
                    <a:pt x="1397319" y="287316"/>
                    <a:pt x="1406820" y="295804"/>
                  </a:cubicBezTo>
                  <a:cubicBezTo>
                    <a:pt x="1416067" y="304038"/>
                    <a:pt x="1424809" y="312652"/>
                    <a:pt x="1435197" y="319493"/>
                  </a:cubicBezTo>
                  <a:cubicBezTo>
                    <a:pt x="1455213" y="332795"/>
                    <a:pt x="1477762" y="340902"/>
                    <a:pt x="1495624" y="357371"/>
                  </a:cubicBezTo>
                  <a:cubicBezTo>
                    <a:pt x="1513993" y="374347"/>
                    <a:pt x="1537176" y="387522"/>
                    <a:pt x="1558585" y="400063"/>
                  </a:cubicBezTo>
                  <a:cubicBezTo>
                    <a:pt x="1569607" y="406524"/>
                    <a:pt x="1578981" y="415772"/>
                    <a:pt x="1590890" y="420839"/>
                  </a:cubicBezTo>
                  <a:cubicBezTo>
                    <a:pt x="1596717" y="423373"/>
                    <a:pt x="1601151" y="422866"/>
                    <a:pt x="1606978" y="423373"/>
                  </a:cubicBezTo>
                  <a:cubicBezTo>
                    <a:pt x="1613059" y="423880"/>
                    <a:pt x="1617746" y="428314"/>
                    <a:pt x="1623700" y="429327"/>
                  </a:cubicBezTo>
                  <a:cubicBezTo>
                    <a:pt x="1627374" y="429960"/>
                    <a:pt x="1631935" y="429200"/>
                    <a:pt x="1635735" y="429200"/>
                  </a:cubicBezTo>
                  <a:cubicBezTo>
                    <a:pt x="1653344" y="429200"/>
                    <a:pt x="1673486" y="425526"/>
                    <a:pt x="1686661" y="412732"/>
                  </a:cubicBezTo>
                  <a:cubicBezTo>
                    <a:pt x="1697050" y="402597"/>
                    <a:pt x="1707057" y="392462"/>
                    <a:pt x="1717825" y="382835"/>
                  </a:cubicBezTo>
                  <a:cubicBezTo>
                    <a:pt x="1727960" y="373713"/>
                    <a:pt x="1736828" y="364212"/>
                    <a:pt x="1749876" y="359272"/>
                  </a:cubicBezTo>
                  <a:cubicBezTo>
                    <a:pt x="1754943" y="357371"/>
                    <a:pt x="1759124" y="354584"/>
                    <a:pt x="1764698" y="355598"/>
                  </a:cubicBezTo>
                  <a:cubicBezTo>
                    <a:pt x="1770778" y="356738"/>
                    <a:pt x="1775972" y="360918"/>
                    <a:pt x="1781800" y="362819"/>
                  </a:cubicBezTo>
                  <a:cubicBezTo>
                    <a:pt x="1790161" y="365479"/>
                    <a:pt x="1803716" y="367506"/>
                    <a:pt x="1812457" y="365606"/>
                  </a:cubicBezTo>
                  <a:cubicBezTo>
                    <a:pt x="1827659" y="362312"/>
                    <a:pt x="1841214" y="350404"/>
                    <a:pt x="1855529" y="344323"/>
                  </a:cubicBezTo>
                  <a:cubicBezTo>
                    <a:pt x="1865284" y="340142"/>
                    <a:pt x="1875165" y="341283"/>
                    <a:pt x="1885553" y="339762"/>
                  </a:cubicBezTo>
                  <a:cubicBezTo>
                    <a:pt x="1898348" y="337735"/>
                    <a:pt x="1910636" y="335835"/>
                    <a:pt x="1923684" y="335962"/>
                  </a:cubicBezTo>
                  <a:cubicBezTo>
                    <a:pt x="1928878" y="335962"/>
                    <a:pt x="1932552" y="336722"/>
                    <a:pt x="1936859" y="339762"/>
                  </a:cubicBezTo>
                  <a:cubicBezTo>
                    <a:pt x="1940533" y="342423"/>
                    <a:pt x="1944080" y="347110"/>
                    <a:pt x="1948894" y="347743"/>
                  </a:cubicBezTo>
                  <a:cubicBezTo>
                    <a:pt x="1949908" y="347870"/>
                    <a:pt x="1951048" y="347743"/>
                    <a:pt x="1952188" y="347490"/>
                  </a:cubicBezTo>
                  <a:cubicBezTo>
                    <a:pt x="1889607" y="401964"/>
                    <a:pt x="1925711" y="446556"/>
                    <a:pt x="1942053" y="46315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1" name="Полилиния: фигура 400">
              <a:extLst>
                <a:ext uri="{FF2B5EF4-FFF2-40B4-BE49-F238E27FC236}">
                  <a16:creationId xmlns:a16="http://schemas.microsoft.com/office/drawing/2014/main" id="{7BDEEC0B-48BA-490B-98C1-E389343B7475}"/>
                </a:ext>
              </a:extLst>
            </p:cNvPr>
            <p:cNvSpPr/>
            <p:nvPr/>
          </p:nvSpPr>
          <p:spPr>
            <a:xfrm>
              <a:off x="5386561" y="4689934"/>
              <a:ext cx="1237244" cy="1036741"/>
            </a:xfrm>
            <a:custGeom>
              <a:avLst/>
              <a:gdLst>
                <a:gd name="connsiteX0" fmla="*/ 1219381 w 1237244"/>
                <a:gd name="connsiteY0" fmla="*/ 819283 h 1036741"/>
                <a:gd name="connsiteX1" fmla="*/ 1205573 w 1237244"/>
                <a:gd name="connsiteY1" fmla="*/ 845633 h 1036741"/>
                <a:gd name="connsiteX2" fmla="*/ 1150846 w 1237244"/>
                <a:gd name="connsiteY2" fmla="*/ 877303 h 1036741"/>
                <a:gd name="connsiteX3" fmla="*/ 1151479 w 1237244"/>
                <a:gd name="connsiteY3" fmla="*/ 920882 h 1036741"/>
                <a:gd name="connsiteX4" fmla="*/ 1133237 w 1237244"/>
                <a:gd name="connsiteY4" fmla="*/ 943432 h 1036741"/>
                <a:gd name="connsiteX5" fmla="*/ 1121836 w 1237244"/>
                <a:gd name="connsiteY5" fmla="*/ 947359 h 1036741"/>
                <a:gd name="connsiteX6" fmla="*/ 1066982 w 1237244"/>
                <a:gd name="connsiteY6" fmla="*/ 970415 h 1036741"/>
                <a:gd name="connsiteX7" fmla="*/ 1033285 w 1237244"/>
                <a:gd name="connsiteY7" fmla="*/ 947992 h 1036741"/>
                <a:gd name="connsiteX8" fmla="*/ 993126 w 1237244"/>
                <a:gd name="connsiteY8" fmla="*/ 951919 h 1036741"/>
                <a:gd name="connsiteX9" fmla="*/ 925858 w 1237244"/>
                <a:gd name="connsiteY9" fmla="*/ 931397 h 1036741"/>
                <a:gd name="connsiteX10" fmla="*/ 901408 w 1237244"/>
                <a:gd name="connsiteY10" fmla="*/ 953186 h 1036741"/>
                <a:gd name="connsiteX11" fmla="*/ 859223 w 1237244"/>
                <a:gd name="connsiteY11" fmla="*/ 961801 h 1036741"/>
                <a:gd name="connsiteX12" fmla="*/ 828186 w 1237244"/>
                <a:gd name="connsiteY12" fmla="*/ 983590 h 1036741"/>
                <a:gd name="connsiteX13" fmla="*/ 753696 w 1237244"/>
                <a:gd name="connsiteY13" fmla="*/ 989544 h 1036741"/>
                <a:gd name="connsiteX14" fmla="*/ 734568 w 1237244"/>
                <a:gd name="connsiteY14" fmla="*/ 1005379 h 1036741"/>
                <a:gd name="connsiteX15" fmla="*/ 730767 w 1237244"/>
                <a:gd name="connsiteY15" fmla="*/ 1008166 h 1036741"/>
                <a:gd name="connsiteX16" fmla="*/ 710244 w 1237244"/>
                <a:gd name="connsiteY16" fmla="*/ 994865 h 1036741"/>
                <a:gd name="connsiteX17" fmla="*/ 675913 w 1237244"/>
                <a:gd name="connsiteY17" fmla="*/ 1008673 h 1036741"/>
                <a:gd name="connsiteX18" fmla="*/ 658051 w 1237244"/>
                <a:gd name="connsiteY18" fmla="*/ 1014627 h 1036741"/>
                <a:gd name="connsiteX19" fmla="*/ 640949 w 1237244"/>
                <a:gd name="connsiteY19" fmla="*/ 1033123 h 1036741"/>
                <a:gd name="connsiteX20" fmla="*/ 611305 w 1237244"/>
                <a:gd name="connsiteY20" fmla="*/ 1028436 h 1036741"/>
                <a:gd name="connsiteX21" fmla="*/ 619160 w 1237244"/>
                <a:gd name="connsiteY21" fmla="*/ 998032 h 1036741"/>
                <a:gd name="connsiteX22" fmla="*/ 617133 w 1237244"/>
                <a:gd name="connsiteY22" fmla="*/ 955846 h 1036741"/>
                <a:gd name="connsiteX23" fmla="*/ 636895 w 1237244"/>
                <a:gd name="connsiteY23" fmla="*/ 892505 h 1036741"/>
                <a:gd name="connsiteX24" fmla="*/ 589389 w 1237244"/>
                <a:gd name="connsiteY24" fmla="*/ 888578 h 1036741"/>
                <a:gd name="connsiteX25" fmla="*/ 549737 w 1237244"/>
                <a:gd name="connsiteY25" fmla="*/ 891872 h 1036741"/>
                <a:gd name="connsiteX26" fmla="*/ 500205 w 1237244"/>
                <a:gd name="connsiteY26" fmla="*/ 901753 h 1036741"/>
                <a:gd name="connsiteX27" fmla="*/ 464607 w 1237244"/>
                <a:gd name="connsiteY27" fmla="*/ 847026 h 1036741"/>
                <a:gd name="connsiteX28" fmla="*/ 382137 w 1237244"/>
                <a:gd name="connsiteY28" fmla="*/ 817383 h 1036741"/>
                <a:gd name="connsiteX29" fmla="*/ 328677 w 1237244"/>
                <a:gd name="connsiteY29" fmla="*/ 767850 h 1036741"/>
                <a:gd name="connsiteX30" fmla="*/ 224417 w 1237244"/>
                <a:gd name="connsiteY30" fmla="*/ 661563 h 1036741"/>
                <a:gd name="connsiteX31" fmla="*/ 26412 w 1237244"/>
                <a:gd name="connsiteY31" fmla="*/ 581500 h 1036741"/>
                <a:gd name="connsiteX32" fmla="*/ 26412 w 1237244"/>
                <a:gd name="connsiteY32" fmla="*/ 581247 h 1036741"/>
                <a:gd name="connsiteX33" fmla="*/ 25525 w 1237244"/>
                <a:gd name="connsiteY33" fmla="*/ 577193 h 1036741"/>
                <a:gd name="connsiteX34" fmla="*/ 25525 w 1237244"/>
                <a:gd name="connsiteY34" fmla="*/ 577066 h 1036741"/>
                <a:gd name="connsiteX35" fmla="*/ 24512 w 1237244"/>
                <a:gd name="connsiteY35" fmla="*/ 573646 h 1036741"/>
                <a:gd name="connsiteX36" fmla="*/ 24385 w 1237244"/>
                <a:gd name="connsiteY36" fmla="*/ 573392 h 1036741"/>
                <a:gd name="connsiteX37" fmla="*/ 22485 w 1237244"/>
                <a:gd name="connsiteY37" fmla="*/ 567945 h 1036741"/>
                <a:gd name="connsiteX38" fmla="*/ 21092 w 1237244"/>
                <a:gd name="connsiteY38" fmla="*/ 564651 h 1036741"/>
                <a:gd name="connsiteX39" fmla="*/ 18685 w 1237244"/>
                <a:gd name="connsiteY39" fmla="*/ 559204 h 1036741"/>
                <a:gd name="connsiteX40" fmla="*/ 16911 w 1237244"/>
                <a:gd name="connsiteY40" fmla="*/ 555403 h 1036741"/>
                <a:gd name="connsiteX41" fmla="*/ 8170 w 1237244"/>
                <a:gd name="connsiteY41" fmla="*/ 537668 h 1036741"/>
                <a:gd name="connsiteX42" fmla="*/ 7410 w 1237244"/>
                <a:gd name="connsiteY42" fmla="*/ 536021 h 1036741"/>
                <a:gd name="connsiteX43" fmla="*/ 6270 w 1237244"/>
                <a:gd name="connsiteY43" fmla="*/ 533234 h 1036741"/>
                <a:gd name="connsiteX44" fmla="*/ 5636 w 1237244"/>
                <a:gd name="connsiteY44" fmla="*/ 531714 h 1036741"/>
                <a:gd name="connsiteX45" fmla="*/ 4243 w 1237244"/>
                <a:gd name="connsiteY45" fmla="*/ 527913 h 1036741"/>
                <a:gd name="connsiteX46" fmla="*/ 3102 w 1237244"/>
                <a:gd name="connsiteY46" fmla="*/ 524239 h 1036741"/>
                <a:gd name="connsiteX47" fmla="*/ 2469 w 1237244"/>
                <a:gd name="connsiteY47" fmla="*/ 522086 h 1036741"/>
                <a:gd name="connsiteX48" fmla="*/ 949 w 1237244"/>
                <a:gd name="connsiteY48" fmla="*/ 514738 h 1036741"/>
                <a:gd name="connsiteX49" fmla="*/ 5003 w 1237244"/>
                <a:gd name="connsiteY49" fmla="*/ 472300 h 1036741"/>
                <a:gd name="connsiteX50" fmla="*/ 23752 w 1237244"/>
                <a:gd name="connsiteY50" fmla="*/ 438475 h 1036741"/>
                <a:gd name="connsiteX51" fmla="*/ 17164 w 1237244"/>
                <a:gd name="connsiteY51" fmla="*/ 405158 h 1036741"/>
                <a:gd name="connsiteX52" fmla="*/ 15517 w 1237244"/>
                <a:gd name="connsiteY52" fmla="*/ 372600 h 1036741"/>
                <a:gd name="connsiteX53" fmla="*/ 43768 w 1237244"/>
                <a:gd name="connsiteY53" fmla="*/ 321674 h 1036741"/>
                <a:gd name="connsiteX54" fmla="*/ 42121 w 1237244"/>
                <a:gd name="connsiteY54" fmla="*/ 303432 h 1036741"/>
                <a:gd name="connsiteX55" fmla="*/ 42121 w 1237244"/>
                <a:gd name="connsiteY55" fmla="*/ 303305 h 1036741"/>
                <a:gd name="connsiteX56" fmla="*/ 71638 w 1237244"/>
                <a:gd name="connsiteY56" fmla="*/ 285823 h 1036741"/>
                <a:gd name="connsiteX57" fmla="*/ 115217 w 1237244"/>
                <a:gd name="connsiteY57" fmla="*/ 244904 h 1036741"/>
                <a:gd name="connsiteX58" fmla="*/ 144100 w 1237244"/>
                <a:gd name="connsiteY58" fmla="*/ 190811 h 1036741"/>
                <a:gd name="connsiteX59" fmla="*/ 216563 w 1237244"/>
                <a:gd name="connsiteY59" fmla="*/ 179916 h 1036741"/>
                <a:gd name="connsiteX60" fmla="*/ 247980 w 1237244"/>
                <a:gd name="connsiteY60" fmla="*/ 122403 h 1036741"/>
                <a:gd name="connsiteX61" fmla="*/ 279651 w 1237244"/>
                <a:gd name="connsiteY61" fmla="*/ 93012 h 1036741"/>
                <a:gd name="connsiteX62" fmla="*/ 293205 w 1237244"/>
                <a:gd name="connsiteY62" fmla="*/ 49180 h 1036741"/>
                <a:gd name="connsiteX63" fmla="*/ 332857 w 1237244"/>
                <a:gd name="connsiteY63" fmla="*/ 25744 h 1036741"/>
                <a:gd name="connsiteX64" fmla="*/ 379350 w 1237244"/>
                <a:gd name="connsiteY64" fmla="*/ 4588 h 1036741"/>
                <a:gd name="connsiteX65" fmla="*/ 437370 w 1237244"/>
                <a:gd name="connsiteY65" fmla="*/ 54120 h 1036741"/>
                <a:gd name="connsiteX66" fmla="*/ 496151 w 1237244"/>
                <a:gd name="connsiteY66" fmla="*/ 66029 h 1036741"/>
                <a:gd name="connsiteX67" fmla="*/ 561772 w 1237244"/>
                <a:gd name="connsiteY67" fmla="*/ 104287 h 1036741"/>
                <a:gd name="connsiteX68" fmla="*/ 633348 w 1237244"/>
                <a:gd name="connsiteY68" fmla="*/ 111254 h 1036741"/>
                <a:gd name="connsiteX69" fmla="*/ 658051 w 1237244"/>
                <a:gd name="connsiteY69" fmla="*/ 148245 h 1036741"/>
                <a:gd name="connsiteX70" fmla="*/ 712778 w 1237244"/>
                <a:gd name="connsiteY70" fmla="*/ 153186 h 1036741"/>
                <a:gd name="connsiteX71" fmla="*/ 740522 w 1237244"/>
                <a:gd name="connsiteY71" fmla="*/ 172315 h 1036741"/>
                <a:gd name="connsiteX72" fmla="*/ 835914 w 1237244"/>
                <a:gd name="connsiteY72" fmla="*/ 134691 h 1036741"/>
                <a:gd name="connsiteX73" fmla="*/ 902802 w 1237244"/>
                <a:gd name="connsiteY73" fmla="*/ 165981 h 1036741"/>
                <a:gd name="connsiteX74" fmla="*/ 934599 w 1237244"/>
                <a:gd name="connsiteY74" fmla="*/ 256432 h 1036741"/>
                <a:gd name="connsiteX75" fmla="*/ 910783 w 1237244"/>
                <a:gd name="connsiteY75" fmla="*/ 327755 h 1036741"/>
                <a:gd name="connsiteX76" fmla="*/ 1072430 w 1237244"/>
                <a:gd name="connsiteY76" fmla="*/ 391729 h 1036741"/>
                <a:gd name="connsiteX77" fmla="*/ 1134377 w 1237244"/>
                <a:gd name="connsiteY77" fmla="*/ 492062 h 1036741"/>
                <a:gd name="connsiteX78" fmla="*/ 1210260 w 1237244"/>
                <a:gd name="connsiteY78" fmla="*/ 511824 h 1036741"/>
                <a:gd name="connsiteX79" fmla="*/ 1222802 w 1237244"/>
                <a:gd name="connsiteY79" fmla="*/ 573139 h 1036741"/>
                <a:gd name="connsiteX80" fmla="*/ 1186444 w 1237244"/>
                <a:gd name="connsiteY80" fmla="*/ 573266 h 1036741"/>
                <a:gd name="connsiteX81" fmla="*/ 1126396 w 1237244"/>
                <a:gd name="connsiteY81" fmla="*/ 666250 h 1036741"/>
                <a:gd name="connsiteX82" fmla="*/ 1223435 w 1237244"/>
                <a:gd name="connsiteY82" fmla="*/ 776464 h 1036741"/>
                <a:gd name="connsiteX83" fmla="*/ 1219381 w 1237244"/>
                <a:gd name="connsiteY83" fmla="*/ 819283 h 1036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37244" h="1036741">
                  <a:moveTo>
                    <a:pt x="1219381" y="819283"/>
                  </a:moveTo>
                  <a:cubicBezTo>
                    <a:pt x="1206206" y="831064"/>
                    <a:pt x="1208866" y="825870"/>
                    <a:pt x="1205573" y="845633"/>
                  </a:cubicBezTo>
                  <a:cubicBezTo>
                    <a:pt x="1202279" y="865395"/>
                    <a:pt x="1175296" y="868056"/>
                    <a:pt x="1150846" y="877303"/>
                  </a:cubicBezTo>
                  <a:cubicBezTo>
                    <a:pt x="1126396" y="886551"/>
                    <a:pt x="1133744" y="907707"/>
                    <a:pt x="1151479" y="920882"/>
                  </a:cubicBezTo>
                  <a:cubicBezTo>
                    <a:pt x="1164781" y="930764"/>
                    <a:pt x="1147046" y="938491"/>
                    <a:pt x="1133237" y="943432"/>
                  </a:cubicBezTo>
                  <a:cubicBezTo>
                    <a:pt x="1128550" y="944952"/>
                    <a:pt x="1124369" y="946345"/>
                    <a:pt x="1121836" y="947359"/>
                  </a:cubicBezTo>
                  <a:cubicBezTo>
                    <a:pt x="1111954" y="951286"/>
                    <a:pt x="1084211" y="965094"/>
                    <a:pt x="1066982" y="970415"/>
                  </a:cubicBezTo>
                  <a:cubicBezTo>
                    <a:pt x="1049880" y="975736"/>
                    <a:pt x="1039999" y="959267"/>
                    <a:pt x="1033285" y="947992"/>
                  </a:cubicBezTo>
                  <a:cubicBezTo>
                    <a:pt x="1026697" y="936718"/>
                    <a:pt x="1014155" y="950019"/>
                    <a:pt x="993126" y="951919"/>
                  </a:cubicBezTo>
                  <a:cubicBezTo>
                    <a:pt x="971970" y="953946"/>
                    <a:pt x="941693" y="937351"/>
                    <a:pt x="925858" y="931397"/>
                  </a:cubicBezTo>
                  <a:cubicBezTo>
                    <a:pt x="910022" y="925443"/>
                    <a:pt x="906729" y="934057"/>
                    <a:pt x="901408" y="953186"/>
                  </a:cubicBezTo>
                  <a:cubicBezTo>
                    <a:pt x="896088" y="972315"/>
                    <a:pt x="879619" y="959774"/>
                    <a:pt x="859223" y="961801"/>
                  </a:cubicBezTo>
                  <a:cubicBezTo>
                    <a:pt x="838827" y="963827"/>
                    <a:pt x="847315" y="972949"/>
                    <a:pt x="828186" y="983590"/>
                  </a:cubicBezTo>
                  <a:cubicBezTo>
                    <a:pt x="809056" y="994105"/>
                    <a:pt x="770165" y="992078"/>
                    <a:pt x="753696" y="989544"/>
                  </a:cubicBezTo>
                  <a:cubicBezTo>
                    <a:pt x="737228" y="986884"/>
                    <a:pt x="739888" y="997398"/>
                    <a:pt x="734568" y="1005379"/>
                  </a:cubicBezTo>
                  <a:cubicBezTo>
                    <a:pt x="733427" y="1007153"/>
                    <a:pt x="732161" y="1008040"/>
                    <a:pt x="730767" y="1008166"/>
                  </a:cubicBezTo>
                  <a:cubicBezTo>
                    <a:pt x="725953" y="1008800"/>
                    <a:pt x="719492" y="1000945"/>
                    <a:pt x="710244" y="994865"/>
                  </a:cubicBezTo>
                  <a:cubicBezTo>
                    <a:pt x="698336" y="986884"/>
                    <a:pt x="686428" y="991571"/>
                    <a:pt x="675913" y="1008673"/>
                  </a:cubicBezTo>
                  <a:cubicBezTo>
                    <a:pt x="665399" y="1025775"/>
                    <a:pt x="666665" y="1018554"/>
                    <a:pt x="658051" y="1014627"/>
                  </a:cubicBezTo>
                  <a:cubicBezTo>
                    <a:pt x="649437" y="1010700"/>
                    <a:pt x="648170" y="1024508"/>
                    <a:pt x="640949" y="1033123"/>
                  </a:cubicBezTo>
                  <a:cubicBezTo>
                    <a:pt x="633728" y="1041611"/>
                    <a:pt x="621820" y="1033123"/>
                    <a:pt x="611305" y="1028436"/>
                  </a:cubicBezTo>
                  <a:cubicBezTo>
                    <a:pt x="600790" y="1023875"/>
                    <a:pt x="609912" y="1007279"/>
                    <a:pt x="619160" y="998032"/>
                  </a:cubicBezTo>
                  <a:cubicBezTo>
                    <a:pt x="628408" y="988784"/>
                    <a:pt x="623720" y="974976"/>
                    <a:pt x="617133" y="955846"/>
                  </a:cubicBezTo>
                  <a:cubicBezTo>
                    <a:pt x="610545" y="936718"/>
                    <a:pt x="631575" y="916828"/>
                    <a:pt x="636895" y="892505"/>
                  </a:cubicBezTo>
                  <a:cubicBezTo>
                    <a:pt x="642089" y="868056"/>
                    <a:pt x="605858" y="879964"/>
                    <a:pt x="589389" y="888578"/>
                  </a:cubicBezTo>
                  <a:cubicBezTo>
                    <a:pt x="572921" y="897193"/>
                    <a:pt x="565700" y="897193"/>
                    <a:pt x="549737" y="891872"/>
                  </a:cubicBezTo>
                  <a:cubicBezTo>
                    <a:pt x="533902" y="886551"/>
                    <a:pt x="531876" y="893139"/>
                    <a:pt x="500205" y="901753"/>
                  </a:cubicBezTo>
                  <a:cubicBezTo>
                    <a:pt x="468534" y="910367"/>
                    <a:pt x="475122" y="890605"/>
                    <a:pt x="464607" y="847026"/>
                  </a:cubicBezTo>
                  <a:cubicBezTo>
                    <a:pt x="454092" y="803447"/>
                    <a:pt x="407220" y="809401"/>
                    <a:pt x="382137" y="817383"/>
                  </a:cubicBezTo>
                  <a:cubicBezTo>
                    <a:pt x="357053" y="825364"/>
                    <a:pt x="341978" y="804841"/>
                    <a:pt x="328677" y="767850"/>
                  </a:cubicBezTo>
                  <a:cubicBezTo>
                    <a:pt x="315502" y="730859"/>
                    <a:pt x="327410" y="735546"/>
                    <a:pt x="224417" y="661563"/>
                  </a:cubicBezTo>
                  <a:cubicBezTo>
                    <a:pt x="121424" y="587707"/>
                    <a:pt x="26412" y="581500"/>
                    <a:pt x="26412" y="581500"/>
                  </a:cubicBezTo>
                  <a:cubicBezTo>
                    <a:pt x="26412" y="581373"/>
                    <a:pt x="26412" y="581373"/>
                    <a:pt x="26412" y="581247"/>
                  </a:cubicBezTo>
                  <a:cubicBezTo>
                    <a:pt x="26159" y="579853"/>
                    <a:pt x="25906" y="578586"/>
                    <a:pt x="25525" y="577193"/>
                  </a:cubicBezTo>
                  <a:cubicBezTo>
                    <a:pt x="25525" y="577193"/>
                    <a:pt x="25525" y="577193"/>
                    <a:pt x="25525" y="577066"/>
                  </a:cubicBezTo>
                  <a:cubicBezTo>
                    <a:pt x="25272" y="575926"/>
                    <a:pt x="24892" y="574786"/>
                    <a:pt x="24512" y="573646"/>
                  </a:cubicBezTo>
                  <a:cubicBezTo>
                    <a:pt x="24512" y="573519"/>
                    <a:pt x="24512" y="573519"/>
                    <a:pt x="24385" y="573392"/>
                  </a:cubicBezTo>
                  <a:cubicBezTo>
                    <a:pt x="23879" y="571492"/>
                    <a:pt x="23118" y="569718"/>
                    <a:pt x="22485" y="567945"/>
                  </a:cubicBezTo>
                  <a:cubicBezTo>
                    <a:pt x="22105" y="566805"/>
                    <a:pt x="21598" y="565791"/>
                    <a:pt x="21092" y="564651"/>
                  </a:cubicBezTo>
                  <a:cubicBezTo>
                    <a:pt x="20331" y="562751"/>
                    <a:pt x="19445" y="560977"/>
                    <a:pt x="18685" y="559204"/>
                  </a:cubicBezTo>
                  <a:cubicBezTo>
                    <a:pt x="18051" y="557937"/>
                    <a:pt x="17544" y="556670"/>
                    <a:pt x="16911" y="555403"/>
                  </a:cubicBezTo>
                  <a:cubicBezTo>
                    <a:pt x="13997" y="549449"/>
                    <a:pt x="10830" y="543748"/>
                    <a:pt x="8170" y="537668"/>
                  </a:cubicBezTo>
                  <a:cubicBezTo>
                    <a:pt x="7916" y="537161"/>
                    <a:pt x="7663" y="536528"/>
                    <a:pt x="7410" y="536021"/>
                  </a:cubicBezTo>
                  <a:cubicBezTo>
                    <a:pt x="7030" y="535134"/>
                    <a:pt x="6650" y="534247"/>
                    <a:pt x="6270" y="533234"/>
                  </a:cubicBezTo>
                  <a:cubicBezTo>
                    <a:pt x="6016" y="532727"/>
                    <a:pt x="5889" y="532220"/>
                    <a:pt x="5636" y="531714"/>
                  </a:cubicBezTo>
                  <a:cubicBezTo>
                    <a:pt x="5129" y="530447"/>
                    <a:pt x="4623" y="529180"/>
                    <a:pt x="4243" y="527913"/>
                  </a:cubicBezTo>
                  <a:cubicBezTo>
                    <a:pt x="3863" y="526646"/>
                    <a:pt x="3482" y="525506"/>
                    <a:pt x="3102" y="524239"/>
                  </a:cubicBezTo>
                  <a:cubicBezTo>
                    <a:pt x="2849" y="523479"/>
                    <a:pt x="2722" y="522719"/>
                    <a:pt x="2469" y="522086"/>
                  </a:cubicBezTo>
                  <a:cubicBezTo>
                    <a:pt x="1836" y="519679"/>
                    <a:pt x="1329" y="517272"/>
                    <a:pt x="949" y="514738"/>
                  </a:cubicBezTo>
                  <a:cubicBezTo>
                    <a:pt x="-951" y="500676"/>
                    <a:pt x="-191" y="485601"/>
                    <a:pt x="5003" y="472300"/>
                  </a:cubicBezTo>
                  <a:cubicBezTo>
                    <a:pt x="9690" y="460138"/>
                    <a:pt x="19191" y="450510"/>
                    <a:pt x="23752" y="438475"/>
                  </a:cubicBezTo>
                  <a:cubicBezTo>
                    <a:pt x="28439" y="426060"/>
                    <a:pt x="24005" y="415672"/>
                    <a:pt x="17164" y="405158"/>
                  </a:cubicBezTo>
                  <a:cubicBezTo>
                    <a:pt x="9563" y="393376"/>
                    <a:pt x="8423" y="385269"/>
                    <a:pt x="15517" y="372600"/>
                  </a:cubicBezTo>
                  <a:cubicBezTo>
                    <a:pt x="25019" y="355751"/>
                    <a:pt x="38320" y="340676"/>
                    <a:pt x="43768" y="321674"/>
                  </a:cubicBezTo>
                  <a:cubicBezTo>
                    <a:pt x="45541" y="315593"/>
                    <a:pt x="46174" y="306725"/>
                    <a:pt x="42121" y="303432"/>
                  </a:cubicBezTo>
                  <a:cubicBezTo>
                    <a:pt x="42121" y="303432"/>
                    <a:pt x="42121" y="303432"/>
                    <a:pt x="42121" y="303305"/>
                  </a:cubicBezTo>
                  <a:cubicBezTo>
                    <a:pt x="43261" y="302418"/>
                    <a:pt x="61503" y="288737"/>
                    <a:pt x="71638" y="285823"/>
                  </a:cubicBezTo>
                  <a:cubicBezTo>
                    <a:pt x="82026" y="282909"/>
                    <a:pt x="112556" y="269101"/>
                    <a:pt x="115217" y="244904"/>
                  </a:cubicBezTo>
                  <a:cubicBezTo>
                    <a:pt x="117877" y="220581"/>
                    <a:pt x="120284" y="192078"/>
                    <a:pt x="144100" y="190811"/>
                  </a:cubicBezTo>
                  <a:cubicBezTo>
                    <a:pt x="167790" y="189544"/>
                    <a:pt x="204654" y="201199"/>
                    <a:pt x="216563" y="179916"/>
                  </a:cubicBezTo>
                  <a:cubicBezTo>
                    <a:pt x="228471" y="158634"/>
                    <a:pt x="238352" y="129877"/>
                    <a:pt x="247980" y="122403"/>
                  </a:cubicBezTo>
                  <a:cubicBezTo>
                    <a:pt x="257481" y="114801"/>
                    <a:pt x="279271" y="106187"/>
                    <a:pt x="279651" y="93012"/>
                  </a:cubicBezTo>
                  <a:cubicBezTo>
                    <a:pt x="280031" y="79837"/>
                    <a:pt x="276737" y="57414"/>
                    <a:pt x="293205" y="49180"/>
                  </a:cubicBezTo>
                  <a:cubicBezTo>
                    <a:pt x="309674" y="40945"/>
                    <a:pt x="317275" y="44239"/>
                    <a:pt x="332857" y="25744"/>
                  </a:cubicBezTo>
                  <a:cubicBezTo>
                    <a:pt x="348439" y="7248"/>
                    <a:pt x="367188" y="-7954"/>
                    <a:pt x="379350" y="4588"/>
                  </a:cubicBezTo>
                  <a:cubicBezTo>
                    <a:pt x="391638" y="17129"/>
                    <a:pt x="420648" y="49813"/>
                    <a:pt x="437370" y="54120"/>
                  </a:cubicBezTo>
                  <a:cubicBezTo>
                    <a:pt x="454219" y="58428"/>
                    <a:pt x="489563" y="51840"/>
                    <a:pt x="496151" y="66029"/>
                  </a:cubicBezTo>
                  <a:cubicBezTo>
                    <a:pt x="502738" y="80217"/>
                    <a:pt x="529469" y="105300"/>
                    <a:pt x="561772" y="104287"/>
                  </a:cubicBezTo>
                  <a:cubicBezTo>
                    <a:pt x="594076" y="103400"/>
                    <a:pt x="633095" y="100993"/>
                    <a:pt x="633348" y="111254"/>
                  </a:cubicBezTo>
                  <a:cubicBezTo>
                    <a:pt x="633728" y="121516"/>
                    <a:pt x="640569" y="149892"/>
                    <a:pt x="658051" y="148245"/>
                  </a:cubicBezTo>
                  <a:cubicBezTo>
                    <a:pt x="675533" y="146599"/>
                    <a:pt x="710244" y="142925"/>
                    <a:pt x="712778" y="153186"/>
                  </a:cubicBezTo>
                  <a:cubicBezTo>
                    <a:pt x="715438" y="163448"/>
                    <a:pt x="722659" y="188151"/>
                    <a:pt x="740522" y="172315"/>
                  </a:cubicBezTo>
                  <a:cubicBezTo>
                    <a:pt x="758383" y="156480"/>
                    <a:pt x="813490" y="125443"/>
                    <a:pt x="835914" y="134691"/>
                  </a:cubicBezTo>
                  <a:cubicBezTo>
                    <a:pt x="858336" y="143938"/>
                    <a:pt x="878225" y="173329"/>
                    <a:pt x="902802" y="165981"/>
                  </a:cubicBezTo>
                  <a:cubicBezTo>
                    <a:pt x="903182" y="183843"/>
                    <a:pt x="929785" y="233123"/>
                    <a:pt x="934599" y="256432"/>
                  </a:cubicBezTo>
                  <a:cubicBezTo>
                    <a:pt x="940553" y="284809"/>
                    <a:pt x="932572" y="282909"/>
                    <a:pt x="910783" y="327755"/>
                  </a:cubicBezTo>
                  <a:cubicBezTo>
                    <a:pt x="888993" y="372600"/>
                    <a:pt x="991986" y="381848"/>
                    <a:pt x="1072430" y="391729"/>
                  </a:cubicBezTo>
                  <a:cubicBezTo>
                    <a:pt x="1152873" y="401610"/>
                    <a:pt x="1129817" y="451777"/>
                    <a:pt x="1134377" y="492062"/>
                  </a:cubicBezTo>
                  <a:cubicBezTo>
                    <a:pt x="1139065" y="532347"/>
                    <a:pt x="1197085" y="517778"/>
                    <a:pt x="1210260" y="511824"/>
                  </a:cubicBezTo>
                  <a:cubicBezTo>
                    <a:pt x="1223435" y="505870"/>
                    <a:pt x="1224069" y="556670"/>
                    <a:pt x="1222802" y="573139"/>
                  </a:cubicBezTo>
                  <a:cubicBezTo>
                    <a:pt x="1221408" y="589481"/>
                    <a:pt x="1206966" y="575926"/>
                    <a:pt x="1186444" y="573266"/>
                  </a:cubicBezTo>
                  <a:cubicBezTo>
                    <a:pt x="1165921" y="570605"/>
                    <a:pt x="1143499" y="608863"/>
                    <a:pt x="1126396" y="666250"/>
                  </a:cubicBezTo>
                  <a:cubicBezTo>
                    <a:pt x="1109294" y="723638"/>
                    <a:pt x="1197085" y="765189"/>
                    <a:pt x="1223435" y="776464"/>
                  </a:cubicBezTo>
                  <a:cubicBezTo>
                    <a:pt x="1249785" y="787612"/>
                    <a:pt x="1232683" y="807375"/>
                    <a:pt x="1219381" y="81928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2" name="Полилиния: фигура 401">
              <a:extLst>
                <a:ext uri="{FF2B5EF4-FFF2-40B4-BE49-F238E27FC236}">
                  <a16:creationId xmlns:a16="http://schemas.microsoft.com/office/drawing/2014/main" id="{D8F84FA2-AE6F-4BA2-A439-56EAF17E1229}"/>
                </a:ext>
              </a:extLst>
            </p:cNvPr>
            <p:cNvSpPr/>
            <p:nvPr/>
          </p:nvSpPr>
          <p:spPr>
            <a:xfrm>
              <a:off x="5855694" y="6327079"/>
              <a:ext cx="624768" cy="611832"/>
            </a:xfrm>
            <a:custGeom>
              <a:avLst/>
              <a:gdLst>
                <a:gd name="connsiteX0" fmla="*/ 623692 w 624768"/>
                <a:gd name="connsiteY0" fmla="*/ 441235 h 611832"/>
                <a:gd name="connsiteX1" fmla="*/ 605957 w 624768"/>
                <a:gd name="connsiteY1" fmla="*/ 447696 h 611832"/>
                <a:gd name="connsiteX2" fmla="*/ 584547 w 624768"/>
                <a:gd name="connsiteY2" fmla="*/ 429074 h 611832"/>
                <a:gd name="connsiteX3" fmla="*/ 569219 w 624768"/>
                <a:gd name="connsiteY3" fmla="*/ 445669 h 611832"/>
                <a:gd name="connsiteX4" fmla="*/ 574793 w 624768"/>
                <a:gd name="connsiteY4" fmla="*/ 464545 h 611832"/>
                <a:gd name="connsiteX5" fmla="*/ 589361 w 624768"/>
                <a:gd name="connsiteY5" fmla="*/ 486461 h 611832"/>
                <a:gd name="connsiteX6" fmla="*/ 604690 w 624768"/>
                <a:gd name="connsiteY6" fmla="*/ 504957 h 611832"/>
                <a:gd name="connsiteX7" fmla="*/ 588475 w 624768"/>
                <a:gd name="connsiteY7" fmla="*/ 543975 h 611832"/>
                <a:gd name="connsiteX8" fmla="*/ 561618 w 624768"/>
                <a:gd name="connsiteY8" fmla="*/ 573618 h 611832"/>
                <a:gd name="connsiteX9" fmla="*/ 532228 w 624768"/>
                <a:gd name="connsiteY9" fmla="*/ 575392 h 611832"/>
                <a:gd name="connsiteX10" fmla="*/ 506004 w 624768"/>
                <a:gd name="connsiteY10" fmla="*/ 576785 h 611832"/>
                <a:gd name="connsiteX11" fmla="*/ 449124 w 624768"/>
                <a:gd name="connsiteY11" fmla="*/ 585020 h 611832"/>
                <a:gd name="connsiteX12" fmla="*/ 421760 w 624768"/>
                <a:gd name="connsiteY12" fmla="*/ 590974 h 611832"/>
                <a:gd name="connsiteX13" fmla="*/ 401744 w 624768"/>
                <a:gd name="connsiteY13" fmla="*/ 600729 h 611832"/>
                <a:gd name="connsiteX14" fmla="*/ 353858 w 624768"/>
                <a:gd name="connsiteY14" fmla="*/ 611623 h 611832"/>
                <a:gd name="connsiteX15" fmla="*/ 329789 w 624768"/>
                <a:gd name="connsiteY15" fmla="*/ 597055 h 611832"/>
                <a:gd name="connsiteX16" fmla="*/ 315980 w 624768"/>
                <a:gd name="connsiteY16" fmla="*/ 581346 h 611832"/>
                <a:gd name="connsiteX17" fmla="*/ 288237 w 624768"/>
                <a:gd name="connsiteY17" fmla="*/ 547649 h 611832"/>
                <a:gd name="connsiteX18" fmla="*/ 253019 w 624768"/>
                <a:gd name="connsiteY18" fmla="*/ 506857 h 611832"/>
                <a:gd name="connsiteX19" fmla="*/ 194998 w 624768"/>
                <a:gd name="connsiteY19" fmla="*/ 509137 h 611832"/>
                <a:gd name="connsiteX20" fmla="*/ 158261 w 624768"/>
                <a:gd name="connsiteY20" fmla="*/ 511671 h 611832"/>
                <a:gd name="connsiteX21" fmla="*/ 131911 w 624768"/>
                <a:gd name="connsiteY21" fmla="*/ 503817 h 611832"/>
                <a:gd name="connsiteX22" fmla="*/ 99353 w 624768"/>
                <a:gd name="connsiteY22" fmla="*/ 485954 h 611832"/>
                <a:gd name="connsiteX23" fmla="*/ 87699 w 624768"/>
                <a:gd name="connsiteY23" fmla="*/ 441362 h 611832"/>
                <a:gd name="connsiteX24" fmla="*/ 82631 w 624768"/>
                <a:gd name="connsiteY24" fmla="*/ 397530 h 611832"/>
                <a:gd name="connsiteX25" fmla="*/ 59322 w 624768"/>
                <a:gd name="connsiteY25" fmla="*/ 370420 h 611832"/>
                <a:gd name="connsiteX26" fmla="*/ 19163 w 624768"/>
                <a:gd name="connsiteY26" fmla="*/ 346604 h 611832"/>
                <a:gd name="connsiteX27" fmla="*/ 1301 w 624768"/>
                <a:gd name="connsiteY27" fmla="*/ 318227 h 611832"/>
                <a:gd name="connsiteX28" fmla="*/ 12576 w 624768"/>
                <a:gd name="connsiteY28" fmla="*/ 284529 h 611832"/>
                <a:gd name="connsiteX29" fmla="*/ 10802 w 624768"/>
                <a:gd name="connsiteY29" fmla="*/ 258433 h 611832"/>
                <a:gd name="connsiteX30" fmla="*/ 6622 w 624768"/>
                <a:gd name="connsiteY30" fmla="*/ 248551 h 611832"/>
                <a:gd name="connsiteX31" fmla="*/ 45133 w 624768"/>
                <a:gd name="connsiteY31" fmla="*/ 238417 h 611832"/>
                <a:gd name="connsiteX32" fmla="*/ 50454 w 624768"/>
                <a:gd name="connsiteY32" fmla="*/ 217514 h 611832"/>
                <a:gd name="connsiteX33" fmla="*/ 32212 w 624768"/>
                <a:gd name="connsiteY33" fmla="*/ 205986 h 611832"/>
                <a:gd name="connsiteX34" fmla="*/ 17770 w 624768"/>
                <a:gd name="connsiteY34" fmla="*/ 191037 h 611832"/>
                <a:gd name="connsiteX35" fmla="*/ 24864 w 624768"/>
                <a:gd name="connsiteY35" fmla="*/ 178242 h 611832"/>
                <a:gd name="connsiteX36" fmla="*/ 34112 w 624768"/>
                <a:gd name="connsiteY36" fmla="*/ 160380 h 611832"/>
                <a:gd name="connsiteX37" fmla="*/ 49187 w 624768"/>
                <a:gd name="connsiteY37" fmla="*/ 153033 h 611832"/>
                <a:gd name="connsiteX38" fmla="*/ 77691 w 624768"/>
                <a:gd name="connsiteY38" fmla="*/ 149106 h 611832"/>
                <a:gd name="connsiteX39" fmla="*/ 107841 w 624768"/>
                <a:gd name="connsiteY39" fmla="*/ 144925 h 611832"/>
                <a:gd name="connsiteX40" fmla="*/ 139892 w 624768"/>
                <a:gd name="connsiteY40" fmla="*/ 138591 h 611832"/>
                <a:gd name="connsiteX41" fmla="*/ 164975 w 624768"/>
                <a:gd name="connsiteY41" fmla="*/ 138717 h 611832"/>
                <a:gd name="connsiteX42" fmla="*/ 174350 w 624768"/>
                <a:gd name="connsiteY42" fmla="*/ 137831 h 611832"/>
                <a:gd name="connsiteX43" fmla="*/ 185371 w 624768"/>
                <a:gd name="connsiteY43" fmla="*/ 139478 h 611832"/>
                <a:gd name="connsiteX44" fmla="*/ 210707 w 624768"/>
                <a:gd name="connsiteY44" fmla="*/ 123262 h 611832"/>
                <a:gd name="connsiteX45" fmla="*/ 233130 w 624768"/>
                <a:gd name="connsiteY45" fmla="*/ 94379 h 611832"/>
                <a:gd name="connsiteX46" fmla="*/ 265941 w 624768"/>
                <a:gd name="connsiteY46" fmla="*/ 68029 h 611832"/>
                <a:gd name="connsiteX47" fmla="*/ 296091 w 624768"/>
                <a:gd name="connsiteY47" fmla="*/ 71576 h 611832"/>
                <a:gd name="connsiteX48" fmla="*/ 352465 w 624768"/>
                <a:gd name="connsiteY48" fmla="*/ 38512 h 611832"/>
                <a:gd name="connsiteX49" fmla="*/ 363360 w 624768"/>
                <a:gd name="connsiteY49" fmla="*/ 12288 h 611832"/>
                <a:gd name="connsiteX50" fmla="*/ 389203 w 624768"/>
                <a:gd name="connsiteY50" fmla="*/ 5701 h 611832"/>
                <a:gd name="connsiteX51" fmla="*/ 392623 w 624768"/>
                <a:gd name="connsiteY51" fmla="*/ 4814 h 611832"/>
                <a:gd name="connsiteX52" fmla="*/ 393510 w 624768"/>
                <a:gd name="connsiteY52" fmla="*/ 4434 h 611832"/>
                <a:gd name="connsiteX53" fmla="*/ 395917 w 624768"/>
                <a:gd name="connsiteY53" fmla="*/ 3041 h 611832"/>
                <a:gd name="connsiteX54" fmla="*/ 396550 w 624768"/>
                <a:gd name="connsiteY54" fmla="*/ 2534 h 611832"/>
                <a:gd name="connsiteX55" fmla="*/ 397310 w 624768"/>
                <a:gd name="connsiteY55" fmla="*/ 1774 h 611832"/>
                <a:gd name="connsiteX56" fmla="*/ 397817 w 624768"/>
                <a:gd name="connsiteY56" fmla="*/ 887 h 611832"/>
                <a:gd name="connsiteX57" fmla="*/ 397944 w 624768"/>
                <a:gd name="connsiteY57" fmla="*/ 760 h 611832"/>
                <a:gd name="connsiteX58" fmla="*/ 398197 w 624768"/>
                <a:gd name="connsiteY58" fmla="*/ 0 h 611832"/>
                <a:gd name="connsiteX59" fmla="*/ 398197 w 624768"/>
                <a:gd name="connsiteY59" fmla="*/ 0 h 611832"/>
                <a:gd name="connsiteX60" fmla="*/ 404911 w 624768"/>
                <a:gd name="connsiteY60" fmla="*/ 11022 h 611832"/>
                <a:gd name="connsiteX61" fmla="*/ 415933 w 624768"/>
                <a:gd name="connsiteY61" fmla="*/ 42692 h 611832"/>
                <a:gd name="connsiteX62" fmla="*/ 444183 w 624768"/>
                <a:gd name="connsiteY62" fmla="*/ 51307 h 611832"/>
                <a:gd name="connsiteX63" fmla="*/ 469900 w 624768"/>
                <a:gd name="connsiteY63" fmla="*/ 30150 h 611832"/>
                <a:gd name="connsiteX64" fmla="*/ 492702 w 624768"/>
                <a:gd name="connsiteY64" fmla="*/ 47253 h 611832"/>
                <a:gd name="connsiteX65" fmla="*/ 517406 w 624768"/>
                <a:gd name="connsiteY65" fmla="*/ 70942 h 611832"/>
                <a:gd name="connsiteX66" fmla="*/ 500177 w 624768"/>
                <a:gd name="connsiteY66" fmla="*/ 103500 h 611832"/>
                <a:gd name="connsiteX67" fmla="*/ 500177 w 624768"/>
                <a:gd name="connsiteY67" fmla="*/ 103500 h 611832"/>
                <a:gd name="connsiteX68" fmla="*/ 492702 w 624768"/>
                <a:gd name="connsiteY68" fmla="*/ 108187 h 611832"/>
                <a:gd name="connsiteX69" fmla="*/ 458498 w 624768"/>
                <a:gd name="connsiteY69" fmla="*/ 139604 h 611832"/>
                <a:gd name="connsiteX70" fmla="*/ 470533 w 624768"/>
                <a:gd name="connsiteY70" fmla="*/ 192431 h 611832"/>
                <a:gd name="connsiteX71" fmla="*/ 498276 w 624768"/>
                <a:gd name="connsiteY71" fmla="*/ 241204 h 611832"/>
                <a:gd name="connsiteX72" fmla="*/ 541982 w 624768"/>
                <a:gd name="connsiteY72" fmla="*/ 203452 h 611832"/>
                <a:gd name="connsiteX73" fmla="*/ 541982 w 624768"/>
                <a:gd name="connsiteY73" fmla="*/ 203452 h 611832"/>
                <a:gd name="connsiteX74" fmla="*/ 541349 w 624768"/>
                <a:gd name="connsiteY74" fmla="*/ 204973 h 611832"/>
                <a:gd name="connsiteX75" fmla="*/ 540462 w 624768"/>
                <a:gd name="connsiteY75" fmla="*/ 208266 h 611832"/>
                <a:gd name="connsiteX76" fmla="*/ 539702 w 624768"/>
                <a:gd name="connsiteY76" fmla="*/ 218147 h 611832"/>
                <a:gd name="connsiteX77" fmla="*/ 539828 w 624768"/>
                <a:gd name="connsiteY77" fmla="*/ 221568 h 611832"/>
                <a:gd name="connsiteX78" fmla="*/ 539828 w 624768"/>
                <a:gd name="connsiteY78" fmla="*/ 221821 h 611832"/>
                <a:gd name="connsiteX79" fmla="*/ 540208 w 624768"/>
                <a:gd name="connsiteY79" fmla="*/ 226382 h 611832"/>
                <a:gd name="connsiteX80" fmla="*/ 540208 w 624768"/>
                <a:gd name="connsiteY80" fmla="*/ 226762 h 611832"/>
                <a:gd name="connsiteX81" fmla="*/ 540589 w 624768"/>
                <a:gd name="connsiteY81" fmla="*/ 231322 h 611832"/>
                <a:gd name="connsiteX82" fmla="*/ 540842 w 624768"/>
                <a:gd name="connsiteY82" fmla="*/ 236263 h 611832"/>
                <a:gd name="connsiteX83" fmla="*/ 542489 w 624768"/>
                <a:gd name="connsiteY83" fmla="*/ 300618 h 611832"/>
                <a:gd name="connsiteX84" fmla="*/ 576693 w 624768"/>
                <a:gd name="connsiteY84" fmla="*/ 356105 h 611832"/>
                <a:gd name="connsiteX85" fmla="*/ 591895 w 624768"/>
                <a:gd name="connsiteY85" fmla="*/ 382455 h 611832"/>
                <a:gd name="connsiteX86" fmla="*/ 614571 w 624768"/>
                <a:gd name="connsiteY86" fmla="*/ 403484 h 611832"/>
                <a:gd name="connsiteX87" fmla="*/ 623692 w 624768"/>
                <a:gd name="connsiteY87" fmla="*/ 441235 h 6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24768" h="611832">
                  <a:moveTo>
                    <a:pt x="623692" y="441235"/>
                  </a:moveTo>
                  <a:cubicBezTo>
                    <a:pt x="621159" y="451623"/>
                    <a:pt x="614064" y="455171"/>
                    <a:pt x="605957" y="447696"/>
                  </a:cubicBezTo>
                  <a:cubicBezTo>
                    <a:pt x="599749" y="442122"/>
                    <a:pt x="593795" y="429580"/>
                    <a:pt x="584547" y="429074"/>
                  </a:cubicBezTo>
                  <a:cubicBezTo>
                    <a:pt x="576313" y="428567"/>
                    <a:pt x="570739" y="438828"/>
                    <a:pt x="569219" y="445669"/>
                  </a:cubicBezTo>
                  <a:cubicBezTo>
                    <a:pt x="567572" y="453270"/>
                    <a:pt x="570359" y="458718"/>
                    <a:pt x="574793" y="464545"/>
                  </a:cubicBezTo>
                  <a:cubicBezTo>
                    <a:pt x="580240" y="471639"/>
                    <a:pt x="584674" y="478987"/>
                    <a:pt x="589361" y="486461"/>
                  </a:cubicBezTo>
                  <a:cubicBezTo>
                    <a:pt x="593668" y="493302"/>
                    <a:pt x="598989" y="499256"/>
                    <a:pt x="604690" y="504957"/>
                  </a:cubicBezTo>
                  <a:cubicBezTo>
                    <a:pt x="593922" y="512304"/>
                    <a:pt x="592022" y="532953"/>
                    <a:pt x="588475" y="543975"/>
                  </a:cubicBezTo>
                  <a:cubicBezTo>
                    <a:pt x="583407" y="559684"/>
                    <a:pt x="576566" y="567538"/>
                    <a:pt x="561618" y="573618"/>
                  </a:cubicBezTo>
                  <a:cubicBezTo>
                    <a:pt x="552877" y="577166"/>
                    <a:pt x="541349" y="575645"/>
                    <a:pt x="532228" y="575392"/>
                  </a:cubicBezTo>
                  <a:cubicBezTo>
                    <a:pt x="523233" y="575012"/>
                    <a:pt x="514999" y="575519"/>
                    <a:pt x="506004" y="576785"/>
                  </a:cubicBezTo>
                  <a:cubicBezTo>
                    <a:pt x="487129" y="579446"/>
                    <a:pt x="467619" y="580079"/>
                    <a:pt x="449124" y="585020"/>
                  </a:cubicBezTo>
                  <a:cubicBezTo>
                    <a:pt x="440003" y="587554"/>
                    <a:pt x="430628" y="587300"/>
                    <a:pt x="421760" y="590974"/>
                  </a:cubicBezTo>
                  <a:cubicBezTo>
                    <a:pt x="414919" y="593761"/>
                    <a:pt x="408712" y="598702"/>
                    <a:pt x="401744" y="600729"/>
                  </a:cubicBezTo>
                  <a:cubicBezTo>
                    <a:pt x="388189" y="604783"/>
                    <a:pt x="368047" y="613270"/>
                    <a:pt x="353858" y="611623"/>
                  </a:cubicBezTo>
                  <a:cubicBezTo>
                    <a:pt x="344611" y="610610"/>
                    <a:pt x="332449" y="606682"/>
                    <a:pt x="329789" y="597055"/>
                  </a:cubicBezTo>
                  <a:cubicBezTo>
                    <a:pt x="327002" y="586287"/>
                    <a:pt x="327509" y="581473"/>
                    <a:pt x="315980" y="581346"/>
                  </a:cubicBezTo>
                  <a:cubicBezTo>
                    <a:pt x="301032" y="581093"/>
                    <a:pt x="293811" y="559937"/>
                    <a:pt x="288237" y="547649"/>
                  </a:cubicBezTo>
                  <a:cubicBezTo>
                    <a:pt x="279749" y="529153"/>
                    <a:pt x="270882" y="516992"/>
                    <a:pt x="253019" y="506857"/>
                  </a:cubicBezTo>
                  <a:cubicBezTo>
                    <a:pt x="235284" y="496722"/>
                    <a:pt x="213621" y="506730"/>
                    <a:pt x="194998" y="509137"/>
                  </a:cubicBezTo>
                  <a:cubicBezTo>
                    <a:pt x="182964" y="510658"/>
                    <a:pt x="170422" y="512304"/>
                    <a:pt x="158261" y="511671"/>
                  </a:cubicBezTo>
                  <a:cubicBezTo>
                    <a:pt x="148506" y="511164"/>
                    <a:pt x="141032" y="506604"/>
                    <a:pt x="131911" y="503817"/>
                  </a:cubicBezTo>
                  <a:cubicBezTo>
                    <a:pt x="119116" y="499889"/>
                    <a:pt x="107334" y="497736"/>
                    <a:pt x="99353" y="485954"/>
                  </a:cubicBezTo>
                  <a:cubicBezTo>
                    <a:pt x="90612" y="473033"/>
                    <a:pt x="87825" y="456691"/>
                    <a:pt x="87699" y="441362"/>
                  </a:cubicBezTo>
                  <a:cubicBezTo>
                    <a:pt x="87572" y="425907"/>
                    <a:pt x="87699" y="412479"/>
                    <a:pt x="82631" y="397530"/>
                  </a:cubicBezTo>
                  <a:cubicBezTo>
                    <a:pt x="77691" y="383215"/>
                    <a:pt x="71863" y="378147"/>
                    <a:pt x="59322" y="370420"/>
                  </a:cubicBezTo>
                  <a:cubicBezTo>
                    <a:pt x="45766" y="362059"/>
                    <a:pt x="33985" y="352684"/>
                    <a:pt x="19163" y="346604"/>
                  </a:cubicBezTo>
                  <a:cubicBezTo>
                    <a:pt x="5608" y="341156"/>
                    <a:pt x="-3513" y="333555"/>
                    <a:pt x="1301" y="318227"/>
                  </a:cubicBezTo>
                  <a:cubicBezTo>
                    <a:pt x="4848" y="307079"/>
                    <a:pt x="6875" y="294790"/>
                    <a:pt x="12576" y="284529"/>
                  </a:cubicBezTo>
                  <a:cubicBezTo>
                    <a:pt x="18910" y="273254"/>
                    <a:pt x="15363" y="269707"/>
                    <a:pt x="10802" y="258433"/>
                  </a:cubicBezTo>
                  <a:cubicBezTo>
                    <a:pt x="9409" y="254886"/>
                    <a:pt x="8015" y="251592"/>
                    <a:pt x="6622" y="248551"/>
                  </a:cubicBezTo>
                  <a:cubicBezTo>
                    <a:pt x="19037" y="243864"/>
                    <a:pt x="32212" y="243357"/>
                    <a:pt x="45133" y="238417"/>
                  </a:cubicBezTo>
                  <a:cubicBezTo>
                    <a:pt x="56535" y="234109"/>
                    <a:pt x="59955" y="226002"/>
                    <a:pt x="50454" y="217514"/>
                  </a:cubicBezTo>
                  <a:cubicBezTo>
                    <a:pt x="45006" y="212573"/>
                    <a:pt x="38039" y="210167"/>
                    <a:pt x="32212" y="205986"/>
                  </a:cubicBezTo>
                  <a:cubicBezTo>
                    <a:pt x="26384" y="201806"/>
                    <a:pt x="19290" y="198765"/>
                    <a:pt x="17770" y="191037"/>
                  </a:cubicBezTo>
                  <a:cubicBezTo>
                    <a:pt x="16376" y="183816"/>
                    <a:pt x="19670" y="181663"/>
                    <a:pt x="24864" y="178242"/>
                  </a:cubicBezTo>
                  <a:cubicBezTo>
                    <a:pt x="31958" y="173555"/>
                    <a:pt x="31198" y="167348"/>
                    <a:pt x="34112" y="160380"/>
                  </a:cubicBezTo>
                  <a:cubicBezTo>
                    <a:pt x="36645" y="154553"/>
                    <a:pt x="43613" y="154173"/>
                    <a:pt x="49187" y="153033"/>
                  </a:cubicBezTo>
                  <a:cubicBezTo>
                    <a:pt x="58562" y="151133"/>
                    <a:pt x="68190" y="149612"/>
                    <a:pt x="77691" y="149106"/>
                  </a:cubicBezTo>
                  <a:cubicBezTo>
                    <a:pt x="88079" y="148472"/>
                    <a:pt x="98340" y="149486"/>
                    <a:pt x="107841" y="144925"/>
                  </a:cubicBezTo>
                  <a:cubicBezTo>
                    <a:pt x="117722" y="140238"/>
                    <a:pt x="128997" y="138971"/>
                    <a:pt x="139892" y="138591"/>
                  </a:cubicBezTo>
                  <a:cubicBezTo>
                    <a:pt x="148253" y="138337"/>
                    <a:pt x="156614" y="139858"/>
                    <a:pt x="164975" y="138717"/>
                  </a:cubicBezTo>
                  <a:cubicBezTo>
                    <a:pt x="168395" y="138337"/>
                    <a:pt x="171056" y="137324"/>
                    <a:pt x="174350" y="137831"/>
                  </a:cubicBezTo>
                  <a:cubicBezTo>
                    <a:pt x="178023" y="138337"/>
                    <a:pt x="181444" y="139478"/>
                    <a:pt x="185371" y="139478"/>
                  </a:cubicBezTo>
                  <a:cubicBezTo>
                    <a:pt x="196899" y="139478"/>
                    <a:pt x="204373" y="132130"/>
                    <a:pt x="210707" y="123262"/>
                  </a:cubicBezTo>
                  <a:cubicBezTo>
                    <a:pt x="217802" y="113254"/>
                    <a:pt x="224769" y="103373"/>
                    <a:pt x="233130" y="94379"/>
                  </a:cubicBezTo>
                  <a:cubicBezTo>
                    <a:pt x="242124" y="84624"/>
                    <a:pt x="252892" y="71956"/>
                    <a:pt x="265941" y="68029"/>
                  </a:cubicBezTo>
                  <a:cubicBezTo>
                    <a:pt x="276329" y="64735"/>
                    <a:pt x="285830" y="70689"/>
                    <a:pt x="296091" y="71576"/>
                  </a:cubicBezTo>
                  <a:cubicBezTo>
                    <a:pt x="316360" y="73222"/>
                    <a:pt x="343217" y="56501"/>
                    <a:pt x="352465" y="38512"/>
                  </a:cubicBezTo>
                  <a:cubicBezTo>
                    <a:pt x="356519" y="30404"/>
                    <a:pt x="357152" y="19256"/>
                    <a:pt x="363360" y="12288"/>
                  </a:cubicBezTo>
                  <a:cubicBezTo>
                    <a:pt x="369694" y="5068"/>
                    <a:pt x="380715" y="7348"/>
                    <a:pt x="389203" y="5701"/>
                  </a:cubicBezTo>
                  <a:cubicBezTo>
                    <a:pt x="390470" y="5448"/>
                    <a:pt x="391610" y="5194"/>
                    <a:pt x="392623" y="4814"/>
                  </a:cubicBezTo>
                  <a:cubicBezTo>
                    <a:pt x="392877" y="4688"/>
                    <a:pt x="393257" y="4561"/>
                    <a:pt x="393510" y="4434"/>
                  </a:cubicBezTo>
                  <a:cubicBezTo>
                    <a:pt x="394523" y="4054"/>
                    <a:pt x="395284" y="3547"/>
                    <a:pt x="395917" y="3041"/>
                  </a:cubicBezTo>
                  <a:cubicBezTo>
                    <a:pt x="396170" y="2914"/>
                    <a:pt x="396424" y="2661"/>
                    <a:pt x="396550" y="2534"/>
                  </a:cubicBezTo>
                  <a:cubicBezTo>
                    <a:pt x="396804" y="2281"/>
                    <a:pt x="397057" y="2027"/>
                    <a:pt x="397310" y="1774"/>
                  </a:cubicBezTo>
                  <a:cubicBezTo>
                    <a:pt x="397564" y="1394"/>
                    <a:pt x="397690" y="1140"/>
                    <a:pt x="397817" y="887"/>
                  </a:cubicBezTo>
                  <a:cubicBezTo>
                    <a:pt x="397817" y="887"/>
                    <a:pt x="397944" y="760"/>
                    <a:pt x="397944" y="760"/>
                  </a:cubicBezTo>
                  <a:cubicBezTo>
                    <a:pt x="398071" y="507"/>
                    <a:pt x="398071" y="254"/>
                    <a:pt x="398197" y="0"/>
                  </a:cubicBezTo>
                  <a:cubicBezTo>
                    <a:pt x="398197" y="0"/>
                    <a:pt x="398197" y="0"/>
                    <a:pt x="398197" y="0"/>
                  </a:cubicBezTo>
                  <a:cubicBezTo>
                    <a:pt x="398957" y="127"/>
                    <a:pt x="407825" y="1140"/>
                    <a:pt x="404911" y="11022"/>
                  </a:cubicBezTo>
                  <a:cubicBezTo>
                    <a:pt x="401998" y="21283"/>
                    <a:pt x="404405" y="42059"/>
                    <a:pt x="415933" y="42692"/>
                  </a:cubicBezTo>
                  <a:cubicBezTo>
                    <a:pt x="427334" y="43326"/>
                    <a:pt x="438989" y="58148"/>
                    <a:pt x="444183" y="51307"/>
                  </a:cubicBezTo>
                  <a:cubicBezTo>
                    <a:pt x="449504" y="44339"/>
                    <a:pt x="459385" y="19256"/>
                    <a:pt x="469900" y="30150"/>
                  </a:cubicBezTo>
                  <a:cubicBezTo>
                    <a:pt x="480414" y="41045"/>
                    <a:pt x="485355" y="45733"/>
                    <a:pt x="492702" y="47253"/>
                  </a:cubicBezTo>
                  <a:cubicBezTo>
                    <a:pt x="500050" y="48900"/>
                    <a:pt x="525007" y="50167"/>
                    <a:pt x="517406" y="70942"/>
                  </a:cubicBezTo>
                  <a:cubicBezTo>
                    <a:pt x="511325" y="87664"/>
                    <a:pt x="508791" y="96659"/>
                    <a:pt x="500177" y="103500"/>
                  </a:cubicBezTo>
                  <a:lnTo>
                    <a:pt x="500177" y="103500"/>
                  </a:lnTo>
                  <a:cubicBezTo>
                    <a:pt x="498023" y="105147"/>
                    <a:pt x="495616" y="106667"/>
                    <a:pt x="492702" y="108187"/>
                  </a:cubicBezTo>
                  <a:cubicBezTo>
                    <a:pt x="477501" y="115788"/>
                    <a:pt x="454318" y="121995"/>
                    <a:pt x="458498" y="139604"/>
                  </a:cubicBezTo>
                  <a:cubicBezTo>
                    <a:pt x="462679" y="157087"/>
                    <a:pt x="462045" y="173808"/>
                    <a:pt x="470533" y="192431"/>
                  </a:cubicBezTo>
                  <a:cubicBezTo>
                    <a:pt x="479148" y="210927"/>
                    <a:pt x="483075" y="248805"/>
                    <a:pt x="498276" y="241204"/>
                  </a:cubicBezTo>
                  <a:cubicBezTo>
                    <a:pt x="513478" y="233603"/>
                    <a:pt x="523740" y="170768"/>
                    <a:pt x="541982" y="203452"/>
                  </a:cubicBezTo>
                  <a:lnTo>
                    <a:pt x="541982" y="203452"/>
                  </a:lnTo>
                  <a:cubicBezTo>
                    <a:pt x="541729" y="203959"/>
                    <a:pt x="541602" y="204466"/>
                    <a:pt x="541349" y="204973"/>
                  </a:cubicBezTo>
                  <a:cubicBezTo>
                    <a:pt x="540969" y="205986"/>
                    <a:pt x="540715" y="207126"/>
                    <a:pt x="540462" y="208266"/>
                  </a:cubicBezTo>
                  <a:cubicBezTo>
                    <a:pt x="539828" y="211433"/>
                    <a:pt x="539575" y="214727"/>
                    <a:pt x="539702" y="218147"/>
                  </a:cubicBezTo>
                  <a:cubicBezTo>
                    <a:pt x="539702" y="219288"/>
                    <a:pt x="539702" y="220428"/>
                    <a:pt x="539828" y="221568"/>
                  </a:cubicBezTo>
                  <a:lnTo>
                    <a:pt x="539828" y="221821"/>
                  </a:lnTo>
                  <a:cubicBezTo>
                    <a:pt x="539955" y="223341"/>
                    <a:pt x="540082" y="224861"/>
                    <a:pt x="540208" y="226382"/>
                  </a:cubicBezTo>
                  <a:lnTo>
                    <a:pt x="540208" y="226762"/>
                  </a:lnTo>
                  <a:cubicBezTo>
                    <a:pt x="540335" y="228282"/>
                    <a:pt x="540462" y="229802"/>
                    <a:pt x="540589" y="231322"/>
                  </a:cubicBezTo>
                  <a:cubicBezTo>
                    <a:pt x="540715" y="232969"/>
                    <a:pt x="540715" y="234616"/>
                    <a:pt x="540842" y="236263"/>
                  </a:cubicBezTo>
                  <a:cubicBezTo>
                    <a:pt x="541095" y="257419"/>
                    <a:pt x="535901" y="280095"/>
                    <a:pt x="542489" y="300618"/>
                  </a:cubicBezTo>
                  <a:cubicBezTo>
                    <a:pt x="549203" y="321520"/>
                    <a:pt x="566305" y="337229"/>
                    <a:pt x="576693" y="356105"/>
                  </a:cubicBezTo>
                  <a:cubicBezTo>
                    <a:pt x="581507" y="364973"/>
                    <a:pt x="585181" y="374854"/>
                    <a:pt x="591895" y="382455"/>
                  </a:cubicBezTo>
                  <a:cubicBezTo>
                    <a:pt x="598736" y="390309"/>
                    <a:pt x="608237" y="395123"/>
                    <a:pt x="614571" y="403484"/>
                  </a:cubicBezTo>
                  <a:cubicBezTo>
                    <a:pt x="622806" y="413619"/>
                    <a:pt x="626859" y="428314"/>
                    <a:pt x="623692" y="44123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3" name="Полилиния: фигура 402">
              <a:extLst>
                <a:ext uri="{FF2B5EF4-FFF2-40B4-BE49-F238E27FC236}">
                  <a16:creationId xmlns:a16="http://schemas.microsoft.com/office/drawing/2014/main" id="{FAE0E034-5145-417A-87D8-CA367A05F399}"/>
                </a:ext>
              </a:extLst>
            </p:cNvPr>
            <p:cNvSpPr/>
            <p:nvPr/>
          </p:nvSpPr>
          <p:spPr>
            <a:xfrm>
              <a:off x="7505915" y="5462091"/>
              <a:ext cx="1791366" cy="1441778"/>
            </a:xfrm>
            <a:custGeom>
              <a:avLst/>
              <a:gdLst>
                <a:gd name="connsiteX0" fmla="*/ 1791016 w 1791366"/>
                <a:gd name="connsiteY0" fmla="*/ 461885 h 1441778"/>
                <a:gd name="connsiteX1" fmla="*/ 1779995 w 1791366"/>
                <a:gd name="connsiteY1" fmla="*/ 484687 h 1441778"/>
                <a:gd name="connsiteX2" fmla="*/ 1749971 w 1791366"/>
                <a:gd name="connsiteY2" fmla="*/ 495835 h 1441778"/>
                <a:gd name="connsiteX3" fmla="*/ 1724761 w 1791366"/>
                <a:gd name="connsiteY3" fmla="*/ 498876 h 1441778"/>
                <a:gd name="connsiteX4" fmla="*/ 1699171 w 1791366"/>
                <a:gd name="connsiteY4" fmla="*/ 512684 h 1441778"/>
                <a:gd name="connsiteX5" fmla="*/ 1673075 w 1791366"/>
                <a:gd name="connsiteY5" fmla="*/ 547649 h 1441778"/>
                <a:gd name="connsiteX6" fmla="*/ 1647611 w 1791366"/>
                <a:gd name="connsiteY6" fmla="*/ 580079 h 1441778"/>
                <a:gd name="connsiteX7" fmla="*/ 1619615 w 1791366"/>
                <a:gd name="connsiteY7" fmla="*/ 625178 h 1441778"/>
                <a:gd name="connsiteX8" fmla="*/ 1583637 w 1791366"/>
                <a:gd name="connsiteY8" fmla="*/ 650135 h 1441778"/>
                <a:gd name="connsiteX9" fmla="*/ 1551460 w 1791366"/>
                <a:gd name="connsiteY9" fmla="*/ 672431 h 1441778"/>
                <a:gd name="connsiteX10" fmla="*/ 1557414 w 1791366"/>
                <a:gd name="connsiteY10" fmla="*/ 706255 h 1441778"/>
                <a:gd name="connsiteX11" fmla="*/ 1572362 w 1791366"/>
                <a:gd name="connsiteY11" fmla="*/ 718163 h 1441778"/>
                <a:gd name="connsiteX12" fmla="*/ 1585157 w 1791366"/>
                <a:gd name="connsiteY12" fmla="*/ 732858 h 1441778"/>
                <a:gd name="connsiteX13" fmla="*/ 1619235 w 1791366"/>
                <a:gd name="connsiteY13" fmla="*/ 758702 h 1441778"/>
                <a:gd name="connsiteX14" fmla="*/ 1615941 w 1791366"/>
                <a:gd name="connsiteY14" fmla="*/ 800634 h 1441778"/>
                <a:gd name="connsiteX15" fmla="*/ 1603526 w 1791366"/>
                <a:gd name="connsiteY15" fmla="*/ 819256 h 1441778"/>
                <a:gd name="connsiteX16" fmla="*/ 1599219 w 1791366"/>
                <a:gd name="connsiteY16" fmla="*/ 841299 h 1441778"/>
                <a:gd name="connsiteX17" fmla="*/ 1546519 w 1791366"/>
                <a:gd name="connsiteY17" fmla="*/ 889691 h 1441778"/>
                <a:gd name="connsiteX18" fmla="*/ 1514722 w 1791366"/>
                <a:gd name="connsiteY18" fmla="*/ 903500 h 1441778"/>
                <a:gd name="connsiteX19" fmla="*/ 1485331 w 1791366"/>
                <a:gd name="connsiteY19" fmla="*/ 914775 h 1441778"/>
                <a:gd name="connsiteX20" fmla="*/ 1458601 w 1791366"/>
                <a:gd name="connsiteY20" fmla="*/ 920349 h 1441778"/>
                <a:gd name="connsiteX21" fmla="*/ 1442260 w 1791366"/>
                <a:gd name="connsiteY21" fmla="*/ 948725 h 1441778"/>
                <a:gd name="connsiteX22" fmla="*/ 1412996 w 1791366"/>
                <a:gd name="connsiteY22" fmla="*/ 959620 h 1441778"/>
                <a:gd name="connsiteX23" fmla="*/ 1380565 w 1791366"/>
                <a:gd name="connsiteY23" fmla="*/ 961267 h 1441778"/>
                <a:gd name="connsiteX24" fmla="*/ 1359283 w 1791366"/>
                <a:gd name="connsiteY24" fmla="*/ 987997 h 1441778"/>
                <a:gd name="connsiteX25" fmla="*/ 1335466 w 1791366"/>
                <a:gd name="connsiteY25" fmla="*/ 1026508 h 1441778"/>
                <a:gd name="connsiteX26" fmla="*/ 1294801 w 1791366"/>
                <a:gd name="connsiteY26" fmla="*/ 1047031 h 1441778"/>
                <a:gd name="connsiteX27" fmla="*/ 1283273 w 1791366"/>
                <a:gd name="connsiteY27" fmla="*/ 1067554 h 1441778"/>
                <a:gd name="connsiteX28" fmla="*/ 1266297 w 1791366"/>
                <a:gd name="connsiteY28" fmla="*/ 1078955 h 1441778"/>
                <a:gd name="connsiteX29" fmla="*/ 1236401 w 1791366"/>
                <a:gd name="connsiteY29" fmla="*/ 1066287 h 1441778"/>
                <a:gd name="connsiteX30" fmla="*/ 1204476 w 1791366"/>
                <a:gd name="connsiteY30" fmla="*/ 1076928 h 1441778"/>
                <a:gd name="connsiteX31" fmla="*/ 1168498 w 1791366"/>
                <a:gd name="connsiteY31" fmla="*/ 1101885 h 1441778"/>
                <a:gd name="connsiteX32" fmla="*/ 1141389 w 1791366"/>
                <a:gd name="connsiteY32" fmla="*/ 1129755 h 1441778"/>
                <a:gd name="connsiteX33" fmla="*/ 1093249 w 1791366"/>
                <a:gd name="connsiteY33" fmla="*/ 1136595 h 1441778"/>
                <a:gd name="connsiteX34" fmla="*/ 1059172 w 1791366"/>
                <a:gd name="connsiteY34" fmla="*/ 1136849 h 1441778"/>
                <a:gd name="connsiteX35" fmla="*/ 1046377 w 1791366"/>
                <a:gd name="connsiteY35" fmla="*/ 1169533 h 1441778"/>
                <a:gd name="connsiteX36" fmla="*/ 1063732 w 1791366"/>
                <a:gd name="connsiteY36" fmla="*/ 1194236 h 1441778"/>
                <a:gd name="connsiteX37" fmla="*/ 1048277 w 1791366"/>
                <a:gd name="connsiteY37" fmla="*/ 1220840 h 1441778"/>
                <a:gd name="connsiteX38" fmla="*/ 1040043 w 1791366"/>
                <a:gd name="connsiteY38" fmla="*/ 1238068 h 1441778"/>
                <a:gd name="connsiteX39" fmla="*/ 1041056 w 1791366"/>
                <a:gd name="connsiteY39" fmla="*/ 1253650 h 1441778"/>
                <a:gd name="connsiteX40" fmla="*/ 1019520 w 1791366"/>
                <a:gd name="connsiteY40" fmla="*/ 1283420 h 1441778"/>
                <a:gd name="connsiteX41" fmla="*/ 1035355 w 1791366"/>
                <a:gd name="connsiteY41" fmla="*/ 1302170 h 1441778"/>
                <a:gd name="connsiteX42" fmla="*/ 1066266 w 1791366"/>
                <a:gd name="connsiteY42" fmla="*/ 1297102 h 1441778"/>
                <a:gd name="connsiteX43" fmla="*/ 1087041 w 1791366"/>
                <a:gd name="connsiteY43" fmla="*/ 1303056 h 1441778"/>
                <a:gd name="connsiteX44" fmla="*/ 1032695 w 1791366"/>
                <a:gd name="connsiteY44" fmla="*/ 1350056 h 1441778"/>
                <a:gd name="connsiteX45" fmla="*/ 1000264 w 1791366"/>
                <a:gd name="connsiteY45" fmla="*/ 1357023 h 1441778"/>
                <a:gd name="connsiteX46" fmla="*/ 996717 w 1791366"/>
                <a:gd name="connsiteY46" fmla="*/ 1389074 h 1441778"/>
                <a:gd name="connsiteX47" fmla="*/ 994436 w 1791366"/>
                <a:gd name="connsiteY47" fmla="*/ 1421125 h 1441778"/>
                <a:gd name="connsiteX48" fmla="*/ 994057 w 1791366"/>
                <a:gd name="connsiteY48" fmla="*/ 1432779 h 1441778"/>
                <a:gd name="connsiteX49" fmla="*/ 982149 w 1791366"/>
                <a:gd name="connsiteY49" fmla="*/ 1432272 h 1441778"/>
                <a:gd name="connsiteX50" fmla="*/ 955925 w 1791366"/>
                <a:gd name="connsiteY50" fmla="*/ 1441013 h 1441778"/>
                <a:gd name="connsiteX51" fmla="*/ 921594 w 1791366"/>
                <a:gd name="connsiteY51" fmla="*/ 1435186 h 1441778"/>
                <a:gd name="connsiteX52" fmla="*/ 882196 w 1791366"/>
                <a:gd name="connsiteY52" fmla="*/ 1396041 h 1441778"/>
                <a:gd name="connsiteX53" fmla="*/ 841784 w 1791366"/>
                <a:gd name="connsiteY53" fmla="*/ 1364751 h 1441778"/>
                <a:gd name="connsiteX54" fmla="*/ 785284 w 1791366"/>
                <a:gd name="connsiteY54" fmla="*/ 1363611 h 1441778"/>
                <a:gd name="connsiteX55" fmla="*/ 738285 w 1791366"/>
                <a:gd name="connsiteY55" fmla="*/ 1365638 h 1441778"/>
                <a:gd name="connsiteX56" fmla="*/ 650114 w 1791366"/>
                <a:gd name="connsiteY56" fmla="*/ 1390340 h 1441778"/>
                <a:gd name="connsiteX57" fmla="*/ 623384 w 1791366"/>
                <a:gd name="connsiteY57" fmla="*/ 1408583 h 1441778"/>
                <a:gd name="connsiteX58" fmla="*/ 584619 w 1791366"/>
                <a:gd name="connsiteY58" fmla="*/ 1416564 h 1441778"/>
                <a:gd name="connsiteX59" fmla="*/ 570810 w 1791366"/>
                <a:gd name="connsiteY59" fmla="*/ 1426192 h 1441778"/>
                <a:gd name="connsiteX60" fmla="*/ 554849 w 1791366"/>
                <a:gd name="connsiteY60" fmla="*/ 1425432 h 1441778"/>
                <a:gd name="connsiteX61" fmla="*/ 521911 w 1791366"/>
                <a:gd name="connsiteY61" fmla="*/ 1425685 h 1441778"/>
                <a:gd name="connsiteX62" fmla="*/ 493407 w 1791366"/>
                <a:gd name="connsiteY62" fmla="*/ 1407443 h 1441778"/>
                <a:gd name="connsiteX63" fmla="*/ 446915 w 1791366"/>
                <a:gd name="connsiteY63" fmla="*/ 1395408 h 1441778"/>
                <a:gd name="connsiteX64" fmla="*/ 416891 w 1791366"/>
                <a:gd name="connsiteY64" fmla="*/ 1366398 h 1441778"/>
                <a:gd name="connsiteX65" fmla="*/ 381673 w 1791366"/>
                <a:gd name="connsiteY65" fmla="*/ 1298116 h 1441778"/>
                <a:gd name="connsiteX66" fmla="*/ 361024 w 1791366"/>
                <a:gd name="connsiteY66" fmla="*/ 1218179 h 1441778"/>
                <a:gd name="connsiteX67" fmla="*/ 281214 w 1791366"/>
                <a:gd name="connsiteY67" fmla="*/ 1191576 h 1441778"/>
                <a:gd name="connsiteX68" fmla="*/ 200391 w 1791366"/>
                <a:gd name="connsiteY68" fmla="*/ 1160792 h 1441778"/>
                <a:gd name="connsiteX69" fmla="*/ 166060 w 1791366"/>
                <a:gd name="connsiteY69" fmla="*/ 1162186 h 1441778"/>
                <a:gd name="connsiteX70" fmla="*/ 134009 w 1791366"/>
                <a:gd name="connsiteY70" fmla="*/ 1145717 h 1441778"/>
                <a:gd name="connsiteX71" fmla="*/ 96004 w 1791366"/>
                <a:gd name="connsiteY71" fmla="*/ 1123547 h 1441778"/>
                <a:gd name="connsiteX72" fmla="*/ 57240 w 1791366"/>
                <a:gd name="connsiteY72" fmla="*/ 1118987 h 1441778"/>
                <a:gd name="connsiteX73" fmla="*/ 8974 w 1791366"/>
                <a:gd name="connsiteY73" fmla="*/ 1083009 h 1441778"/>
                <a:gd name="connsiteX74" fmla="*/ 8213 w 1791366"/>
                <a:gd name="connsiteY74" fmla="*/ 1081109 h 1441778"/>
                <a:gd name="connsiteX75" fmla="*/ 866 w 1791366"/>
                <a:gd name="connsiteY75" fmla="*/ 1065020 h 1441778"/>
                <a:gd name="connsiteX76" fmla="*/ 9987 w 1791366"/>
                <a:gd name="connsiteY76" fmla="*/ 1029169 h 1441778"/>
                <a:gd name="connsiteX77" fmla="*/ 13534 w 1791366"/>
                <a:gd name="connsiteY77" fmla="*/ 1003199 h 1441778"/>
                <a:gd name="connsiteX78" fmla="*/ 13027 w 1791366"/>
                <a:gd name="connsiteY78" fmla="*/ 985083 h 1441778"/>
                <a:gd name="connsiteX79" fmla="*/ 12394 w 1791366"/>
                <a:gd name="connsiteY79" fmla="*/ 954046 h 1441778"/>
                <a:gd name="connsiteX80" fmla="*/ 28356 w 1791366"/>
                <a:gd name="connsiteY80" fmla="*/ 954553 h 1441778"/>
                <a:gd name="connsiteX81" fmla="*/ 44065 w 1791366"/>
                <a:gd name="connsiteY81" fmla="*/ 947712 h 1441778"/>
                <a:gd name="connsiteX82" fmla="*/ 44952 w 1791366"/>
                <a:gd name="connsiteY82" fmla="*/ 946825 h 1441778"/>
                <a:gd name="connsiteX83" fmla="*/ 46218 w 1791366"/>
                <a:gd name="connsiteY83" fmla="*/ 945052 h 1441778"/>
                <a:gd name="connsiteX84" fmla="*/ 47485 w 1791366"/>
                <a:gd name="connsiteY84" fmla="*/ 941378 h 1441778"/>
                <a:gd name="connsiteX85" fmla="*/ 100185 w 1791366"/>
                <a:gd name="connsiteY85" fmla="*/ 904007 h 1441778"/>
                <a:gd name="connsiteX86" fmla="*/ 148071 w 1791366"/>
                <a:gd name="connsiteY86" fmla="*/ 860174 h 1441778"/>
                <a:gd name="connsiteX87" fmla="*/ 176828 w 1791366"/>
                <a:gd name="connsiteY87" fmla="*/ 888171 h 1441778"/>
                <a:gd name="connsiteX88" fmla="*/ 230922 w 1791366"/>
                <a:gd name="connsiteY88" fmla="*/ 953159 h 1441778"/>
                <a:gd name="connsiteX89" fmla="*/ 283748 w 1791366"/>
                <a:gd name="connsiteY89" fmla="*/ 1003706 h 1441778"/>
                <a:gd name="connsiteX90" fmla="*/ 334548 w 1791366"/>
                <a:gd name="connsiteY90" fmla="*/ 1052478 h 1441778"/>
                <a:gd name="connsiteX91" fmla="*/ 402830 w 1791366"/>
                <a:gd name="connsiteY91" fmla="*/ 1073634 h 1441778"/>
                <a:gd name="connsiteX92" fmla="*/ 423986 w 1791366"/>
                <a:gd name="connsiteY92" fmla="*/ 1112906 h 1441778"/>
                <a:gd name="connsiteX93" fmla="*/ 468831 w 1791366"/>
                <a:gd name="connsiteY93" fmla="*/ 1149517 h 1441778"/>
                <a:gd name="connsiteX94" fmla="*/ 480993 w 1791366"/>
                <a:gd name="connsiteY94" fmla="*/ 1185495 h 1441778"/>
                <a:gd name="connsiteX95" fmla="*/ 528245 w 1791366"/>
                <a:gd name="connsiteY95" fmla="*/ 1193729 h 1441778"/>
                <a:gd name="connsiteX96" fmla="*/ 553962 w 1791366"/>
                <a:gd name="connsiteY96" fmla="*/ 1235914 h 1441778"/>
                <a:gd name="connsiteX97" fmla="*/ 591586 w 1791366"/>
                <a:gd name="connsiteY97" fmla="*/ 1209818 h 1441778"/>
                <a:gd name="connsiteX98" fmla="*/ 622243 w 1791366"/>
                <a:gd name="connsiteY98" fmla="*/ 1181314 h 1441778"/>
                <a:gd name="connsiteX99" fmla="*/ 656448 w 1791366"/>
                <a:gd name="connsiteY99" fmla="*/ 1178147 h 1441778"/>
                <a:gd name="connsiteX100" fmla="*/ 733471 w 1791366"/>
                <a:gd name="connsiteY100" fmla="*/ 1152684 h 1441778"/>
                <a:gd name="connsiteX101" fmla="*/ 764128 w 1791366"/>
                <a:gd name="connsiteY101" fmla="*/ 1141283 h 1441778"/>
                <a:gd name="connsiteX102" fmla="*/ 779583 w 1791366"/>
                <a:gd name="connsiteY102" fmla="*/ 1101124 h 1441778"/>
                <a:gd name="connsiteX103" fmla="*/ 788704 w 1791366"/>
                <a:gd name="connsiteY103" fmla="*/ 1043104 h 1441778"/>
                <a:gd name="connsiteX104" fmla="*/ 828102 w 1791366"/>
                <a:gd name="connsiteY104" fmla="*/ 1016754 h 1441778"/>
                <a:gd name="connsiteX105" fmla="*/ 871808 w 1791366"/>
                <a:gd name="connsiteY105" fmla="*/ 991797 h 1441778"/>
                <a:gd name="connsiteX106" fmla="*/ 907406 w 1791366"/>
                <a:gd name="connsiteY106" fmla="*/ 952906 h 1441778"/>
                <a:gd name="connsiteX107" fmla="*/ 954912 w 1791366"/>
                <a:gd name="connsiteY107" fmla="*/ 934030 h 1441778"/>
                <a:gd name="connsiteX108" fmla="*/ 982528 w 1791366"/>
                <a:gd name="connsiteY108" fmla="*/ 887791 h 1441778"/>
                <a:gd name="connsiteX109" fmla="*/ 1003178 w 1791366"/>
                <a:gd name="connsiteY109" fmla="*/ 850040 h 1441778"/>
                <a:gd name="connsiteX110" fmla="*/ 1036876 w 1791366"/>
                <a:gd name="connsiteY110" fmla="*/ 813302 h 1441778"/>
                <a:gd name="connsiteX111" fmla="*/ 1022560 w 1791366"/>
                <a:gd name="connsiteY111" fmla="*/ 768456 h 1441778"/>
                <a:gd name="connsiteX112" fmla="*/ 1057525 w 1791366"/>
                <a:gd name="connsiteY112" fmla="*/ 740839 h 1441778"/>
                <a:gd name="connsiteX113" fmla="*/ 1095909 w 1791366"/>
                <a:gd name="connsiteY113" fmla="*/ 693587 h 1441778"/>
                <a:gd name="connsiteX114" fmla="*/ 1097177 w 1791366"/>
                <a:gd name="connsiteY114" fmla="*/ 628979 h 1441778"/>
                <a:gd name="connsiteX115" fmla="*/ 1094136 w 1791366"/>
                <a:gd name="connsiteY115" fmla="*/ 566651 h 1441778"/>
                <a:gd name="connsiteX116" fmla="*/ 1103890 w 1791366"/>
                <a:gd name="connsiteY116" fmla="*/ 504703 h 1441778"/>
                <a:gd name="connsiteX117" fmla="*/ 1098570 w 1791366"/>
                <a:gd name="connsiteY117" fmla="*/ 436041 h 1441778"/>
                <a:gd name="connsiteX118" fmla="*/ 1074880 w 1791366"/>
                <a:gd name="connsiteY118" fmla="*/ 394109 h 1441778"/>
                <a:gd name="connsiteX119" fmla="*/ 1041436 w 1791366"/>
                <a:gd name="connsiteY119" fmla="*/ 468092 h 1441778"/>
                <a:gd name="connsiteX120" fmla="*/ 1018126 w 1791366"/>
                <a:gd name="connsiteY120" fmla="*/ 566144 h 1441778"/>
                <a:gd name="connsiteX121" fmla="*/ 1016479 w 1791366"/>
                <a:gd name="connsiteY121" fmla="*/ 574759 h 1441778"/>
                <a:gd name="connsiteX122" fmla="*/ 990256 w 1791366"/>
                <a:gd name="connsiteY122" fmla="*/ 380428 h 1441778"/>
                <a:gd name="connsiteX123" fmla="*/ 1010019 w 1791366"/>
                <a:gd name="connsiteY123" fmla="*/ 339889 h 1441778"/>
                <a:gd name="connsiteX124" fmla="*/ 953645 w 1791366"/>
                <a:gd name="connsiteY124" fmla="*/ 277561 h 1441778"/>
                <a:gd name="connsiteX125" fmla="*/ 1004064 w 1791366"/>
                <a:gd name="connsiteY125" fmla="*/ 231322 h 1441778"/>
                <a:gd name="connsiteX126" fmla="*/ 1045363 w 1791366"/>
                <a:gd name="connsiteY126" fmla="*/ 222454 h 1441778"/>
                <a:gd name="connsiteX127" fmla="*/ 1098189 w 1791366"/>
                <a:gd name="connsiteY127" fmla="*/ 187490 h 1441778"/>
                <a:gd name="connsiteX128" fmla="*/ 1162164 w 1791366"/>
                <a:gd name="connsiteY128" fmla="*/ 196738 h 1441778"/>
                <a:gd name="connsiteX129" fmla="*/ 1194848 w 1791366"/>
                <a:gd name="connsiteY129" fmla="*/ 164054 h 1441778"/>
                <a:gd name="connsiteX130" fmla="*/ 1232726 w 1791366"/>
                <a:gd name="connsiteY130" fmla="*/ 134664 h 1441778"/>
                <a:gd name="connsiteX131" fmla="*/ 1278206 w 1791366"/>
                <a:gd name="connsiteY131" fmla="*/ 160000 h 1441778"/>
                <a:gd name="connsiteX132" fmla="*/ 1302909 w 1791366"/>
                <a:gd name="connsiteY132" fmla="*/ 139224 h 1441778"/>
                <a:gd name="connsiteX133" fmla="*/ 1340280 w 1791366"/>
                <a:gd name="connsiteY133" fmla="*/ 184450 h 1441778"/>
                <a:gd name="connsiteX134" fmla="*/ 1369924 w 1791366"/>
                <a:gd name="connsiteY134" fmla="*/ 170641 h 1441778"/>
                <a:gd name="connsiteX135" fmla="*/ 1407802 w 1791366"/>
                <a:gd name="connsiteY135" fmla="*/ 182169 h 1441778"/>
                <a:gd name="connsiteX136" fmla="*/ 1445046 w 1791366"/>
                <a:gd name="connsiteY136" fmla="*/ 185083 h 1441778"/>
                <a:gd name="connsiteX137" fmla="*/ 1484318 w 1791366"/>
                <a:gd name="connsiteY137" fmla="*/ 149106 h 1441778"/>
                <a:gd name="connsiteX138" fmla="*/ 1506741 w 1791366"/>
                <a:gd name="connsiteY138" fmla="*/ 139604 h 1441778"/>
                <a:gd name="connsiteX139" fmla="*/ 1522576 w 1791366"/>
                <a:gd name="connsiteY139" fmla="*/ 101980 h 1441778"/>
                <a:gd name="connsiteX140" fmla="*/ 1516369 w 1791366"/>
                <a:gd name="connsiteY140" fmla="*/ 60428 h 1441778"/>
                <a:gd name="connsiteX141" fmla="*/ 1570082 w 1791366"/>
                <a:gd name="connsiteY141" fmla="*/ 48520 h 1441778"/>
                <a:gd name="connsiteX142" fmla="*/ 1593138 w 1791366"/>
                <a:gd name="connsiteY142" fmla="*/ 0 h 1441778"/>
                <a:gd name="connsiteX143" fmla="*/ 1646599 w 1791366"/>
                <a:gd name="connsiteY143" fmla="*/ 33318 h 1441778"/>
                <a:gd name="connsiteX144" fmla="*/ 1595418 w 1791366"/>
                <a:gd name="connsiteY144" fmla="*/ 103247 h 1441778"/>
                <a:gd name="connsiteX145" fmla="*/ 1595418 w 1791366"/>
                <a:gd name="connsiteY145" fmla="*/ 103373 h 1441778"/>
                <a:gd name="connsiteX146" fmla="*/ 1595039 w 1791366"/>
                <a:gd name="connsiteY146" fmla="*/ 107427 h 1441778"/>
                <a:gd name="connsiteX147" fmla="*/ 1608720 w 1791366"/>
                <a:gd name="connsiteY147" fmla="*/ 148852 h 1441778"/>
                <a:gd name="connsiteX148" fmla="*/ 1653820 w 1791366"/>
                <a:gd name="connsiteY148" fmla="*/ 272747 h 1441778"/>
                <a:gd name="connsiteX149" fmla="*/ 1675609 w 1791366"/>
                <a:gd name="connsiteY149" fmla="*/ 325067 h 1441778"/>
                <a:gd name="connsiteX150" fmla="*/ 1707912 w 1791366"/>
                <a:gd name="connsiteY150" fmla="*/ 345337 h 1441778"/>
                <a:gd name="connsiteX151" fmla="*/ 1768087 w 1791366"/>
                <a:gd name="connsiteY151" fmla="*/ 368266 h 1441778"/>
                <a:gd name="connsiteX152" fmla="*/ 1786836 w 1791366"/>
                <a:gd name="connsiteY152" fmla="*/ 385115 h 1441778"/>
                <a:gd name="connsiteX153" fmla="*/ 1788990 w 1791366"/>
                <a:gd name="connsiteY153" fmla="*/ 415772 h 1441778"/>
                <a:gd name="connsiteX154" fmla="*/ 1791016 w 1791366"/>
                <a:gd name="connsiteY154" fmla="*/ 461885 h 14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791366" h="1441778">
                  <a:moveTo>
                    <a:pt x="1791016" y="461885"/>
                  </a:moveTo>
                  <a:cubicBezTo>
                    <a:pt x="1790383" y="471512"/>
                    <a:pt x="1788736" y="479493"/>
                    <a:pt x="1779995" y="484687"/>
                  </a:cubicBezTo>
                  <a:cubicBezTo>
                    <a:pt x="1771001" y="489881"/>
                    <a:pt x="1759979" y="493555"/>
                    <a:pt x="1749971" y="495835"/>
                  </a:cubicBezTo>
                  <a:cubicBezTo>
                    <a:pt x="1741610" y="497736"/>
                    <a:pt x="1732996" y="496849"/>
                    <a:pt x="1724761" y="498876"/>
                  </a:cubicBezTo>
                  <a:cubicBezTo>
                    <a:pt x="1715514" y="501156"/>
                    <a:pt x="1706392" y="506477"/>
                    <a:pt x="1699171" y="512684"/>
                  </a:cubicBezTo>
                  <a:cubicBezTo>
                    <a:pt x="1688023" y="522439"/>
                    <a:pt x="1682196" y="536374"/>
                    <a:pt x="1673075" y="547649"/>
                  </a:cubicBezTo>
                  <a:cubicBezTo>
                    <a:pt x="1664460" y="558290"/>
                    <a:pt x="1655593" y="568931"/>
                    <a:pt x="1647611" y="580079"/>
                  </a:cubicBezTo>
                  <a:cubicBezTo>
                    <a:pt x="1637223" y="594521"/>
                    <a:pt x="1631143" y="611497"/>
                    <a:pt x="1619615" y="625178"/>
                  </a:cubicBezTo>
                  <a:cubicBezTo>
                    <a:pt x="1609860" y="636833"/>
                    <a:pt x="1597446" y="644054"/>
                    <a:pt x="1583637" y="650135"/>
                  </a:cubicBezTo>
                  <a:cubicBezTo>
                    <a:pt x="1571982" y="655202"/>
                    <a:pt x="1557161" y="660016"/>
                    <a:pt x="1551460" y="672431"/>
                  </a:cubicBezTo>
                  <a:cubicBezTo>
                    <a:pt x="1546139" y="684086"/>
                    <a:pt x="1547533" y="697767"/>
                    <a:pt x="1557414" y="706255"/>
                  </a:cubicBezTo>
                  <a:cubicBezTo>
                    <a:pt x="1562228" y="710436"/>
                    <a:pt x="1567802" y="713476"/>
                    <a:pt x="1572362" y="718163"/>
                  </a:cubicBezTo>
                  <a:cubicBezTo>
                    <a:pt x="1576923" y="722850"/>
                    <a:pt x="1580343" y="728551"/>
                    <a:pt x="1585157" y="732858"/>
                  </a:cubicBezTo>
                  <a:cubicBezTo>
                    <a:pt x="1595799" y="742486"/>
                    <a:pt x="1612774" y="744640"/>
                    <a:pt x="1619235" y="758702"/>
                  </a:cubicBezTo>
                  <a:cubicBezTo>
                    <a:pt x="1625442" y="772130"/>
                    <a:pt x="1624049" y="788472"/>
                    <a:pt x="1615941" y="800634"/>
                  </a:cubicBezTo>
                  <a:cubicBezTo>
                    <a:pt x="1611887" y="806841"/>
                    <a:pt x="1606440" y="812289"/>
                    <a:pt x="1603526" y="819256"/>
                  </a:cubicBezTo>
                  <a:cubicBezTo>
                    <a:pt x="1600613" y="826223"/>
                    <a:pt x="1600613" y="833951"/>
                    <a:pt x="1599219" y="841299"/>
                  </a:cubicBezTo>
                  <a:cubicBezTo>
                    <a:pt x="1594405" y="865749"/>
                    <a:pt x="1570335" y="885384"/>
                    <a:pt x="1546519" y="889691"/>
                  </a:cubicBezTo>
                  <a:cubicBezTo>
                    <a:pt x="1534104" y="891972"/>
                    <a:pt x="1524983" y="895139"/>
                    <a:pt x="1514722" y="903500"/>
                  </a:cubicBezTo>
                  <a:cubicBezTo>
                    <a:pt x="1504841" y="911608"/>
                    <a:pt x="1498507" y="917308"/>
                    <a:pt x="1485331" y="914775"/>
                  </a:cubicBezTo>
                  <a:cubicBezTo>
                    <a:pt x="1473803" y="912621"/>
                    <a:pt x="1466963" y="909581"/>
                    <a:pt x="1458601" y="920349"/>
                  </a:cubicBezTo>
                  <a:cubicBezTo>
                    <a:pt x="1451888" y="928963"/>
                    <a:pt x="1447834" y="939351"/>
                    <a:pt x="1442260" y="948725"/>
                  </a:cubicBezTo>
                  <a:cubicBezTo>
                    <a:pt x="1435545" y="959620"/>
                    <a:pt x="1424777" y="960127"/>
                    <a:pt x="1412996" y="959620"/>
                  </a:cubicBezTo>
                  <a:cubicBezTo>
                    <a:pt x="1402735" y="959113"/>
                    <a:pt x="1390066" y="955693"/>
                    <a:pt x="1380565" y="961267"/>
                  </a:cubicBezTo>
                  <a:cubicBezTo>
                    <a:pt x="1371697" y="966461"/>
                    <a:pt x="1363843" y="979002"/>
                    <a:pt x="1359283" y="987997"/>
                  </a:cubicBezTo>
                  <a:cubicBezTo>
                    <a:pt x="1352568" y="1001425"/>
                    <a:pt x="1346994" y="1016374"/>
                    <a:pt x="1335466" y="1026508"/>
                  </a:cubicBezTo>
                  <a:cubicBezTo>
                    <a:pt x="1322924" y="1037530"/>
                    <a:pt x="1305062" y="1031829"/>
                    <a:pt x="1294801" y="1047031"/>
                  </a:cubicBezTo>
                  <a:cubicBezTo>
                    <a:pt x="1290620" y="1053239"/>
                    <a:pt x="1288213" y="1062106"/>
                    <a:pt x="1283273" y="1067554"/>
                  </a:cubicBezTo>
                  <a:cubicBezTo>
                    <a:pt x="1279092" y="1072114"/>
                    <a:pt x="1271745" y="1076421"/>
                    <a:pt x="1266297" y="1078955"/>
                  </a:cubicBezTo>
                  <a:cubicBezTo>
                    <a:pt x="1252109" y="1085669"/>
                    <a:pt x="1247928" y="1070847"/>
                    <a:pt x="1236401" y="1066287"/>
                  </a:cubicBezTo>
                  <a:cubicBezTo>
                    <a:pt x="1224239" y="1061600"/>
                    <a:pt x="1213851" y="1070214"/>
                    <a:pt x="1204476" y="1076928"/>
                  </a:cubicBezTo>
                  <a:cubicBezTo>
                    <a:pt x="1192695" y="1085542"/>
                    <a:pt x="1179140" y="1091877"/>
                    <a:pt x="1168498" y="1101885"/>
                  </a:cubicBezTo>
                  <a:cubicBezTo>
                    <a:pt x="1158871" y="1111006"/>
                    <a:pt x="1153424" y="1123167"/>
                    <a:pt x="1141389" y="1129755"/>
                  </a:cubicBezTo>
                  <a:cubicBezTo>
                    <a:pt x="1126947" y="1137736"/>
                    <a:pt x="1109338" y="1139256"/>
                    <a:pt x="1093249" y="1136595"/>
                  </a:cubicBezTo>
                  <a:cubicBezTo>
                    <a:pt x="1082101" y="1134822"/>
                    <a:pt x="1069179" y="1129121"/>
                    <a:pt x="1059172" y="1136849"/>
                  </a:cubicBezTo>
                  <a:cubicBezTo>
                    <a:pt x="1050684" y="1143563"/>
                    <a:pt x="1044476" y="1158765"/>
                    <a:pt x="1046377" y="1169533"/>
                  </a:cubicBezTo>
                  <a:cubicBezTo>
                    <a:pt x="1048277" y="1180174"/>
                    <a:pt x="1059678" y="1184735"/>
                    <a:pt x="1063732" y="1194236"/>
                  </a:cubicBezTo>
                  <a:cubicBezTo>
                    <a:pt x="1069053" y="1206651"/>
                    <a:pt x="1055371" y="1213112"/>
                    <a:pt x="1048277" y="1220840"/>
                  </a:cubicBezTo>
                  <a:cubicBezTo>
                    <a:pt x="1043716" y="1225780"/>
                    <a:pt x="1040676" y="1231354"/>
                    <a:pt x="1040043" y="1238068"/>
                  </a:cubicBezTo>
                  <a:cubicBezTo>
                    <a:pt x="1039535" y="1243389"/>
                    <a:pt x="1041563" y="1248583"/>
                    <a:pt x="1041056" y="1253650"/>
                  </a:cubicBezTo>
                  <a:cubicBezTo>
                    <a:pt x="1039916" y="1265432"/>
                    <a:pt x="1024460" y="1272906"/>
                    <a:pt x="1019520" y="1283420"/>
                  </a:cubicBezTo>
                  <a:cubicBezTo>
                    <a:pt x="1013059" y="1297229"/>
                    <a:pt x="1022053" y="1304070"/>
                    <a:pt x="1035355" y="1302170"/>
                  </a:cubicBezTo>
                  <a:cubicBezTo>
                    <a:pt x="1045617" y="1300649"/>
                    <a:pt x="1056131" y="1298876"/>
                    <a:pt x="1066266" y="1297102"/>
                  </a:cubicBezTo>
                  <a:cubicBezTo>
                    <a:pt x="1073993" y="1295709"/>
                    <a:pt x="1089702" y="1290008"/>
                    <a:pt x="1087041" y="1303056"/>
                  </a:cubicBezTo>
                  <a:cubicBezTo>
                    <a:pt x="1081848" y="1328393"/>
                    <a:pt x="1057018" y="1346002"/>
                    <a:pt x="1032695" y="1350056"/>
                  </a:cubicBezTo>
                  <a:cubicBezTo>
                    <a:pt x="1021674" y="1351956"/>
                    <a:pt x="1009385" y="1348789"/>
                    <a:pt x="1000264" y="1357023"/>
                  </a:cubicBezTo>
                  <a:cubicBezTo>
                    <a:pt x="990383" y="1366144"/>
                    <a:pt x="994817" y="1377799"/>
                    <a:pt x="996717" y="1389074"/>
                  </a:cubicBezTo>
                  <a:cubicBezTo>
                    <a:pt x="998617" y="1400222"/>
                    <a:pt x="995070" y="1410230"/>
                    <a:pt x="994436" y="1421125"/>
                  </a:cubicBezTo>
                  <a:cubicBezTo>
                    <a:pt x="994184" y="1424925"/>
                    <a:pt x="994184" y="1428725"/>
                    <a:pt x="994057" y="1432779"/>
                  </a:cubicBezTo>
                  <a:cubicBezTo>
                    <a:pt x="990509" y="1432146"/>
                    <a:pt x="986582" y="1431892"/>
                    <a:pt x="982149" y="1432272"/>
                  </a:cubicBezTo>
                  <a:cubicBezTo>
                    <a:pt x="972140" y="1433033"/>
                    <a:pt x="965553" y="1439240"/>
                    <a:pt x="955925" y="1441013"/>
                  </a:cubicBezTo>
                  <a:cubicBezTo>
                    <a:pt x="944017" y="1443167"/>
                    <a:pt x="931982" y="1440633"/>
                    <a:pt x="921594" y="1435186"/>
                  </a:cubicBezTo>
                  <a:cubicBezTo>
                    <a:pt x="903605" y="1425685"/>
                    <a:pt x="891570" y="1414030"/>
                    <a:pt x="882196" y="1396041"/>
                  </a:cubicBezTo>
                  <a:cubicBezTo>
                    <a:pt x="872822" y="1378179"/>
                    <a:pt x="862180" y="1368551"/>
                    <a:pt x="841784" y="1364751"/>
                  </a:cubicBezTo>
                  <a:cubicBezTo>
                    <a:pt x="823288" y="1361204"/>
                    <a:pt x="804160" y="1366144"/>
                    <a:pt x="785284" y="1363611"/>
                  </a:cubicBezTo>
                  <a:cubicBezTo>
                    <a:pt x="768942" y="1361457"/>
                    <a:pt x="754500" y="1365764"/>
                    <a:pt x="738285" y="1365638"/>
                  </a:cubicBezTo>
                  <a:cubicBezTo>
                    <a:pt x="707121" y="1365384"/>
                    <a:pt x="677857" y="1377419"/>
                    <a:pt x="650114" y="1390340"/>
                  </a:cubicBezTo>
                  <a:cubicBezTo>
                    <a:pt x="639725" y="1395154"/>
                    <a:pt x="633012" y="1403516"/>
                    <a:pt x="623384" y="1408583"/>
                  </a:cubicBezTo>
                  <a:cubicBezTo>
                    <a:pt x="611476" y="1414917"/>
                    <a:pt x="596781" y="1410230"/>
                    <a:pt x="584619" y="1416564"/>
                  </a:cubicBezTo>
                  <a:cubicBezTo>
                    <a:pt x="579805" y="1419098"/>
                    <a:pt x="576005" y="1424292"/>
                    <a:pt x="570810" y="1426192"/>
                  </a:cubicBezTo>
                  <a:cubicBezTo>
                    <a:pt x="564350" y="1428725"/>
                    <a:pt x="561309" y="1426445"/>
                    <a:pt x="554849" y="1425432"/>
                  </a:cubicBezTo>
                  <a:cubicBezTo>
                    <a:pt x="543827" y="1423785"/>
                    <a:pt x="532679" y="1427712"/>
                    <a:pt x="521911" y="1425685"/>
                  </a:cubicBezTo>
                  <a:cubicBezTo>
                    <a:pt x="511016" y="1423658"/>
                    <a:pt x="501895" y="1413650"/>
                    <a:pt x="493407" y="1407443"/>
                  </a:cubicBezTo>
                  <a:cubicBezTo>
                    <a:pt x="478332" y="1396548"/>
                    <a:pt x="463890" y="1398575"/>
                    <a:pt x="446915" y="1395408"/>
                  </a:cubicBezTo>
                  <a:cubicBezTo>
                    <a:pt x="432600" y="1392747"/>
                    <a:pt x="424238" y="1378306"/>
                    <a:pt x="416891" y="1366398"/>
                  </a:cubicBezTo>
                  <a:cubicBezTo>
                    <a:pt x="404096" y="1345495"/>
                    <a:pt x="387628" y="1322186"/>
                    <a:pt x="381673" y="1298116"/>
                  </a:cubicBezTo>
                  <a:cubicBezTo>
                    <a:pt x="375212" y="1272399"/>
                    <a:pt x="382180" y="1237941"/>
                    <a:pt x="361024" y="1218179"/>
                  </a:cubicBezTo>
                  <a:cubicBezTo>
                    <a:pt x="339995" y="1198670"/>
                    <a:pt x="307184" y="1199177"/>
                    <a:pt x="281214" y="1191576"/>
                  </a:cubicBezTo>
                  <a:cubicBezTo>
                    <a:pt x="253851" y="1183595"/>
                    <a:pt x="229021" y="1164086"/>
                    <a:pt x="200391" y="1160792"/>
                  </a:cubicBezTo>
                  <a:cubicBezTo>
                    <a:pt x="188863" y="1159525"/>
                    <a:pt x="177588" y="1163072"/>
                    <a:pt x="166060" y="1162186"/>
                  </a:cubicBezTo>
                  <a:cubicBezTo>
                    <a:pt x="152885" y="1161299"/>
                    <a:pt x="143764" y="1153951"/>
                    <a:pt x="134009" y="1145717"/>
                  </a:cubicBezTo>
                  <a:cubicBezTo>
                    <a:pt x="122355" y="1135835"/>
                    <a:pt x="111206" y="1126841"/>
                    <a:pt x="96004" y="1123547"/>
                  </a:cubicBezTo>
                  <a:cubicBezTo>
                    <a:pt x="83336" y="1120760"/>
                    <a:pt x="69527" y="1123421"/>
                    <a:pt x="57240" y="1118987"/>
                  </a:cubicBezTo>
                  <a:cubicBezTo>
                    <a:pt x="45205" y="1114680"/>
                    <a:pt x="23668" y="1081362"/>
                    <a:pt x="8974" y="1083009"/>
                  </a:cubicBezTo>
                  <a:cubicBezTo>
                    <a:pt x="8720" y="1082375"/>
                    <a:pt x="8467" y="1081742"/>
                    <a:pt x="8213" y="1081109"/>
                  </a:cubicBezTo>
                  <a:cubicBezTo>
                    <a:pt x="5806" y="1075661"/>
                    <a:pt x="2386" y="1070721"/>
                    <a:pt x="866" y="1065020"/>
                  </a:cubicBezTo>
                  <a:cubicBezTo>
                    <a:pt x="-2935" y="1050705"/>
                    <a:pt x="6820" y="1042217"/>
                    <a:pt x="9987" y="1029169"/>
                  </a:cubicBezTo>
                  <a:cubicBezTo>
                    <a:pt x="12014" y="1020681"/>
                    <a:pt x="12647" y="1011813"/>
                    <a:pt x="13534" y="1003199"/>
                  </a:cubicBezTo>
                  <a:cubicBezTo>
                    <a:pt x="14167" y="997118"/>
                    <a:pt x="15054" y="991037"/>
                    <a:pt x="13027" y="985083"/>
                  </a:cubicBezTo>
                  <a:cubicBezTo>
                    <a:pt x="10367" y="977102"/>
                    <a:pt x="-1415" y="958353"/>
                    <a:pt x="12394" y="954046"/>
                  </a:cubicBezTo>
                  <a:cubicBezTo>
                    <a:pt x="17461" y="952526"/>
                    <a:pt x="23162" y="954680"/>
                    <a:pt x="28356" y="954553"/>
                  </a:cubicBezTo>
                  <a:cubicBezTo>
                    <a:pt x="34183" y="954426"/>
                    <a:pt x="40011" y="951892"/>
                    <a:pt x="44065" y="947712"/>
                  </a:cubicBezTo>
                  <a:cubicBezTo>
                    <a:pt x="44318" y="947332"/>
                    <a:pt x="44698" y="947078"/>
                    <a:pt x="44952" y="946825"/>
                  </a:cubicBezTo>
                  <a:cubicBezTo>
                    <a:pt x="45458" y="946192"/>
                    <a:pt x="45965" y="945558"/>
                    <a:pt x="46218" y="945052"/>
                  </a:cubicBezTo>
                  <a:cubicBezTo>
                    <a:pt x="47105" y="943658"/>
                    <a:pt x="47485" y="942518"/>
                    <a:pt x="47485" y="941378"/>
                  </a:cubicBezTo>
                  <a:cubicBezTo>
                    <a:pt x="47485" y="941378"/>
                    <a:pt x="87263" y="919842"/>
                    <a:pt x="100185" y="904007"/>
                  </a:cubicBezTo>
                  <a:cubicBezTo>
                    <a:pt x="113106" y="888171"/>
                    <a:pt x="131856" y="856121"/>
                    <a:pt x="148071" y="860174"/>
                  </a:cubicBezTo>
                  <a:cubicBezTo>
                    <a:pt x="164286" y="864102"/>
                    <a:pt x="171127" y="867775"/>
                    <a:pt x="176828" y="888171"/>
                  </a:cubicBezTo>
                  <a:cubicBezTo>
                    <a:pt x="182402" y="908567"/>
                    <a:pt x="204571" y="935424"/>
                    <a:pt x="230922" y="953159"/>
                  </a:cubicBezTo>
                  <a:cubicBezTo>
                    <a:pt x="257271" y="971022"/>
                    <a:pt x="274500" y="982803"/>
                    <a:pt x="283748" y="1003706"/>
                  </a:cubicBezTo>
                  <a:cubicBezTo>
                    <a:pt x="292995" y="1024482"/>
                    <a:pt x="315798" y="1054125"/>
                    <a:pt x="334548" y="1052478"/>
                  </a:cubicBezTo>
                  <a:cubicBezTo>
                    <a:pt x="353296" y="1050832"/>
                    <a:pt x="396875" y="1049565"/>
                    <a:pt x="402830" y="1073634"/>
                  </a:cubicBezTo>
                  <a:cubicBezTo>
                    <a:pt x="408783" y="1097704"/>
                    <a:pt x="410177" y="1109232"/>
                    <a:pt x="423986" y="1112906"/>
                  </a:cubicBezTo>
                  <a:cubicBezTo>
                    <a:pt x="437794" y="1116580"/>
                    <a:pt x="470098" y="1119494"/>
                    <a:pt x="468831" y="1149517"/>
                  </a:cubicBezTo>
                  <a:cubicBezTo>
                    <a:pt x="467564" y="1179541"/>
                    <a:pt x="464524" y="1187142"/>
                    <a:pt x="480993" y="1185495"/>
                  </a:cubicBezTo>
                  <a:cubicBezTo>
                    <a:pt x="497461" y="1183848"/>
                    <a:pt x="524571" y="1175614"/>
                    <a:pt x="528245" y="1193729"/>
                  </a:cubicBezTo>
                  <a:cubicBezTo>
                    <a:pt x="531919" y="1211845"/>
                    <a:pt x="537113" y="1248456"/>
                    <a:pt x="553962" y="1235914"/>
                  </a:cubicBezTo>
                  <a:cubicBezTo>
                    <a:pt x="570810" y="1223373"/>
                    <a:pt x="582718" y="1208171"/>
                    <a:pt x="591586" y="1209818"/>
                  </a:cubicBezTo>
                  <a:cubicBezTo>
                    <a:pt x="600454" y="1211465"/>
                    <a:pt x="623637" y="1204624"/>
                    <a:pt x="622243" y="1181314"/>
                  </a:cubicBezTo>
                  <a:cubicBezTo>
                    <a:pt x="633899" y="1181441"/>
                    <a:pt x="645553" y="1180428"/>
                    <a:pt x="656448" y="1178147"/>
                  </a:cubicBezTo>
                  <a:cubicBezTo>
                    <a:pt x="683051" y="1172700"/>
                    <a:pt x="706994" y="1158765"/>
                    <a:pt x="733471" y="1152684"/>
                  </a:cubicBezTo>
                  <a:cubicBezTo>
                    <a:pt x="744112" y="1150277"/>
                    <a:pt x="755767" y="1148757"/>
                    <a:pt x="764128" y="1141283"/>
                  </a:cubicBezTo>
                  <a:cubicBezTo>
                    <a:pt x="775022" y="1131528"/>
                    <a:pt x="777683" y="1114933"/>
                    <a:pt x="779583" y="1101124"/>
                  </a:cubicBezTo>
                  <a:cubicBezTo>
                    <a:pt x="782116" y="1082629"/>
                    <a:pt x="780723" y="1060333"/>
                    <a:pt x="788704" y="1043104"/>
                  </a:cubicBezTo>
                  <a:cubicBezTo>
                    <a:pt x="795546" y="1028409"/>
                    <a:pt x="811887" y="1017387"/>
                    <a:pt x="828102" y="1016754"/>
                  </a:cubicBezTo>
                  <a:cubicBezTo>
                    <a:pt x="849005" y="1015867"/>
                    <a:pt x="860913" y="1009406"/>
                    <a:pt x="871808" y="991797"/>
                  </a:cubicBezTo>
                  <a:cubicBezTo>
                    <a:pt x="880929" y="977102"/>
                    <a:pt x="891191" y="960380"/>
                    <a:pt x="907406" y="952906"/>
                  </a:cubicBezTo>
                  <a:cubicBezTo>
                    <a:pt x="923241" y="945558"/>
                    <a:pt x="940090" y="943531"/>
                    <a:pt x="954912" y="934030"/>
                  </a:cubicBezTo>
                  <a:cubicBezTo>
                    <a:pt x="973281" y="922249"/>
                    <a:pt x="977081" y="908314"/>
                    <a:pt x="982528" y="887791"/>
                  </a:cubicBezTo>
                  <a:cubicBezTo>
                    <a:pt x="986203" y="873729"/>
                    <a:pt x="989876" y="858021"/>
                    <a:pt x="1003178" y="850040"/>
                  </a:cubicBezTo>
                  <a:cubicBezTo>
                    <a:pt x="1016226" y="842312"/>
                    <a:pt x="1052838" y="835471"/>
                    <a:pt x="1036876" y="813302"/>
                  </a:cubicBezTo>
                  <a:cubicBezTo>
                    <a:pt x="1026107" y="798353"/>
                    <a:pt x="1009512" y="788979"/>
                    <a:pt x="1022560" y="768456"/>
                  </a:cubicBezTo>
                  <a:cubicBezTo>
                    <a:pt x="1030668" y="755661"/>
                    <a:pt x="1045743" y="749454"/>
                    <a:pt x="1057525" y="740839"/>
                  </a:cubicBezTo>
                  <a:cubicBezTo>
                    <a:pt x="1074373" y="728551"/>
                    <a:pt x="1089322" y="713856"/>
                    <a:pt x="1095909" y="693587"/>
                  </a:cubicBezTo>
                  <a:cubicBezTo>
                    <a:pt x="1102624" y="672684"/>
                    <a:pt x="1099963" y="650261"/>
                    <a:pt x="1097177" y="628979"/>
                  </a:cubicBezTo>
                  <a:cubicBezTo>
                    <a:pt x="1094516" y="608203"/>
                    <a:pt x="1091982" y="587554"/>
                    <a:pt x="1094136" y="566651"/>
                  </a:cubicBezTo>
                  <a:cubicBezTo>
                    <a:pt x="1096290" y="545875"/>
                    <a:pt x="1101737" y="525479"/>
                    <a:pt x="1103890" y="504703"/>
                  </a:cubicBezTo>
                  <a:cubicBezTo>
                    <a:pt x="1106171" y="481647"/>
                    <a:pt x="1104904" y="458338"/>
                    <a:pt x="1098570" y="436041"/>
                  </a:cubicBezTo>
                  <a:cubicBezTo>
                    <a:pt x="1095149" y="423880"/>
                    <a:pt x="1088309" y="399557"/>
                    <a:pt x="1074880" y="394109"/>
                  </a:cubicBezTo>
                  <a:cubicBezTo>
                    <a:pt x="1052457" y="384861"/>
                    <a:pt x="1044476" y="455804"/>
                    <a:pt x="1041436" y="468092"/>
                  </a:cubicBezTo>
                  <a:cubicBezTo>
                    <a:pt x="1033582" y="500903"/>
                    <a:pt x="1024081" y="532953"/>
                    <a:pt x="1018126" y="566144"/>
                  </a:cubicBezTo>
                  <a:cubicBezTo>
                    <a:pt x="1017620" y="568931"/>
                    <a:pt x="1017113" y="571845"/>
                    <a:pt x="1016479" y="574759"/>
                  </a:cubicBezTo>
                  <a:cubicBezTo>
                    <a:pt x="1015846" y="572732"/>
                    <a:pt x="965553" y="407031"/>
                    <a:pt x="990256" y="380428"/>
                  </a:cubicBezTo>
                  <a:cubicBezTo>
                    <a:pt x="1014959" y="353698"/>
                    <a:pt x="1032822" y="354965"/>
                    <a:pt x="1010019" y="339889"/>
                  </a:cubicBezTo>
                  <a:cubicBezTo>
                    <a:pt x="987215" y="324687"/>
                    <a:pt x="945664" y="306192"/>
                    <a:pt x="953645" y="277561"/>
                  </a:cubicBezTo>
                  <a:cubicBezTo>
                    <a:pt x="961626" y="248805"/>
                    <a:pt x="986582" y="231702"/>
                    <a:pt x="1004064" y="231322"/>
                  </a:cubicBezTo>
                  <a:cubicBezTo>
                    <a:pt x="1021547" y="231069"/>
                    <a:pt x="1029147" y="236643"/>
                    <a:pt x="1045363" y="222454"/>
                  </a:cubicBezTo>
                  <a:cubicBezTo>
                    <a:pt x="1061452" y="208266"/>
                    <a:pt x="1080581" y="188504"/>
                    <a:pt x="1098189" y="187490"/>
                  </a:cubicBezTo>
                  <a:cubicBezTo>
                    <a:pt x="1115672" y="186477"/>
                    <a:pt x="1148989" y="202946"/>
                    <a:pt x="1162164" y="196738"/>
                  </a:cubicBezTo>
                  <a:cubicBezTo>
                    <a:pt x="1175339" y="190531"/>
                    <a:pt x="1190161" y="180269"/>
                    <a:pt x="1194848" y="164054"/>
                  </a:cubicBezTo>
                  <a:cubicBezTo>
                    <a:pt x="1199409" y="147839"/>
                    <a:pt x="1216258" y="125796"/>
                    <a:pt x="1232726" y="134664"/>
                  </a:cubicBezTo>
                  <a:cubicBezTo>
                    <a:pt x="1249196" y="143531"/>
                    <a:pt x="1269971" y="174949"/>
                    <a:pt x="1278206" y="160000"/>
                  </a:cubicBezTo>
                  <a:cubicBezTo>
                    <a:pt x="1286440" y="145178"/>
                    <a:pt x="1293408" y="124782"/>
                    <a:pt x="1302909" y="139224"/>
                  </a:cubicBezTo>
                  <a:cubicBezTo>
                    <a:pt x="1312537" y="153793"/>
                    <a:pt x="1328372" y="183436"/>
                    <a:pt x="1340280" y="184450"/>
                  </a:cubicBezTo>
                  <a:cubicBezTo>
                    <a:pt x="1352188" y="185463"/>
                    <a:pt x="1358015" y="168995"/>
                    <a:pt x="1369924" y="170641"/>
                  </a:cubicBezTo>
                  <a:cubicBezTo>
                    <a:pt x="1381832" y="172288"/>
                    <a:pt x="1395641" y="177609"/>
                    <a:pt x="1407802" y="182169"/>
                  </a:cubicBezTo>
                  <a:cubicBezTo>
                    <a:pt x="1419963" y="186730"/>
                    <a:pt x="1429844" y="197372"/>
                    <a:pt x="1445046" y="185083"/>
                  </a:cubicBezTo>
                  <a:cubicBezTo>
                    <a:pt x="1460248" y="172795"/>
                    <a:pt x="1473423" y="148092"/>
                    <a:pt x="1484318" y="149106"/>
                  </a:cubicBezTo>
                  <a:cubicBezTo>
                    <a:pt x="1495213" y="150119"/>
                    <a:pt x="1500533" y="149486"/>
                    <a:pt x="1506741" y="139604"/>
                  </a:cubicBezTo>
                  <a:cubicBezTo>
                    <a:pt x="1513075" y="129723"/>
                    <a:pt x="1528530" y="112241"/>
                    <a:pt x="1522576" y="101980"/>
                  </a:cubicBezTo>
                  <a:cubicBezTo>
                    <a:pt x="1516622" y="91718"/>
                    <a:pt x="1501801" y="61061"/>
                    <a:pt x="1516369" y="60428"/>
                  </a:cubicBezTo>
                  <a:cubicBezTo>
                    <a:pt x="1530811" y="59794"/>
                    <a:pt x="1569195" y="62075"/>
                    <a:pt x="1570082" y="48520"/>
                  </a:cubicBezTo>
                  <a:cubicBezTo>
                    <a:pt x="1571095" y="34964"/>
                    <a:pt x="1574389" y="0"/>
                    <a:pt x="1593138" y="0"/>
                  </a:cubicBezTo>
                  <a:cubicBezTo>
                    <a:pt x="1611887" y="0"/>
                    <a:pt x="1664334" y="19382"/>
                    <a:pt x="1646599" y="33318"/>
                  </a:cubicBezTo>
                  <a:cubicBezTo>
                    <a:pt x="1628736" y="47126"/>
                    <a:pt x="1596559" y="73349"/>
                    <a:pt x="1595418" y="103247"/>
                  </a:cubicBezTo>
                  <a:cubicBezTo>
                    <a:pt x="1595418" y="103247"/>
                    <a:pt x="1595418" y="103247"/>
                    <a:pt x="1595418" y="103373"/>
                  </a:cubicBezTo>
                  <a:cubicBezTo>
                    <a:pt x="1595165" y="104640"/>
                    <a:pt x="1595039" y="106034"/>
                    <a:pt x="1595039" y="107427"/>
                  </a:cubicBezTo>
                  <a:cubicBezTo>
                    <a:pt x="1595165" y="121615"/>
                    <a:pt x="1603273" y="136057"/>
                    <a:pt x="1608720" y="148852"/>
                  </a:cubicBezTo>
                  <a:cubicBezTo>
                    <a:pt x="1626076" y="189264"/>
                    <a:pt x="1640644" y="230816"/>
                    <a:pt x="1653820" y="272747"/>
                  </a:cubicBezTo>
                  <a:cubicBezTo>
                    <a:pt x="1659393" y="290483"/>
                    <a:pt x="1664460" y="309866"/>
                    <a:pt x="1675609" y="325067"/>
                  </a:cubicBezTo>
                  <a:cubicBezTo>
                    <a:pt x="1683843" y="336342"/>
                    <a:pt x="1694738" y="341790"/>
                    <a:pt x="1707912" y="345337"/>
                  </a:cubicBezTo>
                  <a:cubicBezTo>
                    <a:pt x="1728689" y="351037"/>
                    <a:pt x="1748197" y="360412"/>
                    <a:pt x="1768087" y="368266"/>
                  </a:cubicBezTo>
                  <a:cubicBezTo>
                    <a:pt x="1779362" y="372827"/>
                    <a:pt x="1784809" y="372193"/>
                    <a:pt x="1786836" y="385115"/>
                  </a:cubicBezTo>
                  <a:cubicBezTo>
                    <a:pt x="1788482" y="395376"/>
                    <a:pt x="1788356" y="405511"/>
                    <a:pt x="1788990" y="415772"/>
                  </a:cubicBezTo>
                  <a:cubicBezTo>
                    <a:pt x="1790256" y="430847"/>
                    <a:pt x="1792157" y="446429"/>
                    <a:pt x="1791016" y="46188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4" name="Полилиния: фигура 403">
              <a:extLst>
                <a:ext uri="{FF2B5EF4-FFF2-40B4-BE49-F238E27FC236}">
                  <a16:creationId xmlns:a16="http://schemas.microsoft.com/office/drawing/2014/main" id="{862BDE50-8163-4A05-AE23-39B76CFAC5B4}"/>
                </a:ext>
              </a:extLst>
            </p:cNvPr>
            <p:cNvSpPr/>
            <p:nvPr/>
          </p:nvSpPr>
          <p:spPr>
            <a:xfrm>
              <a:off x="8499718" y="5233673"/>
              <a:ext cx="1383626" cy="1748746"/>
            </a:xfrm>
            <a:custGeom>
              <a:avLst/>
              <a:gdLst>
                <a:gd name="connsiteX0" fmla="*/ 1222867 w 1383626"/>
                <a:gd name="connsiteY0" fmla="*/ 885520 h 1748746"/>
                <a:gd name="connsiteX1" fmla="*/ 1280000 w 1383626"/>
                <a:gd name="connsiteY1" fmla="*/ 932899 h 1748746"/>
                <a:gd name="connsiteX2" fmla="*/ 1307870 w 1383626"/>
                <a:gd name="connsiteY2" fmla="*/ 1031965 h 1748746"/>
                <a:gd name="connsiteX3" fmla="*/ 1269865 w 1383626"/>
                <a:gd name="connsiteY3" fmla="*/ 1137365 h 1748746"/>
                <a:gd name="connsiteX4" fmla="*/ 1248710 w 1383626"/>
                <a:gd name="connsiteY4" fmla="*/ 1251506 h 1748746"/>
                <a:gd name="connsiteX5" fmla="*/ 1253903 w 1383626"/>
                <a:gd name="connsiteY5" fmla="*/ 1307246 h 1748746"/>
                <a:gd name="connsiteX6" fmla="*/ 1273666 w 1383626"/>
                <a:gd name="connsiteY6" fmla="*/ 1344998 h 1748746"/>
                <a:gd name="connsiteX7" fmla="*/ 1251496 w 1383626"/>
                <a:gd name="connsiteY7" fmla="*/ 1434562 h 1748746"/>
                <a:gd name="connsiteX8" fmla="*/ 1177768 w 1383626"/>
                <a:gd name="connsiteY8" fmla="*/ 1482575 h 1748746"/>
                <a:gd name="connsiteX9" fmla="*/ 1163832 w 1383626"/>
                <a:gd name="connsiteY9" fmla="*/ 1520326 h 1748746"/>
                <a:gd name="connsiteX10" fmla="*/ 1125575 w 1383626"/>
                <a:gd name="connsiteY10" fmla="*/ 1532868 h 1748746"/>
                <a:gd name="connsiteX11" fmla="*/ 1090863 w 1383626"/>
                <a:gd name="connsiteY11" fmla="*/ 1519946 h 1748746"/>
                <a:gd name="connsiteX12" fmla="*/ 1017894 w 1383626"/>
                <a:gd name="connsiteY12" fmla="*/ 1493976 h 1748746"/>
                <a:gd name="connsiteX13" fmla="*/ 947332 w 1383626"/>
                <a:gd name="connsiteY13" fmla="*/ 1483588 h 1748746"/>
                <a:gd name="connsiteX14" fmla="*/ 917308 w 1383626"/>
                <a:gd name="connsiteY14" fmla="*/ 1505504 h 1748746"/>
                <a:gd name="connsiteX15" fmla="*/ 871196 w 1383626"/>
                <a:gd name="connsiteY15" fmla="*/ 1521593 h 1748746"/>
                <a:gd name="connsiteX16" fmla="*/ 795313 w 1383626"/>
                <a:gd name="connsiteY16" fmla="*/ 1483208 h 1748746"/>
                <a:gd name="connsiteX17" fmla="*/ 716263 w 1383626"/>
                <a:gd name="connsiteY17" fmla="*/ 1484982 h 1748746"/>
                <a:gd name="connsiteX18" fmla="*/ 681425 w 1383626"/>
                <a:gd name="connsiteY18" fmla="*/ 1507151 h 1748746"/>
                <a:gd name="connsiteX19" fmla="*/ 642914 w 1383626"/>
                <a:gd name="connsiteY19" fmla="*/ 1535401 h 1748746"/>
                <a:gd name="connsiteX20" fmla="*/ 608836 w 1383626"/>
                <a:gd name="connsiteY20" fmla="*/ 1598869 h 1748746"/>
                <a:gd name="connsiteX21" fmla="*/ 570452 w 1383626"/>
                <a:gd name="connsiteY21" fmla="*/ 1657270 h 1748746"/>
                <a:gd name="connsiteX22" fmla="*/ 491401 w 1383626"/>
                <a:gd name="connsiteY22" fmla="*/ 1666644 h 1748746"/>
                <a:gd name="connsiteX23" fmla="*/ 429327 w 1383626"/>
                <a:gd name="connsiteY23" fmla="*/ 1704269 h 1748746"/>
                <a:gd name="connsiteX24" fmla="*/ 399937 w 1383626"/>
                <a:gd name="connsiteY24" fmla="*/ 1731252 h 1748746"/>
                <a:gd name="connsiteX25" fmla="*/ 322407 w 1383626"/>
                <a:gd name="connsiteY25" fmla="*/ 1743541 h 1748746"/>
                <a:gd name="connsiteX26" fmla="*/ 290356 w 1383626"/>
                <a:gd name="connsiteY26" fmla="*/ 1734926 h 1748746"/>
                <a:gd name="connsiteX27" fmla="*/ 265906 w 1383626"/>
                <a:gd name="connsiteY27" fmla="*/ 1747594 h 1748746"/>
                <a:gd name="connsiteX28" fmla="*/ 236263 w 1383626"/>
                <a:gd name="connsiteY28" fmla="*/ 1738600 h 1748746"/>
                <a:gd name="connsiteX29" fmla="*/ 171528 w 1383626"/>
                <a:gd name="connsiteY29" fmla="*/ 1733153 h 1748746"/>
                <a:gd name="connsiteX30" fmla="*/ 104259 w 1383626"/>
                <a:gd name="connsiteY30" fmla="*/ 1731886 h 1748746"/>
                <a:gd name="connsiteX31" fmla="*/ 35091 w 1383626"/>
                <a:gd name="connsiteY31" fmla="*/ 1690587 h 1748746"/>
                <a:gd name="connsiteX32" fmla="*/ 0 w 1383626"/>
                <a:gd name="connsiteY32" fmla="*/ 1661071 h 1748746"/>
                <a:gd name="connsiteX33" fmla="*/ 380 w 1383626"/>
                <a:gd name="connsiteY33" fmla="*/ 1649416 h 1748746"/>
                <a:gd name="connsiteX34" fmla="*/ 2661 w 1383626"/>
                <a:gd name="connsiteY34" fmla="*/ 1617365 h 1748746"/>
                <a:gd name="connsiteX35" fmla="*/ 6207 w 1383626"/>
                <a:gd name="connsiteY35" fmla="*/ 1585314 h 1748746"/>
                <a:gd name="connsiteX36" fmla="*/ 38638 w 1383626"/>
                <a:gd name="connsiteY36" fmla="*/ 1578347 h 1748746"/>
                <a:gd name="connsiteX37" fmla="*/ 92985 w 1383626"/>
                <a:gd name="connsiteY37" fmla="*/ 1531347 h 1748746"/>
                <a:gd name="connsiteX38" fmla="*/ 72209 w 1383626"/>
                <a:gd name="connsiteY38" fmla="*/ 1525393 h 1748746"/>
                <a:gd name="connsiteX39" fmla="*/ 41299 w 1383626"/>
                <a:gd name="connsiteY39" fmla="*/ 1530461 h 1748746"/>
                <a:gd name="connsiteX40" fmla="*/ 25463 w 1383626"/>
                <a:gd name="connsiteY40" fmla="*/ 1511712 h 1748746"/>
                <a:gd name="connsiteX41" fmla="*/ 46999 w 1383626"/>
                <a:gd name="connsiteY41" fmla="*/ 1481941 h 1748746"/>
                <a:gd name="connsiteX42" fmla="*/ 45986 w 1383626"/>
                <a:gd name="connsiteY42" fmla="*/ 1466359 h 1748746"/>
                <a:gd name="connsiteX43" fmla="*/ 54220 w 1383626"/>
                <a:gd name="connsiteY43" fmla="*/ 1449131 h 1748746"/>
                <a:gd name="connsiteX44" fmla="*/ 69675 w 1383626"/>
                <a:gd name="connsiteY44" fmla="*/ 1422527 h 1748746"/>
                <a:gd name="connsiteX45" fmla="*/ 52320 w 1383626"/>
                <a:gd name="connsiteY45" fmla="*/ 1397824 h 1748746"/>
                <a:gd name="connsiteX46" fmla="*/ 65115 w 1383626"/>
                <a:gd name="connsiteY46" fmla="*/ 1365140 h 1748746"/>
                <a:gd name="connsiteX47" fmla="*/ 99193 w 1383626"/>
                <a:gd name="connsiteY47" fmla="*/ 1364887 h 1748746"/>
                <a:gd name="connsiteX48" fmla="*/ 147332 w 1383626"/>
                <a:gd name="connsiteY48" fmla="*/ 1358046 h 1748746"/>
                <a:gd name="connsiteX49" fmla="*/ 174442 w 1383626"/>
                <a:gd name="connsiteY49" fmla="*/ 1330176 h 1748746"/>
                <a:gd name="connsiteX50" fmla="*/ 210419 w 1383626"/>
                <a:gd name="connsiteY50" fmla="*/ 1305219 h 1748746"/>
                <a:gd name="connsiteX51" fmla="*/ 242344 w 1383626"/>
                <a:gd name="connsiteY51" fmla="*/ 1294578 h 1748746"/>
                <a:gd name="connsiteX52" fmla="*/ 272241 w 1383626"/>
                <a:gd name="connsiteY52" fmla="*/ 1307246 h 1748746"/>
                <a:gd name="connsiteX53" fmla="*/ 289216 w 1383626"/>
                <a:gd name="connsiteY53" fmla="*/ 1295845 h 1748746"/>
                <a:gd name="connsiteX54" fmla="*/ 300744 w 1383626"/>
                <a:gd name="connsiteY54" fmla="*/ 1275322 h 1748746"/>
                <a:gd name="connsiteX55" fmla="*/ 341410 w 1383626"/>
                <a:gd name="connsiteY55" fmla="*/ 1254800 h 1748746"/>
                <a:gd name="connsiteX56" fmla="*/ 365226 w 1383626"/>
                <a:gd name="connsiteY56" fmla="*/ 1216288 h 1748746"/>
                <a:gd name="connsiteX57" fmla="*/ 386508 w 1383626"/>
                <a:gd name="connsiteY57" fmla="*/ 1189558 h 1748746"/>
                <a:gd name="connsiteX58" fmla="*/ 418939 w 1383626"/>
                <a:gd name="connsiteY58" fmla="*/ 1187911 h 1748746"/>
                <a:gd name="connsiteX59" fmla="*/ 448203 w 1383626"/>
                <a:gd name="connsiteY59" fmla="*/ 1177017 h 1748746"/>
                <a:gd name="connsiteX60" fmla="*/ 464545 w 1383626"/>
                <a:gd name="connsiteY60" fmla="*/ 1148640 h 1748746"/>
                <a:gd name="connsiteX61" fmla="*/ 491275 w 1383626"/>
                <a:gd name="connsiteY61" fmla="*/ 1143066 h 1748746"/>
                <a:gd name="connsiteX62" fmla="*/ 520666 w 1383626"/>
                <a:gd name="connsiteY62" fmla="*/ 1131791 h 1748746"/>
                <a:gd name="connsiteX63" fmla="*/ 552462 w 1383626"/>
                <a:gd name="connsiteY63" fmla="*/ 1117982 h 1748746"/>
                <a:gd name="connsiteX64" fmla="*/ 605163 w 1383626"/>
                <a:gd name="connsiteY64" fmla="*/ 1069590 h 1748746"/>
                <a:gd name="connsiteX65" fmla="*/ 609469 w 1383626"/>
                <a:gd name="connsiteY65" fmla="*/ 1047547 h 1748746"/>
                <a:gd name="connsiteX66" fmla="*/ 621885 w 1383626"/>
                <a:gd name="connsiteY66" fmla="*/ 1028925 h 1748746"/>
                <a:gd name="connsiteX67" fmla="*/ 625179 w 1383626"/>
                <a:gd name="connsiteY67" fmla="*/ 986993 h 1748746"/>
                <a:gd name="connsiteX68" fmla="*/ 591101 w 1383626"/>
                <a:gd name="connsiteY68" fmla="*/ 961150 h 1748746"/>
                <a:gd name="connsiteX69" fmla="*/ 578306 w 1383626"/>
                <a:gd name="connsiteY69" fmla="*/ 946455 h 1748746"/>
                <a:gd name="connsiteX70" fmla="*/ 563358 w 1383626"/>
                <a:gd name="connsiteY70" fmla="*/ 934546 h 1748746"/>
                <a:gd name="connsiteX71" fmla="*/ 557403 w 1383626"/>
                <a:gd name="connsiteY71" fmla="*/ 900722 h 1748746"/>
                <a:gd name="connsiteX72" fmla="*/ 589580 w 1383626"/>
                <a:gd name="connsiteY72" fmla="*/ 878426 h 1748746"/>
                <a:gd name="connsiteX73" fmla="*/ 625558 w 1383626"/>
                <a:gd name="connsiteY73" fmla="*/ 853470 h 1748746"/>
                <a:gd name="connsiteX74" fmla="*/ 653555 w 1383626"/>
                <a:gd name="connsiteY74" fmla="*/ 808370 h 1748746"/>
                <a:gd name="connsiteX75" fmla="*/ 679019 w 1383626"/>
                <a:gd name="connsiteY75" fmla="*/ 775940 h 1748746"/>
                <a:gd name="connsiteX76" fmla="*/ 705115 w 1383626"/>
                <a:gd name="connsiteY76" fmla="*/ 740976 h 1748746"/>
                <a:gd name="connsiteX77" fmla="*/ 730705 w 1383626"/>
                <a:gd name="connsiteY77" fmla="*/ 727167 h 1748746"/>
                <a:gd name="connsiteX78" fmla="*/ 755914 w 1383626"/>
                <a:gd name="connsiteY78" fmla="*/ 724127 h 1748746"/>
                <a:gd name="connsiteX79" fmla="*/ 785938 w 1383626"/>
                <a:gd name="connsiteY79" fmla="*/ 712978 h 1748746"/>
                <a:gd name="connsiteX80" fmla="*/ 796960 w 1383626"/>
                <a:gd name="connsiteY80" fmla="*/ 690176 h 1748746"/>
                <a:gd name="connsiteX81" fmla="*/ 795186 w 1383626"/>
                <a:gd name="connsiteY81" fmla="*/ 643810 h 1748746"/>
                <a:gd name="connsiteX82" fmla="*/ 793033 w 1383626"/>
                <a:gd name="connsiteY82" fmla="*/ 613153 h 1748746"/>
                <a:gd name="connsiteX83" fmla="*/ 774283 w 1383626"/>
                <a:gd name="connsiteY83" fmla="*/ 596304 h 1748746"/>
                <a:gd name="connsiteX84" fmla="*/ 714109 w 1383626"/>
                <a:gd name="connsiteY84" fmla="*/ 573374 h 1748746"/>
                <a:gd name="connsiteX85" fmla="*/ 681805 w 1383626"/>
                <a:gd name="connsiteY85" fmla="*/ 553105 h 1748746"/>
                <a:gd name="connsiteX86" fmla="*/ 660016 w 1383626"/>
                <a:gd name="connsiteY86" fmla="*/ 500785 h 1748746"/>
                <a:gd name="connsiteX87" fmla="*/ 614917 w 1383626"/>
                <a:gd name="connsiteY87" fmla="*/ 376890 h 1748746"/>
                <a:gd name="connsiteX88" fmla="*/ 601235 w 1383626"/>
                <a:gd name="connsiteY88" fmla="*/ 335465 h 1748746"/>
                <a:gd name="connsiteX89" fmla="*/ 601615 w 1383626"/>
                <a:gd name="connsiteY89" fmla="*/ 331411 h 1748746"/>
                <a:gd name="connsiteX90" fmla="*/ 601615 w 1383626"/>
                <a:gd name="connsiteY90" fmla="*/ 331284 h 1748746"/>
                <a:gd name="connsiteX91" fmla="*/ 623532 w 1383626"/>
                <a:gd name="connsiteY91" fmla="*/ 313168 h 1748746"/>
                <a:gd name="connsiteX92" fmla="*/ 672051 w 1383626"/>
                <a:gd name="connsiteY92" fmla="*/ 299360 h 1748746"/>
                <a:gd name="connsiteX93" fmla="*/ 753254 w 1383626"/>
                <a:gd name="connsiteY93" fmla="*/ 219930 h 1748746"/>
                <a:gd name="connsiteX94" fmla="*/ 729438 w 1383626"/>
                <a:gd name="connsiteY94" fmla="*/ 201815 h 1748746"/>
                <a:gd name="connsiteX95" fmla="*/ 714363 w 1383626"/>
                <a:gd name="connsiteY95" fmla="*/ 187753 h 1748746"/>
                <a:gd name="connsiteX96" fmla="*/ 710436 w 1383626"/>
                <a:gd name="connsiteY96" fmla="*/ 158236 h 1748746"/>
                <a:gd name="connsiteX97" fmla="*/ 697894 w 1383626"/>
                <a:gd name="connsiteY97" fmla="*/ 130619 h 1748746"/>
                <a:gd name="connsiteX98" fmla="*/ 712716 w 1383626"/>
                <a:gd name="connsiteY98" fmla="*/ 87294 h 1748746"/>
                <a:gd name="connsiteX99" fmla="*/ 703848 w 1383626"/>
                <a:gd name="connsiteY99" fmla="*/ 32440 h 1748746"/>
                <a:gd name="connsiteX100" fmla="*/ 754141 w 1383626"/>
                <a:gd name="connsiteY100" fmla="*/ 136 h 1748746"/>
                <a:gd name="connsiteX101" fmla="*/ 798987 w 1383626"/>
                <a:gd name="connsiteY101" fmla="*/ 25093 h 1748746"/>
                <a:gd name="connsiteX102" fmla="*/ 833064 w 1383626"/>
                <a:gd name="connsiteY102" fmla="*/ 9637 h 1748746"/>
                <a:gd name="connsiteX103" fmla="*/ 845479 w 1383626"/>
                <a:gd name="connsiteY103" fmla="*/ 11411 h 1748746"/>
                <a:gd name="connsiteX104" fmla="*/ 863468 w 1383626"/>
                <a:gd name="connsiteY104" fmla="*/ 62844 h 1748746"/>
                <a:gd name="connsiteX105" fmla="*/ 889691 w 1383626"/>
                <a:gd name="connsiteY105" fmla="*/ 103509 h 1748746"/>
                <a:gd name="connsiteX106" fmla="*/ 908060 w 1383626"/>
                <a:gd name="connsiteY106" fmla="*/ 96542 h 1748746"/>
                <a:gd name="connsiteX107" fmla="*/ 927443 w 1383626"/>
                <a:gd name="connsiteY107" fmla="*/ 106296 h 1748746"/>
                <a:gd name="connsiteX108" fmla="*/ 931750 w 1383626"/>
                <a:gd name="connsiteY108" fmla="*/ 145314 h 1748746"/>
                <a:gd name="connsiteX109" fmla="*/ 949612 w 1383626"/>
                <a:gd name="connsiteY109" fmla="*/ 177618 h 1748746"/>
                <a:gd name="connsiteX110" fmla="*/ 979763 w 1383626"/>
                <a:gd name="connsiteY110" fmla="*/ 186613 h 1748746"/>
                <a:gd name="connsiteX111" fmla="*/ 979890 w 1383626"/>
                <a:gd name="connsiteY111" fmla="*/ 186613 h 1748746"/>
                <a:gd name="connsiteX112" fmla="*/ 990277 w 1383626"/>
                <a:gd name="connsiteY112" fmla="*/ 190793 h 1748746"/>
                <a:gd name="connsiteX113" fmla="*/ 978876 w 1383626"/>
                <a:gd name="connsiteY113" fmla="*/ 225758 h 1748746"/>
                <a:gd name="connsiteX114" fmla="*/ 998258 w 1383626"/>
                <a:gd name="connsiteY114" fmla="*/ 254261 h 1748746"/>
                <a:gd name="connsiteX115" fmla="*/ 1034743 w 1383626"/>
                <a:gd name="connsiteY115" fmla="*/ 266296 h 1748746"/>
                <a:gd name="connsiteX116" fmla="*/ 1060966 w 1383626"/>
                <a:gd name="connsiteY116" fmla="*/ 291759 h 1748746"/>
                <a:gd name="connsiteX117" fmla="*/ 1043104 w 1383626"/>
                <a:gd name="connsiteY117" fmla="*/ 323937 h 1748746"/>
                <a:gd name="connsiteX118" fmla="*/ 1071861 w 1383626"/>
                <a:gd name="connsiteY118" fmla="*/ 343826 h 1748746"/>
                <a:gd name="connsiteX119" fmla="*/ 1089850 w 1383626"/>
                <a:gd name="connsiteY119" fmla="*/ 333185 h 1748746"/>
                <a:gd name="connsiteX120" fmla="*/ 1107712 w 1383626"/>
                <a:gd name="connsiteY120" fmla="*/ 313929 h 1748746"/>
                <a:gd name="connsiteX121" fmla="*/ 1155598 w 1383626"/>
                <a:gd name="connsiteY121" fmla="*/ 307341 h 1748746"/>
                <a:gd name="connsiteX122" fmla="*/ 1182582 w 1383626"/>
                <a:gd name="connsiteY122" fmla="*/ 386518 h 1748746"/>
                <a:gd name="connsiteX123" fmla="*/ 1233761 w 1383626"/>
                <a:gd name="connsiteY123" fmla="*/ 360168 h 1748746"/>
                <a:gd name="connsiteX124" fmla="*/ 1259477 w 1383626"/>
                <a:gd name="connsiteY124" fmla="*/ 395512 h 1748746"/>
                <a:gd name="connsiteX125" fmla="*/ 1263025 w 1383626"/>
                <a:gd name="connsiteY125" fmla="*/ 431363 h 1748746"/>
                <a:gd name="connsiteX126" fmla="*/ 1254410 w 1383626"/>
                <a:gd name="connsiteY126" fmla="*/ 475956 h 1748746"/>
                <a:gd name="connsiteX127" fmla="*/ 1239842 w 1383626"/>
                <a:gd name="connsiteY127" fmla="*/ 514847 h 1748746"/>
                <a:gd name="connsiteX128" fmla="*/ 1304450 w 1383626"/>
                <a:gd name="connsiteY128" fmla="*/ 522701 h 1748746"/>
                <a:gd name="connsiteX129" fmla="*/ 1314077 w 1383626"/>
                <a:gd name="connsiteY129" fmla="*/ 554625 h 1748746"/>
                <a:gd name="connsiteX130" fmla="*/ 1286208 w 1383626"/>
                <a:gd name="connsiteY130" fmla="*/ 588830 h 1748746"/>
                <a:gd name="connsiteX131" fmla="*/ 1309011 w 1383626"/>
                <a:gd name="connsiteY131" fmla="*/ 654705 h 1748746"/>
                <a:gd name="connsiteX132" fmla="*/ 1343468 w 1383626"/>
                <a:gd name="connsiteY132" fmla="*/ 660532 h 1748746"/>
                <a:gd name="connsiteX133" fmla="*/ 1358416 w 1383626"/>
                <a:gd name="connsiteY133" fmla="*/ 686375 h 1748746"/>
                <a:gd name="connsiteX134" fmla="*/ 1383627 w 1383626"/>
                <a:gd name="connsiteY134" fmla="*/ 722480 h 1748746"/>
                <a:gd name="connsiteX135" fmla="*/ 1339921 w 1383626"/>
                <a:gd name="connsiteY135" fmla="*/ 761371 h 1748746"/>
                <a:gd name="connsiteX136" fmla="*/ 1257197 w 1383626"/>
                <a:gd name="connsiteY136" fmla="*/ 822179 h 1748746"/>
                <a:gd name="connsiteX137" fmla="*/ 1222867 w 1383626"/>
                <a:gd name="connsiteY137" fmla="*/ 885520 h 1748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383626" h="1748746">
                  <a:moveTo>
                    <a:pt x="1222867" y="885520"/>
                  </a:moveTo>
                  <a:cubicBezTo>
                    <a:pt x="1232874" y="907943"/>
                    <a:pt x="1263785" y="915544"/>
                    <a:pt x="1280000" y="932899"/>
                  </a:cubicBezTo>
                  <a:cubicBezTo>
                    <a:pt x="1304323" y="958743"/>
                    <a:pt x="1311164" y="997761"/>
                    <a:pt x="1307870" y="1031965"/>
                  </a:cubicBezTo>
                  <a:cubicBezTo>
                    <a:pt x="1304070" y="1070730"/>
                    <a:pt x="1279874" y="1100754"/>
                    <a:pt x="1269865" y="1137365"/>
                  </a:cubicBezTo>
                  <a:cubicBezTo>
                    <a:pt x="1259604" y="1174610"/>
                    <a:pt x="1248710" y="1212614"/>
                    <a:pt x="1248710" y="1251506"/>
                  </a:cubicBezTo>
                  <a:cubicBezTo>
                    <a:pt x="1248710" y="1269748"/>
                    <a:pt x="1249216" y="1289384"/>
                    <a:pt x="1253903" y="1307246"/>
                  </a:cubicBezTo>
                  <a:cubicBezTo>
                    <a:pt x="1257830" y="1321434"/>
                    <a:pt x="1266825" y="1332329"/>
                    <a:pt x="1273666" y="1344998"/>
                  </a:cubicBezTo>
                  <a:cubicBezTo>
                    <a:pt x="1291148" y="1377555"/>
                    <a:pt x="1281140" y="1413279"/>
                    <a:pt x="1251496" y="1434562"/>
                  </a:cubicBezTo>
                  <a:cubicBezTo>
                    <a:pt x="1228314" y="1451158"/>
                    <a:pt x="1193223" y="1456732"/>
                    <a:pt x="1177768" y="1482575"/>
                  </a:cubicBezTo>
                  <a:cubicBezTo>
                    <a:pt x="1170800" y="1494230"/>
                    <a:pt x="1171686" y="1509305"/>
                    <a:pt x="1163832" y="1520326"/>
                  </a:cubicBezTo>
                  <a:cubicBezTo>
                    <a:pt x="1155218" y="1532234"/>
                    <a:pt x="1139129" y="1534388"/>
                    <a:pt x="1125575" y="1532868"/>
                  </a:cubicBezTo>
                  <a:cubicBezTo>
                    <a:pt x="1112653" y="1531474"/>
                    <a:pt x="1102265" y="1525520"/>
                    <a:pt x="1090863" y="1519946"/>
                  </a:cubicBezTo>
                  <a:cubicBezTo>
                    <a:pt x="1067173" y="1508291"/>
                    <a:pt x="1041710" y="1503478"/>
                    <a:pt x="1017894" y="1493976"/>
                  </a:cubicBezTo>
                  <a:cubicBezTo>
                    <a:pt x="995725" y="1485108"/>
                    <a:pt x="971149" y="1477761"/>
                    <a:pt x="947332" y="1483588"/>
                  </a:cubicBezTo>
                  <a:cubicBezTo>
                    <a:pt x="932763" y="1487262"/>
                    <a:pt x="926683" y="1494483"/>
                    <a:pt x="917308" y="1505504"/>
                  </a:cubicBezTo>
                  <a:cubicBezTo>
                    <a:pt x="905653" y="1519566"/>
                    <a:pt x="888805" y="1521973"/>
                    <a:pt x="871196" y="1521593"/>
                  </a:cubicBezTo>
                  <a:cubicBezTo>
                    <a:pt x="838385" y="1520959"/>
                    <a:pt x="822043" y="1497143"/>
                    <a:pt x="795313" y="1483208"/>
                  </a:cubicBezTo>
                  <a:cubicBezTo>
                    <a:pt x="770356" y="1470413"/>
                    <a:pt x="741093" y="1474594"/>
                    <a:pt x="716263" y="1484982"/>
                  </a:cubicBezTo>
                  <a:cubicBezTo>
                    <a:pt x="702201" y="1490809"/>
                    <a:pt x="691180" y="1494990"/>
                    <a:pt x="681425" y="1507151"/>
                  </a:cubicBezTo>
                  <a:cubicBezTo>
                    <a:pt x="668883" y="1522606"/>
                    <a:pt x="662043" y="1530207"/>
                    <a:pt x="642914" y="1535401"/>
                  </a:cubicBezTo>
                  <a:cubicBezTo>
                    <a:pt x="612003" y="1543889"/>
                    <a:pt x="615043" y="1573153"/>
                    <a:pt x="608836" y="1598869"/>
                  </a:cubicBezTo>
                  <a:cubicBezTo>
                    <a:pt x="602756" y="1623699"/>
                    <a:pt x="593634" y="1644475"/>
                    <a:pt x="570452" y="1657270"/>
                  </a:cubicBezTo>
                  <a:cubicBezTo>
                    <a:pt x="544735" y="1671585"/>
                    <a:pt x="519905" y="1668418"/>
                    <a:pt x="491401" y="1666644"/>
                  </a:cubicBezTo>
                  <a:cubicBezTo>
                    <a:pt x="462264" y="1664871"/>
                    <a:pt x="447189" y="1684000"/>
                    <a:pt x="429327" y="1704269"/>
                  </a:cubicBezTo>
                  <a:cubicBezTo>
                    <a:pt x="420080" y="1714784"/>
                    <a:pt x="410704" y="1722258"/>
                    <a:pt x="399937" y="1731252"/>
                  </a:cubicBezTo>
                  <a:cubicBezTo>
                    <a:pt x="379921" y="1748228"/>
                    <a:pt x="346730" y="1753928"/>
                    <a:pt x="322407" y="1743541"/>
                  </a:cubicBezTo>
                  <a:cubicBezTo>
                    <a:pt x="311259" y="1738727"/>
                    <a:pt x="303405" y="1731633"/>
                    <a:pt x="290356" y="1734926"/>
                  </a:cubicBezTo>
                  <a:cubicBezTo>
                    <a:pt x="280982" y="1737333"/>
                    <a:pt x="274268" y="1745188"/>
                    <a:pt x="265906" y="1747594"/>
                  </a:cubicBezTo>
                  <a:cubicBezTo>
                    <a:pt x="256532" y="1750382"/>
                    <a:pt x="243991" y="1743161"/>
                    <a:pt x="236263" y="1738600"/>
                  </a:cubicBezTo>
                  <a:cubicBezTo>
                    <a:pt x="216120" y="1726438"/>
                    <a:pt x="193951" y="1730492"/>
                    <a:pt x="171528" y="1733153"/>
                  </a:cubicBezTo>
                  <a:cubicBezTo>
                    <a:pt x="150119" y="1735560"/>
                    <a:pt x="124783" y="1740500"/>
                    <a:pt x="104259" y="1731886"/>
                  </a:cubicBezTo>
                  <a:cubicBezTo>
                    <a:pt x="81964" y="1722511"/>
                    <a:pt x="50040" y="1710476"/>
                    <a:pt x="35091" y="1690587"/>
                  </a:cubicBezTo>
                  <a:cubicBezTo>
                    <a:pt x="24450" y="1676399"/>
                    <a:pt x="16089" y="1663984"/>
                    <a:pt x="0" y="1661071"/>
                  </a:cubicBezTo>
                  <a:cubicBezTo>
                    <a:pt x="127" y="1657143"/>
                    <a:pt x="127" y="1653343"/>
                    <a:pt x="380" y="1649416"/>
                  </a:cubicBezTo>
                  <a:cubicBezTo>
                    <a:pt x="1014" y="1638394"/>
                    <a:pt x="4560" y="1628513"/>
                    <a:pt x="2661" y="1617365"/>
                  </a:cubicBezTo>
                  <a:cubicBezTo>
                    <a:pt x="760" y="1606090"/>
                    <a:pt x="-3547" y="1594435"/>
                    <a:pt x="6207" y="1585314"/>
                  </a:cubicBezTo>
                  <a:cubicBezTo>
                    <a:pt x="15202" y="1577080"/>
                    <a:pt x="27617" y="1580247"/>
                    <a:pt x="38638" y="1578347"/>
                  </a:cubicBezTo>
                  <a:cubicBezTo>
                    <a:pt x="62962" y="1574293"/>
                    <a:pt x="87791" y="1556558"/>
                    <a:pt x="92985" y="1531347"/>
                  </a:cubicBezTo>
                  <a:cubicBezTo>
                    <a:pt x="95645" y="1518299"/>
                    <a:pt x="79937" y="1524000"/>
                    <a:pt x="72209" y="1525393"/>
                  </a:cubicBezTo>
                  <a:cubicBezTo>
                    <a:pt x="61948" y="1527167"/>
                    <a:pt x="51560" y="1528940"/>
                    <a:pt x="41299" y="1530461"/>
                  </a:cubicBezTo>
                  <a:cubicBezTo>
                    <a:pt x="27997" y="1532234"/>
                    <a:pt x="19002" y="1525393"/>
                    <a:pt x="25463" y="1511712"/>
                  </a:cubicBezTo>
                  <a:cubicBezTo>
                    <a:pt x="30404" y="1501197"/>
                    <a:pt x="45859" y="1493723"/>
                    <a:pt x="46999" y="1481941"/>
                  </a:cubicBezTo>
                  <a:cubicBezTo>
                    <a:pt x="47506" y="1476747"/>
                    <a:pt x="45479" y="1471553"/>
                    <a:pt x="45986" y="1466359"/>
                  </a:cubicBezTo>
                  <a:cubicBezTo>
                    <a:pt x="46619" y="1459645"/>
                    <a:pt x="49786" y="1454071"/>
                    <a:pt x="54220" y="1449131"/>
                  </a:cubicBezTo>
                  <a:cubicBezTo>
                    <a:pt x="61315" y="1441403"/>
                    <a:pt x="74996" y="1434942"/>
                    <a:pt x="69675" y="1422527"/>
                  </a:cubicBezTo>
                  <a:cubicBezTo>
                    <a:pt x="65621" y="1413153"/>
                    <a:pt x="54220" y="1408466"/>
                    <a:pt x="52320" y="1397824"/>
                  </a:cubicBezTo>
                  <a:cubicBezTo>
                    <a:pt x="50419" y="1387183"/>
                    <a:pt x="56627" y="1371854"/>
                    <a:pt x="65115" y="1365140"/>
                  </a:cubicBezTo>
                  <a:cubicBezTo>
                    <a:pt x="75123" y="1357413"/>
                    <a:pt x="88044" y="1363113"/>
                    <a:pt x="99193" y="1364887"/>
                  </a:cubicBezTo>
                  <a:cubicBezTo>
                    <a:pt x="115282" y="1367547"/>
                    <a:pt x="132890" y="1366027"/>
                    <a:pt x="147332" y="1358046"/>
                  </a:cubicBezTo>
                  <a:cubicBezTo>
                    <a:pt x="159367" y="1351332"/>
                    <a:pt x="164814" y="1339297"/>
                    <a:pt x="174442" y="1330176"/>
                  </a:cubicBezTo>
                  <a:cubicBezTo>
                    <a:pt x="185083" y="1320168"/>
                    <a:pt x="198638" y="1313707"/>
                    <a:pt x="210419" y="1305219"/>
                  </a:cubicBezTo>
                  <a:cubicBezTo>
                    <a:pt x="219668" y="1298505"/>
                    <a:pt x="230056" y="1289891"/>
                    <a:pt x="242344" y="1294578"/>
                  </a:cubicBezTo>
                  <a:cubicBezTo>
                    <a:pt x="253871" y="1299139"/>
                    <a:pt x="258179" y="1313834"/>
                    <a:pt x="272241" y="1307246"/>
                  </a:cubicBezTo>
                  <a:cubicBezTo>
                    <a:pt x="277688" y="1304586"/>
                    <a:pt x="285162" y="1300279"/>
                    <a:pt x="289216" y="1295845"/>
                  </a:cubicBezTo>
                  <a:cubicBezTo>
                    <a:pt x="294157" y="1290397"/>
                    <a:pt x="296437" y="1281530"/>
                    <a:pt x="300744" y="1275322"/>
                  </a:cubicBezTo>
                  <a:cubicBezTo>
                    <a:pt x="311005" y="1260120"/>
                    <a:pt x="328868" y="1265821"/>
                    <a:pt x="341410" y="1254800"/>
                  </a:cubicBezTo>
                  <a:cubicBezTo>
                    <a:pt x="352937" y="1244665"/>
                    <a:pt x="358511" y="1229716"/>
                    <a:pt x="365226" y="1216288"/>
                  </a:cubicBezTo>
                  <a:cubicBezTo>
                    <a:pt x="369659" y="1207294"/>
                    <a:pt x="377641" y="1194752"/>
                    <a:pt x="386508" y="1189558"/>
                  </a:cubicBezTo>
                  <a:cubicBezTo>
                    <a:pt x="396010" y="1184111"/>
                    <a:pt x="408678" y="1187405"/>
                    <a:pt x="418939" y="1187911"/>
                  </a:cubicBezTo>
                  <a:cubicBezTo>
                    <a:pt x="430594" y="1188545"/>
                    <a:pt x="441489" y="1187911"/>
                    <a:pt x="448203" y="1177017"/>
                  </a:cubicBezTo>
                  <a:cubicBezTo>
                    <a:pt x="453777" y="1167769"/>
                    <a:pt x="457831" y="1157254"/>
                    <a:pt x="464545" y="1148640"/>
                  </a:cubicBezTo>
                  <a:cubicBezTo>
                    <a:pt x="472779" y="1137998"/>
                    <a:pt x="479747" y="1140912"/>
                    <a:pt x="491275" y="1143066"/>
                  </a:cubicBezTo>
                  <a:cubicBezTo>
                    <a:pt x="504577" y="1145599"/>
                    <a:pt x="510784" y="1139899"/>
                    <a:pt x="520666" y="1131791"/>
                  </a:cubicBezTo>
                  <a:cubicBezTo>
                    <a:pt x="530800" y="1123556"/>
                    <a:pt x="539921" y="1120263"/>
                    <a:pt x="552462" y="1117982"/>
                  </a:cubicBezTo>
                  <a:cubicBezTo>
                    <a:pt x="576279" y="1113675"/>
                    <a:pt x="600475" y="1094040"/>
                    <a:pt x="605163" y="1069590"/>
                  </a:cubicBezTo>
                  <a:cubicBezTo>
                    <a:pt x="606556" y="1062242"/>
                    <a:pt x="606556" y="1054641"/>
                    <a:pt x="609469" y="1047547"/>
                  </a:cubicBezTo>
                  <a:cubicBezTo>
                    <a:pt x="612384" y="1040706"/>
                    <a:pt x="617831" y="1035259"/>
                    <a:pt x="621885" y="1028925"/>
                  </a:cubicBezTo>
                  <a:cubicBezTo>
                    <a:pt x="629992" y="1016763"/>
                    <a:pt x="631513" y="1000421"/>
                    <a:pt x="625179" y="986993"/>
                  </a:cubicBezTo>
                  <a:cubicBezTo>
                    <a:pt x="618718" y="973058"/>
                    <a:pt x="601742" y="970777"/>
                    <a:pt x="591101" y="961150"/>
                  </a:cubicBezTo>
                  <a:cubicBezTo>
                    <a:pt x="586287" y="956842"/>
                    <a:pt x="582866" y="951142"/>
                    <a:pt x="578306" y="946455"/>
                  </a:cubicBezTo>
                  <a:cubicBezTo>
                    <a:pt x="573872" y="941767"/>
                    <a:pt x="568172" y="938727"/>
                    <a:pt x="563358" y="934546"/>
                  </a:cubicBezTo>
                  <a:cubicBezTo>
                    <a:pt x="553603" y="926058"/>
                    <a:pt x="552083" y="912250"/>
                    <a:pt x="557403" y="900722"/>
                  </a:cubicBezTo>
                  <a:cubicBezTo>
                    <a:pt x="563104" y="888307"/>
                    <a:pt x="578052" y="883620"/>
                    <a:pt x="589580" y="878426"/>
                  </a:cubicBezTo>
                  <a:cubicBezTo>
                    <a:pt x="603262" y="872345"/>
                    <a:pt x="615677" y="865124"/>
                    <a:pt x="625558" y="853470"/>
                  </a:cubicBezTo>
                  <a:cubicBezTo>
                    <a:pt x="636960" y="839788"/>
                    <a:pt x="643167" y="822812"/>
                    <a:pt x="653555" y="808370"/>
                  </a:cubicBezTo>
                  <a:cubicBezTo>
                    <a:pt x="661662" y="797223"/>
                    <a:pt x="670404" y="786581"/>
                    <a:pt x="679019" y="775940"/>
                  </a:cubicBezTo>
                  <a:cubicBezTo>
                    <a:pt x="688266" y="764665"/>
                    <a:pt x="694093" y="750730"/>
                    <a:pt x="705115" y="740976"/>
                  </a:cubicBezTo>
                  <a:cubicBezTo>
                    <a:pt x="712335" y="734768"/>
                    <a:pt x="721457" y="729574"/>
                    <a:pt x="730705" y="727167"/>
                  </a:cubicBezTo>
                  <a:cubicBezTo>
                    <a:pt x="738939" y="725140"/>
                    <a:pt x="747554" y="725900"/>
                    <a:pt x="755914" y="724127"/>
                  </a:cubicBezTo>
                  <a:cubicBezTo>
                    <a:pt x="765923" y="721973"/>
                    <a:pt x="777071" y="718299"/>
                    <a:pt x="785938" y="712978"/>
                  </a:cubicBezTo>
                  <a:cubicBezTo>
                    <a:pt x="794679" y="707911"/>
                    <a:pt x="796326" y="699804"/>
                    <a:pt x="796960" y="690176"/>
                  </a:cubicBezTo>
                  <a:cubicBezTo>
                    <a:pt x="797973" y="674720"/>
                    <a:pt x="796200" y="659265"/>
                    <a:pt x="795186" y="643810"/>
                  </a:cubicBezTo>
                  <a:cubicBezTo>
                    <a:pt x="794553" y="633549"/>
                    <a:pt x="794553" y="623414"/>
                    <a:pt x="793033" y="613153"/>
                  </a:cubicBezTo>
                  <a:cubicBezTo>
                    <a:pt x="791006" y="600231"/>
                    <a:pt x="785558" y="600865"/>
                    <a:pt x="774283" y="596304"/>
                  </a:cubicBezTo>
                  <a:cubicBezTo>
                    <a:pt x="754394" y="588323"/>
                    <a:pt x="734885" y="579075"/>
                    <a:pt x="714109" y="573374"/>
                  </a:cubicBezTo>
                  <a:cubicBezTo>
                    <a:pt x="701061" y="569701"/>
                    <a:pt x="690040" y="564380"/>
                    <a:pt x="681805" y="553105"/>
                  </a:cubicBezTo>
                  <a:cubicBezTo>
                    <a:pt x="670784" y="537904"/>
                    <a:pt x="665590" y="518521"/>
                    <a:pt x="660016" y="500785"/>
                  </a:cubicBezTo>
                  <a:cubicBezTo>
                    <a:pt x="646841" y="458853"/>
                    <a:pt x="632273" y="417302"/>
                    <a:pt x="614917" y="376890"/>
                  </a:cubicBezTo>
                  <a:cubicBezTo>
                    <a:pt x="609469" y="364095"/>
                    <a:pt x="601362" y="349780"/>
                    <a:pt x="601235" y="335465"/>
                  </a:cubicBezTo>
                  <a:cubicBezTo>
                    <a:pt x="601235" y="333945"/>
                    <a:pt x="601362" y="332678"/>
                    <a:pt x="601615" y="331411"/>
                  </a:cubicBezTo>
                  <a:cubicBezTo>
                    <a:pt x="601615" y="331411"/>
                    <a:pt x="601615" y="331411"/>
                    <a:pt x="601615" y="331284"/>
                  </a:cubicBezTo>
                  <a:cubicBezTo>
                    <a:pt x="603516" y="320770"/>
                    <a:pt x="613017" y="316082"/>
                    <a:pt x="623532" y="313168"/>
                  </a:cubicBezTo>
                  <a:cubicBezTo>
                    <a:pt x="639873" y="308735"/>
                    <a:pt x="656342" y="306074"/>
                    <a:pt x="672051" y="299360"/>
                  </a:cubicBezTo>
                  <a:cubicBezTo>
                    <a:pt x="699161" y="287959"/>
                    <a:pt x="776564" y="264269"/>
                    <a:pt x="753254" y="219930"/>
                  </a:cubicBezTo>
                  <a:cubicBezTo>
                    <a:pt x="748187" y="210302"/>
                    <a:pt x="738939" y="205742"/>
                    <a:pt x="729438" y="201815"/>
                  </a:cubicBezTo>
                  <a:cubicBezTo>
                    <a:pt x="722090" y="198648"/>
                    <a:pt x="716389" y="195987"/>
                    <a:pt x="714363" y="187753"/>
                  </a:cubicBezTo>
                  <a:cubicBezTo>
                    <a:pt x="711956" y="178125"/>
                    <a:pt x="712843" y="167864"/>
                    <a:pt x="710436" y="158236"/>
                  </a:cubicBezTo>
                  <a:cubicBezTo>
                    <a:pt x="707775" y="148228"/>
                    <a:pt x="702328" y="139867"/>
                    <a:pt x="697894" y="130619"/>
                  </a:cubicBezTo>
                  <a:cubicBezTo>
                    <a:pt x="689026" y="112123"/>
                    <a:pt x="707395" y="103382"/>
                    <a:pt x="712716" y="87294"/>
                  </a:cubicBezTo>
                  <a:cubicBezTo>
                    <a:pt x="719050" y="67785"/>
                    <a:pt x="698654" y="51316"/>
                    <a:pt x="703848" y="32440"/>
                  </a:cubicBezTo>
                  <a:cubicBezTo>
                    <a:pt x="708535" y="15338"/>
                    <a:pt x="738052" y="1910"/>
                    <a:pt x="754141" y="136"/>
                  </a:cubicBezTo>
                  <a:cubicBezTo>
                    <a:pt x="775170" y="-2018"/>
                    <a:pt x="780871" y="22052"/>
                    <a:pt x="798987" y="25093"/>
                  </a:cubicBezTo>
                  <a:cubicBezTo>
                    <a:pt x="811528" y="27120"/>
                    <a:pt x="821537" y="12804"/>
                    <a:pt x="833064" y="9637"/>
                  </a:cubicBezTo>
                  <a:cubicBezTo>
                    <a:pt x="836991" y="8497"/>
                    <a:pt x="841045" y="8750"/>
                    <a:pt x="845479" y="11411"/>
                  </a:cubicBezTo>
                  <a:cubicBezTo>
                    <a:pt x="861568" y="21039"/>
                    <a:pt x="860935" y="46755"/>
                    <a:pt x="863468" y="62844"/>
                  </a:cubicBezTo>
                  <a:cubicBezTo>
                    <a:pt x="865622" y="76399"/>
                    <a:pt x="868789" y="107056"/>
                    <a:pt x="889691" y="103509"/>
                  </a:cubicBezTo>
                  <a:cubicBezTo>
                    <a:pt x="896152" y="102369"/>
                    <a:pt x="901220" y="97428"/>
                    <a:pt x="908060" y="96542"/>
                  </a:cubicBezTo>
                  <a:cubicBezTo>
                    <a:pt x="917308" y="95401"/>
                    <a:pt x="922375" y="99328"/>
                    <a:pt x="927443" y="106296"/>
                  </a:cubicBezTo>
                  <a:cubicBezTo>
                    <a:pt x="936184" y="118078"/>
                    <a:pt x="930483" y="131759"/>
                    <a:pt x="931750" y="145314"/>
                  </a:cubicBezTo>
                  <a:cubicBezTo>
                    <a:pt x="933017" y="157729"/>
                    <a:pt x="940744" y="169257"/>
                    <a:pt x="949612" y="177618"/>
                  </a:cubicBezTo>
                  <a:cubicBezTo>
                    <a:pt x="957593" y="185219"/>
                    <a:pt x="969375" y="184333"/>
                    <a:pt x="979763" y="186613"/>
                  </a:cubicBezTo>
                  <a:cubicBezTo>
                    <a:pt x="979763" y="186613"/>
                    <a:pt x="979763" y="186613"/>
                    <a:pt x="979890" y="186613"/>
                  </a:cubicBezTo>
                  <a:cubicBezTo>
                    <a:pt x="983690" y="187373"/>
                    <a:pt x="987237" y="188640"/>
                    <a:pt x="990277" y="190793"/>
                  </a:cubicBezTo>
                  <a:cubicBezTo>
                    <a:pt x="1003452" y="199914"/>
                    <a:pt x="981789" y="215116"/>
                    <a:pt x="978876" y="225758"/>
                  </a:cubicBezTo>
                  <a:cubicBezTo>
                    <a:pt x="975328" y="239060"/>
                    <a:pt x="986477" y="250207"/>
                    <a:pt x="998258" y="254261"/>
                  </a:cubicBezTo>
                  <a:cubicBezTo>
                    <a:pt x="1011180" y="258822"/>
                    <a:pt x="1022834" y="258315"/>
                    <a:pt x="1034743" y="266296"/>
                  </a:cubicBezTo>
                  <a:cubicBezTo>
                    <a:pt x="1041964" y="271110"/>
                    <a:pt x="1062867" y="280105"/>
                    <a:pt x="1060966" y="291759"/>
                  </a:cubicBezTo>
                  <a:cubicBezTo>
                    <a:pt x="1058939" y="304301"/>
                    <a:pt x="1041077" y="309368"/>
                    <a:pt x="1043104" y="323937"/>
                  </a:cubicBezTo>
                  <a:cubicBezTo>
                    <a:pt x="1045004" y="337619"/>
                    <a:pt x="1060206" y="343066"/>
                    <a:pt x="1071861" y="343826"/>
                  </a:cubicBezTo>
                  <a:cubicBezTo>
                    <a:pt x="1081489" y="344459"/>
                    <a:pt x="1085542" y="340406"/>
                    <a:pt x="1089850" y="333185"/>
                  </a:cubicBezTo>
                  <a:cubicBezTo>
                    <a:pt x="1094284" y="325837"/>
                    <a:pt x="1100998" y="319123"/>
                    <a:pt x="1107712" y="313929"/>
                  </a:cubicBezTo>
                  <a:cubicBezTo>
                    <a:pt x="1121267" y="303287"/>
                    <a:pt x="1140016" y="296700"/>
                    <a:pt x="1155598" y="307341"/>
                  </a:cubicBezTo>
                  <a:cubicBezTo>
                    <a:pt x="1181314" y="324950"/>
                    <a:pt x="1159018" y="365995"/>
                    <a:pt x="1182582" y="386518"/>
                  </a:cubicBezTo>
                  <a:cubicBezTo>
                    <a:pt x="1207538" y="408307"/>
                    <a:pt x="1210451" y="350413"/>
                    <a:pt x="1233761" y="360168"/>
                  </a:cubicBezTo>
                  <a:cubicBezTo>
                    <a:pt x="1246556" y="365488"/>
                    <a:pt x="1255424" y="383097"/>
                    <a:pt x="1259477" y="395512"/>
                  </a:cubicBezTo>
                  <a:cubicBezTo>
                    <a:pt x="1263278" y="407167"/>
                    <a:pt x="1263025" y="419328"/>
                    <a:pt x="1263025" y="431363"/>
                  </a:cubicBezTo>
                  <a:cubicBezTo>
                    <a:pt x="1262898" y="447072"/>
                    <a:pt x="1260491" y="461387"/>
                    <a:pt x="1254410" y="475956"/>
                  </a:cubicBezTo>
                  <a:cubicBezTo>
                    <a:pt x="1248963" y="488877"/>
                    <a:pt x="1242502" y="501039"/>
                    <a:pt x="1239842" y="514847"/>
                  </a:cubicBezTo>
                  <a:cubicBezTo>
                    <a:pt x="1260618" y="518521"/>
                    <a:pt x="1285827" y="508893"/>
                    <a:pt x="1304450" y="522701"/>
                  </a:cubicBezTo>
                  <a:cubicBezTo>
                    <a:pt x="1313698" y="529669"/>
                    <a:pt x="1319399" y="543858"/>
                    <a:pt x="1314077" y="554625"/>
                  </a:cubicBezTo>
                  <a:cubicBezTo>
                    <a:pt x="1307364" y="568054"/>
                    <a:pt x="1289881" y="574515"/>
                    <a:pt x="1286208" y="588830"/>
                  </a:cubicBezTo>
                  <a:cubicBezTo>
                    <a:pt x="1280887" y="609606"/>
                    <a:pt x="1285067" y="646977"/>
                    <a:pt x="1309011" y="654705"/>
                  </a:cubicBezTo>
                  <a:cubicBezTo>
                    <a:pt x="1321552" y="658758"/>
                    <a:pt x="1332573" y="650524"/>
                    <a:pt x="1343468" y="660532"/>
                  </a:cubicBezTo>
                  <a:cubicBezTo>
                    <a:pt x="1350816" y="667246"/>
                    <a:pt x="1353603" y="677888"/>
                    <a:pt x="1358416" y="686375"/>
                  </a:cubicBezTo>
                  <a:cubicBezTo>
                    <a:pt x="1366018" y="699804"/>
                    <a:pt x="1374505" y="711585"/>
                    <a:pt x="1383627" y="722480"/>
                  </a:cubicBezTo>
                  <a:cubicBezTo>
                    <a:pt x="1367538" y="732994"/>
                    <a:pt x="1353603" y="748323"/>
                    <a:pt x="1339921" y="761371"/>
                  </a:cubicBezTo>
                  <a:cubicBezTo>
                    <a:pt x="1313191" y="782654"/>
                    <a:pt x="1286334" y="803937"/>
                    <a:pt x="1257197" y="822179"/>
                  </a:cubicBezTo>
                  <a:cubicBezTo>
                    <a:pt x="1235915" y="835861"/>
                    <a:pt x="1210198" y="856763"/>
                    <a:pt x="1222867" y="88552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5" name="Полилиния: фигура 404">
              <a:extLst>
                <a:ext uri="{FF2B5EF4-FFF2-40B4-BE49-F238E27FC236}">
                  <a16:creationId xmlns:a16="http://schemas.microsoft.com/office/drawing/2014/main" id="{1BBDE1CB-056A-472C-AE08-87D902895B29}"/>
                </a:ext>
              </a:extLst>
            </p:cNvPr>
            <p:cNvSpPr/>
            <p:nvPr/>
          </p:nvSpPr>
          <p:spPr>
            <a:xfrm>
              <a:off x="3308449" y="3920580"/>
              <a:ext cx="468798" cy="489227"/>
            </a:xfrm>
            <a:custGeom>
              <a:avLst/>
              <a:gdLst>
                <a:gd name="connsiteX0" fmla="*/ 468799 w 468798"/>
                <a:gd name="connsiteY0" fmla="*/ 110379 h 489227"/>
                <a:gd name="connsiteX1" fmla="*/ 435101 w 468798"/>
                <a:gd name="connsiteY1" fmla="*/ 145343 h 489227"/>
                <a:gd name="connsiteX2" fmla="*/ 405838 w 468798"/>
                <a:gd name="connsiteY2" fmla="*/ 193356 h 489227"/>
                <a:gd name="connsiteX3" fmla="*/ 372647 w 468798"/>
                <a:gd name="connsiteY3" fmla="*/ 225533 h 489227"/>
                <a:gd name="connsiteX4" fmla="*/ 339963 w 468798"/>
                <a:gd name="connsiteY4" fmla="*/ 280387 h 489227"/>
                <a:gd name="connsiteX5" fmla="*/ 334009 w 468798"/>
                <a:gd name="connsiteY5" fmla="*/ 335874 h 489227"/>
                <a:gd name="connsiteX6" fmla="*/ 266234 w 468798"/>
                <a:gd name="connsiteY6" fmla="*/ 376412 h 489227"/>
                <a:gd name="connsiteX7" fmla="*/ 263700 w 468798"/>
                <a:gd name="connsiteY7" fmla="*/ 420371 h 489227"/>
                <a:gd name="connsiteX8" fmla="*/ 266107 w 468798"/>
                <a:gd name="connsiteY8" fmla="*/ 441654 h 489227"/>
                <a:gd name="connsiteX9" fmla="*/ 219614 w 468798"/>
                <a:gd name="connsiteY9" fmla="*/ 479785 h 489227"/>
                <a:gd name="connsiteX10" fmla="*/ 176796 w 468798"/>
                <a:gd name="connsiteY10" fmla="*/ 486753 h 489227"/>
                <a:gd name="connsiteX11" fmla="*/ 176669 w 468798"/>
                <a:gd name="connsiteY11" fmla="*/ 482699 h 489227"/>
                <a:gd name="connsiteX12" fmla="*/ 176416 w 468798"/>
                <a:gd name="connsiteY12" fmla="*/ 478265 h 489227"/>
                <a:gd name="connsiteX13" fmla="*/ 176289 w 468798"/>
                <a:gd name="connsiteY13" fmla="*/ 476871 h 489227"/>
                <a:gd name="connsiteX14" fmla="*/ 176162 w 468798"/>
                <a:gd name="connsiteY14" fmla="*/ 473958 h 489227"/>
                <a:gd name="connsiteX15" fmla="*/ 175402 w 468798"/>
                <a:gd name="connsiteY15" fmla="*/ 465976 h 489227"/>
                <a:gd name="connsiteX16" fmla="*/ 175022 w 468798"/>
                <a:gd name="connsiteY16" fmla="*/ 462809 h 489227"/>
                <a:gd name="connsiteX17" fmla="*/ 174769 w 468798"/>
                <a:gd name="connsiteY17" fmla="*/ 460909 h 489227"/>
                <a:gd name="connsiteX18" fmla="*/ 174389 w 468798"/>
                <a:gd name="connsiteY18" fmla="*/ 457995 h 489227"/>
                <a:gd name="connsiteX19" fmla="*/ 173882 w 468798"/>
                <a:gd name="connsiteY19" fmla="*/ 454702 h 489227"/>
                <a:gd name="connsiteX20" fmla="*/ 173249 w 468798"/>
                <a:gd name="connsiteY20" fmla="*/ 451155 h 489227"/>
                <a:gd name="connsiteX21" fmla="*/ 172742 w 468798"/>
                <a:gd name="connsiteY21" fmla="*/ 449001 h 489227"/>
                <a:gd name="connsiteX22" fmla="*/ 180343 w 468798"/>
                <a:gd name="connsiteY22" fmla="*/ 416697 h 489227"/>
                <a:gd name="connsiteX23" fmla="*/ 160200 w 468798"/>
                <a:gd name="connsiteY23" fmla="*/ 376412 h 489227"/>
                <a:gd name="connsiteX24" fmla="*/ 209353 w 468798"/>
                <a:gd name="connsiteY24" fmla="*/ 341448 h 489227"/>
                <a:gd name="connsiteX25" fmla="*/ 185917 w 468798"/>
                <a:gd name="connsiteY25" fmla="*/ 302176 h 489227"/>
                <a:gd name="connsiteX26" fmla="*/ 157540 w 468798"/>
                <a:gd name="connsiteY26" fmla="*/ 325612 h 489227"/>
                <a:gd name="connsiteX27" fmla="*/ 123843 w 468798"/>
                <a:gd name="connsiteY27" fmla="*/ 333847 h 489227"/>
                <a:gd name="connsiteX28" fmla="*/ 120169 w 468798"/>
                <a:gd name="connsiteY28" fmla="*/ 362223 h 489227"/>
                <a:gd name="connsiteX29" fmla="*/ 99013 w 468798"/>
                <a:gd name="connsiteY29" fmla="*/ 384013 h 489227"/>
                <a:gd name="connsiteX30" fmla="*/ 88498 w 468798"/>
                <a:gd name="connsiteY30" fmla="*/ 359943 h 489227"/>
                <a:gd name="connsiteX31" fmla="*/ 23763 w 468798"/>
                <a:gd name="connsiteY31" fmla="*/ 355003 h 489227"/>
                <a:gd name="connsiteX32" fmla="*/ 7295 w 468798"/>
                <a:gd name="connsiteY32" fmla="*/ 314718 h 489227"/>
                <a:gd name="connsiteX33" fmla="*/ 13882 w 468798"/>
                <a:gd name="connsiteY33" fmla="*/ 290268 h 489227"/>
                <a:gd name="connsiteX34" fmla="*/ 14896 w 468798"/>
                <a:gd name="connsiteY34" fmla="*/ 283554 h 489227"/>
                <a:gd name="connsiteX35" fmla="*/ 27057 w 468798"/>
                <a:gd name="connsiteY35" fmla="*/ 271392 h 489227"/>
                <a:gd name="connsiteX36" fmla="*/ 41245 w 468798"/>
                <a:gd name="connsiteY36" fmla="*/ 259864 h 489227"/>
                <a:gd name="connsiteX37" fmla="*/ 41752 w 468798"/>
                <a:gd name="connsiteY37" fmla="*/ 209318 h 489227"/>
                <a:gd name="connsiteX38" fmla="*/ 95339 w 468798"/>
                <a:gd name="connsiteY38" fmla="*/ 211978 h 489227"/>
                <a:gd name="connsiteX39" fmla="*/ 109781 w 468798"/>
                <a:gd name="connsiteY39" fmla="*/ 179041 h 489227"/>
                <a:gd name="connsiteX40" fmla="*/ 114721 w 468798"/>
                <a:gd name="connsiteY40" fmla="*/ 115319 h 489227"/>
                <a:gd name="connsiteX41" fmla="*/ 151079 w 468798"/>
                <a:gd name="connsiteY41" fmla="*/ 111012 h 489227"/>
                <a:gd name="connsiteX42" fmla="*/ 188957 w 468798"/>
                <a:gd name="connsiteY42" fmla="*/ 135462 h 489227"/>
                <a:gd name="connsiteX43" fmla="*/ 234816 w 468798"/>
                <a:gd name="connsiteY43" fmla="*/ 95937 h 489227"/>
                <a:gd name="connsiteX44" fmla="*/ 267120 w 468798"/>
                <a:gd name="connsiteY44" fmla="*/ 21068 h 489227"/>
                <a:gd name="connsiteX45" fmla="*/ 324888 w 468798"/>
                <a:gd name="connsiteY45" fmla="*/ 3965 h 489227"/>
                <a:gd name="connsiteX46" fmla="*/ 350604 w 468798"/>
                <a:gd name="connsiteY46" fmla="*/ 33229 h 489227"/>
                <a:gd name="connsiteX47" fmla="*/ 356178 w 468798"/>
                <a:gd name="connsiteY47" fmla="*/ 56285 h 489227"/>
                <a:gd name="connsiteX48" fmla="*/ 406345 w 468798"/>
                <a:gd name="connsiteY48" fmla="*/ 54638 h 489227"/>
                <a:gd name="connsiteX49" fmla="*/ 468799 w 468798"/>
                <a:gd name="connsiteY49" fmla="*/ 110379 h 489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8798" h="489227">
                  <a:moveTo>
                    <a:pt x="468799" y="110379"/>
                  </a:moveTo>
                  <a:cubicBezTo>
                    <a:pt x="460438" y="121020"/>
                    <a:pt x="447516" y="132295"/>
                    <a:pt x="435101" y="145343"/>
                  </a:cubicBezTo>
                  <a:cubicBezTo>
                    <a:pt x="414326" y="167133"/>
                    <a:pt x="416226" y="172580"/>
                    <a:pt x="405838" y="193356"/>
                  </a:cubicBezTo>
                  <a:cubicBezTo>
                    <a:pt x="395450" y="214132"/>
                    <a:pt x="388482" y="219579"/>
                    <a:pt x="372647" y="225533"/>
                  </a:cubicBezTo>
                  <a:cubicBezTo>
                    <a:pt x="356812" y="231487"/>
                    <a:pt x="353898" y="255683"/>
                    <a:pt x="339963" y="280387"/>
                  </a:cubicBezTo>
                  <a:cubicBezTo>
                    <a:pt x="326155" y="305216"/>
                    <a:pt x="334009" y="309650"/>
                    <a:pt x="334009" y="335874"/>
                  </a:cubicBezTo>
                  <a:cubicBezTo>
                    <a:pt x="334009" y="362097"/>
                    <a:pt x="287390" y="369064"/>
                    <a:pt x="266234" y="376412"/>
                  </a:cubicBezTo>
                  <a:cubicBezTo>
                    <a:pt x="245078" y="383886"/>
                    <a:pt x="253819" y="410489"/>
                    <a:pt x="263700" y="420371"/>
                  </a:cubicBezTo>
                  <a:cubicBezTo>
                    <a:pt x="273581" y="430252"/>
                    <a:pt x="266107" y="441654"/>
                    <a:pt x="266107" y="441654"/>
                  </a:cubicBezTo>
                  <a:cubicBezTo>
                    <a:pt x="250905" y="434053"/>
                    <a:pt x="232790" y="465216"/>
                    <a:pt x="219614" y="479785"/>
                  </a:cubicBezTo>
                  <a:cubicBezTo>
                    <a:pt x="205299" y="495620"/>
                    <a:pt x="176796" y="486753"/>
                    <a:pt x="176796" y="486753"/>
                  </a:cubicBezTo>
                  <a:cubicBezTo>
                    <a:pt x="176796" y="485359"/>
                    <a:pt x="176796" y="483966"/>
                    <a:pt x="176669" y="482699"/>
                  </a:cubicBezTo>
                  <a:cubicBezTo>
                    <a:pt x="176669" y="481179"/>
                    <a:pt x="176542" y="479658"/>
                    <a:pt x="176416" y="478265"/>
                  </a:cubicBezTo>
                  <a:cubicBezTo>
                    <a:pt x="176416" y="477758"/>
                    <a:pt x="176416" y="477378"/>
                    <a:pt x="176289" y="476871"/>
                  </a:cubicBezTo>
                  <a:cubicBezTo>
                    <a:pt x="176289" y="475858"/>
                    <a:pt x="176162" y="474844"/>
                    <a:pt x="176162" y="473958"/>
                  </a:cubicBezTo>
                  <a:cubicBezTo>
                    <a:pt x="175909" y="471170"/>
                    <a:pt x="175782" y="468510"/>
                    <a:pt x="175402" y="465976"/>
                  </a:cubicBezTo>
                  <a:cubicBezTo>
                    <a:pt x="175276" y="464836"/>
                    <a:pt x="175149" y="463823"/>
                    <a:pt x="175022" y="462809"/>
                  </a:cubicBezTo>
                  <a:cubicBezTo>
                    <a:pt x="174896" y="462176"/>
                    <a:pt x="174896" y="461543"/>
                    <a:pt x="174769" y="460909"/>
                  </a:cubicBezTo>
                  <a:cubicBezTo>
                    <a:pt x="174642" y="459896"/>
                    <a:pt x="174516" y="458882"/>
                    <a:pt x="174389" y="457995"/>
                  </a:cubicBezTo>
                  <a:cubicBezTo>
                    <a:pt x="174135" y="456855"/>
                    <a:pt x="174009" y="455715"/>
                    <a:pt x="173882" y="454702"/>
                  </a:cubicBezTo>
                  <a:cubicBezTo>
                    <a:pt x="173629" y="453308"/>
                    <a:pt x="173375" y="452041"/>
                    <a:pt x="173249" y="451155"/>
                  </a:cubicBezTo>
                  <a:cubicBezTo>
                    <a:pt x="173122" y="450268"/>
                    <a:pt x="172995" y="449634"/>
                    <a:pt x="172742" y="449001"/>
                  </a:cubicBezTo>
                  <a:cubicBezTo>
                    <a:pt x="169448" y="436080"/>
                    <a:pt x="161467" y="435193"/>
                    <a:pt x="180343" y="416697"/>
                  </a:cubicBezTo>
                  <a:cubicBezTo>
                    <a:pt x="199219" y="398201"/>
                    <a:pt x="174135" y="389587"/>
                    <a:pt x="160200" y="376412"/>
                  </a:cubicBezTo>
                  <a:cubicBezTo>
                    <a:pt x="146392" y="363237"/>
                    <a:pt x="187184" y="353356"/>
                    <a:pt x="209353" y="341448"/>
                  </a:cubicBezTo>
                  <a:cubicBezTo>
                    <a:pt x="231396" y="329540"/>
                    <a:pt x="202006" y="309397"/>
                    <a:pt x="185917" y="302176"/>
                  </a:cubicBezTo>
                  <a:cubicBezTo>
                    <a:pt x="169828" y="294955"/>
                    <a:pt x="162481" y="313704"/>
                    <a:pt x="157540" y="325612"/>
                  </a:cubicBezTo>
                  <a:cubicBezTo>
                    <a:pt x="152600" y="337521"/>
                    <a:pt x="145379" y="332580"/>
                    <a:pt x="123843" y="333847"/>
                  </a:cubicBezTo>
                  <a:cubicBezTo>
                    <a:pt x="102433" y="335114"/>
                    <a:pt x="115861" y="346388"/>
                    <a:pt x="120169" y="362223"/>
                  </a:cubicBezTo>
                  <a:cubicBezTo>
                    <a:pt x="124476" y="378059"/>
                    <a:pt x="106614" y="378692"/>
                    <a:pt x="99013" y="384013"/>
                  </a:cubicBezTo>
                  <a:cubicBezTo>
                    <a:pt x="91412" y="389334"/>
                    <a:pt x="83558" y="376159"/>
                    <a:pt x="88498" y="359943"/>
                  </a:cubicBezTo>
                  <a:cubicBezTo>
                    <a:pt x="93439" y="343728"/>
                    <a:pt x="37952" y="355636"/>
                    <a:pt x="23763" y="355003"/>
                  </a:cubicBezTo>
                  <a:cubicBezTo>
                    <a:pt x="9575" y="354369"/>
                    <a:pt x="21483" y="321052"/>
                    <a:pt x="7295" y="314718"/>
                  </a:cubicBezTo>
                  <a:cubicBezTo>
                    <a:pt x="-6894" y="308383"/>
                    <a:pt x="1974" y="299136"/>
                    <a:pt x="13882" y="290268"/>
                  </a:cubicBezTo>
                  <a:cubicBezTo>
                    <a:pt x="16669" y="288241"/>
                    <a:pt x="16669" y="285961"/>
                    <a:pt x="14896" y="283554"/>
                  </a:cubicBezTo>
                  <a:cubicBezTo>
                    <a:pt x="17049" y="279247"/>
                    <a:pt x="20976" y="272912"/>
                    <a:pt x="27057" y="271392"/>
                  </a:cubicBezTo>
                  <a:cubicBezTo>
                    <a:pt x="36305" y="269112"/>
                    <a:pt x="43906" y="277346"/>
                    <a:pt x="41245" y="259864"/>
                  </a:cubicBezTo>
                  <a:cubicBezTo>
                    <a:pt x="38585" y="242382"/>
                    <a:pt x="21483" y="203490"/>
                    <a:pt x="41752" y="209318"/>
                  </a:cubicBezTo>
                  <a:cubicBezTo>
                    <a:pt x="62021" y="215272"/>
                    <a:pt x="80517" y="221606"/>
                    <a:pt x="95339" y="211978"/>
                  </a:cubicBezTo>
                  <a:cubicBezTo>
                    <a:pt x="110161" y="202350"/>
                    <a:pt x="115735" y="196776"/>
                    <a:pt x="109781" y="179041"/>
                  </a:cubicBezTo>
                  <a:cubicBezTo>
                    <a:pt x="103827" y="161178"/>
                    <a:pt x="94959" y="130141"/>
                    <a:pt x="114721" y="115319"/>
                  </a:cubicBezTo>
                  <a:cubicBezTo>
                    <a:pt x="134484" y="100497"/>
                    <a:pt x="145379" y="99231"/>
                    <a:pt x="151079" y="111012"/>
                  </a:cubicBezTo>
                  <a:cubicBezTo>
                    <a:pt x="156653" y="122920"/>
                    <a:pt x="174769" y="136476"/>
                    <a:pt x="188957" y="135462"/>
                  </a:cubicBezTo>
                  <a:cubicBezTo>
                    <a:pt x="203146" y="134449"/>
                    <a:pt x="228862" y="114939"/>
                    <a:pt x="234816" y="95937"/>
                  </a:cubicBezTo>
                  <a:cubicBezTo>
                    <a:pt x="240770" y="76808"/>
                    <a:pt x="246725" y="30189"/>
                    <a:pt x="267120" y="21068"/>
                  </a:cubicBezTo>
                  <a:cubicBezTo>
                    <a:pt x="287643" y="11820"/>
                    <a:pt x="308419" y="-8576"/>
                    <a:pt x="324888" y="3965"/>
                  </a:cubicBezTo>
                  <a:cubicBezTo>
                    <a:pt x="341356" y="16507"/>
                    <a:pt x="356938" y="22715"/>
                    <a:pt x="350604" y="33229"/>
                  </a:cubicBezTo>
                  <a:cubicBezTo>
                    <a:pt x="344270" y="43744"/>
                    <a:pt x="344270" y="50331"/>
                    <a:pt x="356178" y="56285"/>
                  </a:cubicBezTo>
                  <a:cubicBezTo>
                    <a:pt x="368086" y="62239"/>
                    <a:pt x="405711" y="35510"/>
                    <a:pt x="406345" y="54638"/>
                  </a:cubicBezTo>
                  <a:cubicBezTo>
                    <a:pt x="407611" y="73894"/>
                    <a:pt x="412552" y="129001"/>
                    <a:pt x="468799" y="11037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6" name="Полилиния: фигура 405">
              <a:extLst>
                <a:ext uri="{FF2B5EF4-FFF2-40B4-BE49-F238E27FC236}">
                  <a16:creationId xmlns:a16="http://schemas.microsoft.com/office/drawing/2014/main" id="{7483064E-D7D9-490C-9731-0F27ED567F71}"/>
                </a:ext>
              </a:extLst>
            </p:cNvPr>
            <p:cNvSpPr/>
            <p:nvPr/>
          </p:nvSpPr>
          <p:spPr>
            <a:xfrm>
              <a:off x="3107898" y="2259178"/>
              <a:ext cx="1253483" cy="1157859"/>
            </a:xfrm>
            <a:custGeom>
              <a:avLst/>
              <a:gdLst>
                <a:gd name="connsiteX0" fmla="*/ 1157712 w 1253483"/>
                <a:gd name="connsiteY0" fmla="*/ 666349 h 1157859"/>
                <a:gd name="connsiteX1" fmla="*/ 1138963 w 1253483"/>
                <a:gd name="connsiteY1" fmla="*/ 722343 h 1157859"/>
                <a:gd name="connsiteX2" fmla="*/ 1150364 w 1253483"/>
                <a:gd name="connsiteY2" fmla="*/ 761361 h 1157859"/>
                <a:gd name="connsiteX3" fmla="*/ 1126041 w 1253483"/>
                <a:gd name="connsiteY3" fmla="*/ 795059 h 1157859"/>
                <a:gd name="connsiteX4" fmla="*/ 1093864 w 1253483"/>
                <a:gd name="connsiteY4" fmla="*/ 770356 h 1157859"/>
                <a:gd name="connsiteX5" fmla="*/ 1072581 w 1253483"/>
                <a:gd name="connsiteY5" fmla="*/ 761361 h 1157859"/>
                <a:gd name="connsiteX6" fmla="*/ 1034450 w 1253483"/>
                <a:gd name="connsiteY6" fmla="*/ 740585 h 1157859"/>
                <a:gd name="connsiteX7" fmla="*/ 978963 w 1253483"/>
                <a:gd name="connsiteY7" fmla="*/ 733618 h 1157859"/>
                <a:gd name="connsiteX8" fmla="*/ 967054 w 1253483"/>
                <a:gd name="connsiteY8" fmla="*/ 692573 h 1157859"/>
                <a:gd name="connsiteX9" fmla="*/ 891805 w 1253483"/>
                <a:gd name="connsiteY9" fmla="*/ 641646 h 1157859"/>
                <a:gd name="connsiteX10" fmla="*/ 862668 w 1253483"/>
                <a:gd name="connsiteY10" fmla="*/ 598574 h 1157859"/>
                <a:gd name="connsiteX11" fmla="*/ 818076 w 1253483"/>
                <a:gd name="connsiteY11" fmla="*/ 564497 h 1157859"/>
                <a:gd name="connsiteX12" fmla="*/ 793880 w 1253483"/>
                <a:gd name="connsiteY12" fmla="*/ 583246 h 1157859"/>
                <a:gd name="connsiteX13" fmla="*/ 840879 w 1253483"/>
                <a:gd name="connsiteY13" fmla="*/ 672303 h 1157859"/>
                <a:gd name="connsiteX14" fmla="*/ 785519 w 1253483"/>
                <a:gd name="connsiteY14" fmla="*/ 746033 h 1157859"/>
                <a:gd name="connsiteX15" fmla="*/ 791473 w 1253483"/>
                <a:gd name="connsiteY15" fmla="*/ 812414 h 1157859"/>
                <a:gd name="connsiteX16" fmla="*/ 741433 w 1253483"/>
                <a:gd name="connsiteY16" fmla="*/ 837117 h 1157859"/>
                <a:gd name="connsiteX17" fmla="*/ 717236 w 1253483"/>
                <a:gd name="connsiteY17" fmla="*/ 869295 h 1157859"/>
                <a:gd name="connsiteX18" fmla="*/ 693040 w 1253483"/>
                <a:gd name="connsiteY18" fmla="*/ 882596 h 1157859"/>
                <a:gd name="connsiteX19" fmla="*/ 689113 w 1253483"/>
                <a:gd name="connsiteY19" fmla="*/ 908313 h 1157859"/>
                <a:gd name="connsiteX20" fmla="*/ 676191 w 1253483"/>
                <a:gd name="connsiteY20" fmla="*/ 936056 h 1157859"/>
                <a:gd name="connsiteX21" fmla="*/ 703428 w 1253483"/>
                <a:gd name="connsiteY21" fmla="*/ 933649 h 1157859"/>
                <a:gd name="connsiteX22" fmla="*/ 731172 w 1253483"/>
                <a:gd name="connsiteY22" fmla="*/ 953919 h 1157859"/>
                <a:gd name="connsiteX23" fmla="*/ 785645 w 1253483"/>
                <a:gd name="connsiteY23" fmla="*/ 928709 h 1157859"/>
                <a:gd name="connsiteX24" fmla="*/ 803001 w 1253483"/>
                <a:gd name="connsiteY24" fmla="*/ 937577 h 1157859"/>
                <a:gd name="connsiteX25" fmla="*/ 830237 w 1253483"/>
                <a:gd name="connsiteY25" fmla="*/ 920221 h 1157859"/>
                <a:gd name="connsiteX26" fmla="*/ 858994 w 1253483"/>
                <a:gd name="connsiteY26" fmla="*/ 987489 h 1157859"/>
                <a:gd name="connsiteX27" fmla="*/ 831251 w 1253483"/>
                <a:gd name="connsiteY27" fmla="*/ 1017133 h 1157859"/>
                <a:gd name="connsiteX28" fmla="*/ 773864 w 1253483"/>
                <a:gd name="connsiteY28" fmla="*/ 1046270 h 1157859"/>
                <a:gd name="connsiteX29" fmla="*/ 724964 w 1253483"/>
                <a:gd name="connsiteY29" fmla="*/ 1068060 h 1157859"/>
                <a:gd name="connsiteX30" fmla="*/ 720530 w 1253483"/>
                <a:gd name="connsiteY30" fmla="*/ 1107584 h 1157859"/>
                <a:gd name="connsiteX31" fmla="*/ 679485 w 1253483"/>
                <a:gd name="connsiteY31" fmla="*/ 1155597 h 1157859"/>
                <a:gd name="connsiteX32" fmla="*/ 604742 w 1253483"/>
                <a:gd name="connsiteY32" fmla="*/ 1128867 h 1157859"/>
                <a:gd name="connsiteX33" fmla="*/ 562557 w 1253483"/>
                <a:gd name="connsiteY33" fmla="*/ 1136975 h 1157859"/>
                <a:gd name="connsiteX34" fmla="*/ 546088 w 1253483"/>
                <a:gd name="connsiteY34" fmla="*/ 1128867 h 1157859"/>
                <a:gd name="connsiteX35" fmla="*/ 552043 w 1253483"/>
                <a:gd name="connsiteY35" fmla="*/ 1103784 h 1157859"/>
                <a:gd name="connsiteX36" fmla="*/ 536461 w 1253483"/>
                <a:gd name="connsiteY36" fmla="*/ 1061599 h 1157859"/>
                <a:gd name="connsiteX37" fmla="*/ 492628 w 1253483"/>
                <a:gd name="connsiteY37" fmla="*/ 1060205 h 1157859"/>
                <a:gd name="connsiteX38" fmla="*/ 434481 w 1253483"/>
                <a:gd name="connsiteY38" fmla="*/ 1020047 h 1157859"/>
                <a:gd name="connsiteX39" fmla="*/ 442082 w 1253483"/>
                <a:gd name="connsiteY39" fmla="*/ 991290 h 1157859"/>
                <a:gd name="connsiteX40" fmla="*/ 430174 w 1253483"/>
                <a:gd name="connsiteY40" fmla="*/ 954299 h 1157859"/>
                <a:gd name="connsiteX41" fmla="*/ 390902 w 1253483"/>
                <a:gd name="connsiteY41" fmla="*/ 957212 h 1157859"/>
                <a:gd name="connsiteX42" fmla="*/ 350997 w 1253483"/>
                <a:gd name="connsiteY42" fmla="*/ 932509 h 1157859"/>
                <a:gd name="connsiteX43" fmla="*/ 323634 w 1253483"/>
                <a:gd name="connsiteY43" fmla="*/ 876009 h 1157859"/>
                <a:gd name="connsiteX44" fmla="*/ 288290 w 1253483"/>
                <a:gd name="connsiteY44" fmla="*/ 863467 h 1157859"/>
                <a:gd name="connsiteX45" fmla="*/ 244711 w 1253483"/>
                <a:gd name="connsiteY45" fmla="*/ 844972 h 1157859"/>
                <a:gd name="connsiteX46" fmla="*/ 229889 w 1253483"/>
                <a:gd name="connsiteY46" fmla="*/ 812034 h 1157859"/>
                <a:gd name="connsiteX47" fmla="*/ 204172 w 1253483"/>
                <a:gd name="connsiteY47" fmla="*/ 793159 h 1157859"/>
                <a:gd name="connsiteX48" fmla="*/ 188337 w 1253483"/>
                <a:gd name="connsiteY48" fmla="*/ 748566 h 1157859"/>
                <a:gd name="connsiteX49" fmla="*/ 127023 w 1253483"/>
                <a:gd name="connsiteY49" fmla="*/ 724497 h 1157859"/>
                <a:gd name="connsiteX50" fmla="*/ 102953 w 1253483"/>
                <a:gd name="connsiteY50" fmla="*/ 701060 h 1157859"/>
                <a:gd name="connsiteX51" fmla="*/ 75590 w 1253483"/>
                <a:gd name="connsiteY51" fmla="*/ 672303 h 1157859"/>
                <a:gd name="connsiteX52" fmla="*/ 43666 w 1253483"/>
                <a:gd name="connsiteY52" fmla="*/ 614916 h 1157859"/>
                <a:gd name="connsiteX53" fmla="*/ 15669 w 1253483"/>
                <a:gd name="connsiteY53" fmla="*/ 584512 h 1157859"/>
                <a:gd name="connsiteX54" fmla="*/ 87 w 1253483"/>
                <a:gd name="connsiteY54" fmla="*/ 535360 h 1157859"/>
                <a:gd name="connsiteX55" fmla="*/ 44299 w 1253483"/>
                <a:gd name="connsiteY55" fmla="*/ 426539 h 1157859"/>
                <a:gd name="connsiteX56" fmla="*/ 45693 w 1253483"/>
                <a:gd name="connsiteY56" fmla="*/ 416025 h 1157859"/>
                <a:gd name="connsiteX57" fmla="*/ 117902 w 1253483"/>
                <a:gd name="connsiteY57" fmla="*/ 390308 h 1157859"/>
                <a:gd name="connsiteX58" fmla="*/ 153119 w 1253483"/>
                <a:gd name="connsiteY58" fmla="*/ 335328 h 1157859"/>
                <a:gd name="connsiteX59" fmla="*/ 220388 w 1253483"/>
                <a:gd name="connsiteY59" fmla="*/ 288836 h 1157859"/>
                <a:gd name="connsiteX60" fmla="*/ 210000 w 1253483"/>
                <a:gd name="connsiteY60" fmla="*/ 252224 h 1157859"/>
                <a:gd name="connsiteX61" fmla="*/ 185297 w 1253483"/>
                <a:gd name="connsiteY61" fmla="*/ 200284 h 1157859"/>
                <a:gd name="connsiteX62" fmla="*/ 231283 w 1253483"/>
                <a:gd name="connsiteY62" fmla="*/ 133903 h 1157859"/>
                <a:gd name="connsiteX63" fmla="*/ 254592 w 1253483"/>
                <a:gd name="connsiteY63" fmla="*/ 105146 h 1157859"/>
                <a:gd name="connsiteX64" fmla="*/ 272454 w 1253483"/>
                <a:gd name="connsiteY64" fmla="*/ 79936 h 1157859"/>
                <a:gd name="connsiteX65" fmla="*/ 355178 w 1253483"/>
                <a:gd name="connsiteY65" fmla="*/ 93364 h 1157859"/>
                <a:gd name="connsiteX66" fmla="*/ 367339 w 1253483"/>
                <a:gd name="connsiteY66" fmla="*/ 126935 h 1157859"/>
                <a:gd name="connsiteX67" fmla="*/ 382288 w 1253483"/>
                <a:gd name="connsiteY67" fmla="*/ 155185 h 1157859"/>
                <a:gd name="connsiteX68" fmla="*/ 403571 w 1253483"/>
                <a:gd name="connsiteY68" fmla="*/ 182042 h 1157859"/>
                <a:gd name="connsiteX69" fmla="*/ 434861 w 1253483"/>
                <a:gd name="connsiteY69" fmla="*/ 176468 h 1157859"/>
                <a:gd name="connsiteX70" fmla="*/ 473879 w 1253483"/>
                <a:gd name="connsiteY70" fmla="*/ 135930 h 1157859"/>
                <a:gd name="connsiteX71" fmla="*/ 449176 w 1253483"/>
                <a:gd name="connsiteY71" fmla="*/ 105526 h 1157859"/>
                <a:gd name="connsiteX72" fmla="*/ 452724 w 1253483"/>
                <a:gd name="connsiteY72" fmla="*/ 80696 h 1157859"/>
                <a:gd name="connsiteX73" fmla="*/ 469826 w 1253483"/>
                <a:gd name="connsiteY73" fmla="*/ 47505 h 1157859"/>
                <a:gd name="connsiteX74" fmla="*/ 477300 w 1253483"/>
                <a:gd name="connsiteY74" fmla="*/ 3293 h 1157859"/>
                <a:gd name="connsiteX75" fmla="*/ 510491 w 1253483"/>
                <a:gd name="connsiteY75" fmla="*/ 13554 h 1157859"/>
                <a:gd name="connsiteX76" fmla="*/ 537347 w 1253483"/>
                <a:gd name="connsiteY76" fmla="*/ 2026 h 1157859"/>
                <a:gd name="connsiteX77" fmla="*/ 554196 w 1253483"/>
                <a:gd name="connsiteY77" fmla="*/ 62707 h 1157859"/>
                <a:gd name="connsiteX78" fmla="*/ 557743 w 1253483"/>
                <a:gd name="connsiteY78" fmla="*/ 100205 h 1157859"/>
                <a:gd name="connsiteX79" fmla="*/ 529240 w 1253483"/>
                <a:gd name="connsiteY79" fmla="*/ 115661 h 1157859"/>
                <a:gd name="connsiteX80" fmla="*/ 556857 w 1253483"/>
                <a:gd name="connsiteY80" fmla="*/ 135423 h 1157859"/>
                <a:gd name="connsiteX81" fmla="*/ 575099 w 1253483"/>
                <a:gd name="connsiteY81" fmla="*/ 166080 h 1157859"/>
                <a:gd name="connsiteX82" fmla="*/ 606009 w 1253483"/>
                <a:gd name="connsiteY82" fmla="*/ 236009 h 1157859"/>
                <a:gd name="connsiteX83" fmla="*/ 672644 w 1253483"/>
                <a:gd name="connsiteY83" fmla="*/ 203071 h 1157859"/>
                <a:gd name="connsiteX84" fmla="*/ 709635 w 1253483"/>
                <a:gd name="connsiteY84" fmla="*/ 127189 h 1157859"/>
                <a:gd name="connsiteX85" fmla="*/ 754481 w 1253483"/>
                <a:gd name="connsiteY85" fmla="*/ 125035 h 1157859"/>
                <a:gd name="connsiteX86" fmla="*/ 801987 w 1253483"/>
                <a:gd name="connsiteY86" fmla="*/ 121995 h 1157859"/>
                <a:gd name="connsiteX87" fmla="*/ 866722 w 1253483"/>
                <a:gd name="connsiteY87" fmla="*/ 149738 h 1157859"/>
                <a:gd name="connsiteX88" fmla="*/ 898646 w 1253483"/>
                <a:gd name="connsiteY88" fmla="*/ 146444 h 1157859"/>
                <a:gd name="connsiteX89" fmla="*/ 945519 w 1253483"/>
                <a:gd name="connsiteY89" fmla="*/ 143404 h 1157859"/>
                <a:gd name="connsiteX90" fmla="*/ 968321 w 1253483"/>
                <a:gd name="connsiteY90" fmla="*/ 154805 h 1157859"/>
                <a:gd name="connsiteX91" fmla="*/ 971488 w 1253483"/>
                <a:gd name="connsiteY91" fmla="*/ 182802 h 1157859"/>
                <a:gd name="connsiteX92" fmla="*/ 991631 w 1253483"/>
                <a:gd name="connsiteY92" fmla="*/ 238289 h 1157859"/>
                <a:gd name="connsiteX93" fmla="*/ 973008 w 1253483"/>
                <a:gd name="connsiteY93" fmla="*/ 251717 h 1157859"/>
                <a:gd name="connsiteX94" fmla="*/ 988084 w 1253483"/>
                <a:gd name="connsiteY94" fmla="*/ 267046 h 1157859"/>
                <a:gd name="connsiteX95" fmla="*/ 994671 w 1253483"/>
                <a:gd name="connsiteY95" fmla="*/ 286809 h 1157859"/>
                <a:gd name="connsiteX96" fmla="*/ 1005059 w 1253483"/>
                <a:gd name="connsiteY96" fmla="*/ 284908 h 1157859"/>
                <a:gd name="connsiteX97" fmla="*/ 1010506 w 1253483"/>
                <a:gd name="connsiteY97" fmla="*/ 295423 h 1157859"/>
                <a:gd name="connsiteX98" fmla="*/ 1026722 w 1253483"/>
                <a:gd name="connsiteY98" fmla="*/ 316832 h 1157859"/>
                <a:gd name="connsiteX99" fmla="*/ 1045598 w 1253483"/>
                <a:gd name="connsiteY99" fmla="*/ 344702 h 1157859"/>
                <a:gd name="connsiteX100" fmla="*/ 1059533 w 1253483"/>
                <a:gd name="connsiteY100" fmla="*/ 373713 h 1157859"/>
                <a:gd name="connsiteX101" fmla="*/ 1074101 w 1253483"/>
                <a:gd name="connsiteY101" fmla="*/ 399936 h 1157859"/>
                <a:gd name="connsiteX102" fmla="*/ 1081449 w 1253483"/>
                <a:gd name="connsiteY102" fmla="*/ 429580 h 1157859"/>
                <a:gd name="connsiteX103" fmla="*/ 1095004 w 1253483"/>
                <a:gd name="connsiteY103" fmla="*/ 475565 h 1157859"/>
                <a:gd name="connsiteX104" fmla="*/ 1109699 w 1253483"/>
                <a:gd name="connsiteY104" fmla="*/ 487980 h 1157859"/>
                <a:gd name="connsiteX105" fmla="*/ 1127941 w 1253483"/>
                <a:gd name="connsiteY105" fmla="*/ 492288 h 1157859"/>
                <a:gd name="connsiteX106" fmla="*/ 1143017 w 1253483"/>
                <a:gd name="connsiteY106" fmla="*/ 498622 h 1157859"/>
                <a:gd name="connsiteX107" fmla="*/ 1155811 w 1253483"/>
                <a:gd name="connsiteY107" fmla="*/ 477846 h 1157859"/>
                <a:gd name="connsiteX108" fmla="*/ 1176461 w 1253483"/>
                <a:gd name="connsiteY108" fmla="*/ 474805 h 1157859"/>
                <a:gd name="connsiteX109" fmla="*/ 1205978 w 1253483"/>
                <a:gd name="connsiteY109" fmla="*/ 494315 h 1157859"/>
                <a:gd name="connsiteX110" fmla="*/ 1253484 w 1253483"/>
                <a:gd name="connsiteY110" fmla="*/ 516611 h 1157859"/>
                <a:gd name="connsiteX111" fmla="*/ 1148084 w 1253483"/>
                <a:gd name="connsiteY111" fmla="*/ 620490 h 1157859"/>
                <a:gd name="connsiteX112" fmla="*/ 1157712 w 1253483"/>
                <a:gd name="connsiteY112" fmla="*/ 666349 h 115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1253483" h="1157859">
                  <a:moveTo>
                    <a:pt x="1157712" y="666349"/>
                  </a:moveTo>
                  <a:cubicBezTo>
                    <a:pt x="1169620" y="678257"/>
                    <a:pt x="1146310" y="708408"/>
                    <a:pt x="1138963" y="722343"/>
                  </a:cubicBezTo>
                  <a:cubicBezTo>
                    <a:pt x="1131488" y="736151"/>
                    <a:pt x="1139470" y="743626"/>
                    <a:pt x="1150364" y="761361"/>
                  </a:cubicBezTo>
                  <a:cubicBezTo>
                    <a:pt x="1161259" y="779223"/>
                    <a:pt x="1141877" y="787584"/>
                    <a:pt x="1126041" y="795059"/>
                  </a:cubicBezTo>
                  <a:cubicBezTo>
                    <a:pt x="1110206" y="802533"/>
                    <a:pt x="1098804" y="782644"/>
                    <a:pt x="1093864" y="770356"/>
                  </a:cubicBezTo>
                  <a:cubicBezTo>
                    <a:pt x="1088923" y="757941"/>
                    <a:pt x="1084489" y="763388"/>
                    <a:pt x="1072581" y="761361"/>
                  </a:cubicBezTo>
                  <a:cubicBezTo>
                    <a:pt x="1060673" y="759461"/>
                    <a:pt x="1055732" y="757941"/>
                    <a:pt x="1034450" y="740585"/>
                  </a:cubicBezTo>
                  <a:cubicBezTo>
                    <a:pt x="1013167" y="723230"/>
                    <a:pt x="1000372" y="732097"/>
                    <a:pt x="978963" y="733618"/>
                  </a:cubicBezTo>
                  <a:cubicBezTo>
                    <a:pt x="957680" y="735138"/>
                    <a:pt x="966168" y="713855"/>
                    <a:pt x="967054" y="692573"/>
                  </a:cubicBezTo>
                  <a:cubicBezTo>
                    <a:pt x="968068" y="671290"/>
                    <a:pt x="912707" y="651021"/>
                    <a:pt x="891805" y="641646"/>
                  </a:cubicBezTo>
                  <a:cubicBezTo>
                    <a:pt x="871029" y="632272"/>
                    <a:pt x="872043" y="617323"/>
                    <a:pt x="862668" y="598574"/>
                  </a:cubicBezTo>
                  <a:cubicBezTo>
                    <a:pt x="853294" y="579825"/>
                    <a:pt x="844299" y="584766"/>
                    <a:pt x="818076" y="564497"/>
                  </a:cubicBezTo>
                  <a:cubicBezTo>
                    <a:pt x="791853" y="544227"/>
                    <a:pt x="793373" y="568931"/>
                    <a:pt x="793880" y="583246"/>
                  </a:cubicBezTo>
                  <a:cubicBezTo>
                    <a:pt x="794386" y="597687"/>
                    <a:pt x="812122" y="625811"/>
                    <a:pt x="840879" y="672303"/>
                  </a:cubicBezTo>
                  <a:cubicBezTo>
                    <a:pt x="869636" y="718923"/>
                    <a:pt x="801354" y="733238"/>
                    <a:pt x="785519" y="746033"/>
                  </a:cubicBezTo>
                  <a:cubicBezTo>
                    <a:pt x="769683" y="758954"/>
                    <a:pt x="786532" y="788598"/>
                    <a:pt x="791473" y="812414"/>
                  </a:cubicBezTo>
                  <a:cubicBezTo>
                    <a:pt x="796413" y="836231"/>
                    <a:pt x="764236" y="838131"/>
                    <a:pt x="741433" y="837117"/>
                  </a:cubicBezTo>
                  <a:cubicBezTo>
                    <a:pt x="718630" y="836104"/>
                    <a:pt x="721670" y="854473"/>
                    <a:pt x="717236" y="869295"/>
                  </a:cubicBezTo>
                  <a:cubicBezTo>
                    <a:pt x="712803" y="884116"/>
                    <a:pt x="710269" y="878162"/>
                    <a:pt x="693040" y="882596"/>
                  </a:cubicBezTo>
                  <a:cubicBezTo>
                    <a:pt x="675685" y="887030"/>
                    <a:pt x="683666" y="897925"/>
                    <a:pt x="689113" y="908313"/>
                  </a:cubicBezTo>
                  <a:cubicBezTo>
                    <a:pt x="694561" y="918701"/>
                    <a:pt x="679739" y="921615"/>
                    <a:pt x="676191" y="936056"/>
                  </a:cubicBezTo>
                  <a:cubicBezTo>
                    <a:pt x="672771" y="950498"/>
                    <a:pt x="693547" y="937070"/>
                    <a:pt x="703428" y="933649"/>
                  </a:cubicBezTo>
                  <a:cubicBezTo>
                    <a:pt x="713309" y="930229"/>
                    <a:pt x="714323" y="945051"/>
                    <a:pt x="731172" y="953919"/>
                  </a:cubicBezTo>
                  <a:cubicBezTo>
                    <a:pt x="748020" y="962786"/>
                    <a:pt x="773737" y="938083"/>
                    <a:pt x="785645" y="928709"/>
                  </a:cubicBezTo>
                  <a:cubicBezTo>
                    <a:pt x="797553" y="919334"/>
                    <a:pt x="795526" y="928709"/>
                    <a:pt x="803001" y="937577"/>
                  </a:cubicBezTo>
                  <a:cubicBezTo>
                    <a:pt x="810475" y="946571"/>
                    <a:pt x="811488" y="937070"/>
                    <a:pt x="830237" y="920221"/>
                  </a:cubicBezTo>
                  <a:cubicBezTo>
                    <a:pt x="848986" y="903372"/>
                    <a:pt x="853040" y="970767"/>
                    <a:pt x="858994" y="987489"/>
                  </a:cubicBezTo>
                  <a:cubicBezTo>
                    <a:pt x="864948" y="1004338"/>
                    <a:pt x="855574" y="1007252"/>
                    <a:pt x="831251" y="1017133"/>
                  </a:cubicBezTo>
                  <a:cubicBezTo>
                    <a:pt x="806928" y="1027014"/>
                    <a:pt x="810981" y="1031448"/>
                    <a:pt x="773864" y="1046270"/>
                  </a:cubicBezTo>
                  <a:cubicBezTo>
                    <a:pt x="736746" y="1061092"/>
                    <a:pt x="738773" y="1051211"/>
                    <a:pt x="724964" y="1068060"/>
                  </a:cubicBezTo>
                  <a:cubicBezTo>
                    <a:pt x="711156" y="1084908"/>
                    <a:pt x="714069" y="1096310"/>
                    <a:pt x="720530" y="1107584"/>
                  </a:cubicBezTo>
                  <a:cubicBezTo>
                    <a:pt x="726991" y="1118986"/>
                    <a:pt x="698741" y="1145209"/>
                    <a:pt x="679485" y="1155597"/>
                  </a:cubicBezTo>
                  <a:cubicBezTo>
                    <a:pt x="660229" y="1165985"/>
                    <a:pt x="628939" y="1137735"/>
                    <a:pt x="604742" y="1128867"/>
                  </a:cubicBezTo>
                  <a:cubicBezTo>
                    <a:pt x="588020" y="1122786"/>
                    <a:pt x="571298" y="1131274"/>
                    <a:pt x="562557" y="1136975"/>
                  </a:cubicBezTo>
                  <a:cubicBezTo>
                    <a:pt x="559390" y="1133934"/>
                    <a:pt x="550776" y="1133301"/>
                    <a:pt x="546088" y="1128867"/>
                  </a:cubicBezTo>
                  <a:cubicBezTo>
                    <a:pt x="538488" y="1121646"/>
                    <a:pt x="547355" y="1116959"/>
                    <a:pt x="552043" y="1103784"/>
                  </a:cubicBezTo>
                  <a:cubicBezTo>
                    <a:pt x="556603" y="1090609"/>
                    <a:pt x="548749" y="1078954"/>
                    <a:pt x="536461" y="1061599"/>
                  </a:cubicBezTo>
                  <a:cubicBezTo>
                    <a:pt x="527086" y="1048170"/>
                    <a:pt x="503143" y="1055898"/>
                    <a:pt x="492628" y="1060205"/>
                  </a:cubicBezTo>
                  <a:cubicBezTo>
                    <a:pt x="480847" y="1046524"/>
                    <a:pt x="446769" y="1029675"/>
                    <a:pt x="434481" y="1020047"/>
                  </a:cubicBezTo>
                  <a:cubicBezTo>
                    <a:pt x="418392" y="1007505"/>
                    <a:pt x="431821" y="995977"/>
                    <a:pt x="442082" y="991290"/>
                  </a:cubicBezTo>
                  <a:cubicBezTo>
                    <a:pt x="452343" y="986729"/>
                    <a:pt x="441449" y="967220"/>
                    <a:pt x="430174" y="954299"/>
                  </a:cubicBezTo>
                  <a:cubicBezTo>
                    <a:pt x="418899" y="941377"/>
                    <a:pt x="403824" y="949358"/>
                    <a:pt x="390902" y="957212"/>
                  </a:cubicBezTo>
                  <a:cubicBezTo>
                    <a:pt x="377981" y="965067"/>
                    <a:pt x="374054" y="946698"/>
                    <a:pt x="350997" y="932509"/>
                  </a:cubicBezTo>
                  <a:cubicBezTo>
                    <a:pt x="327815" y="918321"/>
                    <a:pt x="321987" y="897165"/>
                    <a:pt x="323634" y="876009"/>
                  </a:cubicBezTo>
                  <a:cubicBezTo>
                    <a:pt x="325281" y="854853"/>
                    <a:pt x="303872" y="865114"/>
                    <a:pt x="288290" y="863467"/>
                  </a:cubicBezTo>
                  <a:cubicBezTo>
                    <a:pt x="272834" y="861820"/>
                    <a:pt x="263206" y="855233"/>
                    <a:pt x="244711" y="844972"/>
                  </a:cubicBezTo>
                  <a:cubicBezTo>
                    <a:pt x="226215" y="834710"/>
                    <a:pt x="231536" y="828123"/>
                    <a:pt x="229889" y="812034"/>
                  </a:cubicBezTo>
                  <a:cubicBezTo>
                    <a:pt x="228242" y="795819"/>
                    <a:pt x="219374" y="802406"/>
                    <a:pt x="204172" y="793159"/>
                  </a:cubicBezTo>
                  <a:cubicBezTo>
                    <a:pt x="188970" y="783911"/>
                    <a:pt x="192644" y="769089"/>
                    <a:pt x="188337" y="748566"/>
                  </a:cubicBezTo>
                  <a:cubicBezTo>
                    <a:pt x="184030" y="728170"/>
                    <a:pt x="147799" y="724877"/>
                    <a:pt x="127023" y="724497"/>
                  </a:cubicBezTo>
                  <a:cubicBezTo>
                    <a:pt x="106247" y="724117"/>
                    <a:pt x="112834" y="717529"/>
                    <a:pt x="102953" y="701060"/>
                  </a:cubicBezTo>
                  <a:cubicBezTo>
                    <a:pt x="93072" y="684592"/>
                    <a:pt x="91045" y="678004"/>
                    <a:pt x="75590" y="672303"/>
                  </a:cubicBezTo>
                  <a:cubicBezTo>
                    <a:pt x="60134" y="666729"/>
                    <a:pt x="48860" y="624797"/>
                    <a:pt x="43666" y="614916"/>
                  </a:cubicBezTo>
                  <a:cubicBezTo>
                    <a:pt x="38345" y="605035"/>
                    <a:pt x="32138" y="593127"/>
                    <a:pt x="15669" y="584512"/>
                  </a:cubicBezTo>
                  <a:cubicBezTo>
                    <a:pt x="-800" y="575898"/>
                    <a:pt x="2114" y="552462"/>
                    <a:pt x="87" y="535360"/>
                  </a:cubicBezTo>
                  <a:cubicBezTo>
                    <a:pt x="-1940" y="518131"/>
                    <a:pt x="32011" y="480633"/>
                    <a:pt x="44299" y="426539"/>
                  </a:cubicBezTo>
                  <a:cubicBezTo>
                    <a:pt x="45059" y="422992"/>
                    <a:pt x="45566" y="419445"/>
                    <a:pt x="45693" y="416025"/>
                  </a:cubicBezTo>
                  <a:cubicBezTo>
                    <a:pt x="47466" y="416025"/>
                    <a:pt x="94972" y="416025"/>
                    <a:pt x="117902" y="390308"/>
                  </a:cubicBezTo>
                  <a:cubicBezTo>
                    <a:pt x="141211" y="364085"/>
                    <a:pt x="142605" y="345209"/>
                    <a:pt x="153119" y="335328"/>
                  </a:cubicBezTo>
                  <a:cubicBezTo>
                    <a:pt x="163507" y="325447"/>
                    <a:pt x="212027" y="308598"/>
                    <a:pt x="220388" y="288836"/>
                  </a:cubicBezTo>
                  <a:cubicBezTo>
                    <a:pt x="228749" y="269073"/>
                    <a:pt x="229762" y="261599"/>
                    <a:pt x="210000" y="252224"/>
                  </a:cubicBezTo>
                  <a:cubicBezTo>
                    <a:pt x="190237" y="242850"/>
                    <a:pt x="170348" y="228028"/>
                    <a:pt x="185297" y="200284"/>
                  </a:cubicBezTo>
                  <a:cubicBezTo>
                    <a:pt x="200119" y="172541"/>
                    <a:pt x="214940" y="150751"/>
                    <a:pt x="231283" y="133903"/>
                  </a:cubicBezTo>
                  <a:cubicBezTo>
                    <a:pt x="247625" y="117054"/>
                    <a:pt x="249651" y="120601"/>
                    <a:pt x="254592" y="105146"/>
                  </a:cubicBezTo>
                  <a:cubicBezTo>
                    <a:pt x="259533" y="89817"/>
                    <a:pt x="262446" y="65494"/>
                    <a:pt x="272454" y="79936"/>
                  </a:cubicBezTo>
                  <a:cubicBezTo>
                    <a:pt x="281702" y="93364"/>
                    <a:pt x="311346" y="139350"/>
                    <a:pt x="355178" y="93364"/>
                  </a:cubicBezTo>
                  <a:cubicBezTo>
                    <a:pt x="364552" y="102739"/>
                    <a:pt x="364552" y="114900"/>
                    <a:pt x="367339" y="126935"/>
                  </a:cubicBezTo>
                  <a:cubicBezTo>
                    <a:pt x="370000" y="138590"/>
                    <a:pt x="377094" y="145051"/>
                    <a:pt x="382288" y="155185"/>
                  </a:cubicBezTo>
                  <a:cubicBezTo>
                    <a:pt x="388115" y="166714"/>
                    <a:pt x="389382" y="177988"/>
                    <a:pt x="403571" y="182042"/>
                  </a:cubicBezTo>
                  <a:cubicBezTo>
                    <a:pt x="414085" y="185083"/>
                    <a:pt x="425994" y="182802"/>
                    <a:pt x="434861" y="176468"/>
                  </a:cubicBezTo>
                  <a:cubicBezTo>
                    <a:pt x="448543" y="166587"/>
                    <a:pt x="464378" y="149738"/>
                    <a:pt x="473879" y="135930"/>
                  </a:cubicBezTo>
                  <a:cubicBezTo>
                    <a:pt x="487688" y="115787"/>
                    <a:pt x="465898" y="108820"/>
                    <a:pt x="449176" y="105526"/>
                  </a:cubicBezTo>
                  <a:cubicBezTo>
                    <a:pt x="449683" y="97291"/>
                    <a:pt x="450190" y="88677"/>
                    <a:pt x="452724" y="80696"/>
                  </a:cubicBezTo>
                  <a:cubicBezTo>
                    <a:pt x="456651" y="68408"/>
                    <a:pt x="467165" y="60174"/>
                    <a:pt x="469826" y="47505"/>
                  </a:cubicBezTo>
                  <a:cubicBezTo>
                    <a:pt x="472233" y="35851"/>
                    <a:pt x="466405" y="11528"/>
                    <a:pt x="477300" y="3293"/>
                  </a:cubicBezTo>
                  <a:cubicBezTo>
                    <a:pt x="488195" y="-4941"/>
                    <a:pt x="500736" y="10641"/>
                    <a:pt x="510491" y="13554"/>
                  </a:cubicBezTo>
                  <a:cubicBezTo>
                    <a:pt x="521639" y="16848"/>
                    <a:pt x="527466" y="5573"/>
                    <a:pt x="537347" y="2026"/>
                  </a:cubicBezTo>
                  <a:cubicBezTo>
                    <a:pt x="574845" y="-11655"/>
                    <a:pt x="550522" y="47885"/>
                    <a:pt x="554196" y="62707"/>
                  </a:cubicBezTo>
                  <a:cubicBezTo>
                    <a:pt x="557237" y="74869"/>
                    <a:pt x="567624" y="88677"/>
                    <a:pt x="557743" y="100205"/>
                  </a:cubicBezTo>
                  <a:cubicBezTo>
                    <a:pt x="553309" y="105399"/>
                    <a:pt x="529873" y="109960"/>
                    <a:pt x="529240" y="115661"/>
                  </a:cubicBezTo>
                  <a:cubicBezTo>
                    <a:pt x="528353" y="121741"/>
                    <a:pt x="552676" y="132256"/>
                    <a:pt x="556857" y="135423"/>
                  </a:cubicBezTo>
                  <a:cubicBezTo>
                    <a:pt x="567498" y="143404"/>
                    <a:pt x="572692" y="153032"/>
                    <a:pt x="575099" y="166080"/>
                  </a:cubicBezTo>
                  <a:cubicBezTo>
                    <a:pt x="580166" y="193317"/>
                    <a:pt x="575606" y="223341"/>
                    <a:pt x="606009" y="236009"/>
                  </a:cubicBezTo>
                  <a:cubicBezTo>
                    <a:pt x="637933" y="249310"/>
                    <a:pt x="659596" y="231702"/>
                    <a:pt x="672644" y="203071"/>
                  </a:cubicBezTo>
                  <a:cubicBezTo>
                    <a:pt x="683666" y="179128"/>
                    <a:pt x="680879" y="137957"/>
                    <a:pt x="709635" y="127189"/>
                  </a:cubicBezTo>
                  <a:cubicBezTo>
                    <a:pt x="723824" y="121868"/>
                    <a:pt x="739660" y="124528"/>
                    <a:pt x="754481" y="125035"/>
                  </a:cubicBezTo>
                  <a:cubicBezTo>
                    <a:pt x="770570" y="125668"/>
                    <a:pt x="786025" y="122501"/>
                    <a:pt x="801987" y="121995"/>
                  </a:cubicBezTo>
                  <a:cubicBezTo>
                    <a:pt x="827830" y="121234"/>
                    <a:pt x="843919" y="142137"/>
                    <a:pt x="866722" y="149738"/>
                  </a:cubicBezTo>
                  <a:cubicBezTo>
                    <a:pt x="876983" y="153158"/>
                    <a:pt x="888131" y="147584"/>
                    <a:pt x="898646" y="146444"/>
                  </a:cubicBezTo>
                  <a:cubicBezTo>
                    <a:pt x="914228" y="144671"/>
                    <a:pt x="929810" y="142517"/>
                    <a:pt x="945519" y="143404"/>
                  </a:cubicBezTo>
                  <a:cubicBezTo>
                    <a:pt x="954386" y="143911"/>
                    <a:pt x="964267" y="145938"/>
                    <a:pt x="968321" y="154805"/>
                  </a:cubicBezTo>
                  <a:cubicBezTo>
                    <a:pt x="972122" y="163420"/>
                    <a:pt x="968575" y="173934"/>
                    <a:pt x="971488" y="182802"/>
                  </a:cubicBezTo>
                  <a:cubicBezTo>
                    <a:pt x="976049" y="196991"/>
                    <a:pt x="1019754" y="226128"/>
                    <a:pt x="991631" y="238289"/>
                  </a:cubicBezTo>
                  <a:cubicBezTo>
                    <a:pt x="983903" y="241710"/>
                    <a:pt x="973135" y="242216"/>
                    <a:pt x="973008" y="251717"/>
                  </a:cubicBezTo>
                  <a:cubicBezTo>
                    <a:pt x="972755" y="262106"/>
                    <a:pt x="981370" y="262486"/>
                    <a:pt x="988084" y="267046"/>
                  </a:cubicBezTo>
                  <a:cubicBezTo>
                    <a:pt x="996192" y="272493"/>
                    <a:pt x="991884" y="278194"/>
                    <a:pt x="994671" y="286809"/>
                  </a:cubicBezTo>
                  <a:cubicBezTo>
                    <a:pt x="998092" y="286429"/>
                    <a:pt x="1001639" y="285922"/>
                    <a:pt x="1005059" y="284908"/>
                  </a:cubicBezTo>
                  <a:cubicBezTo>
                    <a:pt x="1005693" y="288582"/>
                    <a:pt x="1007339" y="292003"/>
                    <a:pt x="1010506" y="295423"/>
                  </a:cubicBezTo>
                  <a:cubicBezTo>
                    <a:pt x="1016587" y="302137"/>
                    <a:pt x="1021528" y="309358"/>
                    <a:pt x="1026722" y="316832"/>
                  </a:cubicBezTo>
                  <a:cubicBezTo>
                    <a:pt x="1033183" y="325953"/>
                    <a:pt x="1040404" y="334695"/>
                    <a:pt x="1045598" y="344702"/>
                  </a:cubicBezTo>
                  <a:cubicBezTo>
                    <a:pt x="1050412" y="354204"/>
                    <a:pt x="1053832" y="364465"/>
                    <a:pt x="1059533" y="373713"/>
                  </a:cubicBezTo>
                  <a:cubicBezTo>
                    <a:pt x="1064853" y="382327"/>
                    <a:pt x="1070681" y="390182"/>
                    <a:pt x="1074101" y="399936"/>
                  </a:cubicBezTo>
                  <a:cubicBezTo>
                    <a:pt x="1077395" y="409564"/>
                    <a:pt x="1079169" y="419699"/>
                    <a:pt x="1081449" y="429580"/>
                  </a:cubicBezTo>
                  <a:cubicBezTo>
                    <a:pt x="1085123" y="445035"/>
                    <a:pt x="1083983" y="463024"/>
                    <a:pt x="1095004" y="475565"/>
                  </a:cubicBezTo>
                  <a:cubicBezTo>
                    <a:pt x="1099058" y="480126"/>
                    <a:pt x="1103998" y="485320"/>
                    <a:pt x="1109699" y="487980"/>
                  </a:cubicBezTo>
                  <a:cubicBezTo>
                    <a:pt x="1115400" y="490641"/>
                    <a:pt x="1121987" y="490261"/>
                    <a:pt x="1127941" y="492288"/>
                  </a:cubicBezTo>
                  <a:cubicBezTo>
                    <a:pt x="1131995" y="493681"/>
                    <a:pt x="1138709" y="500015"/>
                    <a:pt x="1143017" y="498622"/>
                  </a:cubicBezTo>
                  <a:cubicBezTo>
                    <a:pt x="1148844" y="496848"/>
                    <a:pt x="1152518" y="482406"/>
                    <a:pt x="1155811" y="477846"/>
                  </a:cubicBezTo>
                  <a:cubicBezTo>
                    <a:pt x="1161892" y="469485"/>
                    <a:pt x="1168099" y="469485"/>
                    <a:pt x="1176461" y="474805"/>
                  </a:cubicBezTo>
                  <a:cubicBezTo>
                    <a:pt x="1186469" y="481139"/>
                    <a:pt x="1195717" y="488234"/>
                    <a:pt x="1205978" y="494315"/>
                  </a:cubicBezTo>
                  <a:cubicBezTo>
                    <a:pt x="1221813" y="503562"/>
                    <a:pt x="1235748" y="513824"/>
                    <a:pt x="1253484" y="516611"/>
                  </a:cubicBezTo>
                  <a:cubicBezTo>
                    <a:pt x="1224220" y="553729"/>
                    <a:pt x="1172407" y="600728"/>
                    <a:pt x="1148084" y="620490"/>
                  </a:cubicBezTo>
                  <a:cubicBezTo>
                    <a:pt x="1123127" y="640633"/>
                    <a:pt x="1145930" y="654568"/>
                    <a:pt x="1157712" y="66634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7" name="Полилиния: фигура 406">
              <a:extLst>
                <a:ext uri="{FF2B5EF4-FFF2-40B4-BE49-F238E27FC236}">
                  <a16:creationId xmlns:a16="http://schemas.microsoft.com/office/drawing/2014/main" id="{35D51DA5-0D5D-421B-9BD3-2B6E8DEEFEA7}"/>
                </a:ext>
              </a:extLst>
            </p:cNvPr>
            <p:cNvSpPr/>
            <p:nvPr/>
          </p:nvSpPr>
          <p:spPr>
            <a:xfrm>
              <a:off x="3567082" y="1398217"/>
              <a:ext cx="612158" cy="926228"/>
            </a:xfrm>
            <a:custGeom>
              <a:avLst/>
              <a:gdLst>
                <a:gd name="connsiteX0" fmla="*/ 611876 w 612158"/>
                <a:gd name="connsiteY0" fmla="*/ 406043 h 926228"/>
                <a:gd name="connsiteX1" fmla="*/ 608583 w 612158"/>
                <a:gd name="connsiteY1" fmla="*/ 436447 h 926228"/>
                <a:gd name="connsiteX2" fmla="*/ 603896 w 612158"/>
                <a:gd name="connsiteY2" fmla="*/ 469258 h 926228"/>
                <a:gd name="connsiteX3" fmla="*/ 603136 w 612158"/>
                <a:gd name="connsiteY3" fmla="*/ 510936 h 926228"/>
                <a:gd name="connsiteX4" fmla="*/ 602375 w 612158"/>
                <a:gd name="connsiteY4" fmla="*/ 550334 h 926228"/>
                <a:gd name="connsiteX5" fmla="*/ 597308 w 612158"/>
                <a:gd name="connsiteY5" fmla="*/ 595307 h 926228"/>
                <a:gd name="connsiteX6" fmla="*/ 596421 w 612158"/>
                <a:gd name="connsiteY6" fmla="*/ 642813 h 926228"/>
                <a:gd name="connsiteX7" fmla="*/ 600855 w 612158"/>
                <a:gd name="connsiteY7" fmla="*/ 686265 h 926228"/>
                <a:gd name="connsiteX8" fmla="*/ 602756 w 612158"/>
                <a:gd name="connsiteY8" fmla="*/ 742259 h 926228"/>
                <a:gd name="connsiteX9" fmla="*/ 599842 w 612158"/>
                <a:gd name="connsiteY9" fmla="*/ 803953 h 926228"/>
                <a:gd name="connsiteX10" fmla="*/ 579066 w 612158"/>
                <a:gd name="connsiteY10" fmla="*/ 845251 h 926228"/>
                <a:gd name="connsiteX11" fmla="*/ 554996 w 612158"/>
                <a:gd name="connsiteY11" fmla="*/ 895038 h 926228"/>
                <a:gd name="connsiteX12" fmla="*/ 527633 w 612158"/>
                <a:gd name="connsiteY12" fmla="*/ 911126 h 926228"/>
                <a:gd name="connsiteX13" fmla="*/ 495836 w 612158"/>
                <a:gd name="connsiteY13" fmla="*/ 918727 h 926228"/>
                <a:gd name="connsiteX14" fmla="*/ 460618 w 612158"/>
                <a:gd name="connsiteY14" fmla="*/ 920374 h 926228"/>
                <a:gd name="connsiteX15" fmla="*/ 411338 w 612158"/>
                <a:gd name="connsiteY15" fmla="*/ 926201 h 926228"/>
                <a:gd name="connsiteX16" fmla="*/ 380681 w 612158"/>
                <a:gd name="connsiteY16" fmla="*/ 922908 h 926228"/>
                <a:gd name="connsiteX17" fmla="*/ 353824 w 612158"/>
                <a:gd name="connsiteY17" fmla="*/ 916447 h 926228"/>
                <a:gd name="connsiteX18" fmla="*/ 309105 w 612158"/>
                <a:gd name="connsiteY18" fmla="*/ 879962 h 926228"/>
                <a:gd name="connsiteX19" fmla="*/ 277308 w 612158"/>
                <a:gd name="connsiteY19" fmla="*/ 847278 h 926228"/>
                <a:gd name="connsiteX20" fmla="*/ 267807 w 612158"/>
                <a:gd name="connsiteY20" fmla="*/ 823969 h 926228"/>
                <a:gd name="connsiteX21" fmla="*/ 254252 w 612158"/>
                <a:gd name="connsiteY21" fmla="*/ 797492 h 926228"/>
                <a:gd name="connsiteX22" fmla="*/ 239303 w 612158"/>
                <a:gd name="connsiteY22" fmla="*/ 762401 h 926228"/>
                <a:gd name="connsiteX23" fmla="*/ 232716 w 612158"/>
                <a:gd name="connsiteY23" fmla="*/ 725283 h 926228"/>
                <a:gd name="connsiteX24" fmla="*/ 220427 w 612158"/>
                <a:gd name="connsiteY24" fmla="*/ 688418 h 926228"/>
                <a:gd name="connsiteX25" fmla="*/ 201679 w 612158"/>
                <a:gd name="connsiteY25" fmla="*/ 664602 h 926228"/>
                <a:gd name="connsiteX26" fmla="*/ 201299 w 612158"/>
                <a:gd name="connsiteY26" fmla="*/ 607848 h 926228"/>
                <a:gd name="connsiteX27" fmla="*/ 191544 w 612158"/>
                <a:gd name="connsiteY27" fmla="*/ 580738 h 926228"/>
                <a:gd name="connsiteX28" fmla="*/ 199398 w 612158"/>
                <a:gd name="connsiteY28" fmla="*/ 555782 h 926228"/>
                <a:gd name="connsiteX29" fmla="*/ 196611 w 612158"/>
                <a:gd name="connsiteY29" fmla="*/ 537793 h 926228"/>
                <a:gd name="connsiteX30" fmla="*/ 183183 w 612158"/>
                <a:gd name="connsiteY30" fmla="*/ 505489 h 926228"/>
                <a:gd name="connsiteX31" fmla="*/ 189391 w 612158"/>
                <a:gd name="connsiteY31" fmla="*/ 428339 h 926228"/>
                <a:gd name="connsiteX32" fmla="*/ 183056 w 612158"/>
                <a:gd name="connsiteY32" fmla="*/ 400596 h 926228"/>
                <a:gd name="connsiteX33" fmla="*/ 168234 w 612158"/>
                <a:gd name="connsiteY33" fmla="*/ 420232 h 926228"/>
                <a:gd name="connsiteX34" fmla="*/ 154173 w 612158"/>
                <a:gd name="connsiteY34" fmla="*/ 464570 h 926228"/>
                <a:gd name="connsiteX35" fmla="*/ 133904 w 612158"/>
                <a:gd name="connsiteY35" fmla="*/ 445061 h 926228"/>
                <a:gd name="connsiteX36" fmla="*/ 71829 w 612158"/>
                <a:gd name="connsiteY36" fmla="*/ 472171 h 926228"/>
                <a:gd name="connsiteX37" fmla="*/ 69802 w 612158"/>
                <a:gd name="connsiteY37" fmla="*/ 418711 h 926228"/>
                <a:gd name="connsiteX38" fmla="*/ 82344 w 612158"/>
                <a:gd name="connsiteY38" fmla="*/ 377159 h 926228"/>
                <a:gd name="connsiteX39" fmla="*/ 0 w 612158"/>
                <a:gd name="connsiteY39" fmla="*/ 237682 h 926228"/>
                <a:gd name="connsiteX40" fmla="*/ 19256 w 612158"/>
                <a:gd name="connsiteY40" fmla="*/ 220200 h 926228"/>
                <a:gd name="connsiteX41" fmla="*/ 38765 w 612158"/>
                <a:gd name="connsiteY41" fmla="*/ 206138 h 926228"/>
                <a:gd name="connsiteX42" fmla="*/ 59794 w 612158"/>
                <a:gd name="connsiteY42" fmla="*/ 202338 h 926228"/>
                <a:gd name="connsiteX43" fmla="*/ 100586 w 612158"/>
                <a:gd name="connsiteY43" fmla="*/ 209432 h 926228"/>
                <a:gd name="connsiteX44" fmla="*/ 147079 w 612158"/>
                <a:gd name="connsiteY44" fmla="*/ 204238 h 926228"/>
                <a:gd name="connsiteX45" fmla="*/ 189897 w 612158"/>
                <a:gd name="connsiteY45" fmla="*/ 177381 h 926228"/>
                <a:gd name="connsiteX46" fmla="*/ 210166 w 612158"/>
                <a:gd name="connsiteY46" fmla="*/ 127468 h 926228"/>
                <a:gd name="connsiteX47" fmla="*/ 211053 w 612158"/>
                <a:gd name="connsiteY47" fmla="*/ 89590 h 926228"/>
                <a:gd name="connsiteX48" fmla="*/ 219414 w 612158"/>
                <a:gd name="connsiteY48" fmla="*/ 51712 h 926228"/>
                <a:gd name="connsiteX49" fmla="*/ 275281 w 612158"/>
                <a:gd name="connsiteY49" fmla="*/ 32076 h 926228"/>
                <a:gd name="connsiteX50" fmla="*/ 309105 w 612158"/>
                <a:gd name="connsiteY50" fmla="*/ 34357 h 926228"/>
                <a:gd name="connsiteX51" fmla="*/ 314806 w 612158"/>
                <a:gd name="connsiteY51" fmla="*/ 23335 h 926228"/>
                <a:gd name="connsiteX52" fmla="*/ 326587 w 612158"/>
                <a:gd name="connsiteY52" fmla="*/ 11934 h 926228"/>
                <a:gd name="connsiteX53" fmla="*/ 359905 w 612158"/>
                <a:gd name="connsiteY53" fmla="*/ 26 h 926228"/>
                <a:gd name="connsiteX54" fmla="*/ 388029 w 612158"/>
                <a:gd name="connsiteY54" fmla="*/ 14974 h 926228"/>
                <a:gd name="connsiteX55" fmla="*/ 415138 w 612158"/>
                <a:gd name="connsiteY55" fmla="*/ 26249 h 926228"/>
                <a:gd name="connsiteX56" fmla="*/ 446936 w 612158"/>
                <a:gd name="connsiteY56" fmla="*/ 47658 h 926228"/>
                <a:gd name="connsiteX57" fmla="*/ 477466 w 612158"/>
                <a:gd name="connsiteY57" fmla="*/ 76922 h 926228"/>
                <a:gd name="connsiteX58" fmla="*/ 516864 w 612158"/>
                <a:gd name="connsiteY58" fmla="*/ 65774 h 926228"/>
                <a:gd name="connsiteX59" fmla="*/ 531306 w 612158"/>
                <a:gd name="connsiteY59" fmla="*/ 74008 h 926228"/>
                <a:gd name="connsiteX60" fmla="*/ 531180 w 612158"/>
                <a:gd name="connsiteY60" fmla="*/ 95164 h 926228"/>
                <a:gd name="connsiteX61" fmla="*/ 531433 w 612158"/>
                <a:gd name="connsiteY61" fmla="*/ 108213 h 926228"/>
                <a:gd name="connsiteX62" fmla="*/ 557403 w 612158"/>
                <a:gd name="connsiteY62" fmla="*/ 115940 h 926228"/>
                <a:gd name="connsiteX63" fmla="*/ 587807 w 612158"/>
                <a:gd name="connsiteY63" fmla="*/ 134562 h 926228"/>
                <a:gd name="connsiteX64" fmla="*/ 584640 w 612158"/>
                <a:gd name="connsiteY64" fmla="*/ 177508 h 926228"/>
                <a:gd name="connsiteX65" fmla="*/ 563357 w 612158"/>
                <a:gd name="connsiteY65" fmla="*/ 199931 h 926228"/>
                <a:gd name="connsiteX66" fmla="*/ 549422 w 612158"/>
                <a:gd name="connsiteY66" fmla="*/ 165220 h 926228"/>
                <a:gd name="connsiteX67" fmla="*/ 533713 w 612158"/>
                <a:gd name="connsiteY67" fmla="*/ 169400 h 926228"/>
                <a:gd name="connsiteX68" fmla="*/ 534347 w 612158"/>
                <a:gd name="connsiteY68" fmla="*/ 204238 h 926228"/>
                <a:gd name="connsiteX69" fmla="*/ 552589 w 612158"/>
                <a:gd name="connsiteY69" fmla="*/ 230841 h 926228"/>
                <a:gd name="connsiteX70" fmla="*/ 544102 w 612158"/>
                <a:gd name="connsiteY70" fmla="*/ 244650 h 926228"/>
                <a:gd name="connsiteX71" fmla="*/ 531053 w 612158"/>
                <a:gd name="connsiteY71" fmla="*/ 255164 h 926228"/>
                <a:gd name="connsiteX72" fmla="*/ 556896 w 612158"/>
                <a:gd name="connsiteY72" fmla="*/ 269859 h 926228"/>
                <a:gd name="connsiteX73" fmla="*/ 565511 w 612158"/>
                <a:gd name="connsiteY73" fmla="*/ 302290 h 926228"/>
                <a:gd name="connsiteX74" fmla="*/ 588947 w 612158"/>
                <a:gd name="connsiteY74" fmla="*/ 343335 h 926228"/>
                <a:gd name="connsiteX75" fmla="*/ 607316 w 612158"/>
                <a:gd name="connsiteY75" fmla="*/ 371712 h 926228"/>
                <a:gd name="connsiteX76" fmla="*/ 611876 w 612158"/>
                <a:gd name="connsiteY76" fmla="*/ 406043 h 92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12158" h="926228">
                  <a:moveTo>
                    <a:pt x="611876" y="406043"/>
                  </a:moveTo>
                  <a:cubicBezTo>
                    <a:pt x="611496" y="416431"/>
                    <a:pt x="611623" y="426439"/>
                    <a:pt x="608583" y="436447"/>
                  </a:cubicBezTo>
                  <a:cubicBezTo>
                    <a:pt x="605036" y="447722"/>
                    <a:pt x="603136" y="457350"/>
                    <a:pt x="603896" y="469258"/>
                  </a:cubicBezTo>
                  <a:cubicBezTo>
                    <a:pt x="604782" y="483446"/>
                    <a:pt x="604529" y="496874"/>
                    <a:pt x="603136" y="510936"/>
                  </a:cubicBezTo>
                  <a:cubicBezTo>
                    <a:pt x="601869" y="524111"/>
                    <a:pt x="602756" y="537160"/>
                    <a:pt x="602375" y="550334"/>
                  </a:cubicBezTo>
                  <a:cubicBezTo>
                    <a:pt x="601869" y="565536"/>
                    <a:pt x="598702" y="580231"/>
                    <a:pt x="597308" y="595307"/>
                  </a:cubicBezTo>
                  <a:cubicBezTo>
                    <a:pt x="595915" y="611269"/>
                    <a:pt x="598195" y="627104"/>
                    <a:pt x="596421" y="642813"/>
                  </a:cubicBezTo>
                  <a:cubicBezTo>
                    <a:pt x="594648" y="659028"/>
                    <a:pt x="597182" y="670683"/>
                    <a:pt x="600855" y="686265"/>
                  </a:cubicBezTo>
                  <a:cubicBezTo>
                    <a:pt x="605162" y="704634"/>
                    <a:pt x="604149" y="723509"/>
                    <a:pt x="602756" y="742259"/>
                  </a:cubicBezTo>
                  <a:cubicBezTo>
                    <a:pt x="601235" y="762781"/>
                    <a:pt x="602756" y="783684"/>
                    <a:pt x="599842" y="803953"/>
                  </a:cubicBezTo>
                  <a:cubicBezTo>
                    <a:pt x="597308" y="821435"/>
                    <a:pt x="587934" y="830936"/>
                    <a:pt x="579066" y="845251"/>
                  </a:cubicBezTo>
                  <a:cubicBezTo>
                    <a:pt x="569438" y="860960"/>
                    <a:pt x="566017" y="880216"/>
                    <a:pt x="554996" y="895038"/>
                  </a:cubicBezTo>
                  <a:cubicBezTo>
                    <a:pt x="548282" y="904159"/>
                    <a:pt x="537767" y="907072"/>
                    <a:pt x="527633" y="911126"/>
                  </a:cubicBezTo>
                  <a:cubicBezTo>
                    <a:pt x="517118" y="915180"/>
                    <a:pt x="507110" y="918347"/>
                    <a:pt x="495836" y="918727"/>
                  </a:cubicBezTo>
                  <a:cubicBezTo>
                    <a:pt x="484054" y="919234"/>
                    <a:pt x="472272" y="918474"/>
                    <a:pt x="460618" y="920374"/>
                  </a:cubicBezTo>
                  <a:cubicBezTo>
                    <a:pt x="444022" y="922908"/>
                    <a:pt x="428187" y="926581"/>
                    <a:pt x="411338" y="926201"/>
                  </a:cubicBezTo>
                  <a:cubicBezTo>
                    <a:pt x="401077" y="925948"/>
                    <a:pt x="390816" y="924681"/>
                    <a:pt x="380681" y="922908"/>
                  </a:cubicBezTo>
                  <a:cubicBezTo>
                    <a:pt x="372320" y="921514"/>
                    <a:pt x="361172" y="920627"/>
                    <a:pt x="353824" y="916447"/>
                  </a:cubicBezTo>
                  <a:cubicBezTo>
                    <a:pt x="337609" y="907326"/>
                    <a:pt x="323927" y="891237"/>
                    <a:pt x="309105" y="879962"/>
                  </a:cubicBezTo>
                  <a:cubicBezTo>
                    <a:pt x="296944" y="870715"/>
                    <a:pt x="284402" y="861087"/>
                    <a:pt x="277308" y="847278"/>
                  </a:cubicBezTo>
                  <a:cubicBezTo>
                    <a:pt x="273381" y="839804"/>
                    <a:pt x="271987" y="831316"/>
                    <a:pt x="267807" y="823969"/>
                  </a:cubicBezTo>
                  <a:cubicBezTo>
                    <a:pt x="262359" y="814341"/>
                    <a:pt x="256532" y="808260"/>
                    <a:pt x="254252" y="797492"/>
                  </a:cubicBezTo>
                  <a:cubicBezTo>
                    <a:pt x="251592" y="784950"/>
                    <a:pt x="243991" y="774056"/>
                    <a:pt x="239303" y="762401"/>
                  </a:cubicBezTo>
                  <a:cubicBezTo>
                    <a:pt x="234489" y="750493"/>
                    <a:pt x="233983" y="737825"/>
                    <a:pt x="232716" y="725283"/>
                  </a:cubicBezTo>
                  <a:cubicBezTo>
                    <a:pt x="231322" y="712108"/>
                    <a:pt x="228915" y="699060"/>
                    <a:pt x="220427" y="688418"/>
                  </a:cubicBezTo>
                  <a:cubicBezTo>
                    <a:pt x="214220" y="680564"/>
                    <a:pt x="204719" y="674610"/>
                    <a:pt x="201679" y="664602"/>
                  </a:cubicBezTo>
                  <a:cubicBezTo>
                    <a:pt x="195725" y="644840"/>
                    <a:pt x="212446" y="627484"/>
                    <a:pt x="201299" y="607848"/>
                  </a:cubicBezTo>
                  <a:cubicBezTo>
                    <a:pt x="196358" y="599107"/>
                    <a:pt x="191417" y="591126"/>
                    <a:pt x="191544" y="580738"/>
                  </a:cubicBezTo>
                  <a:cubicBezTo>
                    <a:pt x="191671" y="571364"/>
                    <a:pt x="196105" y="564143"/>
                    <a:pt x="199398" y="555782"/>
                  </a:cubicBezTo>
                  <a:cubicBezTo>
                    <a:pt x="202059" y="548814"/>
                    <a:pt x="199905" y="544254"/>
                    <a:pt x="196611" y="537793"/>
                  </a:cubicBezTo>
                  <a:cubicBezTo>
                    <a:pt x="191164" y="527405"/>
                    <a:pt x="185970" y="517017"/>
                    <a:pt x="183183" y="505489"/>
                  </a:cubicBezTo>
                  <a:cubicBezTo>
                    <a:pt x="176975" y="479646"/>
                    <a:pt x="188377" y="454182"/>
                    <a:pt x="189391" y="428339"/>
                  </a:cubicBezTo>
                  <a:cubicBezTo>
                    <a:pt x="189644" y="423019"/>
                    <a:pt x="191164" y="402243"/>
                    <a:pt x="183056" y="400596"/>
                  </a:cubicBezTo>
                  <a:cubicBezTo>
                    <a:pt x="175835" y="399076"/>
                    <a:pt x="170135" y="415671"/>
                    <a:pt x="168234" y="420232"/>
                  </a:cubicBezTo>
                  <a:cubicBezTo>
                    <a:pt x="162153" y="434673"/>
                    <a:pt x="158100" y="449495"/>
                    <a:pt x="154173" y="464570"/>
                  </a:cubicBezTo>
                  <a:cubicBezTo>
                    <a:pt x="147839" y="450129"/>
                    <a:pt x="140364" y="439107"/>
                    <a:pt x="133904" y="445061"/>
                  </a:cubicBezTo>
                  <a:cubicBezTo>
                    <a:pt x="118701" y="458870"/>
                    <a:pt x="85004" y="488640"/>
                    <a:pt x="71829" y="472171"/>
                  </a:cubicBezTo>
                  <a:cubicBezTo>
                    <a:pt x="58654" y="455703"/>
                    <a:pt x="50040" y="431253"/>
                    <a:pt x="69802" y="418711"/>
                  </a:cubicBezTo>
                  <a:cubicBezTo>
                    <a:pt x="89565" y="406170"/>
                    <a:pt x="90958" y="390334"/>
                    <a:pt x="82344" y="377159"/>
                  </a:cubicBezTo>
                  <a:cubicBezTo>
                    <a:pt x="75883" y="367152"/>
                    <a:pt x="24830" y="279994"/>
                    <a:pt x="0" y="237682"/>
                  </a:cubicBezTo>
                  <a:cubicBezTo>
                    <a:pt x="6588" y="231981"/>
                    <a:pt x="12542" y="225774"/>
                    <a:pt x="19256" y="220200"/>
                  </a:cubicBezTo>
                  <a:cubicBezTo>
                    <a:pt x="25210" y="215259"/>
                    <a:pt x="32051" y="210192"/>
                    <a:pt x="38765" y="206138"/>
                  </a:cubicBezTo>
                  <a:cubicBezTo>
                    <a:pt x="45226" y="202338"/>
                    <a:pt x="52447" y="202464"/>
                    <a:pt x="59794" y="202338"/>
                  </a:cubicBezTo>
                  <a:cubicBezTo>
                    <a:pt x="74236" y="202211"/>
                    <a:pt x="86651" y="206898"/>
                    <a:pt x="100586" y="209432"/>
                  </a:cubicBezTo>
                  <a:cubicBezTo>
                    <a:pt x="115661" y="212219"/>
                    <a:pt x="132383" y="208292"/>
                    <a:pt x="147079" y="204238"/>
                  </a:cubicBezTo>
                  <a:cubicBezTo>
                    <a:pt x="162027" y="200184"/>
                    <a:pt x="182043" y="191696"/>
                    <a:pt x="189897" y="177381"/>
                  </a:cubicBezTo>
                  <a:cubicBezTo>
                    <a:pt x="198385" y="161546"/>
                    <a:pt x="208013" y="145711"/>
                    <a:pt x="210166" y="127468"/>
                  </a:cubicBezTo>
                  <a:cubicBezTo>
                    <a:pt x="211686" y="114673"/>
                    <a:pt x="212193" y="102385"/>
                    <a:pt x="211053" y="89590"/>
                  </a:cubicBezTo>
                  <a:cubicBezTo>
                    <a:pt x="209913" y="75782"/>
                    <a:pt x="211053" y="63367"/>
                    <a:pt x="219414" y="51712"/>
                  </a:cubicBezTo>
                  <a:cubicBezTo>
                    <a:pt x="232843" y="32963"/>
                    <a:pt x="253492" y="29163"/>
                    <a:pt x="275281" y="32076"/>
                  </a:cubicBezTo>
                  <a:cubicBezTo>
                    <a:pt x="284149" y="33343"/>
                    <a:pt x="301124" y="40691"/>
                    <a:pt x="309105" y="34357"/>
                  </a:cubicBezTo>
                  <a:cubicBezTo>
                    <a:pt x="312399" y="31823"/>
                    <a:pt x="312906" y="26882"/>
                    <a:pt x="314806" y="23335"/>
                  </a:cubicBezTo>
                  <a:cubicBezTo>
                    <a:pt x="317466" y="18141"/>
                    <a:pt x="321647" y="14848"/>
                    <a:pt x="326587" y="11934"/>
                  </a:cubicBezTo>
                  <a:cubicBezTo>
                    <a:pt x="335835" y="6613"/>
                    <a:pt x="348884" y="-481"/>
                    <a:pt x="359905" y="26"/>
                  </a:cubicBezTo>
                  <a:cubicBezTo>
                    <a:pt x="371940" y="406"/>
                    <a:pt x="379034" y="8387"/>
                    <a:pt x="388029" y="14974"/>
                  </a:cubicBezTo>
                  <a:cubicBezTo>
                    <a:pt x="395376" y="20422"/>
                    <a:pt x="406651" y="22068"/>
                    <a:pt x="415138" y="26249"/>
                  </a:cubicBezTo>
                  <a:cubicBezTo>
                    <a:pt x="426667" y="31950"/>
                    <a:pt x="437688" y="38664"/>
                    <a:pt x="446936" y="47658"/>
                  </a:cubicBezTo>
                  <a:cubicBezTo>
                    <a:pt x="456944" y="57286"/>
                    <a:pt x="463151" y="72615"/>
                    <a:pt x="477466" y="76922"/>
                  </a:cubicBezTo>
                  <a:cubicBezTo>
                    <a:pt x="490641" y="80849"/>
                    <a:pt x="503816" y="67294"/>
                    <a:pt x="516864" y="65774"/>
                  </a:cubicBezTo>
                  <a:cubicBezTo>
                    <a:pt x="524466" y="64887"/>
                    <a:pt x="530293" y="65901"/>
                    <a:pt x="531306" y="74008"/>
                  </a:cubicBezTo>
                  <a:cubicBezTo>
                    <a:pt x="532193" y="80976"/>
                    <a:pt x="532067" y="88197"/>
                    <a:pt x="531180" y="95164"/>
                  </a:cubicBezTo>
                  <a:cubicBezTo>
                    <a:pt x="530673" y="99725"/>
                    <a:pt x="529026" y="103905"/>
                    <a:pt x="531433" y="108213"/>
                  </a:cubicBezTo>
                  <a:cubicBezTo>
                    <a:pt x="536627" y="117587"/>
                    <a:pt x="548535" y="115307"/>
                    <a:pt x="557403" y="115940"/>
                  </a:cubicBezTo>
                  <a:cubicBezTo>
                    <a:pt x="570451" y="116954"/>
                    <a:pt x="582360" y="121768"/>
                    <a:pt x="587807" y="134562"/>
                  </a:cubicBezTo>
                  <a:cubicBezTo>
                    <a:pt x="593634" y="148244"/>
                    <a:pt x="590467" y="164460"/>
                    <a:pt x="584640" y="177508"/>
                  </a:cubicBezTo>
                  <a:cubicBezTo>
                    <a:pt x="581726" y="184095"/>
                    <a:pt x="572985" y="202084"/>
                    <a:pt x="563357" y="199931"/>
                  </a:cubicBezTo>
                  <a:cubicBezTo>
                    <a:pt x="553096" y="197650"/>
                    <a:pt x="552209" y="172947"/>
                    <a:pt x="549422" y="165220"/>
                  </a:cubicBezTo>
                  <a:cubicBezTo>
                    <a:pt x="544102" y="150524"/>
                    <a:pt x="536754" y="157619"/>
                    <a:pt x="533713" y="169400"/>
                  </a:cubicBezTo>
                  <a:cubicBezTo>
                    <a:pt x="530926" y="180042"/>
                    <a:pt x="529533" y="193977"/>
                    <a:pt x="534347" y="204238"/>
                  </a:cubicBezTo>
                  <a:cubicBezTo>
                    <a:pt x="538654" y="213359"/>
                    <a:pt x="551956" y="220200"/>
                    <a:pt x="552589" y="230841"/>
                  </a:cubicBezTo>
                  <a:cubicBezTo>
                    <a:pt x="552969" y="236795"/>
                    <a:pt x="548282" y="241229"/>
                    <a:pt x="544102" y="244650"/>
                  </a:cubicBezTo>
                  <a:cubicBezTo>
                    <a:pt x="541315" y="246930"/>
                    <a:pt x="531813" y="251237"/>
                    <a:pt x="531053" y="255164"/>
                  </a:cubicBezTo>
                  <a:cubicBezTo>
                    <a:pt x="529660" y="262132"/>
                    <a:pt x="552209" y="265552"/>
                    <a:pt x="556896" y="269859"/>
                  </a:cubicBezTo>
                  <a:cubicBezTo>
                    <a:pt x="565891" y="277714"/>
                    <a:pt x="561837" y="291902"/>
                    <a:pt x="565511" y="302290"/>
                  </a:cubicBezTo>
                  <a:cubicBezTo>
                    <a:pt x="570831" y="316859"/>
                    <a:pt x="581599" y="329654"/>
                    <a:pt x="588947" y="343335"/>
                  </a:cubicBezTo>
                  <a:cubicBezTo>
                    <a:pt x="594395" y="353343"/>
                    <a:pt x="601869" y="361831"/>
                    <a:pt x="607316" y="371712"/>
                  </a:cubicBezTo>
                  <a:cubicBezTo>
                    <a:pt x="613397" y="382353"/>
                    <a:pt x="612130" y="394515"/>
                    <a:pt x="611876" y="40604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8" name="Полилиния: фигура 407">
              <a:extLst>
                <a:ext uri="{FF2B5EF4-FFF2-40B4-BE49-F238E27FC236}">
                  <a16:creationId xmlns:a16="http://schemas.microsoft.com/office/drawing/2014/main" id="{806A93B6-CFF9-4C7D-BC1E-A1E12CDBA422}"/>
                </a:ext>
              </a:extLst>
            </p:cNvPr>
            <p:cNvSpPr/>
            <p:nvPr/>
          </p:nvSpPr>
          <p:spPr>
            <a:xfrm>
              <a:off x="2335221" y="2088134"/>
              <a:ext cx="683001" cy="652445"/>
            </a:xfrm>
            <a:custGeom>
              <a:avLst/>
              <a:gdLst>
                <a:gd name="connsiteX0" fmla="*/ 682312 w 683001"/>
                <a:gd name="connsiteY0" fmla="*/ 495984 h 652445"/>
                <a:gd name="connsiteX1" fmla="*/ 659889 w 683001"/>
                <a:gd name="connsiteY1" fmla="*/ 456586 h 652445"/>
                <a:gd name="connsiteX2" fmla="*/ 647474 w 683001"/>
                <a:gd name="connsiteY2" fmla="*/ 438851 h 652445"/>
                <a:gd name="connsiteX3" fmla="*/ 633413 w 683001"/>
                <a:gd name="connsiteY3" fmla="*/ 451265 h 652445"/>
                <a:gd name="connsiteX4" fmla="*/ 651021 w 683001"/>
                <a:gd name="connsiteY4" fmla="*/ 490664 h 652445"/>
                <a:gd name="connsiteX5" fmla="*/ 629612 w 683001"/>
                <a:gd name="connsiteY5" fmla="*/ 486610 h 652445"/>
                <a:gd name="connsiteX6" fmla="*/ 586033 w 683001"/>
                <a:gd name="connsiteY6" fmla="*/ 489904 h 652445"/>
                <a:gd name="connsiteX7" fmla="*/ 561583 w 683001"/>
                <a:gd name="connsiteY7" fmla="*/ 515620 h 652445"/>
                <a:gd name="connsiteX8" fmla="*/ 491655 w 683001"/>
                <a:gd name="connsiteY8" fmla="*/ 532849 h 652445"/>
                <a:gd name="connsiteX9" fmla="*/ 463278 w 683001"/>
                <a:gd name="connsiteY9" fmla="*/ 609365 h 652445"/>
                <a:gd name="connsiteX10" fmla="*/ 457957 w 683001"/>
                <a:gd name="connsiteY10" fmla="*/ 633181 h 652445"/>
                <a:gd name="connsiteX11" fmla="*/ 422993 w 683001"/>
                <a:gd name="connsiteY11" fmla="*/ 622667 h 652445"/>
                <a:gd name="connsiteX12" fmla="*/ 395249 w 683001"/>
                <a:gd name="connsiteY12" fmla="*/ 649017 h 652445"/>
                <a:gd name="connsiteX13" fmla="*/ 365606 w 683001"/>
                <a:gd name="connsiteY13" fmla="*/ 620640 h 652445"/>
                <a:gd name="connsiteX14" fmla="*/ 335455 w 683001"/>
                <a:gd name="connsiteY14" fmla="*/ 628114 h 652445"/>
                <a:gd name="connsiteX15" fmla="*/ 335202 w 683001"/>
                <a:gd name="connsiteY15" fmla="*/ 627861 h 652445"/>
                <a:gd name="connsiteX16" fmla="*/ 332542 w 683001"/>
                <a:gd name="connsiteY16" fmla="*/ 622034 h 652445"/>
                <a:gd name="connsiteX17" fmla="*/ 318733 w 683001"/>
                <a:gd name="connsiteY17" fmla="*/ 579848 h 652445"/>
                <a:gd name="connsiteX18" fmla="*/ 314046 w 683001"/>
                <a:gd name="connsiteY18" fmla="*/ 528415 h 652445"/>
                <a:gd name="connsiteX19" fmla="*/ 287062 w 683001"/>
                <a:gd name="connsiteY19" fmla="*/ 492057 h 652445"/>
                <a:gd name="connsiteX20" fmla="*/ 269834 w 683001"/>
                <a:gd name="connsiteY20" fmla="*/ 455066 h 652445"/>
                <a:gd name="connsiteX21" fmla="*/ 246777 w 683001"/>
                <a:gd name="connsiteY21" fmla="*/ 432643 h 652445"/>
                <a:gd name="connsiteX22" fmla="*/ 236263 w 683001"/>
                <a:gd name="connsiteY22" fmla="*/ 351440 h 652445"/>
                <a:gd name="connsiteX23" fmla="*/ 172288 w 683001"/>
                <a:gd name="connsiteY23" fmla="*/ 359294 h 652445"/>
                <a:gd name="connsiteX24" fmla="*/ 157086 w 683001"/>
                <a:gd name="connsiteY24" fmla="*/ 321036 h 652445"/>
                <a:gd name="connsiteX25" fmla="*/ 109580 w 683001"/>
                <a:gd name="connsiteY25" fmla="*/ 329523 h 652445"/>
                <a:gd name="connsiteX26" fmla="*/ 73349 w 683001"/>
                <a:gd name="connsiteY26" fmla="*/ 318249 h 652445"/>
                <a:gd name="connsiteX27" fmla="*/ 1267 w 683001"/>
                <a:gd name="connsiteY27" fmla="*/ 293799 h 652445"/>
                <a:gd name="connsiteX28" fmla="*/ 1393 w 683001"/>
                <a:gd name="connsiteY28" fmla="*/ 289239 h 652445"/>
                <a:gd name="connsiteX29" fmla="*/ 10641 w 683001"/>
                <a:gd name="connsiteY29" fmla="*/ 253641 h 652445"/>
                <a:gd name="connsiteX30" fmla="*/ 15962 w 683001"/>
                <a:gd name="connsiteY30" fmla="*/ 229191 h 652445"/>
                <a:gd name="connsiteX31" fmla="*/ 24576 w 683001"/>
                <a:gd name="connsiteY31" fmla="*/ 193593 h 652445"/>
                <a:gd name="connsiteX32" fmla="*/ 0 w 683001"/>
                <a:gd name="connsiteY32" fmla="*/ 121131 h 652445"/>
                <a:gd name="connsiteX33" fmla="*/ 6461 w 683001"/>
                <a:gd name="connsiteY33" fmla="*/ 115177 h 652445"/>
                <a:gd name="connsiteX34" fmla="*/ 30784 w 683001"/>
                <a:gd name="connsiteY34" fmla="*/ 99088 h 652445"/>
                <a:gd name="connsiteX35" fmla="*/ 55614 w 683001"/>
                <a:gd name="connsiteY35" fmla="*/ 114543 h 652445"/>
                <a:gd name="connsiteX36" fmla="*/ 77150 w 683001"/>
                <a:gd name="connsiteY36" fmla="*/ 139247 h 652445"/>
                <a:gd name="connsiteX37" fmla="*/ 86777 w 683001"/>
                <a:gd name="connsiteY37" fmla="*/ 108463 h 652445"/>
                <a:gd name="connsiteX38" fmla="*/ 137957 w 683001"/>
                <a:gd name="connsiteY38" fmla="*/ 76919 h 652445"/>
                <a:gd name="connsiteX39" fmla="*/ 152906 w 683001"/>
                <a:gd name="connsiteY39" fmla="*/ 92501 h 652445"/>
                <a:gd name="connsiteX40" fmla="*/ 178876 w 683001"/>
                <a:gd name="connsiteY40" fmla="*/ 97948 h 652445"/>
                <a:gd name="connsiteX41" fmla="*/ 203959 w 683001"/>
                <a:gd name="connsiteY41" fmla="*/ 129112 h 652445"/>
                <a:gd name="connsiteX42" fmla="*/ 237910 w 683001"/>
                <a:gd name="connsiteY42" fmla="*/ 163443 h 652445"/>
                <a:gd name="connsiteX43" fmla="*/ 246271 w 683001"/>
                <a:gd name="connsiteY43" fmla="*/ 206008 h 652445"/>
                <a:gd name="connsiteX44" fmla="*/ 283009 w 683001"/>
                <a:gd name="connsiteY44" fmla="*/ 179025 h 652445"/>
                <a:gd name="connsiteX45" fmla="*/ 276295 w 683001"/>
                <a:gd name="connsiteY45" fmla="*/ 134559 h 652445"/>
                <a:gd name="connsiteX46" fmla="*/ 251338 w 683001"/>
                <a:gd name="connsiteY46" fmla="*/ 104029 h 652445"/>
                <a:gd name="connsiteX47" fmla="*/ 253365 w 683001"/>
                <a:gd name="connsiteY47" fmla="*/ 84520 h 652445"/>
                <a:gd name="connsiteX48" fmla="*/ 246904 w 683001"/>
                <a:gd name="connsiteY48" fmla="*/ 62604 h 652445"/>
                <a:gd name="connsiteX49" fmla="*/ 274648 w 683001"/>
                <a:gd name="connsiteY49" fmla="*/ 44741 h 652445"/>
                <a:gd name="connsiteX50" fmla="*/ 243737 w 683001"/>
                <a:gd name="connsiteY50" fmla="*/ 149 h 652445"/>
                <a:gd name="connsiteX51" fmla="*/ 313666 w 683001"/>
                <a:gd name="connsiteY51" fmla="*/ 5090 h 652445"/>
                <a:gd name="connsiteX52" fmla="*/ 373840 w 683001"/>
                <a:gd name="connsiteY52" fmla="*/ 20038 h 652445"/>
                <a:gd name="connsiteX53" fmla="*/ 424133 w 683001"/>
                <a:gd name="connsiteY53" fmla="*/ 26372 h 652445"/>
                <a:gd name="connsiteX54" fmla="*/ 437055 w 683001"/>
                <a:gd name="connsiteY54" fmla="*/ 95034 h 652445"/>
                <a:gd name="connsiteX55" fmla="*/ 431354 w 683001"/>
                <a:gd name="connsiteY55" fmla="*/ 100228 h 652445"/>
                <a:gd name="connsiteX56" fmla="*/ 433001 w 683001"/>
                <a:gd name="connsiteY56" fmla="*/ 139880 h 652445"/>
                <a:gd name="connsiteX57" fmla="*/ 421726 w 683001"/>
                <a:gd name="connsiteY57" fmla="*/ 162049 h 652445"/>
                <a:gd name="connsiteX58" fmla="*/ 381948 w 683001"/>
                <a:gd name="connsiteY58" fmla="*/ 185612 h 652445"/>
                <a:gd name="connsiteX59" fmla="*/ 375740 w 683001"/>
                <a:gd name="connsiteY59" fmla="*/ 203474 h 652445"/>
                <a:gd name="connsiteX60" fmla="*/ 364212 w 683001"/>
                <a:gd name="connsiteY60" fmla="*/ 226277 h 652445"/>
                <a:gd name="connsiteX61" fmla="*/ 339889 w 683001"/>
                <a:gd name="connsiteY61" fmla="*/ 256808 h 652445"/>
                <a:gd name="connsiteX62" fmla="*/ 329248 w 683001"/>
                <a:gd name="connsiteY62" fmla="*/ 290505 h 652445"/>
                <a:gd name="connsiteX63" fmla="*/ 364592 w 683001"/>
                <a:gd name="connsiteY63" fmla="*/ 298106 h 652445"/>
                <a:gd name="connsiteX64" fmla="*/ 400443 w 683001"/>
                <a:gd name="connsiteY64" fmla="*/ 354607 h 652445"/>
                <a:gd name="connsiteX65" fmla="*/ 436674 w 683001"/>
                <a:gd name="connsiteY65" fmla="*/ 353213 h 652445"/>
                <a:gd name="connsiteX66" fmla="*/ 457957 w 683001"/>
                <a:gd name="connsiteY66" fmla="*/ 350553 h 652445"/>
                <a:gd name="connsiteX67" fmla="*/ 462898 w 683001"/>
                <a:gd name="connsiteY67" fmla="*/ 361701 h 652445"/>
                <a:gd name="connsiteX68" fmla="*/ 515091 w 683001"/>
                <a:gd name="connsiteY68" fmla="*/ 369682 h 652445"/>
                <a:gd name="connsiteX69" fmla="*/ 531560 w 683001"/>
                <a:gd name="connsiteY69" fmla="*/ 324076 h 652445"/>
                <a:gd name="connsiteX70" fmla="*/ 577039 w 683001"/>
                <a:gd name="connsiteY70" fmla="*/ 361068 h 652445"/>
                <a:gd name="connsiteX71" fmla="*/ 598828 w 683001"/>
                <a:gd name="connsiteY71" fmla="*/ 314195 h 652445"/>
                <a:gd name="connsiteX72" fmla="*/ 627205 w 683001"/>
                <a:gd name="connsiteY72" fmla="*/ 390711 h 652445"/>
                <a:gd name="connsiteX73" fmla="*/ 681932 w 683001"/>
                <a:gd name="connsiteY73" fmla="*/ 439611 h 652445"/>
                <a:gd name="connsiteX74" fmla="*/ 682312 w 683001"/>
                <a:gd name="connsiteY74" fmla="*/ 495984 h 65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83001" h="652445">
                  <a:moveTo>
                    <a:pt x="682312" y="495984"/>
                  </a:moveTo>
                  <a:cubicBezTo>
                    <a:pt x="666350" y="495731"/>
                    <a:pt x="663436" y="470141"/>
                    <a:pt x="659889" y="456586"/>
                  </a:cubicBezTo>
                  <a:cubicBezTo>
                    <a:pt x="658242" y="449872"/>
                    <a:pt x="655709" y="439737"/>
                    <a:pt x="647474" y="438851"/>
                  </a:cubicBezTo>
                  <a:cubicBezTo>
                    <a:pt x="640253" y="437964"/>
                    <a:pt x="634806" y="444931"/>
                    <a:pt x="633413" y="451265"/>
                  </a:cubicBezTo>
                  <a:cubicBezTo>
                    <a:pt x="630245" y="465834"/>
                    <a:pt x="643040" y="478375"/>
                    <a:pt x="651021" y="490664"/>
                  </a:cubicBezTo>
                  <a:cubicBezTo>
                    <a:pt x="642534" y="486863"/>
                    <a:pt x="634299" y="484583"/>
                    <a:pt x="629612" y="486610"/>
                  </a:cubicBezTo>
                  <a:cubicBezTo>
                    <a:pt x="619097" y="491297"/>
                    <a:pt x="590087" y="477362"/>
                    <a:pt x="586033" y="489904"/>
                  </a:cubicBezTo>
                  <a:cubicBezTo>
                    <a:pt x="582106" y="502445"/>
                    <a:pt x="588060" y="520941"/>
                    <a:pt x="561583" y="515620"/>
                  </a:cubicBezTo>
                  <a:cubicBezTo>
                    <a:pt x="535234" y="510426"/>
                    <a:pt x="500269" y="517647"/>
                    <a:pt x="491655" y="532849"/>
                  </a:cubicBezTo>
                  <a:cubicBezTo>
                    <a:pt x="483040" y="548051"/>
                    <a:pt x="458717" y="592897"/>
                    <a:pt x="463278" y="609365"/>
                  </a:cubicBezTo>
                  <a:cubicBezTo>
                    <a:pt x="467838" y="625834"/>
                    <a:pt x="469865" y="644330"/>
                    <a:pt x="457957" y="633181"/>
                  </a:cubicBezTo>
                  <a:cubicBezTo>
                    <a:pt x="446049" y="621907"/>
                    <a:pt x="428314" y="611392"/>
                    <a:pt x="422993" y="622667"/>
                  </a:cubicBezTo>
                  <a:cubicBezTo>
                    <a:pt x="417672" y="633942"/>
                    <a:pt x="409818" y="662192"/>
                    <a:pt x="395249" y="649017"/>
                  </a:cubicBezTo>
                  <a:cubicBezTo>
                    <a:pt x="380681" y="635842"/>
                    <a:pt x="380048" y="615319"/>
                    <a:pt x="365606" y="620640"/>
                  </a:cubicBezTo>
                  <a:cubicBezTo>
                    <a:pt x="353318" y="625201"/>
                    <a:pt x="341916" y="636349"/>
                    <a:pt x="335455" y="628114"/>
                  </a:cubicBezTo>
                  <a:cubicBezTo>
                    <a:pt x="335328" y="627987"/>
                    <a:pt x="335328" y="627987"/>
                    <a:pt x="335202" y="627861"/>
                  </a:cubicBezTo>
                  <a:cubicBezTo>
                    <a:pt x="334188" y="626467"/>
                    <a:pt x="333302" y="624567"/>
                    <a:pt x="332542" y="622034"/>
                  </a:cubicBezTo>
                  <a:cubicBezTo>
                    <a:pt x="327221" y="603538"/>
                    <a:pt x="313412" y="606831"/>
                    <a:pt x="318733" y="579848"/>
                  </a:cubicBezTo>
                  <a:cubicBezTo>
                    <a:pt x="324054" y="552865"/>
                    <a:pt x="331275" y="547544"/>
                    <a:pt x="314046" y="528415"/>
                  </a:cubicBezTo>
                  <a:cubicBezTo>
                    <a:pt x="296944" y="509286"/>
                    <a:pt x="285036" y="505992"/>
                    <a:pt x="287062" y="492057"/>
                  </a:cubicBezTo>
                  <a:cubicBezTo>
                    <a:pt x="289089" y="478249"/>
                    <a:pt x="282375" y="455826"/>
                    <a:pt x="269834" y="455066"/>
                  </a:cubicBezTo>
                  <a:cubicBezTo>
                    <a:pt x="257292" y="454432"/>
                    <a:pt x="242850" y="455066"/>
                    <a:pt x="246777" y="432643"/>
                  </a:cubicBezTo>
                  <a:cubicBezTo>
                    <a:pt x="250705" y="410220"/>
                    <a:pt x="244751" y="348906"/>
                    <a:pt x="236263" y="351440"/>
                  </a:cubicBezTo>
                  <a:cubicBezTo>
                    <a:pt x="227775" y="354100"/>
                    <a:pt x="170261" y="382477"/>
                    <a:pt x="172288" y="359294"/>
                  </a:cubicBezTo>
                  <a:cubicBezTo>
                    <a:pt x="174315" y="336238"/>
                    <a:pt x="186096" y="312421"/>
                    <a:pt x="157086" y="321036"/>
                  </a:cubicBezTo>
                  <a:cubicBezTo>
                    <a:pt x="128076" y="329523"/>
                    <a:pt x="118828" y="338138"/>
                    <a:pt x="109580" y="329523"/>
                  </a:cubicBezTo>
                  <a:cubicBezTo>
                    <a:pt x="100333" y="321036"/>
                    <a:pt x="81837" y="318249"/>
                    <a:pt x="73349" y="318249"/>
                  </a:cubicBezTo>
                  <a:cubicBezTo>
                    <a:pt x="65495" y="318249"/>
                    <a:pt x="6207" y="309381"/>
                    <a:pt x="1267" y="293799"/>
                  </a:cubicBezTo>
                  <a:cubicBezTo>
                    <a:pt x="760" y="292279"/>
                    <a:pt x="760" y="290885"/>
                    <a:pt x="1393" y="289239"/>
                  </a:cubicBezTo>
                  <a:cubicBezTo>
                    <a:pt x="7981" y="270743"/>
                    <a:pt x="14568" y="266182"/>
                    <a:pt x="10641" y="253641"/>
                  </a:cubicBezTo>
                  <a:cubicBezTo>
                    <a:pt x="6714" y="241099"/>
                    <a:pt x="5321" y="243760"/>
                    <a:pt x="15962" y="229191"/>
                  </a:cubicBezTo>
                  <a:cubicBezTo>
                    <a:pt x="26477" y="214623"/>
                    <a:pt x="29770" y="204741"/>
                    <a:pt x="24576" y="193593"/>
                  </a:cubicBezTo>
                  <a:cubicBezTo>
                    <a:pt x="19889" y="183585"/>
                    <a:pt x="7221" y="149888"/>
                    <a:pt x="0" y="121131"/>
                  </a:cubicBezTo>
                  <a:cubicBezTo>
                    <a:pt x="2154" y="119991"/>
                    <a:pt x="4307" y="118090"/>
                    <a:pt x="6461" y="115177"/>
                  </a:cubicBezTo>
                  <a:cubicBezTo>
                    <a:pt x="14442" y="104029"/>
                    <a:pt x="14188" y="98075"/>
                    <a:pt x="30784" y="99088"/>
                  </a:cubicBezTo>
                  <a:cubicBezTo>
                    <a:pt x="43325" y="99848"/>
                    <a:pt x="52447" y="101622"/>
                    <a:pt x="55614" y="114543"/>
                  </a:cubicBezTo>
                  <a:cubicBezTo>
                    <a:pt x="58527" y="126071"/>
                    <a:pt x="59414" y="142540"/>
                    <a:pt x="77150" y="139247"/>
                  </a:cubicBezTo>
                  <a:cubicBezTo>
                    <a:pt x="91338" y="136713"/>
                    <a:pt x="86651" y="119484"/>
                    <a:pt x="86777" y="108463"/>
                  </a:cubicBezTo>
                  <a:cubicBezTo>
                    <a:pt x="87157" y="75398"/>
                    <a:pt x="111860" y="77172"/>
                    <a:pt x="137957" y="76919"/>
                  </a:cubicBezTo>
                  <a:cubicBezTo>
                    <a:pt x="137704" y="89967"/>
                    <a:pt x="140237" y="92501"/>
                    <a:pt x="152906" y="92501"/>
                  </a:cubicBezTo>
                  <a:cubicBezTo>
                    <a:pt x="163040" y="92501"/>
                    <a:pt x="171528" y="92374"/>
                    <a:pt x="178876" y="97948"/>
                  </a:cubicBezTo>
                  <a:cubicBezTo>
                    <a:pt x="178116" y="119864"/>
                    <a:pt x="184070" y="124551"/>
                    <a:pt x="203959" y="129112"/>
                  </a:cubicBezTo>
                  <a:cubicBezTo>
                    <a:pt x="222581" y="133292"/>
                    <a:pt x="235883" y="143554"/>
                    <a:pt x="237910" y="163443"/>
                  </a:cubicBezTo>
                  <a:cubicBezTo>
                    <a:pt x="239303" y="176238"/>
                    <a:pt x="230942" y="199294"/>
                    <a:pt x="246271" y="206008"/>
                  </a:cubicBezTo>
                  <a:cubicBezTo>
                    <a:pt x="263246" y="213482"/>
                    <a:pt x="279968" y="193340"/>
                    <a:pt x="283009" y="179025"/>
                  </a:cubicBezTo>
                  <a:cubicBezTo>
                    <a:pt x="285922" y="165216"/>
                    <a:pt x="283769" y="146721"/>
                    <a:pt x="276295" y="134559"/>
                  </a:cubicBezTo>
                  <a:cubicBezTo>
                    <a:pt x="269707" y="123538"/>
                    <a:pt x="253365" y="117204"/>
                    <a:pt x="251338" y="104029"/>
                  </a:cubicBezTo>
                  <a:cubicBezTo>
                    <a:pt x="250325" y="97821"/>
                    <a:pt x="253492" y="90980"/>
                    <a:pt x="253365" y="84520"/>
                  </a:cubicBezTo>
                  <a:cubicBezTo>
                    <a:pt x="253112" y="76158"/>
                    <a:pt x="249311" y="70331"/>
                    <a:pt x="246904" y="62604"/>
                  </a:cubicBezTo>
                  <a:cubicBezTo>
                    <a:pt x="241330" y="45121"/>
                    <a:pt x="260712" y="48668"/>
                    <a:pt x="274648" y="44741"/>
                  </a:cubicBezTo>
                  <a:cubicBezTo>
                    <a:pt x="321013" y="31693"/>
                    <a:pt x="258432" y="11424"/>
                    <a:pt x="243737" y="149"/>
                  </a:cubicBezTo>
                  <a:cubicBezTo>
                    <a:pt x="266667" y="-864"/>
                    <a:pt x="290610" y="3569"/>
                    <a:pt x="313666" y="5090"/>
                  </a:cubicBezTo>
                  <a:cubicBezTo>
                    <a:pt x="334695" y="6610"/>
                    <a:pt x="353444" y="15984"/>
                    <a:pt x="373840" y="20038"/>
                  </a:cubicBezTo>
                  <a:cubicBezTo>
                    <a:pt x="390182" y="23205"/>
                    <a:pt x="407158" y="24725"/>
                    <a:pt x="424133" y="26372"/>
                  </a:cubicBezTo>
                  <a:cubicBezTo>
                    <a:pt x="421726" y="42968"/>
                    <a:pt x="420966" y="71091"/>
                    <a:pt x="437055" y="95034"/>
                  </a:cubicBezTo>
                  <a:cubicBezTo>
                    <a:pt x="434648" y="96301"/>
                    <a:pt x="432621" y="97948"/>
                    <a:pt x="431354" y="100228"/>
                  </a:cubicBezTo>
                  <a:cubicBezTo>
                    <a:pt x="425273" y="110870"/>
                    <a:pt x="434141" y="128225"/>
                    <a:pt x="433001" y="139880"/>
                  </a:cubicBezTo>
                  <a:cubicBezTo>
                    <a:pt x="432241" y="148621"/>
                    <a:pt x="428060" y="156095"/>
                    <a:pt x="421726" y="162049"/>
                  </a:cubicBezTo>
                  <a:cubicBezTo>
                    <a:pt x="410325" y="172564"/>
                    <a:pt x="394743" y="177124"/>
                    <a:pt x="381948" y="185612"/>
                  </a:cubicBezTo>
                  <a:cubicBezTo>
                    <a:pt x="373333" y="191313"/>
                    <a:pt x="375867" y="194353"/>
                    <a:pt x="375740" y="203474"/>
                  </a:cubicBezTo>
                  <a:cubicBezTo>
                    <a:pt x="375740" y="212722"/>
                    <a:pt x="371433" y="220703"/>
                    <a:pt x="364212" y="226277"/>
                  </a:cubicBezTo>
                  <a:cubicBezTo>
                    <a:pt x="354584" y="233752"/>
                    <a:pt x="346983" y="246927"/>
                    <a:pt x="339889" y="256808"/>
                  </a:cubicBezTo>
                  <a:cubicBezTo>
                    <a:pt x="334442" y="264282"/>
                    <a:pt x="321520" y="280877"/>
                    <a:pt x="329248" y="290505"/>
                  </a:cubicBezTo>
                  <a:cubicBezTo>
                    <a:pt x="336342" y="299373"/>
                    <a:pt x="354711" y="296459"/>
                    <a:pt x="364592" y="298106"/>
                  </a:cubicBezTo>
                  <a:cubicBezTo>
                    <a:pt x="398036" y="303554"/>
                    <a:pt x="376880" y="341432"/>
                    <a:pt x="400443" y="354607"/>
                  </a:cubicBezTo>
                  <a:cubicBezTo>
                    <a:pt x="411338" y="360687"/>
                    <a:pt x="425526" y="356127"/>
                    <a:pt x="436674" y="353213"/>
                  </a:cubicBezTo>
                  <a:cubicBezTo>
                    <a:pt x="444149" y="351186"/>
                    <a:pt x="450736" y="350426"/>
                    <a:pt x="457957" y="350553"/>
                  </a:cubicBezTo>
                  <a:cubicBezTo>
                    <a:pt x="458971" y="356380"/>
                    <a:pt x="460617" y="360307"/>
                    <a:pt x="462898" y="361701"/>
                  </a:cubicBezTo>
                  <a:cubicBezTo>
                    <a:pt x="484054" y="374242"/>
                    <a:pt x="515724" y="400592"/>
                    <a:pt x="515091" y="369682"/>
                  </a:cubicBezTo>
                  <a:cubicBezTo>
                    <a:pt x="514457" y="338645"/>
                    <a:pt x="518385" y="316855"/>
                    <a:pt x="531560" y="324076"/>
                  </a:cubicBezTo>
                  <a:cubicBezTo>
                    <a:pt x="544735" y="331297"/>
                    <a:pt x="567918" y="382857"/>
                    <a:pt x="577039" y="361068"/>
                  </a:cubicBezTo>
                  <a:cubicBezTo>
                    <a:pt x="586287" y="339278"/>
                    <a:pt x="585020" y="291772"/>
                    <a:pt x="598828" y="314195"/>
                  </a:cubicBezTo>
                  <a:cubicBezTo>
                    <a:pt x="612636" y="336618"/>
                    <a:pt x="602122" y="376269"/>
                    <a:pt x="627205" y="390711"/>
                  </a:cubicBezTo>
                  <a:cubicBezTo>
                    <a:pt x="652288" y="405280"/>
                    <a:pt x="680665" y="411867"/>
                    <a:pt x="681932" y="439611"/>
                  </a:cubicBezTo>
                  <a:cubicBezTo>
                    <a:pt x="682439" y="457346"/>
                    <a:pt x="683832" y="482049"/>
                    <a:pt x="682312" y="49598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09" name="Полилиния: фигура 408">
              <a:extLst>
                <a:ext uri="{FF2B5EF4-FFF2-40B4-BE49-F238E27FC236}">
                  <a16:creationId xmlns:a16="http://schemas.microsoft.com/office/drawing/2014/main" id="{863DB12D-E24C-4356-BF7C-751BD8B245EE}"/>
                </a:ext>
              </a:extLst>
            </p:cNvPr>
            <p:cNvSpPr/>
            <p:nvPr/>
          </p:nvSpPr>
          <p:spPr>
            <a:xfrm>
              <a:off x="1923637" y="2209518"/>
              <a:ext cx="438496" cy="575518"/>
            </a:xfrm>
            <a:custGeom>
              <a:avLst/>
              <a:gdLst>
                <a:gd name="connsiteX0" fmla="*/ 427420 w 438496"/>
                <a:gd name="connsiteY0" fmla="*/ 107807 h 575518"/>
                <a:gd name="connsiteX1" fmla="*/ 422099 w 438496"/>
                <a:gd name="connsiteY1" fmla="*/ 132257 h 575518"/>
                <a:gd name="connsiteX2" fmla="*/ 412851 w 438496"/>
                <a:gd name="connsiteY2" fmla="*/ 167854 h 575518"/>
                <a:gd name="connsiteX3" fmla="*/ 412725 w 438496"/>
                <a:gd name="connsiteY3" fmla="*/ 172415 h 575518"/>
                <a:gd name="connsiteX4" fmla="*/ 370793 w 438496"/>
                <a:gd name="connsiteY4" fmla="*/ 166714 h 575518"/>
                <a:gd name="connsiteX5" fmla="*/ 346470 w 438496"/>
                <a:gd name="connsiteY5" fmla="*/ 182043 h 575518"/>
                <a:gd name="connsiteX6" fmla="*/ 351410 w 438496"/>
                <a:gd name="connsiteY6" fmla="*/ 268693 h 575518"/>
                <a:gd name="connsiteX7" fmla="*/ 322653 w 438496"/>
                <a:gd name="connsiteY7" fmla="*/ 298844 h 575518"/>
                <a:gd name="connsiteX8" fmla="*/ 304284 w 438496"/>
                <a:gd name="connsiteY8" fmla="*/ 324561 h 575518"/>
                <a:gd name="connsiteX9" fmla="*/ 267166 w 438496"/>
                <a:gd name="connsiteY9" fmla="*/ 337862 h 575518"/>
                <a:gd name="connsiteX10" fmla="*/ 263239 w 438496"/>
                <a:gd name="connsiteY10" fmla="*/ 361172 h 575518"/>
                <a:gd name="connsiteX11" fmla="*/ 243983 w 438496"/>
                <a:gd name="connsiteY11" fmla="*/ 382455 h 575518"/>
                <a:gd name="connsiteX12" fmla="*/ 235496 w 438496"/>
                <a:gd name="connsiteY12" fmla="*/ 422993 h 575518"/>
                <a:gd name="connsiteX13" fmla="*/ 234229 w 438496"/>
                <a:gd name="connsiteY13" fmla="*/ 429327 h 575518"/>
                <a:gd name="connsiteX14" fmla="*/ 208386 w 438496"/>
                <a:gd name="connsiteY14" fmla="*/ 430974 h 575518"/>
                <a:gd name="connsiteX15" fmla="*/ 176715 w 438496"/>
                <a:gd name="connsiteY15" fmla="*/ 461631 h 575518"/>
                <a:gd name="connsiteX16" fmla="*/ 183556 w 438496"/>
                <a:gd name="connsiteY16" fmla="*/ 487348 h 575518"/>
                <a:gd name="connsiteX17" fmla="*/ 178109 w 438496"/>
                <a:gd name="connsiteY17" fmla="*/ 530420 h 575518"/>
                <a:gd name="connsiteX18" fmla="*/ 104759 w 438496"/>
                <a:gd name="connsiteY18" fmla="*/ 575519 h 575518"/>
                <a:gd name="connsiteX19" fmla="*/ 102226 w 438496"/>
                <a:gd name="connsiteY19" fmla="*/ 571971 h 575518"/>
                <a:gd name="connsiteX20" fmla="*/ 100706 w 438496"/>
                <a:gd name="connsiteY20" fmla="*/ 570325 h 575518"/>
                <a:gd name="connsiteX21" fmla="*/ 99059 w 438496"/>
                <a:gd name="connsiteY21" fmla="*/ 568804 h 575518"/>
                <a:gd name="connsiteX22" fmla="*/ 37744 w 438496"/>
                <a:gd name="connsiteY22" fmla="*/ 536247 h 575518"/>
                <a:gd name="connsiteX23" fmla="*/ 46485 w 438496"/>
                <a:gd name="connsiteY23" fmla="*/ 501536 h 575518"/>
                <a:gd name="connsiteX24" fmla="*/ 27356 w 438496"/>
                <a:gd name="connsiteY24" fmla="*/ 447062 h 575518"/>
                <a:gd name="connsiteX25" fmla="*/ 25203 w 438496"/>
                <a:gd name="connsiteY25" fmla="*/ 388915 h 575518"/>
                <a:gd name="connsiteX26" fmla="*/ 8987 w 438496"/>
                <a:gd name="connsiteY26" fmla="*/ 343816 h 575518"/>
                <a:gd name="connsiteX27" fmla="*/ 1387 w 438496"/>
                <a:gd name="connsiteY27" fmla="*/ 291370 h 575518"/>
                <a:gd name="connsiteX28" fmla="*/ 13928 w 438496"/>
                <a:gd name="connsiteY28" fmla="*/ 245764 h 575518"/>
                <a:gd name="connsiteX29" fmla="*/ 63714 w 438496"/>
                <a:gd name="connsiteY29" fmla="*/ 227142 h 575518"/>
                <a:gd name="connsiteX30" fmla="*/ 90064 w 438496"/>
                <a:gd name="connsiteY30" fmla="*/ 173682 h 575518"/>
                <a:gd name="connsiteX31" fmla="*/ 121735 w 438496"/>
                <a:gd name="connsiteY31" fmla="*/ 145811 h 575518"/>
                <a:gd name="connsiteX32" fmla="*/ 158726 w 438496"/>
                <a:gd name="connsiteY32" fmla="*/ 114394 h 575518"/>
                <a:gd name="connsiteX33" fmla="*/ 259059 w 438496"/>
                <a:gd name="connsiteY33" fmla="*/ 73222 h 575518"/>
                <a:gd name="connsiteX34" fmla="*/ 246390 w 438496"/>
                <a:gd name="connsiteY34" fmla="*/ 119335 h 575518"/>
                <a:gd name="connsiteX35" fmla="*/ 263999 w 438496"/>
                <a:gd name="connsiteY35" fmla="*/ 127823 h 575518"/>
                <a:gd name="connsiteX36" fmla="*/ 304918 w 438496"/>
                <a:gd name="connsiteY36" fmla="*/ 84117 h 575518"/>
                <a:gd name="connsiteX37" fmla="*/ 328354 w 438496"/>
                <a:gd name="connsiteY37" fmla="*/ 43832 h 575518"/>
                <a:gd name="connsiteX38" fmla="*/ 366992 w 438496"/>
                <a:gd name="connsiteY38" fmla="*/ 33064 h 575518"/>
                <a:gd name="connsiteX39" fmla="*/ 388402 w 438496"/>
                <a:gd name="connsiteY39" fmla="*/ 6207 h 575518"/>
                <a:gd name="connsiteX40" fmla="*/ 411585 w 438496"/>
                <a:gd name="connsiteY40" fmla="*/ 0 h 575518"/>
                <a:gd name="connsiteX41" fmla="*/ 436161 w 438496"/>
                <a:gd name="connsiteY41" fmla="*/ 72462 h 575518"/>
                <a:gd name="connsiteX42" fmla="*/ 427420 w 438496"/>
                <a:gd name="connsiteY42" fmla="*/ 107807 h 57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496" h="575518">
                  <a:moveTo>
                    <a:pt x="427420" y="107807"/>
                  </a:moveTo>
                  <a:cubicBezTo>
                    <a:pt x="416905" y="122375"/>
                    <a:pt x="418172" y="119715"/>
                    <a:pt x="422099" y="132257"/>
                  </a:cubicBezTo>
                  <a:cubicBezTo>
                    <a:pt x="426026" y="144798"/>
                    <a:pt x="419439" y="149359"/>
                    <a:pt x="412851" y="167854"/>
                  </a:cubicBezTo>
                  <a:cubicBezTo>
                    <a:pt x="412345" y="169501"/>
                    <a:pt x="412345" y="170895"/>
                    <a:pt x="412725" y="172415"/>
                  </a:cubicBezTo>
                  <a:cubicBezTo>
                    <a:pt x="397903" y="186603"/>
                    <a:pt x="381561" y="171655"/>
                    <a:pt x="370793" y="166714"/>
                  </a:cubicBezTo>
                  <a:cubicBezTo>
                    <a:pt x="359898" y="161774"/>
                    <a:pt x="357364" y="167221"/>
                    <a:pt x="346470" y="182043"/>
                  </a:cubicBezTo>
                  <a:cubicBezTo>
                    <a:pt x="335575" y="196865"/>
                    <a:pt x="353817" y="241457"/>
                    <a:pt x="351410" y="268693"/>
                  </a:cubicBezTo>
                  <a:cubicBezTo>
                    <a:pt x="349003" y="295930"/>
                    <a:pt x="337982" y="290483"/>
                    <a:pt x="322653" y="298844"/>
                  </a:cubicBezTo>
                  <a:cubicBezTo>
                    <a:pt x="307325" y="307332"/>
                    <a:pt x="310745" y="307332"/>
                    <a:pt x="304284" y="324561"/>
                  </a:cubicBezTo>
                  <a:cubicBezTo>
                    <a:pt x="297824" y="341916"/>
                    <a:pt x="280595" y="333428"/>
                    <a:pt x="267166" y="337862"/>
                  </a:cubicBezTo>
                  <a:cubicBezTo>
                    <a:pt x="253865" y="342296"/>
                    <a:pt x="261212" y="347743"/>
                    <a:pt x="263239" y="361172"/>
                  </a:cubicBezTo>
                  <a:cubicBezTo>
                    <a:pt x="265266" y="374600"/>
                    <a:pt x="256779" y="369153"/>
                    <a:pt x="243983" y="382455"/>
                  </a:cubicBezTo>
                  <a:cubicBezTo>
                    <a:pt x="231062" y="395756"/>
                    <a:pt x="236003" y="409185"/>
                    <a:pt x="235496" y="422993"/>
                  </a:cubicBezTo>
                  <a:cubicBezTo>
                    <a:pt x="235369" y="425907"/>
                    <a:pt x="234989" y="427933"/>
                    <a:pt x="234229" y="429327"/>
                  </a:cubicBezTo>
                  <a:cubicBezTo>
                    <a:pt x="231315" y="434648"/>
                    <a:pt x="223208" y="430974"/>
                    <a:pt x="208386" y="430974"/>
                  </a:cubicBezTo>
                  <a:cubicBezTo>
                    <a:pt x="189510" y="430974"/>
                    <a:pt x="186090" y="449343"/>
                    <a:pt x="176715" y="461631"/>
                  </a:cubicBezTo>
                  <a:cubicBezTo>
                    <a:pt x="167341" y="474046"/>
                    <a:pt x="173168" y="473539"/>
                    <a:pt x="183556" y="487348"/>
                  </a:cubicBezTo>
                  <a:cubicBezTo>
                    <a:pt x="193944" y="501156"/>
                    <a:pt x="185583" y="509137"/>
                    <a:pt x="178109" y="530420"/>
                  </a:cubicBezTo>
                  <a:cubicBezTo>
                    <a:pt x="170634" y="551702"/>
                    <a:pt x="104759" y="575519"/>
                    <a:pt x="104759" y="575519"/>
                  </a:cubicBezTo>
                  <a:cubicBezTo>
                    <a:pt x="103999" y="574252"/>
                    <a:pt x="103239" y="572985"/>
                    <a:pt x="102226" y="571971"/>
                  </a:cubicBezTo>
                  <a:cubicBezTo>
                    <a:pt x="101846" y="571465"/>
                    <a:pt x="101339" y="570831"/>
                    <a:pt x="100706" y="570325"/>
                  </a:cubicBezTo>
                  <a:cubicBezTo>
                    <a:pt x="100199" y="569818"/>
                    <a:pt x="99565" y="569311"/>
                    <a:pt x="99059" y="568804"/>
                  </a:cubicBezTo>
                  <a:cubicBezTo>
                    <a:pt x="81196" y="554236"/>
                    <a:pt x="60167" y="542961"/>
                    <a:pt x="37744" y="536247"/>
                  </a:cubicBezTo>
                  <a:cubicBezTo>
                    <a:pt x="51933" y="528773"/>
                    <a:pt x="50666" y="519652"/>
                    <a:pt x="46485" y="501536"/>
                  </a:cubicBezTo>
                  <a:cubicBezTo>
                    <a:pt x="41798" y="480887"/>
                    <a:pt x="39645" y="465051"/>
                    <a:pt x="27356" y="447062"/>
                  </a:cubicBezTo>
                  <a:cubicBezTo>
                    <a:pt x="11648" y="424133"/>
                    <a:pt x="14942" y="413238"/>
                    <a:pt x="25203" y="388915"/>
                  </a:cubicBezTo>
                  <a:cubicBezTo>
                    <a:pt x="34577" y="366492"/>
                    <a:pt x="20389" y="361045"/>
                    <a:pt x="8987" y="343816"/>
                  </a:cubicBezTo>
                  <a:cubicBezTo>
                    <a:pt x="-2034" y="327474"/>
                    <a:pt x="2147" y="309739"/>
                    <a:pt x="1387" y="291370"/>
                  </a:cubicBezTo>
                  <a:cubicBezTo>
                    <a:pt x="626" y="274521"/>
                    <a:pt x="-5074" y="254252"/>
                    <a:pt x="13928" y="245764"/>
                  </a:cubicBezTo>
                  <a:cubicBezTo>
                    <a:pt x="31410" y="237910"/>
                    <a:pt x="48766" y="241710"/>
                    <a:pt x="63714" y="227142"/>
                  </a:cubicBezTo>
                  <a:cubicBezTo>
                    <a:pt x="78663" y="212573"/>
                    <a:pt x="86391" y="193824"/>
                    <a:pt x="90064" y="173682"/>
                  </a:cubicBezTo>
                  <a:cubicBezTo>
                    <a:pt x="94498" y="149485"/>
                    <a:pt x="97412" y="146065"/>
                    <a:pt x="121735" y="145811"/>
                  </a:cubicBezTo>
                  <a:cubicBezTo>
                    <a:pt x="145044" y="145558"/>
                    <a:pt x="152899" y="135424"/>
                    <a:pt x="158726" y="114394"/>
                  </a:cubicBezTo>
                  <a:cubicBezTo>
                    <a:pt x="171268" y="68915"/>
                    <a:pt x="220167" y="72589"/>
                    <a:pt x="259059" y="73222"/>
                  </a:cubicBezTo>
                  <a:cubicBezTo>
                    <a:pt x="257159" y="89818"/>
                    <a:pt x="250318" y="103246"/>
                    <a:pt x="246390" y="119335"/>
                  </a:cubicBezTo>
                  <a:cubicBezTo>
                    <a:pt x="241070" y="140491"/>
                    <a:pt x="251585" y="142898"/>
                    <a:pt x="263999" y="127823"/>
                  </a:cubicBezTo>
                  <a:cubicBezTo>
                    <a:pt x="276668" y="112494"/>
                    <a:pt x="294910" y="101599"/>
                    <a:pt x="304918" y="84117"/>
                  </a:cubicBezTo>
                  <a:cubicBezTo>
                    <a:pt x="314292" y="67775"/>
                    <a:pt x="305805" y="50420"/>
                    <a:pt x="328354" y="43832"/>
                  </a:cubicBezTo>
                  <a:cubicBezTo>
                    <a:pt x="341402" y="40032"/>
                    <a:pt x="355211" y="41425"/>
                    <a:pt x="366992" y="33064"/>
                  </a:cubicBezTo>
                  <a:cubicBezTo>
                    <a:pt x="376240" y="26477"/>
                    <a:pt x="379661" y="12035"/>
                    <a:pt x="388402" y="6207"/>
                  </a:cubicBezTo>
                  <a:cubicBezTo>
                    <a:pt x="396129" y="1013"/>
                    <a:pt x="404237" y="3927"/>
                    <a:pt x="411585" y="0"/>
                  </a:cubicBezTo>
                  <a:cubicBezTo>
                    <a:pt x="418932" y="28757"/>
                    <a:pt x="431474" y="62454"/>
                    <a:pt x="436161" y="72462"/>
                  </a:cubicBezTo>
                  <a:cubicBezTo>
                    <a:pt x="441228" y="83357"/>
                    <a:pt x="437934" y="93238"/>
                    <a:pt x="427420" y="10780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0" name="Полилиния: фигура 409">
              <a:extLst>
                <a:ext uri="{FF2B5EF4-FFF2-40B4-BE49-F238E27FC236}">
                  <a16:creationId xmlns:a16="http://schemas.microsoft.com/office/drawing/2014/main" id="{EB2E90CD-EE01-470D-B48A-6B2BD306CFDF}"/>
                </a:ext>
              </a:extLst>
            </p:cNvPr>
            <p:cNvSpPr/>
            <p:nvPr/>
          </p:nvSpPr>
          <p:spPr>
            <a:xfrm>
              <a:off x="3511088" y="4663852"/>
              <a:ext cx="636537" cy="686369"/>
            </a:xfrm>
            <a:custGeom>
              <a:avLst/>
              <a:gdLst>
                <a:gd name="connsiteX0" fmla="*/ 627965 w 636537"/>
                <a:gd name="connsiteY0" fmla="*/ 245903 h 686369"/>
                <a:gd name="connsiteX1" fmla="*/ 634806 w 636537"/>
                <a:gd name="connsiteY1" fmla="*/ 269213 h 686369"/>
                <a:gd name="connsiteX2" fmla="*/ 621378 w 636537"/>
                <a:gd name="connsiteY2" fmla="*/ 289355 h 686369"/>
                <a:gd name="connsiteX3" fmla="*/ 583373 w 636537"/>
                <a:gd name="connsiteY3" fmla="*/ 293029 h 686369"/>
                <a:gd name="connsiteX4" fmla="*/ 572985 w 636537"/>
                <a:gd name="connsiteY4" fmla="*/ 311525 h 686369"/>
                <a:gd name="connsiteX5" fmla="*/ 556643 w 636537"/>
                <a:gd name="connsiteY5" fmla="*/ 330020 h 686369"/>
                <a:gd name="connsiteX6" fmla="*/ 537387 w 636537"/>
                <a:gd name="connsiteY6" fmla="*/ 331540 h 686369"/>
                <a:gd name="connsiteX7" fmla="*/ 526366 w 636537"/>
                <a:gd name="connsiteY7" fmla="*/ 348389 h 686369"/>
                <a:gd name="connsiteX8" fmla="*/ 519018 w 636537"/>
                <a:gd name="connsiteY8" fmla="*/ 361437 h 686369"/>
                <a:gd name="connsiteX9" fmla="*/ 527506 w 636537"/>
                <a:gd name="connsiteY9" fmla="*/ 372712 h 686369"/>
                <a:gd name="connsiteX10" fmla="*/ 537007 w 636537"/>
                <a:gd name="connsiteY10" fmla="*/ 382973 h 686369"/>
                <a:gd name="connsiteX11" fmla="*/ 549549 w 636537"/>
                <a:gd name="connsiteY11" fmla="*/ 402356 h 686369"/>
                <a:gd name="connsiteX12" fmla="*/ 564497 w 636537"/>
                <a:gd name="connsiteY12" fmla="*/ 416924 h 686369"/>
                <a:gd name="connsiteX13" fmla="*/ 575772 w 636537"/>
                <a:gd name="connsiteY13" fmla="*/ 477605 h 686369"/>
                <a:gd name="connsiteX14" fmla="*/ 572098 w 636537"/>
                <a:gd name="connsiteY14" fmla="*/ 506616 h 686369"/>
                <a:gd name="connsiteX15" fmla="*/ 564624 w 636537"/>
                <a:gd name="connsiteY15" fmla="*/ 530432 h 686369"/>
                <a:gd name="connsiteX16" fmla="*/ 550055 w 636537"/>
                <a:gd name="connsiteY16" fmla="*/ 525618 h 686369"/>
                <a:gd name="connsiteX17" fmla="*/ 517372 w 636537"/>
                <a:gd name="connsiteY17" fmla="*/ 510923 h 686369"/>
                <a:gd name="connsiteX18" fmla="*/ 487601 w 636537"/>
                <a:gd name="connsiteY18" fmla="*/ 503322 h 686369"/>
                <a:gd name="connsiteX19" fmla="*/ 431354 w 636537"/>
                <a:gd name="connsiteY19" fmla="*/ 495341 h 686369"/>
                <a:gd name="connsiteX20" fmla="*/ 407031 w 636537"/>
                <a:gd name="connsiteY20" fmla="*/ 478492 h 686369"/>
                <a:gd name="connsiteX21" fmla="*/ 371813 w 636537"/>
                <a:gd name="connsiteY21" fmla="*/ 465824 h 686369"/>
                <a:gd name="connsiteX22" fmla="*/ 357878 w 636537"/>
                <a:gd name="connsiteY22" fmla="*/ 429339 h 686369"/>
                <a:gd name="connsiteX23" fmla="*/ 337229 w 636537"/>
                <a:gd name="connsiteY23" fmla="*/ 454422 h 686369"/>
                <a:gd name="connsiteX24" fmla="*/ 317213 w 636537"/>
                <a:gd name="connsiteY24" fmla="*/ 466331 h 686369"/>
                <a:gd name="connsiteX25" fmla="*/ 320760 w 636537"/>
                <a:gd name="connsiteY25" fmla="*/ 488753 h 686369"/>
                <a:gd name="connsiteX26" fmla="*/ 330261 w 636537"/>
                <a:gd name="connsiteY26" fmla="*/ 521944 h 686369"/>
                <a:gd name="connsiteX27" fmla="*/ 309866 w 636537"/>
                <a:gd name="connsiteY27" fmla="*/ 535372 h 686369"/>
                <a:gd name="connsiteX28" fmla="*/ 296184 w 636537"/>
                <a:gd name="connsiteY28" fmla="*/ 551714 h 686369"/>
                <a:gd name="connsiteX29" fmla="*/ 310499 w 636537"/>
                <a:gd name="connsiteY29" fmla="*/ 576164 h 686369"/>
                <a:gd name="connsiteX30" fmla="*/ 329881 w 636537"/>
                <a:gd name="connsiteY30" fmla="*/ 589846 h 686369"/>
                <a:gd name="connsiteX31" fmla="*/ 333302 w 636537"/>
                <a:gd name="connsiteY31" fmla="*/ 604921 h 686369"/>
                <a:gd name="connsiteX32" fmla="*/ 341536 w 636537"/>
                <a:gd name="connsiteY32" fmla="*/ 622277 h 686369"/>
                <a:gd name="connsiteX33" fmla="*/ 336849 w 636537"/>
                <a:gd name="connsiteY33" fmla="*/ 647486 h 686369"/>
                <a:gd name="connsiteX34" fmla="*/ 316200 w 636537"/>
                <a:gd name="connsiteY34" fmla="*/ 637985 h 686369"/>
                <a:gd name="connsiteX35" fmla="*/ 302518 w 636537"/>
                <a:gd name="connsiteY35" fmla="*/ 599220 h 686369"/>
                <a:gd name="connsiteX36" fmla="*/ 273001 w 636537"/>
                <a:gd name="connsiteY36" fmla="*/ 590859 h 686369"/>
                <a:gd name="connsiteX37" fmla="*/ 233222 w 636537"/>
                <a:gd name="connsiteY37" fmla="*/ 585032 h 686369"/>
                <a:gd name="connsiteX38" fmla="*/ 181916 w 636537"/>
                <a:gd name="connsiteY38" fmla="*/ 596687 h 686369"/>
                <a:gd name="connsiteX39" fmla="*/ 186603 w 636537"/>
                <a:gd name="connsiteY39" fmla="*/ 637732 h 686369"/>
                <a:gd name="connsiteX40" fmla="*/ 181156 w 636537"/>
                <a:gd name="connsiteY40" fmla="*/ 675230 h 686369"/>
                <a:gd name="connsiteX41" fmla="*/ 85511 w 636537"/>
                <a:gd name="connsiteY41" fmla="*/ 667502 h 686369"/>
                <a:gd name="connsiteX42" fmla="*/ 68282 w 636537"/>
                <a:gd name="connsiteY42" fmla="*/ 663575 h 686369"/>
                <a:gd name="connsiteX43" fmla="*/ 66255 w 636537"/>
                <a:gd name="connsiteY43" fmla="*/ 656988 h 686369"/>
                <a:gd name="connsiteX44" fmla="*/ 77023 w 636537"/>
                <a:gd name="connsiteY44" fmla="*/ 615056 h 686369"/>
                <a:gd name="connsiteX45" fmla="*/ 89691 w 636537"/>
                <a:gd name="connsiteY45" fmla="*/ 599474 h 686369"/>
                <a:gd name="connsiteX46" fmla="*/ 61694 w 636537"/>
                <a:gd name="connsiteY46" fmla="*/ 554628 h 686369"/>
                <a:gd name="connsiteX47" fmla="*/ 20016 w 636537"/>
                <a:gd name="connsiteY47" fmla="*/ 557542 h 686369"/>
                <a:gd name="connsiteX48" fmla="*/ 5827 w 636537"/>
                <a:gd name="connsiteY48" fmla="*/ 548674 h 686369"/>
                <a:gd name="connsiteX49" fmla="*/ 0 w 636537"/>
                <a:gd name="connsiteY49" fmla="*/ 533472 h 686369"/>
                <a:gd name="connsiteX50" fmla="*/ 4434 w 636537"/>
                <a:gd name="connsiteY50" fmla="*/ 515230 h 686369"/>
                <a:gd name="connsiteX51" fmla="*/ 23310 w 636537"/>
                <a:gd name="connsiteY51" fmla="*/ 466964 h 686369"/>
                <a:gd name="connsiteX52" fmla="*/ 76390 w 636537"/>
                <a:gd name="connsiteY52" fmla="*/ 416798 h 686369"/>
                <a:gd name="connsiteX53" fmla="*/ 102740 w 636537"/>
                <a:gd name="connsiteY53" fmla="*/ 367645 h 686369"/>
                <a:gd name="connsiteX54" fmla="*/ 147332 w 636537"/>
                <a:gd name="connsiteY54" fmla="*/ 320392 h 686369"/>
                <a:gd name="connsiteX55" fmla="*/ 173048 w 636537"/>
                <a:gd name="connsiteY55" fmla="*/ 279474 h 686369"/>
                <a:gd name="connsiteX56" fmla="*/ 229169 w 636537"/>
                <a:gd name="connsiteY56" fmla="*/ 289355 h 686369"/>
                <a:gd name="connsiteX57" fmla="*/ 268440 w 636537"/>
                <a:gd name="connsiteY57" fmla="*/ 298223 h 686369"/>
                <a:gd name="connsiteX58" fmla="*/ 281615 w 636537"/>
                <a:gd name="connsiteY58" fmla="*/ 261612 h 686369"/>
                <a:gd name="connsiteX59" fmla="*/ 316960 w 636537"/>
                <a:gd name="connsiteY59" fmla="*/ 226014 h 686369"/>
                <a:gd name="connsiteX60" fmla="*/ 279715 w 636537"/>
                <a:gd name="connsiteY60" fmla="*/ 211192 h 686369"/>
                <a:gd name="connsiteX61" fmla="*/ 250958 w 636537"/>
                <a:gd name="connsiteY61" fmla="*/ 223734 h 686369"/>
                <a:gd name="connsiteX62" fmla="*/ 210673 w 636537"/>
                <a:gd name="connsiteY62" fmla="*/ 208278 h 686369"/>
                <a:gd name="connsiteX63" fmla="*/ 170135 w 636537"/>
                <a:gd name="connsiteY63" fmla="*/ 191049 h 686369"/>
                <a:gd name="connsiteX64" fmla="*/ 141124 w 636537"/>
                <a:gd name="connsiteY64" fmla="*/ 171920 h 686369"/>
                <a:gd name="connsiteX65" fmla="*/ 118068 w 636537"/>
                <a:gd name="connsiteY65" fmla="*/ 176481 h 686369"/>
                <a:gd name="connsiteX66" fmla="*/ 90325 w 636537"/>
                <a:gd name="connsiteY66" fmla="*/ 118080 h 686369"/>
                <a:gd name="connsiteX67" fmla="*/ 112747 w 636537"/>
                <a:gd name="connsiteY67" fmla="*/ 60947 h 686369"/>
                <a:gd name="connsiteX68" fmla="*/ 157593 w 636537"/>
                <a:gd name="connsiteY68" fmla="*/ 8880 h 686369"/>
                <a:gd name="connsiteX69" fmla="*/ 207379 w 636537"/>
                <a:gd name="connsiteY69" fmla="*/ 56766 h 686369"/>
                <a:gd name="connsiteX70" fmla="*/ 180649 w 636537"/>
                <a:gd name="connsiteY70" fmla="*/ 102245 h 686369"/>
                <a:gd name="connsiteX71" fmla="*/ 214347 w 636537"/>
                <a:gd name="connsiteY71" fmla="*/ 98951 h 686369"/>
                <a:gd name="connsiteX72" fmla="*/ 230435 w 636537"/>
                <a:gd name="connsiteY72" fmla="*/ 120361 h 686369"/>
                <a:gd name="connsiteX73" fmla="*/ 269074 w 636537"/>
                <a:gd name="connsiteY73" fmla="*/ 111113 h 686369"/>
                <a:gd name="connsiteX74" fmla="*/ 292510 w 636537"/>
                <a:gd name="connsiteY74" fmla="*/ 135816 h 686369"/>
                <a:gd name="connsiteX75" fmla="*/ 333428 w 636537"/>
                <a:gd name="connsiteY75" fmla="*/ 114407 h 686369"/>
                <a:gd name="connsiteX76" fmla="*/ 372067 w 636537"/>
                <a:gd name="connsiteY76" fmla="*/ 111746 h 686369"/>
                <a:gd name="connsiteX77" fmla="*/ 350657 w 636537"/>
                <a:gd name="connsiteY77" fmla="*/ 66267 h 686369"/>
                <a:gd name="connsiteX78" fmla="*/ 390942 w 636537"/>
                <a:gd name="connsiteY78" fmla="*/ 41564 h 686369"/>
                <a:gd name="connsiteX79" fmla="*/ 390689 w 636537"/>
                <a:gd name="connsiteY79" fmla="*/ 16608 h 686369"/>
                <a:gd name="connsiteX80" fmla="*/ 413365 w 636537"/>
                <a:gd name="connsiteY80" fmla="*/ 1659 h 686369"/>
                <a:gd name="connsiteX81" fmla="*/ 472779 w 636537"/>
                <a:gd name="connsiteY81" fmla="*/ 46251 h 686369"/>
                <a:gd name="connsiteX82" fmla="*/ 532953 w 636537"/>
                <a:gd name="connsiteY82" fmla="*/ 83116 h 686369"/>
                <a:gd name="connsiteX83" fmla="*/ 554996 w 636537"/>
                <a:gd name="connsiteY83" fmla="*/ 103892 h 686369"/>
                <a:gd name="connsiteX84" fmla="*/ 596294 w 636537"/>
                <a:gd name="connsiteY84" fmla="*/ 111113 h 686369"/>
                <a:gd name="connsiteX85" fmla="*/ 634679 w 636537"/>
                <a:gd name="connsiteY85" fmla="*/ 164066 h 686369"/>
                <a:gd name="connsiteX86" fmla="*/ 632399 w 636537"/>
                <a:gd name="connsiteY86" fmla="*/ 170907 h 686369"/>
                <a:gd name="connsiteX87" fmla="*/ 636199 w 636537"/>
                <a:gd name="connsiteY87" fmla="*/ 197890 h 686369"/>
                <a:gd name="connsiteX88" fmla="*/ 628219 w 636537"/>
                <a:gd name="connsiteY88" fmla="*/ 229688 h 686369"/>
                <a:gd name="connsiteX89" fmla="*/ 627965 w 636537"/>
                <a:gd name="connsiteY89" fmla="*/ 245903 h 68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36537" h="686369">
                  <a:moveTo>
                    <a:pt x="627965" y="245903"/>
                  </a:moveTo>
                  <a:cubicBezTo>
                    <a:pt x="629105" y="254771"/>
                    <a:pt x="636833" y="260345"/>
                    <a:pt x="634806" y="269213"/>
                  </a:cubicBezTo>
                  <a:cubicBezTo>
                    <a:pt x="633159" y="276940"/>
                    <a:pt x="628979" y="285808"/>
                    <a:pt x="621378" y="289355"/>
                  </a:cubicBezTo>
                  <a:cubicBezTo>
                    <a:pt x="609216" y="294929"/>
                    <a:pt x="595028" y="287328"/>
                    <a:pt x="583373" y="293029"/>
                  </a:cubicBezTo>
                  <a:cubicBezTo>
                    <a:pt x="575645" y="296829"/>
                    <a:pt x="575139" y="304177"/>
                    <a:pt x="572985" y="311525"/>
                  </a:cubicBezTo>
                  <a:cubicBezTo>
                    <a:pt x="570705" y="318872"/>
                    <a:pt x="565638" y="329640"/>
                    <a:pt x="556643" y="330020"/>
                  </a:cubicBezTo>
                  <a:cubicBezTo>
                    <a:pt x="548915" y="330273"/>
                    <a:pt x="544861" y="326853"/>
                    <a:pt x="537387" y="331540"/>
                  </a:cubicBezTo>
                  <a:cubicBezTo>
                    <a:pt x="530546" y="335721"/>
                    <a:pt x="527379" y="340661"/>
                    <a:pt x="526366" y="348389"/>
                  </a:cubicBezTo>
                  <a:cubicBezTo>
                    <a:pt x="525606" y="354723"/>
                    <a:pt x="521045" y="356117"/>
                    <a:pt x="519018" y="361437"/>
                  </a:cubicBezTo>
                  <a:cubicBezTo>
                    <a:pt x="516865" y="367012"/>
                    <a:pt x="523706" y="370305"/>
                    <a:pt x="527506" y="372712"/>
                  </a:cubicBezTo>
                  <a:cubicBezTo>
                    <a:pt x="531940" y="375626"/>
                    <a:pt x="534093" y="378666"/>
                    <a:pt x="537007" y="382973"/>
                  </a:cubicBezTo>
                  <a:cubicBezTo>
                    <a:pt x="541188" y="389434"/>
                    <a:pt x="545241" y="395895"/>
                    <a:pt x="549549" y="402356"/>
                  </a:cubicBezTo>
                  <a:cubicBezTo>
                    <a:pt x="553603" y="408437"/>
                    <a:pt x="559430" y="411730"/>
                    <a:pt x="564497" y="416924"/>
                  </a:cubicBezTo>
                  <a:cubicBezTo>
                    <a:pt x="579573" y="432126"/>
                    <a:pt x="577419" y="457969"/>
                    <a:pt x="575772" y="477605"/>
                  </a:cubicBezTo>
                  <a:cubicBezTo>
                    <a:pt x="574885" y="487360"/>
                    <a:pt x="573492" y="496988"/>
                    <a:pt x="572098" y="506616"/>
                  </a:cubicBezTo>
                  <a:cubicBezTo>
                    <a:pt x="570958" y="514850"/>
                    <a:pt x="569565" y="523464"/>
                    <a:pt x="564624" y="530432"/>
                  </a:cubicBezTo>
                  <a:cubicBezTo>
                    <a:pt x="559810" y="528785"/>
                    <a:pt x="554996" y="527138"/>
                    <a:pt x="550055" y="525618"/>
                  </a:cubicBezTo>
                  <a:cubicBezTo>
                    <a:pt x="538527" y="522198"/>
                    <a:pt x="527759" y="516877"/>
                    <a:pt x="517372" y="510923"/>
                  </a:cubicBezTo>
                  <a:cubicBezTo>
                    <a:pt x="507490" y="505095"/>
                    <a:pt x="499002" y="504842"/>
                    <a:pt x="487601" y="503322"/>
                  </a:cubicBezTo>
                  <a:cubicBezTo>
                    <a:pt x="469486" y="500915"/>
                    <a:pt x="446176" y="508769"/>
                    <a:pt x="431354" y="495341"/>
                  </a:cubicBezTo>
                  <a:cubicBezTo>
                    <a:pt x="423626" y="488373"/>
                    <a:pt x="417292" y="481912"/>
                    <a:pt x="407031" y="478492"/>
                  </a:cubicBezTo>
                  <a:cubicBezTo>
                    <a:pt x="395629" y="474692"/>
                    <a:pt x="378907" y="477225"/>
                    <a:pt x="371813" y="465824"/>
                  </a:cubicBezTo>
                  <a:cubicBezTo>
                    <a:pt x="366873" y="457716"/>
                    <a:pt x="369153" y="431873"/>
                    <a:pt x="357878" y="429339"/>
                  </a:cubicBezTo>
                  <a:cubicBezTo>
                    <a:pt x="346857" y="426932"/>
                    <a:pt x="342169" y="448215"/>
                    <a:pt x="337229" y="454422"/>
                  </a:cubicBezTo>
                  <a:cubicBezTo>
                    <a:pt x="331908" y="461137"/>
                    <a:pt x="322154" y="459616"/>
                    <a:pt x="317213" y="466331"/>
                  </a:cubicBezTo>
                  <a:cubicBezTo>
                    <a:pt x="311892" y="473805"/>
                    <a:pt x="316960" y="482166"/>
                    <a:pt x="320760" y="488753"/>
                  </a:cubicBezTo>
                  <a:cubicBezTo>
                    <a:pt x="326208" y="498761"/>
                    <a:pt x="329755" y="510416"/>
                    <a:pt x="330261" y="521944"/>
                  </a:cubicBezTo>
                  <a:cubicBezTo>
                    <a:pt x="330895" y="536766"/>
                    <a:pt x="321520" y="534232"/>
                    <a:pt x="309866" y="535372"/>
                  </a:cubicBezTo>
                  <a:cubicBezTo>
                    <a:pt x="298971" y="536386"/>
                    <a:pt x="291750" y="540313"/>
                    <a:pt x="296184" y="551714"/>
                  </a:cubicBezTo>
                  <a:cubicBezTo>
                    <a:pt x="299351" y="559822"/>
                    <a:pt x="303658" y="570590"/>
                    <a:pt x="310499" y="576164"/>
                  </a:cubicBezTo>
                  <a:cubicBezTo>
                    <a:pt x="317213" y="581738"/>
                    <a:pt x="326588" y="580978"/>
                    <a:pt x="329881" y="589846"/>
                  </a:cubicBezTo>
                  <a:cubicBezTo>
                    <a:pt x="331655" y="594660"/>
                    <a:pt x="331528" y="600107"/>
                    <a:pt x="333302" y="604921"/>
                  </a:cubicBezTo>
                  <a:cubicBezTo>
                    <a:pt x="335455" y="610875"/>
                    <a:pt x="339002" y="616323"/>
                    <a:pt x="341536" y="622277"/>
                  </a:cubicBezTo>
                  <a:cubicBezTo>
                    <a:pt x="344830" y="630131"/>
                    <a:pt x="346857" y="643306"/>
                    <a:pt x="336849" y="647486"/>
                  </a:cubicBezTo>
                  <a:cubicBezTo>
                    <a:pt x="329248" y="650780"/>
                    <a:pt x="319240" y="644953"/>
                    <a:pt x="316200" y="637985"/>
                  </a:cubicBezTo>
                  <a:cubicBezTo>
                    <a:pt x="310246" y="624557"/>
                    <a:pt x="314046" y="610875"/>
                    <a:pt x="302518" y="599220"/>
                  </a:cubicBezTo>
                  <a:cubicBezTo>
                    <a:pt x="293270" y="589846"/>
                    <a:pt x="284909" y="591113"/>
                    <a:pt x="273001" y="590859"/>
                  </a:cubicBezTo>
                  <a:cubicBezTo>
                    <a:pt x="259573" y="590606"/>
                    <a:pt x="246651" y="585159"/>
                    <a:pt x="233222" y="585032"/>
                  </a:cubicBezTo>
                  <a:cubicBezTo>
                    <a:pt x="218654" y="584905"/>
                    <a:pt x="189137" y="579711"/>
                    <a:pt x="181916" y="596687"/>
                  </a:cubicBezTo>
                  <a:cubicBezTo>
                    <a:pt x="176342" y="609735"/>
                    <a:pt x="183436" y="624937"/>
                    <a:pt x="186603" y="637732"/>
                  </a:cubicBezTo>
                  <a:cubicBezTo>
                    <a:pt x="189770" y="650907"/>
                    <a:pt x="194458" y="666489"/>
                    <a:pt x="181156" y="675230"/>
                  </a:cubicBezTo>
                  <a:cubicBezTo>
                    <a:pt x="148979" y="696259"/>
                    <a:pt x="115914" y="683971"/>
                    <a:pt x="85511" y="667502"/>
                  </a:cubicBezTo>
                  <a:cubicBezTo>
                    <a:pt x="77656" y="663195"/>
                    <a:pt x="71576" y="661168"/>
                    <a:pt x="68282" y="663575"/>
                  </a:cubicBezTo>
                  <a:cubicBezTo>
                    <a:pt x="67522" y="661422"/>
                    <a:pt x="66888" y="659141"/>
                    <a:pt x="66255" y="656988"/>
                  </a:cubicBezTo>
                  <a:cubicBezTo>
                    <a:pt x="61821" y="642039"/>
                    <a:pt x="65495" y="626331"/>
                    <a:pt x="77023" y="615056"/>
                  </a:cubicBezTo>
                  <a:cubicBezTo>
                    <a:pt x="82597" y="609608"/>
                    <a:pt x="92478" y="609355"/>
                    <a:pt x="89691" y="599474"/>
                  </a:cubicBezTo>
                  <a:cubicBezTo>
                    <a:pt x="85257" y="583638"/>
                    <a:pt x="74996" y="564763"/>
                    <a:pt x="61694" y="554628"/>
                  </a:cubicBezTo>
                  <a:cubicBezTo>
                    <a:pt x="48393" y="544367"/>
                    <a:pt x="34204" y="557035"/>
                    <a:pt x="20016" y="557542"/>
                  </a:cubicBezTo>
                  <a:cubicBezTo>
                    <a:pt x="13175" y="557795"/>
                    <a:pt x="8741" y="554755"/>
                    <a:pt x="5827" y="548674"/>
                  </a:cubicBezTo>
                  <a:cubicBezTo>
                    <a:pt x="3674" y="544493"/>
                    <a:pt x="3674" y="536766"/>
                    <a:pt x="0" y="533472"/>
                  </a:cubicBezTo>
                  <a:cubicBezTo>
                    <a:pt x="0" y="533472"/>
                    <a:pt x="5447" y="528025"/>
                    <a:pt x="4434" y="515230"/>
                  </a:cubicBezTo>
                  <a:cubicBezTo>
                    <a:pt x="3420" y="502308"/>
                    <a:pt x="6714" y="479252"/>
                    <a:pt x="23310" y="466964"/>
                  </a:cubicBezTo>
                  <a:cubicBezTo>
                    <a:pt x="39778" y="454802"/>
                    <a:pt x="72462" y="434660"/>
                    <a:pt x="76390" y="416798"/>
                  </a:cubicBezTo>
                  <a:cubicBezTo>
                    <a:pt x="80317" y="398935"/>
                    <a:pt x="93238" y="377906"/>
                    <a:pt x="102740" y="367645"/>
                  </a:cubicBezTo>
                  <a:cubicBezTo>
                    <a:pt x="112367" y="357384"/>
                    <a:pt x="143024" y="338508"/>
                    <a:pt x="147332" y="320392"/>
                  </a:cubicBezTo>
                  <a:cubicBezTo>
                    <a:pt x="151639" y="302277"/>
                    <a:pt x="149612" y="270860"/>
                    <a:pt x="173048" y="279474"/>
                  </a:cubicBezTo>
                  <a:cubicBezTo>
                    <a:pt x="196484" y="288088"/>
                    <a:pt x="217261" y="278840"/>
                    <a:pt x="229169" y="289355"/>
                  </a:cubicBezTo>
                  <a:cubicBezTo>
                    <a:pt x="241077" y="299870"/>
                    <a:pt x="267047" y="318112"/>
                    <a:pt x="268440" y="298223"/>
                  </a:cubicBezTo>
                  <a:cubicBezTo>
                    <a:pt x="269707" y="278460"/>
                    <a:pt x="252985" y="270480"/>
                    <a:pt x="281615" y="261612"/>
                  </a:cubicBezTo>
                  <a:cubicBezTo>
                    <a:pt x="310372" y="252744"/>
                    <a:pt x="328868" y="233868"/>
                    <a:pt x="316960" y="226014"/>
                  </a:cubicBezTo>
                  <a:cubicBezTo>
                    <a:pt x="305052" y="218160"/>
                    <a:pt x="290483" y="197637"/>
                    <a:pt x="279715" y="211192"/>
                  </a:cubicBezTo>
                  <a:cubicBezTo>
                    <a:pt x="268820" y="224747"/>
                    <a:pt x="269454" y="232981"/>
                    <a:pt x="250958" y="223734"/>
                  </a:cubicBezTo>
                  <a:cubicBezTo>
                    <a:pt x="232462" y="214486"/>
                    <a:pt x="222961" y="208532"/>
                    <a:pt x="210673" y="208278"/>
                  </a:cubicBezTo>
                  <a:cubicBezTo>
                    <a:pt x="198511" y="207898"/>
                    <a:pt x="184957" y="217146"/>
                    <a:pt x="170135" y="191049"/>
                  </a:cubicBezTo>
                  <a:cubicBezTo>
                    <a:pt x="155313" y="164953"/>
                    <a:pt x="147078" y="166347"/>
                    <a:pt x="141124" y="171920"/>
                  </a:cubicBezTo>
                  <a:cubicBezTo>
                    <a:pt x="135170" y="177494"/>
                    <a:pt x="127569" y="185475"/>
                    <a:pt x="118068" y="176481"/>
                  </a:cubicBezTo>
                  <a:cubicBezTo>
                    <a:pt x="108440" y="167613"/>
                    <a:pt x="84371" y="142530"/>
                    <a:pt x="90325" y="118080"/>
                  </a:cubicBezTo>
                  <a:cubicBezTo>
                    <a:pt x="96279" y="93631"/>
                    <a:pt x="104766" y="82736"/>
                    <a:pt x="112747" y="60947"/>
                  </a:cubicBezTo>
                  <a:cubicBezTo>
                    <a:pt x="120602" y="39157"/>
                    <a:pt x="135550" y="-3408"/>
                    <a:pt x="157593" y="8880"/>
                  </a:cubicBezTo>
                  <a:cubicBezTo>
                    <a:pt x="179636" y="21042"/>
                    <a:pt x="219541" y="36877"/>
                    <a:pt x="207379" y="56766"/>
                  </a:cubicBezTo>
                  <a:cubicBezTo>
                    <a:pt x="195218" y="76528"/>
                    <a:pt x="175455" y="97431"/>
                    <a:pt x="180649" y="102245"/>
                  </a:cubicBezTo>
                  <a:cubicBezTo>
                    <a:pt x="185843" y="107186"/>
                    <a:pt x="205352" y="86029"/>
                    <a:pt x="214347" y="98951"/>
                  </a:cubicBezTo>
                  <a:cubicBezTo>
                    <a:pt x="223215" y="111746"/>
                    <a:pt x="225875" y="133915"/>
                    <a:pt x="230435" y="120361"/>
                  </a:cubicBezTo>
                  <a:cubicBezTo>
                    <a:pt x="235123" y="106806"/>
                    <a:pt x="269074" y="97304"/>
                    <a:pt x="269074" y="111113"/>
                  </a:cubicBezTo>
                  <a:cubicBezTo>
                    <a:pt x="269074" y="124921"/>
                    <a:pt x="281615" y="145064"/>
                    <a:pt x="292510" y="135816"/>
                  </a:cubicBezTo>
                  <a:cubicBezTo>
                    <a:pt x="303405" y="126568"/>
                    <a:pt x="322534" y="105159"/>
                    <a:pt x="333428" y="114407"/>
                  </a:cubicBezTo>
                  <a:cubicBezTo>
                    <a:pt x="344323" y="123654"/>
                    <a:pt x="377007" y="130242"/>
                    <a:pt x="372067" y="111746"/>
                  </a:cubicBezTo>
                  <a:cubicBezTo>
                    <a:pt x="367126" y="93250"/>
                    <a:pt x="342423" y="81469"/>
                    <a:pt x="350657" y="66267"/>
                  </a:cubicBezTo>
                  <a:cubicBezTo>
                    <a:pt x="358892" y="51065"/>
                    <a:pt x="390562" y="59046"/>
                    <a:pt x="390942" y="41564"/>
                  </a:cubicBezTo>
                  <a:cubicBezTo>
                    <a:pt x="391069" y="34343"/>
                    <a:pt x="389929" y="24842"/>
                    <a:pt x="390689" y="16608"/>
                  </a:cubicBezTo>
                  <a:cubicBezTo>
                    <a:pt x="391702" y="4953"/>
                    <a:pt x="396263" y="-3788"/>
                    <a:pt x="413365" y="1659"/>
                  </a:cubicBezTo>
                  <a:cubicBezTo>
                    <a:pt x="442375" y="10907"/>
                    <a:pt x="463151" y="35990"/>
                    <a:pt x="472779" y="46251"/>
                  </a:cubicBezTo>
                  <a:cubicBezTo>
                    <a:pt x="482407" y="56386"/>
                    <a:pt x="523199" y="72981"/>
                    <a:pt x="532953" y="83116"/>
                  </a:cubicBezTo>
                  <a:cubicBezTo>
                    <a:pt x="542581" y="93250"/>
                    <a:pt x="544101" y="106806"/>
                    <a:pt x="554996" y="103892"/>
                  </a:cubicBezTo>
                  <a:cubicBezTo>
                    <a:pt x="565891" y="100978"/>
                    <a:pt x="581979" y="86790"/>
                    <a:pt x="596294" y="111113"/>
                  </a:cubicBezTo>
                  <a:cubicBezTo>
                    <a:pt x="610610" y="135436"/>
                    <a:pt x="634679" y="164066"/>
                    <a:pt x="634679" y="164066"/>
                  </a:cubicBezTo>
                  <a:cubicBezTo>
                    <a:pt x="633539" y="165966"/>
                    <a:pt x="632779" y="168247"/>
                    <a:pt x="632399" y="170907"/>
                  </a:cubicBezTo>
                  <a:cubicBezTo>
                    <a:pt x="631132" y="180028"/>
                    <a:pt x="634933" y="188896"/>
                    <a:pt x="636199" y="197890"/>
                  </a:cubicBezTo>
                  <a:cubicBezTo>
                    <a:pt x="637973" y="210685"/>
                    <a:pt x="632399" y="218666"/>
                    <a:pt x="628219" y="229688"/>
                  </a:cubicBezTo>
                  <a:cubicBezTo>
                    <a:pt x="625938" y="234628"/>
                    <a:pt x="627205" y="240329"/>
                    <a:pt x="627965" y="24590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1" name="Полилиния: фигура 410">
              <a:extLst>
                <a:ext uri="{FF2B5EF4-FFF2-40B4-BE49-F238E27FC236}">
                  <a16:creationId xmlns:a16="http://schemas.microsoft.com/office/drawing/2014/main" id="{8AAFD9B6-E5EB-482C-BBC7-A956794E09F4}"/>
                </a:ext>
              </a:extLst>
            </p:cNvPr>
            <p:cNvSpPr/>
            <p:nvPr/>
          </p:nvSpPr>
          <p:spPr>
            <a:xfrm>
              <a:off x="4029437" y="4807110"/>
              <a:ext cx="619641" cy="501780"/>
            </a:xfrm>
            <a:custGeom>
              <a:avLst/>
              <a:gdLst>
                <a:gd name="connsiteX0" fmla="*/ 618373 w 619641"/>
                <a:gd name="connsiteY0" fmla="*/ 490547 h 501780"/>
                <a:gd name="connsiteX1" fmla="*/ 591517 w 619641"/>
                <a:gd name="connsiteY1" fmla="*/ 484593 h 501780"/>
                <a:gd name="connsiteX2" fmla="*/ 568460 w 619641"/>
                <a:gd name="connsiteY2" fmla="*/ 491814 h 501780"/>
                <a:gd name="connsiteX3" fmla="*/ 547431 w 619641"/>
                <a:gd name="connsiteY3" fmla="*/ 489027 h 501780"/>
                <a:gd name="connsiteX4" fmla="*/ 532863 w 619641"/>
                <a:gd name="connsiteY4" fmla="*/ 499162 h 501780"/>
                <a:gd name="connsiteX5" fmla="*/ 521841 w 619641"/>
                <a:gd name="connsiteY5" fmla="*/ 501442 h 501780"/>
                <a:gd name="connsiteX6" fmla="*/ 498025 w 619641"/>
                <a:gd name="connsiteY6" fmla="*/ 497515 h 501780"/>
                <a:gd name="connsiteX7" fmla="*/ 479656 w 619641"/>
                <a:gd name="connsiteY7" fmla="*/ 499035 h 501780"/>
                <a:gd name="connsiteX8" fmla="*/ 428730 w 619641"/>
                <a:gd name="connsiteY8" fmla="*/ 490547 h 501780"/>
                <a:gd name="connsiteX9" fmla="*/ 346386 w 619641"/>
                <a:gd name="connsiteY9" fmla="*/ 461410 h 501780"/>
                <a:gd name="connsiteX10" fmla="*/ 309395 w 619641"/>
                <a:gd name="connsiteY10" fmla="*/ 444561 h 501780"/>
                <a:gd name="connsiteX11" fmla="*/ 272910 w 619641"/>
                <a:gd name="connsiteY11" fmla="*/ 438227 h 501780"/>
                <a:gd name="connsiteX12" fmla="*/ 239213 w 619641"/>
                <a:gd name="connsiteY12" fmla="*/ 448109 h 501780"/>
                <a:gd name="connsiteX13" fmla="*/ 208555 w 619641"/>
                <a:gd name="connsiteY13" fmla="*/ 449375 h 501780"/>
                <a:gd name="connsiteX14" fmla="*/ 174858 w 619641"/>
                <a:gd name="connsiteY14" fmla="*/ 441521 h 501780"/>
                <a:gd name="connsiteX15" fmla="*/ 161936 w 619641"/>
                <a:gd name="connsiteY15" fmla="*/ 434173 h 501780"/>
                <a:gd name="connsiteX16" fmla="*/ 137740 w 619641"/>
                <a:gd name="connsiteY16" fmla="*/ 427459 h 501780"/>
                <a:gd name="connsiteX17" fmla="*/ 101382 w 619641"/>
                <a:gd name="connsiteY17" fmla="*/ 422265 h 501780"/>
                <a:gd name="connsiteX18" fmla="*/ 82253 w 619641"/>
                <a:gd name="connsiteY18" fmla="*/ 409597 h 501780"/>
                <a:gd name="connsiteX19" fmla="*/ 64644 w 619641"/>
                <a:gd name="connsiteY19" fmla="*/ 393762 h 501780"/>
                <a:gd name="connsiteX20" fmla="*/ 46022 w 619641"/>
                <a:gd name="connsiteY20" fmla="*/ 387174 h 501780"/>
                <a:gd name="connsiteX21" fmla="*/ 53496 w 619641"/>
                <a:gd name="connsiteY21" fmla="*/ 363358 h 501780"/>
                <a:gd name="connsiteX22" fmla="*/ 57170 w 619641"/>
                <a:gd name="connsiteY22" fmla="*/ 334348 h 501780"/>
                <a:gd name="connsiteX23" fmla="*/ 45895 w 619641"/>
                <a:gd name="connsiteY23" fmla="*/ 273667 h 501780"/>
                <a:gd name="connsiteX24" fmla="*/ 30947 w 619641"/>
                <a:gd name="connsiteY24" fmla="*/ 259098 h 501780"/>
                <a:gd name="connsiteX25" fmla="*/ 18405 w 619641"/>
                <a:gd name="connsiteY25" fmla="*/ 239716 h 501780"/>
                <a:gd name="connsiteX26" fmla="*/ 8904 w 619641"/>
                <a:gd name="connsiteY26" fmla="*/ 229454 h 501780"/>
                <a:gd name="connsiteX27" fmla="*/ 416 w 619641"/>
                <a:gd name="connsiteY27" fmla="*/ 218180 h 501780"/>
                <a:gd name="connsiteX28" fmla="*/ 7764 w 619641"/>
                <a:gd name="connsiteY28" fmla="*/ 205132 h 501780"/>
                <a:gd name="connsiteX29" fmla="*/ 18785 w 619641"/>
                <a:gd name="connsiteY29" fmla="*/ 188283 h 501780"/>
                <a:gd name="connsiteX30" fmla="*/ 38041 w 619641"/>
                <a:gd name="connsiteY30" fmla="*/ 186762 h 501780"/>
                <a:gd name="connsiteX31" fmla="*/ 54383 w 619641"/>
                <a:gd name="connsiteY31" fmla="*/ 168267 h 501780"/>
                <a:gd name="connsiteX32" fmla="*/ 64771 w 619641"/>
                <a:gd name="connsiteY32" fmla="*/ 149771 h 501780"/>
                <a:gd name="connsiteX33" fmla="*/ 102776 w 619641"/>
                <a:gd name="connsiteY33" fmla="*/ 146098 h 501780"/>
                <a:gd name="connsiteX34" fmla="*/ 116204 w 619641"/>
                <a:gd name="connsiteY34" fmla="*/ 125955 h 501780"/>
                <a:gd name="connsiteX35" fmla="*/ 109363 w 619641"/>
                <a:gd name="connsiteY35" fmla="*/ 102646 h 501780"/>
                <a:gd name="connsiteX36" fmla="*/ 109363 w 619641"/>
                <a:gd name="connsiteY36" fmla="*/ 85923 h 501780"/>
                <a:gd name="connsiteX37" fmla="*/ 117344 w 619641"/>
                <a:gd name="connsiteY37" fmla="*/ 54126 h 501780"/>
                <a:gd name="connsiteX38" fmla="*/ 113543 w 619641"/>
                <a:gd name="connsiteY38" fmla="*/ 27142 h 501780"/>
                <a:gd name="connsiteX39" fmla="*/ 115824 w 619641"/>
                <a:gd name="connsiteY39" fmla="*/ 20302 h 501780"/>
                <a:gd name="connsiteX40" fmla="*/ 155095 w 619641"/>
                <a:gd name="connsiteY40" fmla="*/ 6113 h 501780"/>
                <a:gd name="connsiteX41" fmla="*/ 220590 w 619641"/>
                <a:gd name="connsiteY41" fmla="*/ 13841 h 501780"/>
                <a:gd name="connsiteX42" fmla="*/ 246307 w 619641"/>
                <a:gd name="connsiteY42" fmla="*/ 39431 h 501780"/>
                <a:gd name="connsiteX43" fmla="*/ 275064 w 619641"/>
                <a:gd name="connsiteY43" fmla="*/ 57420 h 501780"/>
                <a:gd name="connsiteX44" fmla="*/ 297740 w 619641"/>
                <a:gd name="connsiteY44" fmla="*/ 70215 h 501780"/>
                <a:gd name="connsiteX45" fmla="*/ 329157 w 619641"/>
                <a:gd name="connsiteY45" fmla="*/ 65654 h 501780"/>
                <a:gd name="connsiteX46" fmla="*/ 389205 w 619641"/>
                <a:gd name="connsiteY46" fmla="*/ 57800 h 501780"/>
                <a:gd name="connsiteX47" fmla="*/ 399593 w 619641"/>
                <a:gd name="connsiteY47" fmla="*/ 64641 h 501780"/>
                <a:gd name="connsiteX48" fmla="*/ 397946 w 619641"/>
                <a:gd name="connsiteY48" fmla="*/ 69834 h 501780"/>
                <a:gd name="connsiteX49" fmla="*/ 375776 w 619641"/>
                <a:gd name="connsiteY49" fmla="*/ 101759 h 501780"/>
                <a:gd name="connsiteX50" fmla="*/ 386291 w 619641"/>
                <a:gd name="connsiteY50" fmla="*/ 159653 h 501780"/>
                <a:gd name="connsiteX51" fmla="*/ 422395 w 619641"/>
                <a:gd name="connsiteY51" fmla="*/ 197024 h 501780"/>
                <a:gd name="connsiteX52" fmla="*/ 451153 w 619641"/>
                <a:gd name="connsiteY52" fmla="*/ 221980 h 501780"/>
                <a:gd name="connsiteX53" fmla="*/ 465847 w 619641"/>
                <a:gd name="connsiteY53" fmla="*/ 250991 h 501780"/>
                <a:gd name="connsiteX54" fmla="*/ 495872 w 619641"/>
                <a:gd name="connsiteY54" fmla="*/ 261125 h 501780"/>
                <a:gd name="connsiteX55" fmla="*/ 520828 w 619641"/>
                <a:gd name="connsiteY55" fmla="*/ 322439 h 501780"/>
                <a:gd name="connsiteX56" fmla="*/ 530202 w 619641"/>
                <a:gd name="connsiteY56" fmla="*/ 356897 h 501780"/>
                <a:gd name="connsiteX57" fmla="*/ 557946 w 619641"/>
                <a:gd name="connsiteY57" fmla="*/ 377039 h 501780"/>
                <a:gd name="connsiteX58" fmla="*/ 592404 w 619641"/>
                <a:gd name="connsiteY58" fmla="*/ 383880 h 501780"/>
                <a:gd name="connsiteX59" fmla="*/ 598231 w 619641"/>
                <a:gd name="connsiteY59" fmla="*/ 417198 h 501780"/>
                <a:gd name="connsiteX60" fmla="*/ 615713 w 619641"/>
                <a:gd name="connsiteY60" fmla="*/ 441268 h 501780"/>
                <a:gd name="connsiteX61" fmla="*/ 619133 w 619641"/>
                <a:gd name="connsiteY61" fmla="*/ 460650 h 501780"/>
                <a:gd name="connsiteX62" fmla="*/ 618373 w 619641"/>
                <a:gd name="connsiteY62" fmla="*/ 490547 h 501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19641" h="501780">
                  <a:moveTo>
                    <a:pt x="618373" y="490547"/>
                  </a:moveTo>
                  <a:cubicBezTo>
                    <a:pt x="610012" y="486493"/>
                    <a:pt x="601651" y="482566"/>
                    <a:pt x="591517" y="484593"/>
                  </a:cubicBezTo>
                  <a:cubicBezTo>
                    <a:pt x="583536" y="486113"/>
                    <a:pt x="576315" y="489787"/>
                    <a:pt x="568460" y="491814"/>
                  </a:cubicBezTo>
                  <a:cubicBezTo>
                    <a:pt x="560479" y="493714"/>
                    <a:pt x="555032" y="488900"/>
                    <a:pt x="547431" y="489027"/>
                  </a:cubicBezTo>
                  <a:cubicBezTo>
                    <a:pt x="539577" y="489154"/>
                    <a:pt x="537677" y="494854"/>
                    <a:pt x="532863" y="499162"/>
                  </a:cubicBezTo>
                  <a:cubicBezTo>
                    <a:pt x="529569" y="502075"/>
                    <a:pt x="526909" y="502075"/>
                    <a:pt x="521841" y="501442"/>
                  </a:cubicBezTo>
                  <a:cubicBezTo>
                    <a:pt x="513987" y="500555"/>
                    <a:pt x="506006" y="497768"/>
                    <a:pt x="498025" y="497515"/>
                  </a:cubicBezTo>
                  <a:cubicBezTo>
                    <a:pt x="491818" y="497388"/>
                    <a:pt x="485990" y="499288"/>
                    <a:pt x="479656" y="499035"/>
                  </a:cubicBezTo>
                  <a:cubicBezTo>
                    <a:pt x="462427" y="498402"/>
                    <a:pt x="445072" y="495741"/>
                    <a:pt x="428730" y="490547"/>
                  </a:cubicBezTo>
                  <a:cubicBezTo>
                    <a:pt x="400986" y="481933"/>
                    <a:pt x="374003" y="470405"/>
                    <a:pt x="346386" y="461410"/>
                  </a:cubicBezTo>
                  <a:cubicBezTo>
                    <a:pt x="332831" y="456976"/>
                    <a:pt x="321429" y="451656"/>
                    <a:pt x="309395" y="444561"/>
                  </a:cubicBezTo>
                  <a:cubicBezTo>
                    <a:pt x="297487" y="437467"/>
                    <a:pt x="286465" y="436580"/>
                    <a:pt x="272910" y="438227"/>
                  </a:cubicBezTo>
                  <a:cubicBezTo>
                    <a:pt x="261002" y="439621"/>
                    <a:pt x="250741" y="446082"/>
                    <a:pt x="239213" y="448109"/>
                  </a:cubicBezTo>
                  <a:cubicBezTo>
                    <a:pt x="227558" y="450136"/>
                    <a:pt x="220210" y="450896"/>
                    <a:pt x="208555" y="449375"/>
                  </a:cubicBezTo>
                  <a:cubicBezTo>
                    <a:pt x="197534" y="447982"/>
                    <a:pt x="185246" y="445575"/>
                    <a:pt x="174858" y="441521"/>
                  </a:cubicBezTo>
                  <a:cubicBezTo>
                    <a:pt x="169917" y="439621"/>
                    <a:pt x="166243" y="437214"/>
                    <a:pt x="161936" y="434173"/>
                  </a:cubicBezTo>
                  <a:cubicBezTo>
                    <a:pt x="153195" y="428093"/>
                    <a:pt x="147748" y="428979"/>
                    <a:pt x="137740" y="427459"/>
                  </a:cubicBezTo>
                  <a:cubicBezTo>
                    <a:pt x="125452" y="425686"/>
                    <a:pt x="114177" y="420872"/>
                    <a:pt x="101382" y="422265"/>
                  </a:cubicBezTo>
                  <a:cubicBezTo>
                    <a:pt x="91374" y="423532"/>
                    <a:pt x="86434" y="418338"/>
                    <a:pt x="82253" y="409597"/>
                  </a:cubicBezTo>
                  <a:cubicBezTo>
                    <a:pt x="78199" y="400983"/>
                    <a:pt x="73892" y="396802"/>
                    <a:pt x="64644" y="393762"/>
                  </a:cubicBezTo>
                  <a:cubicBezTo>
                    <a:pt x="58310" y="391608"/>
                    <a:pt x="52229" y="389454"/>
                    <a:pt x="46022" y="387174"/>
                  </a:cubicBezTo>
                  <a:cubicBezTo>
                    <a:pt x="50962" y="380207"/>
                    <a:pt x="52229" y="371592"/>
                    <a:pt x="53496" y="363358"/>
                  </a:cubicBezTo>
                  <a:cubicBezTo>
                    <a:pt x="54890" y="353730"/>
                    <a:pt x="56283" y="344102"/>
                    <a:pt x="57170" y="334348"/>
                  </a:cubicBezTo>
                  <a:cubicBezTo>
                    <a:pt x="58817" y="314712"/>
                    <a:pt x="60970" y="288869"/>
                    <a:pt x="45895" y="273667"/>
                  </a:cubicBezTo>
                  <a:cubicBezTo>
                    <a:pt x="40828" y="268599"/>
                    <a:pt x="35001" y="265179"/>
                    <a:pt x="30947" y="259098"/>
                  </a:cubicBezTo>
                  <a:cubicBezTo>
                    <a:pt x="26639" y="252764"/>
                    <a:pt x="22585" y="246177"/>
                    <a:pt x="18405" y="239716"/>
                  </a:cubicBezTo>
                  <a:cubicBezTo>
                    <a:pt x="15618" y="235409"/>
                    <a:pt x="13338" y="232368"/>
                    <a:pt x="8904" y="229454"/>
                  </a:cubicBezTo>
                  <a:cubicBezTo>
                    <a:pt x="4977" y="227047"/>
                    <a:pt x="-1737" y="223627"/>
                    <a:pt x="416" y="218180"/>
                  </a:cubicBezTo>
                  <a:cubicBezTo>
                    <a:pt x="2443" y="212859"/>
                    <a:pt x="7003" y="211466"/>
                    <a:pt x="7764" y="205132"/>
                  </a:cubicBezTo>
                  <a:cubicBezTo>
                    <a:pt x="8777" y="197404"/>
                    <a:pt x="11944" y="192463"/>
                    <a:pt x="18785" y="188283"/>
                  </a:cubicBezTo>
                  <a:cubicBezTo>
                    <a:pt x="26259" y="183595"/>
                    <a:pt x="30440" y="187143"/>
                    <a:pt x="38041" y="186762"/>
                  </a:cubicBezTo>
                  <a:cubicBezTo>
                    <a:pt x="47035" y="186382"/>
                    <a:pt x="52103" y="175614"/>
                    <a:pt x="54383" y="168267"/>
                  </a:cubicBezTo>
                  <a:cubicBezTo>
                    <a:pt x="56536" y="160919"/>
                    <a:pt x="57170" y="153572"/>
                    <a:pt x="64771" y="149771"/>
                  </a:cubicBezTo>
                  <a:cubicBezTo>
                    <a:pt x="76426" y="144071"/>
                    <a:pt x="90741" y="151672"/>
                    <a:pt x="102776" y="146098"/>
                  </a:cubicBezTo>
                  <a:cubicBezTo>
                    <a:pt x="110376" y="142677"/>
                    <a:pt x="114430" y="133809"/>
                    <a:pt x="116204" y="125955"/>
                  </a:cubicBezTo>
                  <a:cubicBezTo>
                    <a:pt x="118231" y="117087"/>
                    <a:pt x="110503" y="111513"/>
                    <a:pt x="109363" y="102646"/>
                  </a:cubicBezTo>
                  <a:cubicBezTo>
                    <a:pt x="108603" y="97071"/>
                    <a:pt x="107336" y="91371"/>
                    <a:pt x="109363" y="85923"/>
                  </a:cubicBezTo>
                  <a:cubicBezTo>
                    <a:pt x="113417" y="74902"/>
                    <a:pt x="118991" y="66921"/>
                    <a:pt x="117344" y="54126"/>
                  </a:cubicBezTo>
                  <a:cubicBezTo>
                    <a:pt x="116077" y="45258"/>
                    <a:pt x="112277" y="36264"/>
                    <a:pt x="113543" y="27142"/>
                  </a:cubicBezTo>
                  <a:cubicBezTo>
                    <a:pt x="113923" y="24482"/>
                    <a:pt x="114684" y="22202"/>
                    <a:pt x="115824" y="20302"/>
                  </a:cubicBezTo>
                  <a:cubicBezTo>
                    <a:pt x="122665" y="8140"/>
                    <a:pt x="142554" y="8900"/>
                    <a:pt x="155095" y="6113"/>
                  </a:cubicBezTo>
                  <a:cubicBezTo>
                    <a:pt x="179418" y="793"/>
                    <a:pt x="201841" y="-7442"/>
                    <a:pt x="220590" y="13841"/>
                  </a:cubicBezTo>
                  <a:cubicBezTo>
                    <a:pt x="228698" y="23089"/>
                    <a:pt x="236046" y="32336"/>
                    <a:pt x="246307" y="39431"/>
                  </a:cubicBezTo>
                  <a:cubicBezTo>
                    <a:pt x="255555" y="45892"/>
                    <a:pt x="265816" y="50832"/>
                    <a:pt x="275064" y="57420"/>
                  </a:cubicBezTo>
                  <a:cubicBezTo>
                    <a:pt x="282158" y="62487"/>
                    <a:pt x="288746" y="68694"/>
                    <a:pt x="297740" y="70215"/>
                  </a:cubicBezTo>
                  <a:cubicBezTo>
                    <a:pt x="308255" y="72115"/>
                    <a:pt x="319276" y="68568"/>
                    <a:pt x="329157" y="65654"/>
                  </a:cubicBezTo>
                  <a:cubicBezTo>
                    <a:pt x="348413" y="60207"/>
                    <a:pt x="369062" y="56026"/>
                    <a:pt x="389205" y="57800"/>
                  </a:cubicBezTo>
                  <a:cubicBezTo>
                    <a:pt x="395666" y="58307"/>
                    <a:pt x="399846" y="60207"/>
                    <a:pt x="399593" y="64641"/>
                  </a:cubicBezTo>
                  <a:cubicBezTo>
                    <a:pt x="399593" y="66161"/>
                    <a:pt x="399086" y="67808"/>
                    <a:pt x="397946" y="69834"/>
                  </a:cubicBezTo>
                  <a:cubicBezTo>
                    <a:pt x="392119" y="81363"/>
                    <a:pt x="381857" y="90357"/>
                    <a:pt x="375776" y="101759"/>
                  </a:cubicBezTo>
                  <a:cubicBezTo>
                    <a:pt x="364755" y="122154"/>
                    <a:pt x="374256" y="142170"/>
                    <a:pt x="386291" y="159653"/>
                  </a:cubicBezTo>
                  <a:cubicBezTo>
                    <a:pt x="396172" y="173841"/>
                    <a:pt x="410867" y="184229"/>
                    <a:pt x="422395" y="197024"/>
                  </a:cubicBezTo>
                  <a:cubicBezTo>
                    <a:pt x="430250" y="205892"/>
                    <a:pt x="446465" y="211212"/>
                    <a:pt x="451153" y="221980"/>
                  </a:cubicBezTo>
                  <a:cubicBezTo>
                    <a:pt x="455460" y="231735"/>
                    <a:pt x="454826" y="245417"/>
                    <a:pt x="465847" y="250991"/>
                  </a:cubicBezTo>
                  <a:cubicBezTo>
                    <a:pt x="474589" y="255425"/>
                    <a:pt x="486497" y="258212"/>
                    <a:pt x="495872" y="261125"/>
                  </a:cubicBezTo>
                  <a:cubicBezTo>
                    <a:pt x="523995" y="269866"/>
                    <a:pt x="508413" y="302297"/>
                    <a:pt x="520828" y="322439"/>
                  </a:cubicBezTo>
                  <a:cubicBezTo>
                    <a:pt x="527795" y="333714"/>
                    <a:pt x="526909" y="344356"/>
                    <a:pt x="530202" y="356897"/>
                  </a:cubicBezTo>
                  <a:cubicBezTo>
                    <a:pt x="533876" y="371086"/>
                    <a:pt x="543884" y="376026"/>
                    <a:pt x="557946" y="377039"/>
                  </a:cubicBezTo>
                  <a:cubicBezTo>
                    <a:pt x="568080" y="377800"/>
                    <a:pt x="583916" y="376659"/>
                    <a:pt x="592404" y="383880"/>
                  </a:cubicBezTo>
                  <a:cubicBezTo>
                    <a:pt x="600511" y="390721"/>
                    <a:pt x="594557" y="407697"/>
                    <a:pt x="598231" y="417198"/>
                  </a:cubicBezTo>
                  <a:cubicBezTo>
                    <a:pt x="602285" y="427586"/>
                    <a:pt x="612419" y="429866"/>
                    <a:pt x="615713" y="441268"/>
                  </a:cubicBezTo>
                  <a:cubicBezTo>
                    <a:pt x="617486" y="447475"/>
                    <a:pt x="618627" y="454189"/>
                    <a:pt x="619133" y="460650"/>
                  </a:cubicBezTo>
                  <a:cubicBezTo>
                    <a:pt x="620147" y="470785"/>
                    <a:pt x="619513" y="480792"/>
                    <a:pt x="618373" y="4905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2" name="Полилиния: фигура 411">
              <a:extLst>
                <a:ext uri="{FF2B5EF4-FFF2-40B4-BE49-F238E27FC236}">
                  <a16:creationId xmlns:a16="http://schemas.microsoft.com/office/drawing/2014/main" id="{ACA42BEC-EBC6-4297-A643-3E6BA5655A82}"/>
                </a:ext>
              </a:extLst>
            </p:cNvPr>
            <p:cNvSpPr/>
            <p:nvPr/>
          </p:nvSpPr>
          <p:spPr>
            <a:xfrm>
              <a:off x="2705255" y="4309146"/>
              <a:ext cx="477421" cy="453657"/>
            </a:xfrm>
            <a:custGeom>
              <a:avLst/>
              <a:gdLst>
                <a:gd name="connsiteX0" fmla="*/ 476205 w 477421"/>
                <a:gd name="connsiteY0" fmla="*/ 216508 h 453657"/>
                <a:gd name="connsiteX1" fmla="*/ 468097 w 477421"/>
                <a:gd name="connsiteY1" fmla="*/ 220055 h 453657"/>
                <a:gd name="connsiteX2" fmla="*/ 437947 w 477421"/>
                <a:gd name="connsiteY2" fmla="*/ 254766 h 453657"/>
                <a:gd name="connsiteX3" fmla="*/ 411977 w 477421"/>
                <a:gd name="connsiteY3" fmla="*/ 266801 h 453657"/>
                <a:gd name="connsiteX4" fmla="*/ 373212 w 477421"/>
                <a:gd name="connsiteY4" fmla="*/ 279850 h 453657"/>
                <a:gd name="connsiteX5" fmla="*/ 361051 w 477421"/>
                <a:gd name="connsiteY5" fmla="*/ 329762 h 453657"/>
                <a:gd name="connsiteX6" fmla="*/ 349776 w 477421"/>
                <a:gd name="connsiteY6" fmla="*/ 349145 h 453657"/>
                <a:gd name="connsiteX7" fmla="*/ 311771 w 477421"/>
                <a:gd name="connsiteY7" fmla="*/ 349905 h 453657"/>
                <a:gd name="connsiteX8" fmla="*/ 262618 w 477421"/>
                <a:gd name="connsiteY8" fmla="*/ 361433 h 453657"/>
                <a:gd name="connsiteX9" fmla="*/ 243489 w 477421"/>
                <a:gd name="connsiteY9" fmla="*/ 379169 h 453657"/>
                <a:gd name="connsiteX10" fmla="*/ 211439 w 477421"/>
                <a:gd name="connsiteY10" fmla="*/ 376635 h 453657"/>
                <a:gd name="connsiteX11" fmla="*/ 200544 w 477421"/>
                <a:gd name="connsiteY11" fmla="*/ 367134 h 453657"/>
                <a:gd name="connsiteX12" fmla="*/ 192563 w 477421"/>
                <a:gd name="connsiteY12" fmla="*/ 374988 h 453657"/>
                <a:gd name="connsiteX13" fmla="*/ 186862 w 477421"/>
                <a:gd name="connsiteY13" fmla="*/ 402478 h 453657"/>
                <a:gd name="connsiteX14" fmla="*/ 171787 w 477421"/>
                <a:gd name="connsiteY14" fmla="*/ 419580 h 453657"/>
                <a:gd name="connsiteX15" fmla="*/ 151138 w 477421"/>
                <a:gd name="connsiteY15" fmla="*/ 428321 h 453657"/>
                <a:gd name="connsiteX16" fmla="*/ 120987 w 477421"/>
                <a:gd name="connsiteY16" fmla="*/ 438203 h 453657"/>
                <a:gd name="connsiteX17" fmla="*/ 85770 w 477421"/>
                <a:gd name="connsiteY17" fmla="*/ 431362 h 453657"/>
                <a:gd name="connsiteX18" fmla="*/ 61320 w 477421"/>
                <a:gd name="connsiteY18" fmla="*/ 453658 h 453657"/>
                <a:gd name="connsiteX19" fmla="*/ 49032 w 477421"/>
                <a:gd name="connsiteY19" fmla="*/ 450617 h 453657"/>
                <a:gd name="connsiteX20" fmla="*/ 44471 w 477421"/>
                <a:gd name="connsiteY20" fmla="*/ 450111 h 453657"/>
                <a:gd name="connsiteX21" fmla="*/ 48272 w 477421"/>
                <a:gd name="connsiteY21" fmla="*/ 427941 h 453657"/>
                <a:gd name="connsiteX22" fmla="*/ 43838 w 477421"/>
                <a:gd name="connsiteY22" fmla="*/ 393357 h 453657"/>
                <a:gd name="connsiteX23" fmla="*/ 34843 w 477421"/>
                <a:gd name="connsiteY23" fmla="*/ 361433 h 453657"/>
                <a:gd name="connsiteX24" fmla="*/ 31043 w 477421"/>
                <a:gd name="connsiteY24" fmla="*/ 351045 h 453657"/>
                <a:gd name="connsiteX25" fmla="*/ 30536 w 477421"/>
                <a:gd name="connsiteY25" fmla="*/ 335843 h 453657"/>
                <a:gd name="connsiteX26" fmla="*/ 26736 w 477421"/>
                <a:gd name="connsiteY26" fmla="*/ 318108 h 453657"/>
                <a:gd name="connsiteX27" fmla="*/ 29523 w 477421"/>
                <a:gd name="connsiteY27" fmla="*/ 297712 h 453657"/>
                <a:gd name="connsiteX28" fmla="*/ 30789 w 477421"/>
                <a:gd name="connsiteY28" fmla="*/ 273515 h 453657"/>
                <a:gd name="connsiteX29" fmla="*/ 15334 w 477421"/>
                <a:gd name="connsiteY29" fmla="*/ 258567 h 453657"/>
                <a:gd name="connsiteX30" fmla="*/ 17741 w 477421"/>
                <a:gd name="connsiteY30" fmla="*/ 242478 h 453657"/>
                <a:gd name="connsiteX31" fmla="*/ 24202 w 477421"/>
                <a:gd name="connsiteY31" fmla="*/ 220942 h 453657"/>
                <a:gd name="connsiteX32" fmla="*/ 11027 w 477421"/>
                <a:gd name="connsiteY32" fmla="*/ 203586 h 453657"/>
                <a:gd name="connsiteX33" fmla="*/ 766 w 477421"/>
                <a:gd name="connsiteY33" fmla="*/ 188765 h 453657"/>
                <a:gd name="connsiteX34" fmla="*/ 14194 w 477421"/>
                <a:gd name="connsiteY34" fmla="*/ 166089 h 453657"/>
                <a:gd name="connsiteX35" fmla="*/ 7607 w 477421"/>
                <a:gd name="connsiteY35" fmla="*/ 146960 h 453657"/>
                <a:gd name="connsiteX36" fmla="*/ 6 w 477421"/>
                <a:gd name="connsiteY36" fmla="*/ 128844 h 453657"/>
                <a:gd name="connsiteX37" fmla="*/ 6 w 477421"/>
                <a:gd name="connsiteY37" fmla="*/ 123650 h 453657"/>
                <a:gd name="connsiteX38" fmla="*/ 12420 w 477421"/>
                <a:gd name="connsiteY38" fmla="*/ 112122 h 453657"/>
                <a:gd name="connsiteX39" fmla="*/ 27242 w 477421"/>
                <a:gd name="connsiteY39" fmla="*/ 100720 h 453657"/>
                <a:gd name="connsiteX40" fmla="*/ 11407 w 477421"/>
                <a:gd name="connsiteY40" fmla="*/ 65376 h 453657"/>
                <a:gd name="connsiteX41" fmla="*/ 51565 w 477421"/>
                <a:gd name="connsiteY41" fmla="*/ 2035 h 453657"/>
                <a:gd name="connsiteX42" fmla="*/ 82223 w 477421"/>
                <a:gd name="connsiteY42" fmla="*/ 16983 h 453657"/>
                <a:gd name="connsiteX43" fmla="*/ 93751 w 477421"/>
                <a:gd name="connsiteY43" fmla="*/ 28512 h 453657"/>
                <a:gd name="connsiteX44" fmla="*/ 126815 w 477421"/>
                <a:gd name="connsiteY44" fmla="*/ 2035 h 453657"/>
                <a:gd name="connsiteX45" fmla="*/ 153798 w 477421"/>
                <a:gd name="connsiteY45" fmla="*/ 21291 h 453657"/>
                <a:gd name="connsiteX46" fmla="*/ 165706 w 477421"/>
                <a:gd name="connsiteY46" fmla="*/ 36113 h 453657"/>
                <a:gd name="connsiteX47" fmla="*/ 124154 w 477421"/>
                <a:gd name="connsiteY47" fmla="*/ 101734 h 453657"/>
                <a:gd name="connsiteX48" fmla="*/ 146577 w 477421"/>
                <a:gd name="connsiteY48" fmla="*/ 128464 h 453657"/>
                <a:gd name="connsiteX49" fmla="*/ 157725 w 477421"/>
                <a:gd name="connsiteY49" fmla="*/ 112248 h 453657"/>
                <a:gd name="connsiteX50" fmla="*/ 210552 w 477421"/>
                <a:gd name="connsiteY50" fmla="*/ 69683 h 453657"/>
                <a:gd name="connsiteX51" fmla="*/ 255398 w 477421"/>
                <a:gd name="connsiteY51" fmla="*/ 88812 h 453657"/>
                <a:gd name="connsiteX52" fmla="*/ 298596 w 477421"/>
                <a:gd name="connsiteY52" fmla="*/ 52454 h 453657"/>
                <a:gd name="connsiteX53" fmla="*/ 334321 w 477421"/>
                <a:gd name="connsiteY53" fmla="*/ 20024 h 453657"/>
                <a:gd name="connsiteX54" fmla="*/ 334701 w 477421"/>
                <a:gd name="connsiteY54" fmla="*/ 20530 h 453657"/>
                <a:gd name="connsiteX55" fmla="*/ 335841 w 477421"/>
                <a:gd name="connsiteY55" fmla="*/ 23191 h 453657"/>
                <a:gd name="connsiteX56" fmla="*/ 379673 w 477421"/>
                <a:gd name="connsiteY56" fmla="*/ 69937 h 453657"/>
                <a:gd name="connsiteX57" fmla="*/ 428826 w 477421"/>
                <a:gd name="connsiteY57" fmla="*/ 86786 h 453657"/>
                <a:gd name="connsiteX58" fmla="*/ 438454 w 477421"/>
                <a:gd name="connsiteY58" fmla="*/ 112882 h 453657"/>
                <a:gd name="connsiteX59" fmla="*/ 450362 w 477421"/>
                <a:gd name="connsiteY59" fmla="*/ 137332 h 453657"/>
                <a:gd name="connsiteX60" fmla="*/ 456949 w 477421"/>
                <a:gd name="connsiteY60" fmla="*/ 176603 h 453657"/>
                <a:gd name="connsiteX61" fmla="*/ 476205 w 477421"/>
                <a:gd name="connsiteY61" fmla="*/ 216508 h 453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77421" h="453657">
                  <a:moveTo>
                    <a:pt x="476205" y="216508"/>
                  </a:moveTo>
                  <a:cubicBezTo>
                    <a:pt x="473798" y="216635"/>
                    <a:pt x="471138" y="217775"/>
                    <a:pt x="468097" y="220055"/>
                  </a:cubicBezTo>
                  <a:cubicBezTo>
                    <a:pt x="455936" y="229303"/>
                    <a:pt x="447575" y="243112"/>
                    <a:pt x="437947" y="254766"/>
                  </a:cubicBezTo>
                  <a:cubicBezTo>
                    <a:pt x="430093" y="264141"/>
                    <a:pt x="424139" y="267181"/>
                    <a:pt x="411977" y="266801"/>
                  </a:cubicBezTo>
                  <a:cubicBezTo>
                    <a:pt x="397662" y="266421"/>
                    <a:pt x="382967" y="267815"/>
                    <a:pt x="373212" y="279850"/>
                  </a:cubicBezTo>
                  <a:cubicBezTo>
                    <a:pt x="361938" y="293911"/>
                    <a:pt x="363838" y="313040"/>
                    <a:pt x="361051" y="329762"/>
                  </a:cubicBezTo>
                  <a:cubicBezTo>
                    <a:pt x="359784" y="337490"/>
                    <a:pt x="356490" y="344711"/>
                    <a:pt x="349776" y="349145"/>
                  </a:cubicBezTo>
                  <a:cubicBezTo>
                    <a:pt x="338121" y="356619"/>
                    <a:pt x="324059" y="352312"/>
                    <a:pt x="311771" y="349905"/>
                  </a:cubicBezTo>
                  <a:cubicBezTo>
                    <a:pt x="296316" y="346865"/>
                    <a:pt x="275667" y="352945"/>
                    <a:pt x="262618" y="361433"/>
                  </a:cubicBezTo>
                  <a:cubicBezTo>
                    <a:pt x="255271" y="366247"/>
                    <a:pt x="250203" y="373468"/>
                    <a:pt x="243489" y="379169"/>
                  </a:cubicBezTo>
                  <a:cubicBezTo>
                    <a:pt x="233608" y="387530"/>
                    <a:pt x="218913" y="387910"/>
                    <a:pt x="211439" y="376635"/>
                  </a:cubicBezTo>
                  <a:cubicBezTo>
                    <a:pt x="208905" y="372961"/>
                    <a:pt x="205865" y="366880"/>
                    <a:pt x="200544" y="367134"/>
                  </a:cubicBezTo>
                  <a:cubicBezTo>
                    <a:pt x="196363" y="367387"/>
                    <a:pt x="193703" y="371314"/>
                    <a:pt x="192563" y="374988"/>
                  </a:cubicBezTo>
                  <a:cubicBezTo>
                    <a:pt x="189649" y="383856"/>
                    <a:pt x="190916" y="393737"/>
                    <a:pt x="186862" y="402478"/>
                  </a:cubicBezTo>
                  <a:cubicBezTo>
                    <a:pt x="183695" y="409319"/>
                    <a:pt x="176601" y="414006"/>
                    <a:pt x="171787" y="419580"/>
                  </a:cubicBezTo>
                  <a:cubicBezTo>
                    <a:pt x="165326" y="427181"/>
                    <a:pt x="161146" y="428575"/>
                    <a:pt x="151138" y="428321"/>
                  </a:cubicBezTo>
                  <a:cubicBezTo>
                    <a:pt x="139483" y="428068"/>
                    <a:pt x="132009" y="435922"/>
                    <a:pt x="120987" y="438203"/>
                  </a:cubicBezTo>
                  <a:cubicBezTo>
                    <a:pt x="108193" y="440863"/>
                    <a:pt x="98058" y="430095"/>
                    <a:pt x="85770" y="431362"/>
                  </a:cubicBezTo>
                  <a:cubicBezTo>
                    <a:pt x="74242" y="432502"/>
                    <a:pt x="69428" y="445930"/>
                    <a:pt x="61320" y="453658"/>
                  </a:cubicBezTo>
                  <a:cubicBezTo>
                    <a:pt x="58406" y="451504"/>
                    <a:pt x="54606" y="450744"/>
                    <a:pt x="49032" y="450617"/>
                  </a:cubicBezTo>
                  <a:cubicBezTo>
                    <a:pt x="47385" y="450617"/>
                    <a:pt x="45865" y="450364"/>
                    <a:pt x="44471" y="450111"/>
                  </a:cubicBezTo>
                  <a:cubicBezTo>
                    <a:pt x="44344" y="442257"/>
                    <a:pt x="47638" y="431489"/>
                    <a:pt x="48272" y="427941"/>
                  </a:cubicBezTo>
                  <a:cubicBezTo>
                    <a:pt x="50172" y="416160"/>
                    <a:pt x="48272" y="404378"/>
                    <a:pt x="43838" y="393357"/>
                  </a:cubicBezTo>
                  <a:cubicBezTo>
                    <a:pt x="39784" y="382969"/>
                    <a:pt x="38137" y="372201"/>
                    <a:pt x="34843" y="361433"/>
                  </a:cubicBezTo>
                  <a:cubicBezTo>
                    <a:pt x="33830" y="357886"/>
                    <a:pt x="31930" y="354592"/>
                    <a:pt x="31043" y="351045"/>
                  </a:cubicBezTo>
                  <a:cubicBezTo>
                    <a:pt x="29776" y="345724"/>
                    <a:pt x="30409" y="341037"/>
                    <a:pt x="30536" y="335843"/>
                  </a:cubicBezTo>
                  <a:cubicBezTo>
                    <a:pt x="30663" y="329889"/>
                    <a:pt x="28256" y="323808"/>
                    <a:pt x="26736" y="318108"/>
                  </a:cubicBezTo>
                  <a:cubicBezTo>
                    <a:pt x="24835" y="311140"/>
                    <a:pt x="27496" y="304299"/>
                    <a:pt x="29523" y="297712"/>
                  </a:cubicBezTo>
                  <a:cubicBezTo>
                    <a:pt x="31930" y="289984"/>
                    <a:pt x="35097" y="281116"/>
                    <a:pt x="30789" y="273515"/>
                  </a:cubicBezTo>
                  <a:cubicBezTo>
                    <a:pt x="27116" y="266928"/>
                    <a:pt x="19641" y="264394"/>
                    <a:pt x="15334" y="258567"/>
                  </a:cubicBezTo>
                  <a:cubicBezTo>
                    <a:pt x="11280" y="252993"/>
                    <a:pt x="14701" y="247672"/>
                    <a:pt x="17741" y="242478"/>
                  </a:cubicBezTo>
                  <a:cubicBezTo>
                    <a:pt x="21542" y="235891"/>
                    <a:pt x="25469" y="228797"/>
                    <a:pt x="24202" y="220942"/>
                  </a:cubicBezTo>
                  <a:cubicBezTo>
                    <a:pt x="22935" y="213088"/>
                    <a:pt x="16981" y="208020"/>
                    <a:pt x="11027" y="203586"/>
                  </a:cubicBezTo>
                  <a:cubicBezTo>
                    <a:pt x="5833" y="199913"/>
                    <a:pt x="-755" y="196112"/>
                    <a:pt x="766" y="188765"/>
                  </a:cubicBezTo>
                  <a:cubicBezTo>
                    <a:pt x="2539" y="180277"/>
                    <a:pt x="11027" y="174070"/>
                    <a:pt x="14194" y="166089"/>
                  </a:cubicBezTo>
                  <a:cubicBezTo>
                    <a:pt x="17488" y="157854"/>
                    <a:pt x="13307" y="152660"/>
                    <a:pt x="7607" y="146960"/>
                  </a:cubicBezTo>
                  <a:cubicBezTo>
                    <a:pt x="1906" y="141386"/>
                    <a:pt x="-121" y="136952"/>
                    <a:pt x="6" y="128844"/>
                  </a:cubicBezTo>
                  <a:cubicBezTo>
                    <a:pt x="6" y="127070"/>
                    <a:pt x="6" y="125297"/>
                    <a:pt x="6" y="123650"/>
                  </a:cubicBezTo>
                  <a:cubicBezTo>
                    <a:pt x="6" y="123650"/>
                    <a:pt x="6" y="116936"/>
                    <a:pt x="12420" y="112122"/>
                  </a:cubicBezTo>
                  <a:cubicBezTo>
                    <a:pt x="24835" y="107054"/>
                    <a:pt x="39150" y="108448"/>
                    <a:pt x="27242" y="100720"/>
                  </a:cubicBezTo>
                  <a:cubicBezTo>
                    <a:pt x="15334" y="93120"/>
                    <a:pt x="9127" y="86405"/>
                    <a:pt x="11407" y="65376"/>
                  </a:cubicBezTo>
                  <a:cubicBezTo>
                    <a:pt x="13687" y="44347"/>
                    <a:pt x="29269" y="1021"/>
                    <a:pt x="51565" y="2035"/>
                  </a:cubicBezTo>
                  <a:cubicBezTo>
                    <a:pt x="73861" y="3048"/>
                    <a:pt x="82223" y="4695"/>
                    <a:pt x="82223" y="16983"/>
                  </a:cubicBezTo>
                  <a:cubicBezTo>
                    <a:pt x="82223" y="29145"/>
                    <a:pt x="89823" y="42447"/>
                    <a:pt x="93751" y="28512"/>
                  </a:cubicBezTo>
                  <a:cubicBezTo>
                    <a:pt x="97678" y="14703"/>
                    <a:pt x="114273" y="-6706"/>
                    <a:pt x="126815" y="2035"/>
                  </a:cubicBezTo>
                  <a:cubicBezTo>
                    <a:pt x="139356" y="10776"/>
                    <a:pt x="147591" y="20910"/>
                    <a:pt x="153798" y="21291"/>
                  </a:cubicBezTo>
                  <a:cubicBezTo>
                    <a:pt x="160006" y="21544"/>
                    <a:pt x="181795" y="17363"/>
                    <a:pt x="165706" y="36113"/>
                  </a:cubicBezTo>
                  <a:cubicBezTo>
                    <a:pt x="149491" y="54861"/>
                    <a:pt x="98438" y="111615"/>
                    <a:pt x="124154" y="101734"/>
                  </a:cubicBezTo>
                  <a:cubicBezTo>
                    <a:pt x="149871" y="91853"/>
                    <a:pt x="142017" y="138725"/>
                    <a:pt x="146577" y="128464"/>
                  </a:cubicBezTo>
                  <a:cubicBezTo>
                    <a:pt x="151138" y="118203"/>
                    <a:pt x="202064" y="180657"/>
                    <a:pt x="157725" y="112248"/>
                  </a:cubicBezTo>
                  <a:cubicBezTo>
                    <a:pt x="113513" y="43967"/>
                    <a:pt x="201557" y="42573"/>
                    <a:pt x="210552" y="69683"/>
                  </a:cubicBezTo>
                  <a:cubicBezTo>
                    <a:pt x="219420" y="96793"/>
                    <a:pt x="246150" y="103001"/>
                    <a:pt x="255398" y="88812"/>
                  </a:cubicBezTo>
                  <a:cubicBezTo>
                    <a:pt x="264645" y="74624"/>
                    <a:pt x="279721" y="60435"/>
                    <a:pt x="298596" y="52454"/>
                  </a:cubicBezTo>
                  <a:cubicBezTo>
                    <a:pt x="315318" y="45360"/>
                    <a:pt x="329253" y="15843"/>
                    <a:pt x="334321" y="20024"/>
                  </a:cubicBezTo>
                  <a:cubicBezTo>
                    <a:pt x="334447" y="20150"/>
                    <a:pt x="334574" y="20277"/>
                    <a:pt x="334701" y="20530"/>
                  </a:cubicBezTo>
                  <a:cubicBezTo>
                    <a:pt x="335081" y="21037"/>
                    <a:pt x="335588" y="21924"/>
                    <a:pt x="335841" y="23191"/>
                  </a:cubicBezTo>
                  <a:cubicBezTo>
                    <a:pt x="339135" y="38013"/>
                    <a:pt x="354717" y="70697"/>
                    <a:pt x="379673" y="69937"/>
                  </a:cubicBezTo>
                  <a:cubicBezTo>
                    <a:pt x="404756" y="69303"/>
                    <a:pt x="423252" y="73230"/>
                    <a:pt x="428826" y="86786"/>
                  </a:cubicBezTo>
                  <a:cubicBezTo>
                    <a:pt x="434400" y="100340"/>
                    <a:pt x="429459" y="104901"/>
                    <a:pt x="438454" y="112882"/>
                  </a:cubicBezTo>
                  <a:cubicBezTo>
                    <a:pt x="447448" y="120863"/>
                    <a:pt x="452262" y="125424"/>
                    <a:pt x="450362" y="137332"/>
                  </a:cubicBezTo>
                  <a:cubicBezTo>
                    <a:pt x="448335" y="149240"/>
                    <a:pt x="445675" y="167989"/>
                    <a:pt x="456949" y="176603"/>
                  </a:cubicBezTo>
                  <a:cubicBezTo>
                    <a:pt x="468351" y="185218"/>
                    <a:pt x="481526" y="196872"/>
                    <a:pt x="476205" y="21650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3" name="Полилиния: фигура 412">
              <a:extLst>
                <a:ext uri="{FF2B5EF4-FFF2-40B4-BE49-F238E27FC236}">
                  <a16:creationId xmlns:a16="http://schemas.microsoft.com/office/drawing/2014/main" id="{03A47F6B-4816-4D80-A5FE-73039E65A435}"/>
                </a:ext>
              </a:extLst>
            </p:cNvPr>
            <p:cNvSpPr/>
            <p:nvPr/>
          </p:nvSpPr>
          <p:spPr>
            <a:xfrm>
              <a:off x="2766829" y="4525731"/>
              <a:ext cx="860178" cy="1045586"/>
            </a:xfrm>
            <a:custGeom>
              <a:avLst/>
              <a:gdLst>
                <a:gd name="connsiteX0" fmla="*/ 816849 w 860178"/>
                <a:gd name="connsiteY0" fmla="*/ 1044547 h 1045586"/>
                <a:gd name="connsiteX1" fmla="*/ 766429 w 860178"/>
                <a:gd name="connsiteY1" fmla="*/ 1042647 h 1045586"/>
                <a:gd name="connsiteX2" fmla="*/ 723737 w 860178"/>
                <a:gd name="connsiteY2" fmla="*/ 1032639 h 1045586"/>
                <a:gd name="connsiteX3" fmla="*/ 656215 w 860178"/>
                <a:gd name="connsiteY3" fmla="*/ 966510 h 1045586"/>
                <a:gd name="connsiteX4" fmla="*/ 618211 w 860178"/>
                <a:gd name="connsiteY4" fmla="*/ 967397 h 1045586"/>
                <a:gd name="connsiteX5" fmla="*/ 596295 w 860178"/>
                <a:gd name="connsiteY5" fmla="*/ 940161 h 1045586"/>
                <a:gd name="connsiteX6" fmla="*/ 571338 w 860178"/>
                <a:gd name="connsiteY6" fmla="*/ 913430 h 1045586"/>
                <a:gd name="connsiteX7" fmla="*/ 571591 w 860178"/>
                <a:gd name="connsiteY7" fmla="*/ 857183 h 1045586"/>
                <a:gd name="connsiteX8" fmla="*/ 559810 w 860178"/>
                <a:gd name="connsiteY8" fmla="*/ 807651 h 1045586"/>
                <a:gd name="connsiteX9" fmla="*/ 520792 w 860178"/>
                <a:gd name="connsiteY9" fmla="*/ 799416 h 1045586"/>
                <a:gd name="connsiteX10" fmla="*/ 504450 w 860178"/>
                <a:gd name="connsiteY10" fmla="*/ 802837 h 1045586"/>
                <a:gd name="connsiteX11" fmla="*/ 485067 w 860178"/>
                <a:gd name="connsiteY11" fmla="*/ 802583 h 1045586"/>
                <a:gd name="connsiteX12" fmla="*/ 460618 w 860178"/>
                <a:gd name="connsiteY12" fmla="*/ 787128 h 1045586"/>
                <a:gd name="connsiteX13" fmla="*/ 448963 w 860178"/>
                <a:gd name="connsiteY13" fmla="*/ 761791 h 1045586"/>
                <a:gd name="connsiteX14" fmla="*/ 442755 w 860178"/>
                <a:gd name="connsiteY14" fmla="*/ 744436 h 1045586"/>
                <a:gd name="connsiteX15" fmla="*/ 416025 w 860178"/>
                <a:gd name="connsiteY15" fmla="*/ 727587 h 1045586"/>
                <a:gd name="connsiteX16" fmla="*/ 376120 w 860178"/>
                <a:gd name="connsiteY16" fmla="*/ 726067 h 1045586"/>
                <a:gd name="connsiteX17" fmla="*/ 320127 w 860178"/>
                <a:gd name="connsiteY17" fmla="*/ 727967 h 1045586"/>
                <a:gd name="connsiteX18" fmla="*/ 285923 w 860178"/>
                <a:gd name="connsiteY18" fmla="*/ 724167 h 1045586"/>
                <a:gd name="connsiteX19" fmla="*/ 257546 w 860178"/>
                <a:gd name="connsiteY19" fmla="*/ 699844 h 1045586"/>
                <a:gd name="connsiteX20" fmla="*/ 245257 w 860178"/>
                <a:gd name="connsiteY20" fmla="*/ 619020 h 1045586"/>
                <a:gd name="connsiteX21" fmla="*/ 227522 w 860178"/>
                <a:gd name="connsiteY21" fmla="*/ 586843 h 1045586"/>
                <a:gd name="connsiteX22" fmla="*/ 211433 w 860178"/>
                <a:gd name="connsiteY22" fmla="*/ 616360 h 1045586"/>
                <a:gd name="connsiteX23" fmla="*/ 189644 w 860178"/>
                <a:gd name="connsiteY23" fmla="*/ 642710 h 1045586"/>
                <a:gd name="connsiteX24" fmla="*/ 165321 w 860178"/>
                <a:gd name="connsiteY24" fmla="*/ 625481 h 1045586"/>
                <a:gd name="connsiteX25" fmla="*/ 166334 w 860178"/>
                <a:gd name="connsiteY25" fmla="*/ 598498 h 1045586"/>
                <a:gd name="connsiteX26" fmla="*/ 185970 w 860178"/>
                <a:gd name="connsiteY26" fmla="*/ 572401 h 1045586"/>
                <a:gd name="connsiteX27" fmla="*/ 187744 w 860178"/>
                <a:gd name="connsiteY27" fmla="*/ 542504 h 1045586"/>
                <a:gd name="connsiteX28" fmla="*/ 192177 w 860178"/>
                <a:gd name="connsiteY28" fmla="*/ 509440 h 1045586"/>
                <a:gd name="connsiteX29" fmla="*/ 194078 w 860178"/>
                <a:gd name="connsiteY29" fmla="*/ 474856 h 1045586"/>
                <a:gd name="connsiteX30" fmla="*/ 176469 w 860178"/>
                <a:gd name="connsiteY30" fmla="*/ 442805 h 1045586"/>
                <a:gd name="connsiteX31" fmla="*/ 154299 w 860178"/>
                <a:gd name="connsiteY31" fmla="*/ 424056 h 1045586"/>
                <a:gd name="connsiteX32" fmla="*/ 132130 w 860178"/>
                <a:gd name="connsiteY32" fmla="*/ 410627 h 1045586"/>
                <a:gd name="connsiteX33" fmla="*/ 110721 w 860178"/>
                <a:gd name="connsiteY33" fmla="*/ 382378 h 1045586"/>
                <a:gd name="connsiteX34" fmla="*/ 123895 w 860178"/>
                <a:gd name="connsiteY34" fmla="*/ 336899 h 1045586"/>
                <a:gd name="connsiteX35" fmla="*/ 67268 w 860178"/>
                <a:gd name="connsiteY35" fmla="*/ 302947 h 1045586"/>
                <a:gd name="connsiteX36" fmla="*/ 49533 w 860178"/>
                <a:gd name="connsiteY36" fmla="*/ 314602 h 1045586"/>
                <a:gd name="connsiteX37" fmla="*/ 23183 w 860178"/>
                <a:gd name="connsiteY37" fmla="*/ 310548 h 1045586"/>
                <a:gd name="connsiteX38" fmla="*/ 16469 w 860178"/>
                <a:gd name="connsiteY38" fmla="*/ 287239 h 1045586"/>
                <a:gd name="connsiteX39" fmla="*/ 6714 w 860178"/>
                <a:gd name="connsiteY39" fmla="*/ 248094 h 1045586"/>
                <a:gd name="connsiteX40" fmla="*/ 0 w 860178"/>
                <a:gd name="connsiteY40" fmla="*/ 237199 h 1045586"/>
                <a:gd name="connsiteX41" fmla="*/ 24450 w 860178"/>
                <a:gd name="connsiteY41" fmla="*/ 214903 h 1045586"/>
                <a:gd name="connsiteX42" fmla="*/ 59668 w 860178"/>
                <a:gd name="connsiteY42" fmla="*/ 221744 h 1045586"/>
                <a:gd name="connsiteX43" fmla="*/ 89818 w 860178"/>
                <a:gd name="connsiteY43" fmla="*/ 211863 h 1045586"/>
                <a:gd name="connsiteX44" fmla="*/ 110467 w 860178"/>
                <a:gd name="connsiteY44" fmla="*/ 203122 h 1045586"/>
                <a:gd name="connsiteX45" fmla="*/ 125542 w 860178"/>
                <a:gd name="connsiteY45" fmla="*/ 186020 h 1045586"/>
                <a:gd name="connsiteX46" fmla="*/ 131243 w 860178"/>
                <a:gd name="connsiteY46" fmla="*/ 158529 h 1045586"/>
                <a:gd name="connsiteX47" fmla="*/ 139224 w 860178"/>
                <a:gd name="connsiteY47" fmla="*/ 150675 h 1045586"/>
                <a:gd name="connsiteX48" fmla="*/ 150119 w 860178"/>
                <a:gd name="connsiteY48" fmla="*/ 160176 h 1045586"/>
                <a:gd name="connsiteX49" fmla="*/ 182170 w 860178"/>
                <a:gd name="connsiteY49" fmla="*/ 162710 h 1045586"/>
                <a:gd name="connsiteX50" fmla="*/ 201298 w 860178"/>
                <a:gd name="connsiteY50" fmla="*/ 144974 h 1045586"/>
                <a:gd name="connsiteX51" fmla="*/ 250451 w 860178"/>
                <a:gd name="connsiteY51" fmla="*/ 133446 h 1045586"/>
                <a:gd name="connsiteX52" fmla="*/ 288456 w 860178"/>
                <a:gd name="connsiteY52" fmla="*/ 132686 h 1045586"/>
                <a:gd name="connsiteX53" fmla="*/ 299731 w 860178"/>
                <a:gd name="connsiteY53" fmla="*/ 113304 h 1045586"/>
                <a:gd name="connsiteX54" fmla="*/ 311892 w 860178"/>
                <a:gd name="connsiteY54" fmla="*/ 63391 h 1045586"/>
                <a:gd name="connsiteX55" fmla="*/ 350657 w 860178"/>
                <a:gd name="connsiteY55" fmla="*/ 50342 h 1045586"/>
                <a:gd name="connsiteX56" fmla="*/ 376627 w 860178"/>
                <a:gd name="connsiteY56" fmla="*/ 38308 h 1045586"/>
                <a:gd name="connsiteX57" fmla="*/ 406778 w 860178"/>
                <a:gd name="connsiteY57" fmla="*/ 3597 h 1045586"/>
                <a:gd name="connsiteX58" fmla="*/ 414885 w 860178"/>
                <a:gd name="connsiteY58" fmla="*/ 50 h 1045586"/>
                <a:gd name="connsiteX59" fmla="*/ 429200 w 860178"/>
                <a:gd name="connsiteY59" fmla="*/ 7524 h 1045586"/>
                <a:gd name="connsiteX60" fmla="*/ 458844 w 860178"/>
                <a:gd name="connsiteY60" fmla="*/ 28047 h 1045586"/>
                <a:gd name="connsiteX61" fmla="*/ 460238 w 860178"/>
                <a:gd name="connsiteY61" fmla="*/ 47809 h 1045586"/>
                <a:gd name="connsiteX62" fmla="*/ 471892 w 860178"/>
                <a:gd name="connsiteY62" fmla="*/ 68838 h 1045586"/>
                <a:gd name="connsiteX63" fmla="*/ 487854 w 860178"/>
                <a:gd name="connsiteY63" fmla="*/ 80620 h 1045586"/>
                <a:gd name="connsiteX64" fmla="*/ 488108 w 860178"/>
                <a:gd name="connsiteY64" fmla="*/ 91134 h 1045586"/>
                <a:gd name="connsiteX65" fmla="*/ 463405 w 860178"/>
                <a:gd name="connsiteY65" fmla="*/ 136234 h 1045586"/>
                <a:gd name="connsiteX66" fmla="*/ 455170 w 860178"/>
                <a:gd name="connsiteY66" fmla="*/ 173731 h 1045586"/>
                <a:gd name="connsiteX67" fmla="*/ 446429 w 860178"/>
                <a:gd name="connsiteY67" fmla="*/ 214523 h 1045586"/>
                <a:gd name="connsiteX68" fmla="*/ 482534 w 860178"/>
                <a:gd name="connsiteY68" fmla="*/ 273937 h 1045586"/>
                <a:gd name="connsiteX69" fmla="*/ 465305 w 860178"/>
                <a:gd name="connsiteY69" fmla="*/ 313969 h 1045586"/>
                <a:gd name="connsiteX70" fmla="*/ 461124 w 860178"/>
                <a:gd name="connsiteY70" fmla="*/ 345006 h 1045586"/>
                <a:gd name="connsiteX71" fmla="*/ 464165 w 860178"/>
                <a:gd name="connsiteY71" fmla="*/ 378577 h 1045586"/>
                <a:gd name="connsiteX72" fmla="*/ 449723 w 860178"/>
                <a:gd name="connsiteY72" fmla="*/ 411134 h 1045586"/>
                <a:gd name="connsiteX73" fmla="*/ 452510 w 860178"/>
                <a:gd name="connsiteY73" fmla="*/ 446479 h 1045586"/>
                <a:gd name="connsiteX74" fmla="*/ 476580 w 860178"/>
                <a:gd name="connsiteY74" fmla="*/ 470802 h 1045586"/>
                <a:gd name="connsiteX75" fmla="*/ 510404 w 860178"/>
                <a:gd name="connsiteY75" fmla="*/ 467001 h 1045586"/>
                <a:gd name="connsiteX76" fmla="*/ 545115 w 860178"/>
                <a:gd name="connsiteY76" fmla="*/ 473209 h 1045586"/>
                <a:gd name="connsiteX77" fmla="*/ 531813 w 860178"/>
                <a:gd name="connsiteY77" fmla="*/ 514507 h 1045586"/>
                <a:gd name="connsiteX78" fmla="*/ 501916 w 860178"/>
                <a:gd name="connsiteY78" fmla="*/ 536170 h 1045586"/>
                <a:gd name="connsiteX79" fmla="*/ 517625 w 860178"/>
                <a:gd name="connsiteY79" fmla="*/ 573288 h 1045586"/>
                <a:gd name="connsiteX80" fmla="*/ 501156 w 860178"/>
                <a:gd name="connsiteY80" fmla="*/ 603818 h 1045586"/>
                <a:gd name="connsiteX81" fmla="*/ 476960 w 860178"/>
                <a:gd name="connsiteY81" fmla="*/ 626115 h 1045586"/>
                <a:gd name="connsiteX82" fmla="*/ 488361 w 860178"/>
                <a:gd name="connsiteY82" fmla="*/ 652211 h 1045586"/>
                <a:gd name="connsiteX83" fmla="*/ 524212 w 860178"/>
                <a:gd name="connsiteY83" fmla="*/ 639670 h 1045586"/>
                <a:gd name="connsiteX84" fmla="*/ 545875 w 860178"/>
                <a:gd name="connsiteY84" fmla="*/ 678181 h 1045586"/>
                <a:gd name="connsiteX85" fmla="*/ 564751 w 860178"/>
                <a:gd name="connsiteY85" fmla="*/ 680081 h 1045586"/>
                <a:gd name="connsiteX86" fmla="*/ 583120 w 860178"/>
                <a:gd name="connsiteY86" fmla="*/ 687429 h 1045586"/>
                <a:gd name="connsiteX87" fmla="*/ 604782 w 860178"/>
                <a:gd name="connsiteY87" fmla="*/ 687936 h 1045586"/>
                <a:gd name="connsiteX88" fmla="*/ 622264 w 860178"/>
                <a:gd name="connsiteY88" fmla="*/ 688062 h 1045586"/>
                <a:gd name="connsiteX89" fmla="*/ 632652 w 860178"/>
                <a:gd name="connsiteY89" fmla="*/ 728601 h 1045586"/>
                <a:gd name="connsiteX90" fmla="*/ 665463 w 860178"/>
                <a:gd name="connsiteY90" fmla="*/ 713525 h 1045586"/>
                <a:gd name="connsiteX91" fmla="*/ 684972 w 860178"/>
                <a:gd name="connsiteY91" fmla="*/ 683248 h 1045586"/>
                <a:gd name="connsiteX92" fmla="*/ 714363 w 860178"/>
                <a:gd name="connsiteY92" fmla="*/ 674001 h 1045586"/>
                <a:gd name="connsiteX93" fmla="*/ 732352 w 860178"/>
                <a:gd name="connsiteY93" fmla="*/ 671340 h 1045586"/>
                <a:gd name="connsiteX94" fmla="*/ 744006 w 860178"/>
                <a:gd name="connsiteY94" fmla="*/ 671213 h 1045586"/>
                <a:gd name="connsiteX95" fmla="*/ 749834 w 860178"/>
                <a:gd name="connsiteY95" fmla="*/ 686416 h 1045586"/>
                <a:gd name="connsiteX96" fmla="*/ 764022 w 860178"/>
                <a:gd name="connsiteY96" fmla="*/ 695283 h 1045586"/>
                <a:gd name="connsiteX97" fmla="*/ 805701 w 860178"/>
                <a:gd name="connsiteY97" fmla="*/ 692370 h 1045586"/>
                <a:gd name="connsiteX98" fmla="*/ 833698 w 860178"/>
                <a:gd name="connsiteY98" fmla="*/ 737215 h 1045586"/>
                <a:gd name="connsiteX99" fmla="*/ 821029 w 860178"/>
                <a:gd name="connsiteY99" fmla="*/ 752797 h 1045586"/>
                <a:gd name="connsiteX100" fmla="*/ 810261 w 860178"/>
                <a:gd name="connsiteY100" fmla="*/ 794729 h 1045586"/>
                <a:gd name="connsiteX101" fmla="*/ 812288 w 860178"/>
                <a:gd name="connsiteY101" fmla="*/ 801317 h 1045586"/>
                <a:gd name="connsiteX102" fmla="*/ 809628 w 860178"/>
                <a:gd name="connsiteY102" fmla="*/ 815125 h 1045586"/>
                <a:gd name="connsiteX103" fmla="*/ 819002 w 860178"/>
                <a:gd name="connsiteY103" fmla="*/ 878466 h 1045586"/>
                <a:gd name="connsiteX104" fmla="*/ 830784 w 860178"/>
                <a:gd name="connsiteY104" fmla="*/ 935727 h 1045586"/>
                <a:gd name="connsiteX105" fmla="*/ 857894 w 860178"/>
                <a:gd name="connsiteY105" fmla="*/ 987033 h 1045586"/>
                <a:gd name="connsiteX106" fmla="*/ 816849 w 860178"/>
                <a:gd name="connsiteY106" fmla="*/ 1044547 h 104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60178" h="1045586">
                  <a:moveTo>
                    <a:pt x="816849" y="1044547"/>
                  </a:moveTo>
                  <a:cubicBezTo>
                    <a:pt x="800380" y="1047461"/>
                    <a:pt x="782898" y="1043407"/>
                    <a:pt x="766429" y="1042647"/>
                  </a:cubicBezTo>
                  <a:cubicBezTo>
                    <a:pt x="751481" y="1042013"/>
                    <a:pt x="735392" y="1043660"/>
                    <a:pt x="723737" y="1032639"/>
                  </a:cubicBezTo>
                  <a:cubicBezTo>
                    <a:pt x="699921" y="1010343"/>
                    <a:pt x="699794" y="953716"/>
                    <a:pt x="656215" y="966510"/>
                  </a:cubicBezTo>
                  <a:cubicBezTo>
                    <a:pt x="643674" y="970184"/>
                    <a:pt x="629865" y="976392"/>
                    <a:pt x="618211" y="967397"/>
                  </a:cubicBezTo>
                  <a:cubicBezTo>
                    <a:pt x="608963" y="960430"/>
                    <a:pt x="604656" y="948395"/>
                    <a:pt x="596295" y="940161"/>
                  </a:cubicBezTo>
                  <a:cubicBezTo>
                    <a:pt x="587427" y="931419"/>
                    <a:pt x="576279" y="925592"/>
                    <a:pt x="571338" y="913430"/>
                  </a:cubicBezTo>
                  <a:cubicBezTo>
                    <a:pt x="564117" y="895948"/>
                    <a:pt x="569438" y="875172"/>
                    <a:pt x="571591" y="857183"/>
                  </a:cubicBezTo>
                  <a:cubicBezTo>
                    <a:pt x="573492" y="840208"/>
                    <a:pt x="575139" y="819179"/>
                    <a:pt x="559810" y="807651"/>
                  </a:cubicBezTo>
                  <a:cubicBezTo>
                    <a:pt x="548662" y="799290"/>
                    <a:pt x="534094" y="798910"/>
                    <a:pt x="520792" y="799416"/>
                  </a:cubicBezTo>
                  <a:cubicBezTo>
                    <a:pt x="514458" y="799670"/>
                    <a:pt x="510151" y="801063"/>
                    <a:pt x="504450" y="802837"/>
                  </a:cubicBezTo>
                  <a:cubicBezTo>
                    <a:pt x="497482" y="805117"/>
                    <a:pt x="492162" y="803850"/>
                    <a:pt x="485067" y="802583"/>
                  </a:cubicBezTo>
                  <a:cubicBezTo>
                    <a:pt x="473792" y="800556"/>
                    <a:pt x="464798" y="799416"/>
                    <a:pt x="460618" y="787128"/>
                  </a:cubicBezTo>
                  <a:cubicBezTo>
                    <a:pt x="457704" y="778387"/>
                    <a:pt x="452383" y="770533"/>
                    <a:pt x="448963" y="761791"/>
                  </a:cubicBezTo>
                  <a:cubicBezTo>
                    <a:pt x="446809" y="756091"/>
                    <a:pt x="445796" y="750010"/>
                    <a:pt x="442755" y="744436"/>
                  </a:cubicBezTo>
                  <a:cubicBezTo>
                    <a:pt x="437435" y="734302"/>
                    <a:pt x="426667" y="729994"/>
                    <a:pt x="416025" y="727587"/>
                  </a:cubicBezTo>
                  <a:cubicBezTo>
                    <a:pt x="402597" y="724547"/>
                    <a:pt x="389675" y="726067"/>
                    <a:pt x="376120" y="726067"/>
                  </a:cubicBezTo>
                  <a:cubicBezTo>
                    <a:pt x="358005" y="725940"/>
                    <a:pt x="337862" y="730501"/>
                    <a:pt x="320127" y="727967"/>
                  </a:cubicBezTo>
                  <a:cubicBezTo>
                    <a:pt x="308852" y="726320"/>
                    <a:pt x="297070" y="726700"/>
                    <a:pt x="285923" y="724167"/>
                  </a:cubicBezTo>
                  <a:cubicBezTo>
                    <a:pt x="271987" y="721000"/>
                    <a:pt x="265273" y="710865"/>
                    <a:pt x="257546" y="699844"/>
                  </a:cubicBezTo>
                  <a:cubicBezTo>
                    <a:pt x="239557" y="674001"/>
                    <a:pt x="243990" y="648411"/>
                    <a:pt x="245257" y="619020"/>
                  </a:cubicBezTo>
                  <a:cubicBezTo>
                    <a:pt x="245511" y="610912"/>
                    <a:pt x="242977" y="578735"/>
                    <a:pt x="227522" y="586843"/>
                  </a:cubicBezTo>
                  <a:cubicBezTo>
                    <a:pt x="219541" y="591024"/>
                    <a:pt x="214220" y="608632"/>
                    <a:pt x="211433" y="616360"/>
                  </a:cubicBezTo>
                  <a:cubicBezTo>
                    <a:pt x="207253" y="628268"/>
                    <a:pt x="205859" y="644737"/>
                    <a:pt x="189644" y="642710"/>
                  </a:cubicBezTo>
                  <a:cubicBezTo>
                    <a:pt x="178876" y="641317"/>
                    <a:pt x="168234" y="636376"/>
                    <a:pt x="165321" y="625481"/>
                  </a:cubicBezTo>
                  <a:cubicBezTo>
                    <a:pt x="163040" y="616867"/>
                    <a:pt x="161774" y="606352"/>
                    <a:pt x="166334" y="598498"/>
                  </a:cubicBezTo>
                  <a:cubicBezTo>
                    <a:pt x="171781" y="589123"/>
                    <a:pt x="180143" y="581522"/>
                    <a:pt x="185970" y="572401"/>
                  </a:cubicBezTo>
                  <a:cubicBezTo>
                    <a:pt x="192051" y="562773"/>
                    <a:pt x="187617" y="553272"/>
                    <a:pt x="187744" y="542504"/>
                  </a:cubicBezTo>
                  <a:cubicBezTo>
                    <a:pt x="187870" y="531229"/>
                    <a:pt x="192304" y="520715"/>
                    <a:pt x="192177" y="509440"/>
                  </a:cubicBezTo>
                  <a:cubicBezTo>
                    <a:pt x="192177" y="498039"/>
                    <a:pt x="195724" y="486131"/>
                    <a:pt x="194078" y="474856"/>
                  </a:cubicBezTo>
                  <a:cubicBezTo>
                    <a:pt x="192304" y="462694"/>
                    <a:pt x="183943" y="452179"/>
                    <a:pt x="176469" y="442805"/>
                  </a:cubicBezTo>
                  <a:cubicBezTo>
                    <a:pt x="170008" y="434824"/>
                    <a:pt x="162027" y="430390"/>
                    <a:pt x="154299" y="424056"/>
                  </a:cubicBezTo>
                  <a:cubicBezTo>
                    <a:pt x="146698" y="417722"/>
                    <a:pt x="142264" y="413161"/>
                    <a:pt x="132130" y="410627"/>
                  </a:cubicBezTo>
                  <a:cubicBezTo>
                    <a:pt x="116421" y="406574"/>
                    <a:pt x="111607" y="399100"/>
                    <a:pt x="110721" y="382378"/>
                  </a:cubicBezTo>
                  <a:cubicBezTo>
                    <a:pt x="109707" y="364008"/>
                    <a:pt x="118448" y="353240"/>
                    <a:pt x="123895" y="336899"/>
                  </a:cubicBezTo>
                  <a:cubicBezTo>
                    <a:pt x="135550" y="302314"/>
                    <a:pt x="88678" y="303201"/>
                    <a:pt x="67268" y="302947"/>
                  </a:cubicBezTo>
                  <a:cubicBezTo>
                    <a:pt x="61188" y="306874"/>
                    <a:pt x="56627" y="312955"/>
                    <a:pt x="49533" y="314602"/>
                  </a:cubicBezTo>
                  <a:cubicBezTo>
                    <a:pt x="40792" y="316756"/>
                    <a:pt x="29517" y="317389"/>
                    <a:pt x="23183" y="310548"/>
                  </a:cubicBezTo>
                  <a:cubicBezTo>
                    <a:pt x="17102" y="303961"/>
                    <a:pt x="18749" y="295473"/>
                    <a:pt x="16469" y="287239"/>
                  </a:cubicBezTo>
                  <a:cubicBezTo>
                    <a:pt x="12922" y="274317"/>
                    <a:pt x="11275" y="260762"/>
                    <a:pt x="6714" y="248094"/>
                  </a:cubicBezTo>
                  <a:cubicBezTo>
                    <a:pt x="4814" y="242773"/>
                    <a:pt x="2787" y="239226"/>
                    <a:pt x="0" y="237199"/>
                  </a:cubicBezTo>
                  <a:cubicBezTo>
                    <a:pt x="8108" y="229472"/>
                    <a:pt x="12922" y="216043"/>
                    <a:pt x="24450" y="214903"/>
                  </a:cubicBezTo>
                  <a:cubicBezTo>
                    <a:pt x="36738" y="213636"/>
                    <a:pt x="46872" y="224404"/>
                    <a:pt x="59668" y="221744"/>
                  </a:cubicBezTo>
                  <a:cubicBezTo>
                    <a:pt x="70562" y="219590"/>
                    <a:pt x="78036" y="211609"/>
                    <a:pt x="89818" y="211863"/>
                  </a:cubicBezTo>
                  <a:cubicBezTo>
                    <a:pt x="99699" y="212116"/>
                    <a:pt x="103880" y="210723"/>
                    <a:pt x="110467" y="203122"/>
                  </a:cubicBezTo>
                  <a:cubicBezTo>
                    <a:pt x="115281" y="197421"/>
                    <a:pt x="122375" y="192734"/>
                    <a:pt x="125542" y="186020"/>
                  </a:cubicBezTo>
                  <a:cubicBezTo>
                    <a:pt x="129596" y="177279"/>
                    <a:pt x="128329" y="167397"/>
                    <a:pt x="131243" y="158529"/>
                  </a:cubicBezTo>
                  <a:cubicBezTo>
                    <a:pt x="132510" y="154855"/>
                    <a:pt x="135044" y="150928"/>
                    <a:pt x="139224" y="150675"/>
                  </a:cubicBezTo>
                  <a:cubicBezTo>
                    <a:pt x="144545" y="150422"/>
                    <a:pt x="147585" y="156376"/>
                    <a:pt x="150119" y="160176"/>
                  </a:cubicBezTo>
                  <a:cubicBezTo>
                    <a:pt x="157593" y="171324"/>
                    <a:pt x="172415" y="170944"/>
                    <a:pt x="182170" y="162710"/>
                  </a:cubicBezTo>
                  <a:cubicBezTo>
                    <a:pt x="188884" y="157009"/>
                    <a:pt x="193951" y="149788"/>
                    <a:pt x="201298" y="144974"/>
                  </a:cubicBezTo>
                  <a:cubicBezTo>
                    <a:pt x="214347" y="136614"/>
                    <a:pt x="234869" y="130406"/>
                    <a:pt x="250451" y="133446"/>
                  </a:cubicBezTo>
                  <a:cubicBezTo>
                    <a:pt x="262740" y="135853"/>
                    <a:pt x="276801" y="140161"/>
                    <a:pt x="288456" y="132686"/>
                  </a:cubicBezTo>
                  <a:cubicBezTo>
                    <a:pt x="295170" y="128379"/>
                    <a:pt x="298464" y="121031"/>
                    <a:pt x="299731" y="113304"/>
                  </a:cubicBezTo>
                  <a:cubicBezTo>
                    <a:pt x="302391" y="96582"/>
                    <a:pt x="300491" y="77453"/>
                    <a:pt x="311892" y="63391"/>
                  </a:cubicBezTo>
                  <a:cubicBezTo>
                    <a:pt x="321647" y="51356"/>
                    <a:pt x="336215" y="49962"/>
                    <a:pt x="350657" y="50342"/>
                  </a:cubicBezTo>
                  <a:cubicBezTo>
                    <a:pt x="362819" y="50723"/>
                    <a:pt x="368899" y="47682"/>
                    <a:pt x="376627" y="38308"/>
                  </a:cubicBezTo>
                  <a:cubicBezTo>
                    <a:pt x="386255" y="26653"/>
                    <a:pt x="394616" y="12845"/>
                    <a:pt x="406778" y="3597"/>
                  </a:cubicBezTo>
                  <a:cubicBezTo>
                    <a:pt x="409818" y="1316"/>
                    <a:pt x="412478" y="176"/>
                    <a:pt x="414885" y="50"/>
                  </a:cubicBezTo>
                  <a:cubicBezTo>
                    <a:pt x="419826" y="-457"/>
                    <a:pt x="424006" y="2963"/>
                    <a:pt x="429200" y="7524"/>
                  </a:cubicBezTo>
                  <a:cubicBezTo>
                    <a:pt x="438448" y="15505"/>
                    <a:pt x="449469" y="20572"/>
                    <a:pt x="458844" y="28047"/>
                  </a:cubicBezTo>
                  <a:cubicBezTo>
                    <a:pt x="466825" y="34507"/>
                    <a:pt x="462771" y="39575"/>
                    <a:pt x="460238" y="47809"/>
                  </a:cubicBezTo>
                  <a:cubicBezTo>
                    <a:pt x="456690" y="58577"/>
                    <a:pt x="462645" y="64151"/>
                    <a:pt x="471892" y="68838"/>
                  </a:cubicBezTo>
                  <a:cubicBezTo>
                    <a:pt x="478480" y="72259"/>
                    <a:pt x="485321" y="75172"/>
                    <a:pt x="487854" y="80620"/>
                  </a:cubicBezTo>
                  <a:cubicBezTo>
                    <a:pt x="489121" y="83407"/>
                    <a:pt x="489375" y="86827"/>
                    <a:pt x="488108" y="91134"/>
                  </a:cubicBezTo>
                  <a:cubicBezTo>
                    <a:pt x="483167" y="107350"/>
                    <a:pt x="470372" y="120778"/>
                    <a:pt x="463405" y="136234"/>
                  </a:cubicBezTo>
                  <a:cubicBezTo>
                    <a:pt x="457957" y="148395"/>
                    <a:pt x="457071" y="160683"/>
                    <a:pt x="455170" y="173731"/>
                  </a:cubicBezTo>
                  <a:cubicBezTo>
                    <a:pt x="453017" y="187413"/>
                    <a:pt x="447569" y="200715"/>
                    <a:pt x="446429" y="214523"/>
                  </a:cubicBezTo>
                  <a:cubicBezTo>
                    <a:pt x="444149" y="242900"/>
                    <a:pt x="482914" y="245180"/>
                    <a:pt x="482534" y="273937"/>
                  </a:cubicBezTo>
                  <a:cubicBezTo>
                    <a:pt x="482280" y="289139"/>
                    <a:pt x="472906" y="301554"/>
                    <a:pt x="465305" y="313969"/>
                  </a:cubicBezTo>
                  <a:cubicBezTo>
                    <a:pt x="458844" y="324484"/>
                    <a:pt x="457831" y="333098"/>
                    <a:pt x="461124" y="345006"/>
                  </a:cubicBezTo>
                  <a:cubicBezTo>
                    <a:pt x="464165" y="356154"/>
                    <a:pt x="467839" y="367049"/>
                    <a:pt x="464165" y="378577"/>
                  </a:cubicBezTo>
                  <a:cubicBezTo>
                    <a:pt x="460491" y="390232"/>
                    <a:pt x="451623" y="399226"/>
                    <a:pt x="449723" y="411134"/>
                  </a:cubicBezTo>
                  <a:cubicBezTo>
                    <a:pt x="447949" y="422409"/>
                    <a:pt x="445162" y="436598"/>
                    <a:pt x="452510" y="446479"/>
                  </a:cubicBezTo>
                  <a:cubicBezTo>
                    <a:pt x="458591" y="454713"/>
                    <a:pt x="466065" y="468395"/>
                    <a:pt x="476580" y="470802"/>
                  </a:cubicBezTo>
                  <a:cubicBezTo>
                    <a:pt x="488108" y="473335"/>
                    <a:pt x="499889" y="472069"/>
                    <a:pt x="510404" y="467001"/>
                  </a:cubicBezTo>
                  <a:cubicBezTo>
                    <a:pt x="521932" y="461554"/>
                    <a:pt x="540934" y="455980"/>
                    <a:pt x="545115" y="473209"/>
                  </a:cubicBezTo>
                  <a:cubicBezTo>
                    <a:pt x="548535" y="486764"/>
                    <a:pt x="541188" y="504753"/>
                    <a:pt x="531813" y="514507"/>
                  </a:cubicBezTo>
                  <a:cubicBezTo>
                    <a:pt x="523959" y="522615"/>
                    <a:pt x="506730" y="525909"/>
                    <a:pt x="501916" y="536170"/>
                  </a:cubicBezTo>
                  <a:cubicBezTo>
                    <a:pt x="496595" y="547445"/>
                    <a:pt x="513951" y="563280"/>
                    <a:pt x="517625" y="573288"/>
                  </a:cubicBezTo>
                  <a:cubicBezTo>
                    <a:pt x="522945" y="588237"/>
                    <a:pt x="512431" y="596091"/>
                    <a:pt x="501156" y="603818"/>
                  </a:cubicBezTo>
                  <a:cubicBezTo>
                    <a:pt x="492668" y="609646"/>
                    <a:pt x="480633" y="615726"/>
                    <a:pt x="476960" y="626115"/>
                  </a:cubicBezTo>
                  <a:cubicBezTo>
                    <a:pt x="473919" y="634982"/>
                    <a:pt x="475313" y="653731"/>
                    <a:pt x="488361" y="652211"/>
                  </a:cubicBezTo>
                  <a:cubicBezTo>
                    <a:pt x="498369" y="651071"/>
                    <a:pt x="515978" y="628015"/>
                    <a:pt x="524212" y="639670"/>
                  </a:cubicBezTo>
                  <a:cubicBezTo>
                    <a:pt x="532827" y="651704"/>
                    <a:pt x="527506" y="673874"/>
                    <a:pt x="545875" y="678181"/>
                  </a:cubicBezTo>
                  <a:cubicBezTo>
                    <a:pt x="552082" y="679575"/>
                    <a:pt x="558543" y="678561"/>
                    <a:pt x="564751" y="680081"/>
                  </a:cubicBezTo>
                  <a:cubicBezTo>
                    <a:pt x="571211" y="681602"/>
                    <a:pt x="576785" y="685402"/>
                    <a:pt x="583120" y="687429"/>
                  </a:cubicBezTo>
                  <a:cubicBezTo>
                    <a:pt x="590341" y="689709"/>
                    <a:pt x="597308" y="689329"/>
                    <a:pt x="604782" y="687936"/>
                  </a:cubicBezTo>
                  <a:cubicBezTo>
                    <a:pt x="610103" y="686922"/>
                    <a:pt x="617577" y="684135"/>
                    <a:pt x="622264" y="688062"/>
                  </a:cubicBezTo>
                  <a:cubicBezTo>
                    <a:pt x="633286" y="697057"/>
                    <a:pt x="621251" y="720113"/>
                    <a:pt x="632652" y="728601"/>
                  </a:cubicBezTo>
                  <a:cubicBezTo>
                    <a:pt x="641267" y="735062"/>
                    <a:pt x="659256" y="718719"/>
                    <a:pt x="665463" y="713525"/>
                  </a:cubicBezTo>
                  <a:cubicBezTo>
                    <a:pt x="675218" y="705164"/>
                    <a:pt x="678258" y="693510"/>
                    <a:pt x="684972" y="683248"/>
                  </a:cubicBezTo>
                  <a:cubicBezTo>
                    <a:pt x="693333" y="670453"/>
                    <a:pt x="701188" y="672860"/>
                    <a:pt x="714363" y="674001"/>
                  </a:cubicBezTo>
                  <a:cubicBezTo>
                    <a:pt x="720697" y="674507"/>
                    <a:pt x="726271" y="673114"/>
                    <a:pt x="732352" y="671340"/>
                  </a:cubicBezTo>
                  <a:cubicBezTo>
                    <a:pt x="736279" y="670200"/>
                    <a:pt x="740586" y="667920"/>
                    <a:pt x="744006" y="671213"/>
                  </a:cubicBezTo>
                  <a:cubicBezTo>
                    <a:pt x="747553" y="674507"/>
                    <a:pt x="747680" y="682235"/>
                    <a:pt x="749834" y="686416"/>
                  </a:cubicBezTo>
                  <a:cubicBezTo>
                    <a:pt x="752747" y="692496"/>
                    <a:pt x="757308" y="695537"/>
                    <a:pt x="764022" y="695283"/>
                  </a:cubicBezTo>
                  <a:cubicBezTo>
                    <a:pt x="778211" y="694777"/>
                    <a:pt x="792399" y="682108"/>
                    <a:pt x="805701" y="692370"/>
                  </a:cubicBezTo>
                  <a:cubicBezTo>
                    <a:pt x="819002" y="702504"/>
                    <a:pt x="829264" y="721380"/>
                    <a:pt x="833698" y="737215"/>
                  </a:cubicBezTo>
                  <a:cubicBezTo>
                    <a:pt x="836485" y="747096"/>
                    <a:pt x="826603" y="747350"/>
                    <a:pt x="821029" y="752797"/>
                  </a:cubicBezTo>
                  <a:cubicBezTo>
                    <a:pt x="809501" y="764072"/>
                    <a:pt x="805827" y="779654"/>
                    <a:pt x="810261" y="794729"/>
                  </a:cubicBezTo>
                  <a:cubicBezTo>
                    <a:pt x="810895" y="796883"/>
                    <a:pt x="811528" y="799163"/>
                    <a:pt x="812288" y="801317"/>
                  </a:cubicBezTo>
                  <a:cubicBezTo>
                    <a:pt x="809755" y="803090"/>
                    <a:pt x="808868" y="807397"/>
                    <a:pt x="809628" y="815125"/>
                  </a:cubicBezTo>
                  <a:cubicBezTo>
                    <a:pt x="811908" y="836408"/>
                    <a:pt x="816976" y="857183"/>
                    <a:pt x="819002" y="878466"/>
                  </a:cubicBezTo>
                  <a:cubicBezTo>
                    <a:pt x="820903" y="898355"/>
                    <a:pt x="823056" y="917231"/>
                    <a:pt x="830784" y="935727"/>
                  </a:cubicBezTo>
                  <a:cubicBezTo>
                    <a:pt x="838385" y="953589"/>
                    <a:pt x="850546" y="969171"/>
                    <a:pt x="857894" y="987033"/>
                  </a:cubicBezTo>
                  <a:cubicBezTo>
                    <a:pt x="868409" y="1012496"/>
                    <a:pt x="840539" y="1040366"/>
                    <a:pt x="816849" y="10445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4" name="Полилиния: фигура 413">
              <a:extLst>
                <a:ext uri="{FF2B5EF4-FFF2-40B4-BE49-F238E27FC236}">
                  <a16:creationId xmlns:a16="http://schemas.microsoft.com/office/drawing/2014/main" id="{1B1CCFDA-EFF2-4F32-8DF9-84880CC8B374}"/>
                </a:ext>
              </a:extLst>
            </p:cNvPr>
            <p:cNvSpPr/>
            <p:nvPr/>
          </p:nvSpPr>
          <p:spPr>
            <a:xfrm>
              <a:off x="1774301" y="2745891"/>
              <a:ext cx="470454" cy="404445"/>
            </a:xfrm>
            <a:custGeom>
              <a:avLst/>
              <a:gdLst>
                <a:gd name="connsiteX0" fmla="*/ 420936 w 470454"/>
                <a:gd name="connsiteY0" fmla="*/ 341409 h 404445"/>
                <a:gd name="connsiteX1" fmla="*/ 350754 w 470454"/>
                <a:gd name="connsiteY1" fmla="*/ 377387 h 404445"/>
                <a:gd name="connsiteX2" fmla="*/ 309202 w 470454"/>
                <a:gd name="connsiteY2" fmla="*/ 393222 h 404445"/>
                <a:gd name="connsiteX3" fmla="*/ 271451 w 470454"/>
                <a:gd name="connsiteY3" fmla="*/ 403610 h 404445"/>
                <a:gd name="connsiteX4" fmla="*/ 199242 w 470454"/>
                <a:gd name="connsiteY4" fmla="*/ 355724 h 404445"/>
                <a:gd name="connsiteX5" fmla="*/ 173019 w 470454"/>
                <a:gd name="connsiteY5" fmla="*/ 335075 h 404445"/>
                <a:gd name="connsiteX6" fmla="*/ 142108 w 470454"/>
                <a:gd name="connsiteY6" fmla="*/ 352177 h 404445"/>
                <a:gd name="connsiteX7" fmla="*/ 111704 w 470454"/>
                <a:gd name="connsiteY7" fmla="*/ 369153 h 404445"/>
                <a:gd name="connsiteX8" fmla="*/ 73826 w 470454"/>
                <a:gd name="connsiteY8" fmla="*/ 367759 h 404445"/>
                <a:gd name="connsiteX9" fmla="*/ 1744 w 470454"/>
                <a:gd name="connsiteY9" fmla="*/ 328361 h 404445"/>
                <a:gd name="connsiteX10" fmla="*/ 6051 w 470454"/>
                <a:gd name="connsiteY10" fmla="*/ 320380 h 404445"/>
                <a:gd name="connsiteX11" fmla="*/ 3517 w 470454"/>
                <a:gd name="connsiteY11" fmla="*/ 277941 h 404445"/>
                <a:gd name="connsiteX12" fmla="*/ 15046 w 470454"/>
                <a:gd name="connsiteY12" fmla="*/ 229929 h 404445"/>
                <a:gd name="connsiteX13" fmla="*/ 27460 w 470454"/>
                <a:gd name="connsiteY13" fmla="*/ 184703 h 404445"/>
                <a:gd name="connsiteX14" fmla="*/ 29614 w 470454"/>
                <a:gd name="connsiteY14" fmla="*/ 134284 h 404445"/>
                <a:gd name="connsiteX15" fmla="*/ 66225 w 470454"/>
                <a:gd name="connsiteY15" fmla="*/ 92478 h 404445"/>
                <a:gd name="connsiteX16" fmla="*/ 85101 w 470454"/>
                <a:gd name="connsiteY16" fmla="*/ 72842 h 404445"/>
                <a:gd name="connsiteX17" fmla="*/ 98909 w 470454"/>
                <a:gd name="connsiteY17" fmla="*/ 52827 h 404445"/>
                <a:gd name="connsiteX18" fmla="*/ 147175 w 470454"/>
                <a:gd name="connsiteY18" fmla="*/ 40158 h 404445"/>
                <a:gd name="connsiteX19" fmla="*/ 157437 w 470454"/>
                <a:gd name="connsiteY19" fmla="*/ 16595 h 404445"/>
                <a:gd name="connsiteX20" fmla="*/ 179733 w 470454"/>
                <a:gd name="connsiteY20" fmla="*/ 3167 h 404445"/>
                <a:gd name="connsiteX21" fmla="*/ 186954 w 470454"/>
                <a:gd name="connsiteY21" fmla="*/ 0 h 404445"/>
                <a:gd name="connsiteX22" fmla="*/ 248268 w 470454"/>
                <a:gd name="connsiteY22" fmla="*/ 32557 h 404445"/>
                <a:gd name="connsiteX23" fmla="*/ 249915 w 470454"/>
                <a:gd name="connsiteY23" fmla="*/ 34078 h 404445"/>
                <a:gd name="connsiteX24" fmla="*/ 251435 w 470454"/>
                <a:gd name="connsiteY24" fmla="*/ 35725 h 404445"/>
                <a:gd name="connsiteX25" fmla="*/ 253969 w 470454"/>
                <a:gd name="connsiteY25" fmla="*/ 39272 h 404445"/>
                <a:gd name="connsiteX26" fmla="*/ 255869 w 470454"/>
                <a:gd name="connsiteY26" fmla="*/ 42819 h 404445"/>
                <a:gd name="connsiteX27" fmla="*/ 257516 w 470454"/>
                <a:gd name="connsiteY27" fmla="*/ 46492 h 404445"/>
                <a:gd name="connsiteX28" fmla="*/ 259669 w 470454"/>
                <a:gd name="connsiteY28" fmla="*/ 51180 h 404445"/>
                <a:gd name="connsiteX29" fmla="*/ 261190 w 470454"/>
                <a:gd name="connsiteY29" fmla="*/ 54220 h 404445"/>
                <a:gd name="connsiteX30" fmla="*/ 281205 w 470454"/>
                <a:gd name="connsiteY30" fmla="*/ 97039 h 404445"/>
                <a:gd name="connsiteX31" fmla="*/ 291340 w 470454"/>
                <a:gd name="connsiteY31" fmla="*/ 130356 h 404445"/>
                <a:gd name="connsiteX32" fmla="*/ 337959 w 470454"/>
                <a:gd name="connsiteY32" fmla="*/ 178242 h 404445"/>
                <a:gd name="connsiteX33" fmla="*/ 425750 w 470454"/>
                <a:gd name="connsiteY33" fmla="*/ 210800 h 404445"/>
                <a:gd name="connsiteX34" fmla="*/ 449440 w 470454"/>
                <a:gd name="connsiteY34" fmla="*/ 250831 h 404445"/>
                <a:gd name="connsiteX35" fmla="*/ 466162 w 470454"/>
                <a:gd name="connsiteY35" fmla="*/ 282122 h 404445"/>
                <a:gd name="connsiteX36" fmla="*/ 466289 w 470454"/>
                <a:gd name="connsiteY36" fmla="*/ 282375 h 404445"/>
                <a:gd name="connsiteX37" fmla="*/ 469582 w 470454"/>
                <a:gd name="connsiteY37" fmla="*/ 293143 h 404445"/>
                <a:gd name="connsiteX38" fmla="*/ 420936 w 470454"/>
                <a:gd name="connsiteY38" fmla="*/ 341409 h 40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0454" h="404445">
                  <a:moveTo>
                    <a:pt x="420936" y="341409"/>
                  </a:moveTo>
                  <a:cubicBezTo>
                    <a:pt x="396360" y="351417"/>
                    <a:pt x="375457" y="367886"/>
                    <a:pt x="350754" y="377387"/>
                  </a:cubicBezTo>
                  <a:cubicBezTo>
                    <a:pt x="337706" y="382455"/>
                    <a:pt x="323517" y="388282"/>
                    <a:pt x="309202" y="393222"/>
                  </a:cubicBezTo>
                  <a:cubicBezTo>
                    <a:pt x="296534" y="397656"/>
                    <a:pt x="283739" y="401457"/>
                    <a:pt x="271451" y="403610"/>
                  </a:cubicBezTo>
                  <a:cubicBezTo>
                    <a:pt x="236993" y="409818"/>
                    <a:pt x="216977" y="380174"/>
                    <a:pt x="199242" y="355724"/>
                  </a:cubicBezTo>
                  <a:cubicBezTo>
                    <a:pt x="192908" y="346983"/>
                    <a:pt x="185180" y="334695"/>
                    <a:pt x="173019" y="335075"/>
                  </a:cubicBezTo>
                  <a:cubicBezTo>
                    <a:pt x="161617" y="335329"/>
                    <a:pt x="150722" y="345843"/>
                    <a:pt x="142108" y="352177"/>
                  </a:cubicBezTo>
                  <a:cubicBezTo>
                    <a:pt x="131847" y="359652"/>
                    <a:pt x="122092" y="365859"/>
                    <a:pt x="111704" y="369153"/>
                  </a:cubicBezTo>
                  <a:cubicBezTo>
                    <a:pt x="100176" y="372827"/>
                    <a:pt x="88015" y="373080"/>
                    <a:pt x="73826" y="367759"/>
                  </a:cubicBezTo>
                  <a:cubicBezTo>
                    <a:pt x="51277" y="359272"/>
                    <a:pt x="22266" y="344703"/>
                    <a:pt x="1744" y="328361"/>
                  </a:cubicBezTo>
                  <a:cubicBezTo>
                    <a:pt x="3011" y="325701"/>
                    <a:pt x="4531" y="323040"/>
                    <a:pt x="6051" y="320380"/>
                  </a:cubicBezTo>
                  <a:cubicBezTo>
                    <a:pt x="17579" y="301124"/>
                    <a:pt x="12765" y="297070"/>
                    <a:pt x="3517" y="277941"/>
                  </a:cubicBezTo>
                  <a:cubicBezTo>
                    <a:pt x="-5857" y="258559"/>
                    <a:pt x="5418" y="246397"/>
                    <a:pt x="15046" y="229929"/>
                  </a:cubicBezTo>
                  <a:cubicBezTo>
                    <a:pt x="23026" y="216247"/>
                    <a:pt x="28220" y="200792"/>
                    <a:pt x="27460" y="184703"/>
                  </a:cubicBezTo>
                  <a:cubicBezTo>
                    <a:pt x="26574" y="165954"/>
                    <a:pt x="18339" y="151512"/>
                    <a:pt x="29614" y="134284"/>
                  </a:cubicBezTo>
                  <a:cubicBezTo>
                    <a:pt x="39495" y="119208"/>
                    <a:pt x="53050" y="104766"/>
                    <a:pt x="66225" y="92478"/>
                  </a:cubicBezTo>
                  <a:cubicBezTo>
                    <a:pt x="72939" y="86144"/>
                    <a:pt x="79654" y="80317"/>
                    <a:pt x="85101" y="72842"/>
                  </a:cubicBezTo>
                  <a:cubicBezTo>
                    <a:pt x="89535" y="66635"/>
                    <a:pt x="92702" y="57387"/>
                    <a:pt x="98909" y="52827"/>
                  </a:cubicBezTo>
                  <a:cubicBezTo>
                    <a:pt x="113224" y="42439"/>
                    <a:pt x="134127" y="55487"/>
                    <a:pt x="147175" y="40158"/>
                  </a:cubicBezTo>
                  <a:cubicBezTo>
                    <a:pt x="152876" y="33444"/>
                    <a:pt x="152749" y="23816"/>
                    <a:pt x="157437" y="16595"/>
                  </a:cubicBezTo>
                  <a:cubicBezTo>
                    <a:pt x="162884" y="8488"/>
                    <a:pt x="170992" y="6334"/>
                    <a:pt x="179733" y="3167"/>
                  </a:cubicBezTo>
                  <a:cubicBezTo>
                    <a:pt x="182520" y="2154"/>
                    <a:pt x="184927" y="1013"/>
                    <a:pt x="186954" y="0"/>
                  </a:cubicBezTo>
                  <a:cubicBezTo>
                    <a:pt x="209376" y="6714"/>
                    <a:pt x="230406" y="17989"/>
                    <a:pt x="248268" y="32557"/>
                  </a:cubicBezTo>
                  <a:cubicBezTo>
                    <a:pt x="248901" y="33064"/>
                    <a:pt x="249408" y="33571"/>
                    <a:pt x="249915" y="34078"/>
                  </a:cubicBezTo>
                  <a:cubicBezTo>
                    <a:pt x="250422" y="34584"/>
                    <a:pt x="250928" y="35218"/>
                    <a:pt x="251435" y="35725"/>
                  </a:cubicBezTo>
                  <a:cubicBezTo>
                    <a:pt x="252449" y="36865"/>
                    <a:pt x="253209" y="38005"/>
                    <a:pt x="253969" y="39272"/>
                  </a:cubicBezTo>
                  <a:cubicBezTo>
                    <a:pt x="254729" y="40412"/>
                    <a:pt x="255362" y="41552"/>
                    <a:pt x="255869" y="42819"/>
                  </a:cubicBezTo>
                  <a:cubicBezTo>
                    <a:pt x="256502" y="44085"/>
                    <a:pt x="257009" y="45226"/>
                    <a:pt x="257516" y="46492"/>
                  </a:cubicBezTo>
                  <a:cubicBezTo>
                    <a:pt x="258149" y="48013"/>
                    <a:pt x="258909" y="49660"/>
                    <a:pt x="259669" y="51180"/>
                  </a:cubicBezTo>
                  <a:cubicBezTo>
                    <a:pt x="260049" y="52193"/>
                    <a:pt x="260556" y="53207"/>
                    <a:pt x="261190" y="54220"/>
                  </a:cubicBezTo>
                  <a:cubicBezTo>
                    <a:pt x="268537" y="67775"/>
                    <a:pt x="277025" y="82217"/>
                    <a:pt x="281205" y="97039"/>
                  </a:cubicBezTo>
                  <a:cubicBezTo>
                    <a:pt x="284372" y="108187"/>
                    <a:pt x="286906" y="119462"/>
                    <a:pt x="291340" y="130356"/>
                  </a:cubicBezTo>
                  <a:cubicBezTo>
                    <a:pt x="300208" y="152272"/>
                    <a:pt x="314396" y="171148"/>
                    <a:pt x="337959" y="178242"/>
                  </a:cubicBezTo>
                  <a:cubicBezTo>
                    <a:pt x="368236" y="187363"/>
                    <a:pt x="404214" y="183563"/>
                    <a:pt x="425750" y="210800"/>
                  </a:cubicBezTo>
                  <a:cubicBezTo>
                    <a:pt x="435251" y="222834"/>
                    <a:pt x="441965" y="237530"/>
                    <a:pt x="449440" y="250831"/>
                  </a:cubicBezTo>
                  <a:cubicBezTo>
                    <a:pt x="455014" y="260839"/>
                    <a:pt x="461728" y="271227"/>
                    <a:pt x="466162" y="282122"/>
                  </a:cubicBezTo>
                  <a:cubicBezTo>
                    <a:pt x="466162" y="282249"/>
                    <a:pt x="466289" y="282375"/>
                    <a:pt x="466289" y="282375"/>
                  </a:cubicBezTo>
                  <a:cubicBezTo>
                    <a:pt x="467682" y="285923"/>
                    <a:pt x="468822" y="289470"/>
                    <a:pt x="469582" y="293143"/>
                  </a:cubicBezTo>
                  <a:cubicBezTo>
                    <a:pt x="476296" y="323420"/>
                    <a:pt x="442726" y="332415"/>
                    <a:pt x="420936" y="34140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5" name="Полилиния: фигура 414">
              <a:extLst>
                <a:ext uri="{FF2B5EF4-FFF2-40B4-BE49-F238E27FC236}">
                  <a16:creationId xmlns:a16="http://schemas.microsoft.com/office/drawing/2014/main" id="{9BCDE79D-0F00-40EF-9ECF-2CF2599A2256}"/>
                </a:ext>
              </a:extLst>
            </p:cNvPr>
            <p:cNvSpPr/>
            <p:nvPr/>
          </p:nvSpPr>
          <p:spPr>
            <a:xfrm>
              <a:off x="1506552" y="3004056"/>
              <a:ext cx="392616" cy="402133"/>
            </a:xfrm>
            <a:custGeom>
              <a:avLst/>
              <a:gdLst>
                <a:gd name="connsiteX0" fmla="*/ 387180 w 392616"/>
                <a:gd name="connsiteY0" fmla="*/ 183704 h 402133"/>
                <a:gd name="connsiteX1" fmla="*/ 363364 w 392616"/>
                <a:gd name="connsiteY1" fmla="*/ 241091 h 402133"/>
                <a:gd name="connsiteX2" fmla="*/ 364631 w 392616"/>
                <a:gd name="connsiteY2" fmla="*/ 283277 h 402133"/>
                <a:gd name="connsiteX3" fmla="*/ 357790 w 392616"/>
                <a:gd name="connsiteY3" fmla="*/ 289864 h 402133"/>
                <a:gd name="connsiteX4" fmla="*/ 312438 w 392616"/>
                <a:gd name="connsiteY4" fmla="*/ 336103 h 402133"/>
                <a:gd name="connsiteX5" fmla="*/ 255050 w 392616"/>
                <a:gd name="connsiteY5" fmla="*/ 322928 h 402133"/>
                <a:gd name="connsiteX6" fmla="*/ 242509 w 392616"/>
                <a:gd name="connsiteY6" fmla="*/ 353332 h 402133"/>
                <a:gd name="connsiteX7" fmla="*/ 199944 w 392616"/>
                <a:gd name="connsiteY7" fmla="*/ 383609 h 402133"/>
                <a:gd name="connsiteX8" fmla="*/ 177267 w 392616"/>
                <a:gd name="connsiteY8" fmla="*/ 392603 h 402133"/>
                <a:gd name="connsiteX9" fmla="*/ 120514 w 392616"/>
                <a:gd name="connsiteY9" fmla="*/ 373474 h 402133"/>
                <a:gd name="connsiteX10" fmla="*/ 107845 w 392616"/>
                <a:gd name="connsiteY10" fmla="*/ 393617 h 402133"/>
                <a:gd name="connsiteX11" fmla="*/ 124061 w 392616"/>
                <a:gd name="connsiteY11" fmla="*/ 348645 h 402133"/>
                <a:gd name="connsiteX12" fmla="*/ 144203 w 392616"/>
                <a:gd name="connsiteY12" fmla="*/ 302026 h 402133"/>
                <a:gd name="connsiteX13" fmla="*/ 113673 w 392616"/>
                <a:gd name="connsiteY13" fmla="*/ 254266 h 402133"/>
                <a:gd name="connsiteX14" fmla="*/ 52232 w 392616"/>
                <a:gd name="connsiteY14" fmla="*/ 184844 h 402133"/>
                <a:gd name="connsiteX15" fmla="*/ 165 w 392616"/>
                <a:gd name="connsiteY15" fmla="*/ 146586 h 402133"/>
                <a:gd name="connsiteX16" fmla="*/ 11947 w 392616"/>
                <a:gd name="connsiteY16" fmla="*/ 99460 h 402133"/>
                <a:gd name="connsiteX17" fmla="*/ 34750 w 392616"/>
                <a:gd name="connsiteY17" fmla="*/ 66776 h 402133"/>
                <a:gd name="connsiteX18" fmla="*/ 74528 w 392616"/>
                <a:gd name="connsiteY18" fmla="*/ 49674 h 402133"/>
                <a:gd name="connsiteX19" fmla="*/ 141923 w 392616"/>
                <a:gd name="connsiteY19" fmla="*/ 7109 h 402133"/>
                <a:gd name="connsiteX20" fmla="*/ 164472 w 392616"/>
                <a:gd name="connsiteY20" fmla="*/ 44733 h 402133"/>
                <a:gd name="connsiteX21" fmla="*/ 175240 w 392616"/>
                <a:gd name="connsiteY21" fmla="*/ 88185 h 402133"/>
                <a:gd name="connsiteX22" fmla="*/ 264045 w 392616"/>
                <a:gd name="connsiteY22" fmla="*/ 84638 h 402133"/>
                <a:gd name="connsiteX23" fmla="*/ 269365 w 392616"/>
                <a:gd name="connsiteY23" fmla="*/ 70450 h 402133"/>
                <a:gd name="connsiteX24" fmla="*/ 341448 w 392616"/>
                <a:gd name="connsiteY24" fmla="*/ 109848 h 402133"/>
                <a:gd name="connsiteX25" fmla="*/ 379326 w 392616"/>
                <a:gd name="connsiteY25" fmla="*/ 111242 h 402133"/>
                <a:gd name="connsiteX26" fmla="*/ 387180 w 392616"/>
                <a:gd name="connsiteY26" fmla="*/ 183704 h 402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616" h="402133">
                  <a:moveTo>
                    <a:pt x="387180" y="183704"/>
                  </a:moveTo>
                  <a:cubicBezTo>
                    <a:pt x="371345" y="202200"/>
                    <a:pt x="351583" y="223229"/>
                    <a:pt x="363364" y="241091"/>
                  </a:cubicBezTo>
                  <a:cubicBezTo>
                    <a:pt x="375272" y="258954"/>
                    <a:pt x="385153" y="266808"/>
                    <a:pt x="364631" y="283277"/>
                  </a:cubicBezTo>
                  <a:cubicBezTo>
                    <a:pt x="362224" y="285177"/>
                    <a:pt x="359944" y="287330"/>
                    <a:pt x="357790" y="289864"/>
                  </a:cubicBezTo>
                  <a:cubicBezTo>
                    <a:pt x="341068" y="308106"/>
                    <a:pt x="329413" y="337877"/>
                    <a:pt x="312438" y="336103"/>
                  </a:cubicBezTo>
                  <a:cubicBezTo>
                    <a:pt x="293308" y="334076"/>
                    <a:pt x="256317" y="301139"/>
                    <a:pt x="255050" y="322928"/>
                  </a:cubicBezTo>
                  <a:cubicBezTo>
                    <a:pt x="253784" y="344717"/>
                    <a:pt x="254417" y="351305"/>
                    <a:pt x="242509" y="353332"/>
                  </a:cubicBezTo>
                  <a:cubicBezTo>
                    <a:pt x="230601" y="355359"/>
                    <a:pt x="210078" y="346618"/>
                    <a:pt x="199944" y="383609"/>
                  </a:cubicBezTo>
                  <a:cubicBezTo>
                    <a:pt x="192089" y="379682"/>
                    <a:pt x="185248" y="384243"/>
                    <a:pt x="177267" y="392603"/>
                  </a:cubicBezTo>
                  <a:cubicBezTo>
                    <a:pt x="146103" y="425034"/>
                    <a:pt x="138756" y="363467"/>
                    <a:pt x="120514" y="373474"/>
                  </a:cubicBezTo>
                  <a:cubicBezTo>
                    <a:pt x="114559" y="376768"/>
                    <a:pt x="112406" y="386776"/>
                    <a:pt x="107845" y="393617"/>
                  </a:cubicBezTo>
                  <a:cubicBezTo>
                    <a:pt x="111139" y="377022"/>
                    <a:pt x="107592" y="363213"/>
                    <a:pt x="124061" y="348645"/>
                  </a:cubicBezTo>
                  <a:cubicBezTo>
                    <a:pt x="140276" y="334456"/>
                    <a:pt x="148637" y="324955"/>
                    <a:pt x="144203" y="302026"/>
                  </a:cubicBezTo>
                  <a:cubicBezTo>
                    <a:pt x="140276" y="281376"/>
                    <a:pt x="125708" y="270228"/>
                    <a:pt x="113673" y="254266"/>
                  </a:cubicBezTo>
                  <a:cubicBezTo>
                    <a:pt x="95304" y="229690"/>
                    <a:pt x="77948" y="202453"/>
                    <a:pt x="52232" y="184844"/>
                  </a:cubicBezTo>
                  <a:cubicBezTo>
                    <a:pt x="33609" y="172176"/>
                    <a:pt x="-2748" y="176610"/>
                    <a:pt x="165" y="146586"/>
                  </a:cubicBezTo>
                  <a:cubicBezTo>
                    <a:pt x="1559" y="131004"/>
                    <a:pt x="5106" y="113522"/>
                    <a:pt x="11947" y="99460"/>
                  </a:cubicBezTo>
                  <a:cubicBezTo>
                    <a:pt x="17394" y="88312"/>
                    <a:pt x="24995" y="74884"/>
                    <a:pt x="34750" y="66776"/>
                  </a:cubicBezTo>
                  <a:cubicBezTo>
                    <a:pt x="46151" y="57148"/>
                    <a:pt x="61733" y="56642"/>
                    <a:pt x="74528" y="49674"/>
                  </a:cubicBezTo>
                  <a:cubicBezTo>
                    <a:pt x="97331" y="37259"/>
                    <a:pt x="107719" y="-19748"/>
                    <a:pt x="141923" y="7109"/>
                  </a:cubicBezTo>
                  <a:cubicBezTo>
                    <a:pt x="153324" y="15976"/>
                    <a:pt x="160545" y="31052"/>
                    <a:pt x="164472" y="44733"/>
                  </a:cubicBezTo>
                  <a:cubicBezTo>
                    <a:pt x="168273" y="57655"/>
                    <a:pt x="166373" y="77418"/>
                    <a:pt x="175240" y="88185"/>
                  </a:cubicBezTo>
                  <a:cubicBezTo>
                    <a:pt x="191582" y="107695"/>
                    <a:pt x="244156" y="91352"/>
                    <a:pt x="264045" y="84638"/>
                  </a:cubicBezTo>
                  <a:cubicBezTo>
                    <a:pt x="265438" y="79571"/>
                    <a:pt x="267212" y="75011"/>
                    <a:pt x="269365" y="70450"/>
                  </a:cubicBezTo>
                  <a:cubicBezTo>
                    <a:pt x="289888" y="86792"/>
                    <a:pt x="318898" y="101360"/>
                    <a:pt x="341448" y="109848"/>
                  </a:cubicBezTo>
                  <a:cubicBezTo>
                    <a:pt x="355636" y="115169"/>
                    <a:pt x="367798" y="115042"/>
                    <a:pt x="379326" y="111242"/>
                  </a:cubicBezTo>
                  <a:cubicBezTo>
                    <a:pt x="379959" y="112255"/>
                    <a:pt x="402762" y="165462"/>
                    <a:pt x="387180" y="18370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6" name="Полилиния: фигура 415">
              <a:extLst>
                <a:ext uri="{FF2B5EF4-FFF2-40B4-BE49-F238E27FC236}">
                  <a16:creationId xmlns:a16="http://schemas.microsoft.com/office/drawing/2014/main" id="{D04DB5B9-0496-4389-BCFF-D4E68F97206B}"/>
                </a:ext>
              </a:extLst>
            </p:cNvPr>
            <p:cNvSpPr/>
            <p:nvPr/>
          </p:nvSpPr>
          <p:spPr>
            <a:xfrm>
              <a:off x="1487632" y="3593904"/>
              <a:ext cx="329689" cy="444148"/>
            </a:xfrm>
            <a:custGeom>
              <a:avLst/>
              <a:gdLst>
                <a:gd name="connsiteX0" fmla="*/ 324644 w 329689"/>
                <a:gd name="connsiteY0" fmla="*/ 223088 h 444148"/>
                <a:gd name="connsiteX1" fmla="*/ 290059 w 329689"/>
                <a:gd name="connsiteY1" fmla="*/ 230562 h 444148"/>
                <a:gd name="connsiteX2" fmla="*/ 301461 w 329689"/>
                <a:gd name="connsiteY2" fmla="*/ 281995 h 444148"/>
                <a:gd name="connsiteX3" fmla="*/ 260416 w 329689"/>
                <a:gd name="connsiteY3" fmla="*/ 314173 h 444148"/>
                <a:gd name="connsiteX4" fmla="*/ 247494 w 329689"/>
                <a:gd name="connsiteY4" fmla="*/ 347237 h 444148"/>
                <a:gd name="connsiteX5" fmla="*/ 215823 w 329689"/>
                <a:gd name="connsiteY5" fmla="*/ 380427 h 444148"/>
                <a:gd name="connsiteX6" fmla="*/ 156536 w 329689"/>
                <a:gd name="connsiteY6" fmla="*/ 444149 h 444148"/>
                <a:gd name="connsiteX7" fmla="*/ 133100 w 329689"/>
                <a:gd name="connsiteY7" fmla="*/ 397150 h 444148"/>
                <a:gd name="connsiteX8" fmla="*/ 111690 w 329689"/>
                <a:gd name="connsiteY8" fmla="*/ 342676 h 444148"/>
                <a:gd name="connsiteX9" fmla="*/ 90661 w 329689"/>
                <a:gd name="connsiteY9" fmla="*/ 286176 h 444148"/>
                <a:gd name="connsiteX10" fmla="*/ 122838 w 329689"/>
                <a:gd name="connsiteY10" fmla="*/ 237023 h 444148"/>
                <a:gd name="connsiteX11" fmla="*/ 82807 w 329689"/>
                <a:gd name="connsiteY11" fmla="*/ 201045 h 444148"/>
                <a:gd name="connsiteX12" fmla="*/ 29093 w 329689"/>
                <a:gd name="connsiteY12" fmla="*/ 173048 h 444148"/>
                <a:gd name="connsiteX13" fmla="*/ 18199 w 329689"/>
                <a:gd name="connsiteY13" fmla="*/ 106413 h 444148"/>
                <a:gd name="connsiteX14" fmla="*/ 843 w 329689"/>
                <a:gd name="connsiteY14" fmla="*/ 41932 h 444148"/>
                <a:gd name="connsiteX15" fmla="*/ 53670 w 329689"/>
                <a:gd name="connsiteY15" fmla="*/ 9121 h 444148"/>
                <a:gd name="connsiteX16" fmla="*/ 64438 w 329689"/>
                <a:gd name="connsiteY16" fmla="*/ 0 h 444148"/>
                <a:gd name="connsiteX17" fmla="*/ 74952 w 329689"/>
                <a:gd name="connsiteY17" fmla="*/ 4434 h 444148"/>
                <a:gd name="connsiteX18" fmla="*/ 185293 w 329689"/>
                <a:gd name="connsiteY18" fmla="*/ 70055 h 444148"/>
                <a:gd name="connsiteX19" fmla="*/ 249774 w 329689"/>
                <a:gd name="connsiteY19" fmla="*/ 94758 h 444148"/>
                <a:gd name="connsiteX20" fmla="*/ 291833 w 329689"/>
                <a:gd name="connsiteY20" fmla="*/ 138337 h 444148"/>
                <a:gd name="connsiteX21" fmla="*/ 320336 w 329689"/>
                <a:gd name="connsiteY21" fmla="*/ 181536 h 444148"/>
                <a:gd name="connsiteX22" fmla="*/ 324644 w 329689"/>
                <a:gd name="connsiteY22" fmla="*/ 223088 h 444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9689" h="444148">
                  <a:moveTo>
                    <a:pt x="324644" y="223088"/>
                  </a:moveTo>
                  <a:cubicBezTo>
                    <a:pt x="311342" y="222581"/>
                    <a:pt x="286005" y="212193"/>
                    <a:pt x="290059" y="230562"/>
                  </a:cubicBezTo>
                  <a:cubicBezTo>
                    <a:pt x="293986" y="248931"/>
                    <a:pt x="318183" y="263753"/>
                    <a:pt x="301461" y="281995"/>
                  </a:cubicBezTo>
                  <a:cubicBezTo>
                    <a:pt x="284612" y="300364"/>
                    <a:pt x="263836" y="293903"/>
                    <a:pt x="260416" y="314173"/>
                  </a:cubicBezTo>
                  <a:cubicBezTo>
                    <a:pt x="256995" y="334442"/>
                    <a:pt x="260922" y="341409"/>
                    <a:pt x="247494" y="347237"/>
                  </a:cubicBezTo>
                  <a:cubicBezTo>
                    <a:pt x="234192" y="353191"/>
                    <a:pt x="226211" y="355724"/>
                    <a:pt x="215823" y="380427"/>
                  </a:cubicBezTo>
                  <a:cubicBezTo>
                    <a:pt x="206069" y="403737"/>
                    <a:pt x="220384" y="418559"/>
                    <a:pt x="156536" y="444149"/>
                  </a:cubicBezTo>
                  <a:cubicBezTo>
                    <a:pt x="148048" y="426920"/>
                    <a:pt x="135507" y="417546"/>
                    <a:pt x="133100" y="397150"/>
                  </a:cubicBezTo>
                  <a:cubicBezTo>
                    <a:pt x="130439" y="373967"/>
                    <a:pt x="131073" y="358131"/>
                    <a:pt x="111690" y="342676"/>
                  </a:cubicBezTo>
                  <a:cubicBezTo>
                    <a:pt x="93575" y="328234"/>
                    <a:pt x="89267" y="309105"/>
                    <a:pt x="90661" y="286176"/>
                  </a:cubicBezTo>
                  <a:cubicBezTo>
                    <a:pt x="91928" y="262993"/>
                    <a:pt x="116378" y="257419"/>
                    <a:pt x="122838" y="237023"/>
                  </a:cubicBezTo>
                  <a:cubicBezTo>
                    <a:pt x="129426" y="216247"/>
                    <a:pt x="98389" y="204846"/>
                    <a:pt x="82807" y="201045"/>
                  </a:cubicBezTo>
                  <a:cubicBezTo>
                    <a:pt x="61271" y="195724"/>
                    <a:pt x="38721" y="197371"/>
                    <a:pt x="29093" y="173048"/>
                  </a:cubicBezTo>
                  <a:cubicBezTo>
                    <a:pt x="20732" y="152146"/>
                    <a:pt x="25926" y="127949"/>
                    <a:pt x="18199" y="106413"/>
                  </a:cubicBezTo>
                  <a:cubicBezTo>
                    <a:pt x="9711" y="82977"/>
                    <a:pt x="-3464" y="69042"/>
                    <a:pt x="843" y="41932"/>
                  </a:cubicBezTo>
                  <a:cubicBezTo>
                    <a:pt x="6417" y="6714"/>
                    <a:pt x="29853" y="21409"/>
                    <a:pt x="53670" y="9121"/>
                  </a:cubicBezTo>
                  <a:cubicBezTo>
                    <a:pt x="58104" y="6841"/>
                    <a:pt x="61651" y="3674"/>
                    <a:pt x="64438" y="0"/>
                  </a:cubicBezTo>
                  <a:cubicBezTo>
                    <a:pt x="68112" y="1394"/>
                    <a:pt x="71532" y="2914"/>
                    <a:pt x="74952" y="4434"/>
                  </a:cubicBezTo>
                  <a:cubicBezTo>
                    <a:pt x="114477" y="22043"/>
                    <a:pt x="147668" y="49533"/>
                    <a:pt x="185293" y="70055"/>
                  </a:cubicBezTo>
                  <a:cubicBezTo>
                    <a:pt x="205942" y="81330"/>
                    <a:pt x="228111" y="86271"/>
                    <a:pt x="249774" y="94758"/>
                  </a:cubicBezTo>
                  <a:cubicBezTo>
                    <a:pt x="271057" y="102993"/>
                    <a:pt x="281952" y="118448"/>
                    <a:pt x="291833" y="138337"/>
                  </a:cubicBezTo>
                  <a:cubicBezTo>
                    <a:pt x="297280" y="149612"/>
                    <a:pt x="305261" y="178116"/>
                    <a:pt x="320336" y="181536"/>
                  </a:cubicBezTo>
                  <a:cubicBezTo>
                    <a:pt x="320463" y="181409"/>
                    <a:pt x="338072" y="223595"/>
                    <a:pt x="324644" y="22308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7" name="Полилиния: фигура 416">
              <a:extLst>
                <a:ext uri="{FF2B5EF4-FFF2-40B4-BE49-F238E27FC236}">
                  <a16:creationId xmlns:a16="http://schemas.microsoft.com/office/drawing/2014/main" id="{8420645B-9D67-4168-BAD1-8396012ED1F9}"/>
                </a:ext>
              </a:extLst>
            </p:cNvPr>
            <p:cNvSpPr/>
            <p:nvPr/>
          </p:nvSpPr>
          <p:spPr>
            <a:xfrm>
              <a:off x="1514685" y="3376063"/>
              <a:ext cx="373712" cy="399635"/>
            </a:xfrm>
            <a:custGeom>
              <a:avLst/>
              <a:gdLst>
                <a:gd name="connsiteX0" fmla="*/ 372460 w 373712"/>
                <a:gd name="connsiteY0" fmla="*/ 344524 h 399635"/>
                <a:gd name="connsiteX1" fmla="*/ 336356 w 373712"/>
                <a:gd name="connsiteY1" fmla="*/ 368467 h 399635"/>
                <a:gd name="connsiteX2" fmla="*/ 296071 w 373712"/>
                <a:gd name="connsiteY2" fmla="*/ 399631 h 399635"/>
                <a:gd name="connsiteX3" fmla="*/ 293410 w 373712"/>
                <a:gd name="connsiteY3" fmla="*/ 399251 h 399635"/>
                <a:gd name="connsiteX4" fmla="*/ 264907 w 373712"/>
                <a:gd name="connsiteY4" fmla="*/ 356052 h 399635"/>
                <a:gd name="connsiteX5" fmla="*/ 222848 w 373712"/>
                <a:gd name="connsiteY5" fmla="*/ 312473 h 399635"/>
                <a:gd name="connsiteX6" fmla="*/ 158367 w 373712"/>
                <a:gd name="connsiteY6" fmla="*/ 287770 h 399635"/>
                <a:gd name="connsiteX7" fmla="*/ 48026 w 373712"/>
                <a:gd name="connsiteY7" fmla="*/ 222148 h 399635"/>
                <a:gd name="connsiteX8" fmla="*/ 37512 w 373712"/>
                <a:gd name="connsiteY8" fmla="*/ 217715 h 399635"/>
                <a:gd name="connsiteX9" fmla="*/ 50687 w 373712"/>
                <a:gd name="connsiteY9" fmla="*/ 170209 h 399635"/>
                <a:gd name="connsiteX10" fmla="*/ 36751 w 373712"/>
                <a:gd name="connsiteY10" fmla="*/ 113582 h 399635"/>
                <a:gd name="connsiteX11" fmla="*/ 19523 w 373712"/>
                <a:gd name="connsiteY11" fmla="*/ 84951 h 399635"/>
                <a:gd name="connsiteX12" fmla="*/ 140 w 373712"/>
                <a:gd name="connsiteY12" fmla="*/ 62655 h 399635"/>
                <a:gd name="connsiteX13" fmla="*/ 50687 w 373712"/>
                <a:gd name="connsiteY13" fmla="*/ 43273 h 399635"/>
                <a:gd name="connsiteX14" fmla="*/ 97052 w 373712"/>
                <a:gd name="connsiteY14" fmla="*/ 31111 h 399635"/>
                <a:gd name="connsiteX15" fmla="*/ 99839 w 373712"/>
                <a:gd name="connsiteY15" fmla="*/ 21230 h 399635"/>
                <a:gd name="connsiteX16" fmla="*/ 99839 w 373712"/>
                <a:gd name="connsiteY16" fmla="*/ 21230 h 399635"/>
                <a:gd name="connsiteX17" fmla="*/ 112508 w 373712"/>
                <a:gd name="connsiteY17" fmla="*/ 1088 h 399635"/>
                <a:gd name="connsiteX18" fmla="*/ 169261 w 373712"/>
                <a:gd name="connsiteY18" fmla="*/ 20217 h 399635"/>
                <a:gd name="connsiteX19" fmla="*/ 191938 w 373712"/>
                <a:gd name="connsiteY19" fmla="*/ 11222 h 399635"/>
                <a:gd name="connsiteX20" fmla="*/ 200172 w 373712"/>
                <a:gd name="connsiteY20" fmla="*/ 18316 h 399635"/>
                <a:gd name="connsiteX21" fmla="*/ 232603 w 373712"/>
                <a:gd name="connsiteY21" fmla="*/ 38712 h 399635"/>
                <a:gd name="connsiteX22" fmla="*/ 244637 w 373712"/>
                <a:gd name="connsiteY22" fmla="*/ 67342 h 399635"/>
                <a:gd name="connsiteX23" fmla="*/ 253379 w 373712"/>
                <a:gd name="connsiteY23" fmla="*/ 96226 h 399635"/>
                <a:gd name="connsiteX24" fmla="*/ 289230 w 373712"/>
                <a:gd name="connsiteY24" fmla="*/ 115228 h 399635"/>
                <a:gd name="connsiteX25" fmla="*/ 290243 w 373712"/>
                <a:gd name="connsiteY25" fmla="*/ 219868 h 399635"/>
                <a:gd name="connsiteX26" fmla="*/ 295564 w 373712"/>
                <a:gd name="connsiteY26" fmla="*/ 272061 h 399635"/>
                <a:gd name="connsiteX27" fmla="*/ 336229 w 373712"/>
                <a:gd name="connsiteY27" fmla="*/ 299298 h 399635"/>
                <a:gd name="connsiteX28" fmla="*/ 350037 w 373712"/>
                <a:gd name="connsiteY28" fmla="*/ 308799 h 399635"/>
                <a:gd name="connsiteX29" fmla="*/ 373347 w 373712"/>
                <a:gd name="connsiteY29" fmla="*/ 335149 h 399635"/>
                <a:gd name="connsiteX30" fmla="*/ 372460 w 373712"/>
                <a:gd name="connsiteY30" fmla="*/ 344524 h 39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3712" h="399635">
                  <a:moveTo>
                    <a:pt x="372460" y="344524"/>
                  </a:moveTo>
                  <a:cubicBezTo>
                    <a:pt x="367393" y="354658"/>
                    <a:pt x="345223" y="361499"/>
                    <a:pt x="336356" y="368467"/>
                  </a:cubicBezTo>
                  <a:cubicBezTo>
                    <a:pt x="326094" y="376701"/>
                    <a:pt x="310639" y="400011"/>
                    <a:pt x="296071" y="399631"/>
                  </a:cubicBezTo>
                  <a:cubicBezTo>
                    <a:pt x="295184" y="399631"/>
                    <a:pt x="294297" y="399504"/>
                    <a:pt x="293410" y="399251"/>
                  </a:cubicBezTo>
                  <a:cubicBezTo>
                    <a:pt x="278335" y="395830"/>
                    <a:pt x="270354" y="367327"/>
                    <a:pt x="264907" y="356052"/>
                  </a:cubicBezTo>
                  <a:cubicBezTo>
                    <a:pt x="255025" y="336163"/>
                    <a:pt x="244131" y="320708"/>
                    <a:pt x="222848" y="312473"/>
                  </a:cubicBezTo>
                  <a:cubicBezTo>
                    <a:pt x="201059" y="304112"/>
                    <a:pt x="179016" y="299045"/>
                    <a:pt x="158367" y="287770"/>
                  </a:cubicBezTo>
                  <a:cubicBezTo>
                    <a:pt x="120615" y="267247"/>
                    <a:pt x="87551" y="239884"/>
                    <a:pt x="48026" y="222148"/>
                  </a:cubicBezTo>
                  <a:cubicBezTo>
                    <a:pt x="44606" y="220628"/>
                    <a:pt x="41059" y="219108"/>
                    <a:pt x="37512" y="217715"/>
                  </a:cubicBezTo>
                  <a:cubicBezTo>
                    <a:pt x="47393" y="204920"/>
                    <a:pt x="49293" y="185411"/>
                    <a:pt x="50687" y="170209"/>
                  </a:cubicBezTo>
                  <a:cubicBezTo>
                    <a:pt x="52587" y="149686"/>
                    <a:pt x="43972" y="132331"/>
                    <a:pt x="36751" y="113582"/>
                  </a:cubicBezTo>
                  <a:cubicBezTo>
                    <a:pt x="32571" y="102687"/>
                    <a:pt x="27757" y="93439"/>
                    <a:pt x="19523" y="84951"/>
                  </a:cubicBezTo>
                  <a:cubicBezTo>
                    <a:pt x="13569" y="78871"/>
                    <a:pt x="1280" y="72156"/>
                    <a:pt x="140" y="62655"/>
                  </a:cubicBezTo>
                  <a:cubicBezTo>
                    <a:pt x="-2647" y="39219"/>
                    <a:pt x="36878" y="41119"/>
                    <a:pt x="50687" y="43273"/>
                  </a:cubicBezTo>
                  <a:cubicBezTo>
                    <a:pt x="67029" y="45806"/>
                    <a:pt x="89451" y="50747"/>
                    <a:pt x="97052" y="31111"/>
                  </a:cubicBezTo>
                  <a:cubicBezTo>
                    <a:pt x="98446" y="27691"/>
                    <a:pt x="99333" y="24397"/>
                    <a:pt x="99839" y="21230"/>
                  </a:cubicBezTo>
                  <a:cubicBezTo>
                    <a:pt x="99839" y="21230"/>
                    <a:pt x="99839" y="21230"/>
                    <a:pt x="99839" y="21230"/>
                  </a:cubicBezTo>
                  <a:cubicBezTo>
                    <a:pt x="104400" y="14389"/>
                    <a:pt x="106554" y="4381"/>
                    <a:pt x="112508" y="1088"/>
                  </a:cubicBezTo>
                  <a:cubicBezTo>
                    <a:pt x="130750" y="-8794"/>
                    <a:pt x="138097" y="52774"/>
                    <a:pt x="169261" y="20217"/>
                  </a:cubicBezTo>
                  <a:cubicBezTo>
                    <a:pt x="177242" y="11856"/>
                    <a:pt x="184210" y="7295"/>
                    <a:pt x="191938" y="11222"/>
                  </a:cubicBezTo>
                  <a:cubicBezTo>
                    <a:pt x="194598" y="12616"/>
                    <a:pt x="197258" y="14769"/>
                    <a:pt x="200172" y="18316"/>
                  </a:cubicBezTo>
                  <a:cubicBezTo>
                    <a:pt x="211700" y="31871"/>
                    <a:pt x="214867" y="35038"/>
                    <a:pt x="232603" y="38712"/>
                  </a:cubicBezTo>
                  <a:cubicBezTo>
                    <a:pt x="248818" y="42133"/>
                    <a:pt x="248438" y="53027"/>
                    <a:pt x="244637" y="67342"/>
                  </a:cubicBezTo>
                  <a:cubicBezTo>
                    <a:pt x="240710" y="81658"/>
                    <a:pt x="240077" y="88245"/>
                    <a:pt x="253379" y="96226"/>
                  </a:cubicBezTo>
                  <a:cubicBezTo>
                    <a:pt x="264907" y="103194"/>
                    <a:pt x="279095" y="106361"/>
                    <a:pt x="289230" y="115228"/>
                  </a:cubicBezTo>
                  <a:cubicBezTo>
                    <a:pt x="318367" y="140692"/>
                    <a:pt x="297464" y="189464"/>
                    <a:pt x="290243" y="219868"/>
                  </a:cubicBezTo>
                  <a:cubicBezTo>
                    <a:pt x="286063" y="237984"/>
                    <a:pt x="281122" y="257366"/>
                    <a:pt x="295564" y="272061"/>
                  </a:cubicBezTo>
                  <a:cubicBezTo>
                    <a:pt x="306712" y="283463"/>
                    <a:pt x="322167" y="290810"/>
                    <a:pt x="336229" y="299298"/>
                  </a:cubicBezTo>
                  <a:cubicBezTo>
                    <a:pt x="341043" y="302212"/>
                    <a:pt x="345730" y="305379"/>
                    <a:pt x="350037" y="308799"/>
                  </a:cubicBezTo>
                  <a:cubicBezTo>
                    <a:pt x="356625" y="313993"/>
                    <a:pt x="370560" y="324508"/>
                    <a:pt x="373347" y="335149"/>
                  </a:cubicBezTo>
                  <a:cubicBezTo>
                    <a:pt x="373980" y="338570"/>
                    <a:pt x="373854" y="341610"/>
                    <a:pt x="372460" y="34452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8" name="Полилиния: фигура 417">
              <a:extLst>
                <a:ext uri="{FF2B5EF4-FFF2-40B4-BE49-F238E27FC236}">
                  <a16:creationId xmlns:a16="http://schemas.microsoft.com/office/drawing/2014/main" id="{8110080B-5B3C-412D-9271-2FC348D1A907}"/>
                </a:ext>
              </a:extLst>
            </p:cNvPr>
            <p:cNvSpPr/>
            <p:nvPr/>
          </p:nvSpPr>
          <p:spPr>
            <a:xfrm>
              <a:off x="1638214" y="3711972"/>
              <a:ext cx="497177" cy="479742"/>
            </a:xfrm>
            <a:custGeom>
              <a:avLst/>
              <a:gdLst>
                <a:gd name="connsiteX0" fmla="*/ 496975 w 497177"/>
                <a:gd name="connsiteY0" fmla="*/ 406778 h 479742"/>
                <a:gd name="connsiteX1" fmla="*/ 493682 w 497177"/>
                <a:gd name="connsiteY1" fmla="*/ 414505 h 479742"/>
                <a:gd name="connsiteX2" fmla="*/ 492161 w 497177"/>
                <a:gd name="connsiteY2" fmla="*/ 442502 h 479742"/>
                <a:gd name="connsiteX3" fmla="*/ 477593 w 497177"/>
                <a:gd name="connsiteY3" fmla="*/ 460491 h 479742"/>
                <a:gd name="connsiteX4" fmla="*/ 465051 w 497177"/>
                <a:gd name="connsiteY4" fmla="*/ 471512 h 479742"/>
                <a:gd name="connsiteX5" fmla="*/ 385115 w 497177"/>
                <a:gd name="connsiteY5" fmla="*/ 446556 h 479742"/>
                <a:gd name="connsiteX6" fmla="*/ 315819 w 497177"/>
                <a:gd name="connsiteY6" fmla="*/ 390689 h 479742"/>
                <a:gd name="connsiteX7" fmla="*/ 270340 w 497177"/>
                <a:gd name="connsiteY7" fmla="*/ 435661 h 479742"/>
                <a:gd name="connsiteX8" fmla="*/ 205226 w 497177"/>
                <a:gd name="connsiteY8" fmla="*/ 454030 h 479742"/>
                <a:gd name="connsiteX9" fmla="*/ 81077 w 497177"/>
                <a:gd name="connsiteY9" fmla="*/ 474426 h 479742"/>
                <a:gd name="connsiteX10" fmla="*/ 38638 w 497177"/>
                <a:gd name="connsiteY10" fmla="*/ 448330 h 479742"/>
                <a:gd name="connsiteX11" fmla="*/ 0 w 497177"/>
                <a:gd name="connsiteY11" fmla="*/ 424640 h 479742"/>
                <a:gd name="connsiteX12" fmla="*/ 9501 w 497177"/>
                <a:gd name="connsiteY12" fmla="*/ 382455 h 479742"/>
                <a:gd name="connsiteX13" fmla="*/ 6081 w 497177"/>
                <a:gd name="connsiteY13" fmla="*/ 326714 h 479742"/>
                <a:gd name="connsiteX14" fmla="*/ 5954 w 497177"/>
                <a:gd name="connsiteY14" fmla="*/ 326334 h 479742"/>
                <a:gd name="connsiteX15" fmla="*/ 65241 w 497177"/>
                <a:gd name="connsiteY15" fmla="*/ 262613 h 479742"/>
                <a:gd name="connsiteX16" fmla="*/ 96912 w 497177"/>
                <a:gd name="connsiteY16" fmla="*/ 229422 h 479742"/>
                <a:gd name="connsiteX17" fmla="*/ 109834 w 497177"/>
                <a:gd name="connsiteY17" fmla="*/ 196358 h 479742"/>
                <a:gd name="connsiteX18" fmla="*/ 150879 w 497177"/>
                <a:gd name="connsiteY18" fmla="*/ 164180 h 479742"/>
                <a:gd name="connsiteX19" fmla="*/ 139477 w 497177"/>
                <a:gd name="connsiteY19" fmla="*/ 112747 h 479742"/>
                <a:gd name="connsiteX20" fmla="*/ 174062 w 497177"/>
                <a:gd name="connsiteY20" fmla="*/ 105273 h 479742"/>
                <a:gd name="connsiteX21" fmla="*/ 169754 w 497177"/>
                <a:gd name="connsiteY21" fmla="*/ 63721 h 479742"/>
                <a:gd name="connsiteX22" fmla="*/ 172415 w 497177"/>
                <a:gd name="connsiteY22" fmla="*/ 64101 h 479742"/>
                <a:gd name="connsiteX23" fmla="*/ 212700 w 497177"/>
                <a:gd name="connsiteY23" fmla="*/ 32938 h 479742"/>
                <a:gd name="connsiteX24" fmla="*/ 248804 w 497177"/>
                <a:gd name="connsiteY24" fmla="*/ 8994 h 479742"/>
                <a:gd name="connsiteX25" fmla="*/ 249691 w 497177"/>
                <a:gd name="connsiteY25" fmla="*/ 0 h 479742"/>
                <a:gd name="connsiteX26" fmla="*/ 295677 w 497177"/>
                <a:gd name="connsiteY26" fmla="*/ 29897 h 479742"/>
                <a:gd name="connsiteX27" fmla="*/ 339256 w 497177"/>
                <a:gd name="connsiteY27" fmla="*/ 103120 h 479742"/>
                <a:gd name="connsiteX28" fmla="*/ 349770 w 497177"/>
                <a:gd name="connsiteY28" fmla="*/ 153286 h 479742"/>
                <a:gd name="connsiteX29" fmla="*/ 404117 w 497177"/>
                <a:gd name="connsiteY29" fmla="*/ 206366 h 479742"/>
                <a:gd name="connsiteX30" fmla="*/ 409184 w 497177"/>
                <a:gd name="connsiteY30" fmla="*/ 224608 h 479742"/>
                <a:gd name="connsiteX31" fmla="*/ 398670 w 497177"/>
                <a:gd name="connsiteY31" fmla="*/ 277435 h 479742"/>
                <a:gd name="connsiteX32" fmla="*/ 496975 w 497177"/>
                <a:gd name="connsiteY32" fmla="*/ 406778 h 47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7177" h="479742">
                  <a:moveTo>
                    <a:pt x="496975" y="406778"/>
                  </a:moveTo>
                  <a:cubicBezTo>
                    <a:pt x="495582" y="409058"/>
                    <a:pt x="494442" y="411592"/>
                    <a:pt x="493682" y="414505"/>
                  </a:cubicBezTo>
                  <a:cubicBezTo>
                    <a:pt x="491275" y="423626"/>
                    <a:pt x="493682" y="433254"/>
                    <a:pt x="492161" y="442502"/>
                  </a:cubicBezTo>
                  <a:cubicBezTo>
                    <a:pt x="490641" y="451243"/>
                    <a:pt x="484687" y="455931"/>
                    <a:pt x="477593" y="460491"/>
                  </a:cubicBezTo>
                  <a:cubicBezTo>
                    <a:pt x="472906" y="463531"/>
                    <a:pt x="467965" y="466825"/>
                    <a:pt x="465051" y="471512"/>
                  </a:cubicBezTo>
                  <a:cubicBezTo>
                    <a:pt x="425273" y="477593"/>
                    <a:pt x="403864" y="452510"/>
                    <a:pt x="385115" y="446556"/>
                  </a:cubicBezTo>
                  <a:cubicBezTo>
                    <a:pt x="366239" y="440602"/>
                    <a:pt x="353444" y="411972"/>
                    <a:pt x="315819" y="390689"/>
                  </a:cubicBezTo>
                  <a:cubicBezTo>
                    <a:pt x="278195" y="369406"/>
                    <a:pt x="282122" y="412985"/>
                    <a:pt x="270340" y="435661"/>
                  </a:cubicBezTo>
                  <a:cubicBezTo>
                    <a:pt x="258432" y="458464"/>
                    <a:pt x="205226" y="454030"/>
                    <a:pt x="205226" y="454030"/>
                  </a:cubicBezTo>
                  <a:cubicBezTo>
                    <a:pt x="164307" y="460364"/>
                    <a:pt x="122755" y="492162"/>
                    <a:pt x="81077" y="474426"/>
                  </a:cubicBezTo>
                  <a:cubicBezTo>
                    <a:pt x="65875" y="467965"/>
                    <a:pt x="52700" y="456817"/>
                    <a:pt x="38638" y="448330"/>
                  </a:cubicBezTo>
                  <a:cubicBezTo>
                    <a:pt x="25717" y="440475"/>
                    <a:pt x="12162" y="433634"/>
                    <a:pt x="0" y="424640"/>
                  </a:cubicBezTo>
                  <a:cubicBezTo>
                    <a:pt x="8994" y="412985"/>
                    <a:pt x="7854" y="400570"/>
                    <a:pt x="9501" y="382455"/>
                  </a:cubicBezTo>
                  <a:cubicBezTo>
                    <a:pt x="11148" y="363959"/>
                    <a:pt x="14568" y="344197"/>
                    <a:pt x="6081" y="326714"/>
                  </a:cubicBezTo>
                  <a:cubicBezTo>
                    <a:pt x="6081" y="326587"/>
                    <a:pt x="5954" y="326461"/>
                    <a:pt x="5954" y="326334"/>
                  </a:cubicBezTo>
                  <a:cubicBezTo>
                    <a:pt x="69802" y="300745"/>
                    <a:pt x="55487" y="285923"/>
                    <a:pt x="65241" y="262613"/>
                  </a:cubicBezTo>
                  <a:cubicBezTo>
                    <a:pt x="75629" y="237910"/>
                    <a:pt x="83610" y="235376"/>
                    <a:pt x="96912" y="229422"/>
                  </a:cubicBezTo>
                  <a:cubicBezTo>
                    <a:pt x="110340" y="223468"/>
                    <a:pt x="106287" y="216627"/>
                    <a:pt x="109834" y="196358"/>
                  </a:cubicBezTo>
                  <a:cubicBezTo>
                    <a:pt x="113254" y="176089"/>
                    <a:pt x="134030" y="182550"/>
                    <a:pt x="150879" y="164180"/>
                  </a:cubicBezTo>
                  <a:cubicBezTo>
                    <a:pt x="167728" y="145938"/>
                    <a:pt x="143531" y="131116"/>
                    <a:pt x="139477" y="112747"/>
                  </a:cubicBezTo>
                  <a:cubicBezTo>
                    <a:pt x="135550" y="94505"/>
                    <a:pt x="160760" y="104893"/>
                    <a:pt x="174062" y="105273"/>
                  </a:cubicBezTo>
                  <a:cubicBezTo>
                    <a:pt x="187490" y="105780"/>
                    <a:pt x="169754" y="63721"/>
                    <a:pt x="169754" y="63721"/>
                  </a:cubicBezTo>
                  <a:cubicBezTo>
                    <a:pt x="170641" y="63975"/>
                    <a:pt x="171528" y="64101"/>
                    <a:pt x="172415" y="64101"/>
                  </a:cubicBezTo>
                  <a:cubicBezTo>
                    <a:pt x="186983" y="64481"/>
                    <a:pt x="202439" y="41172"/>
                    <a:pt x="212700" y="32938"/>
                  </a:cubicBezTo>
                  <a:cubicBezTo>
                    <a:pt x="221568" y="25843"/>
                    <a:pt x="243737" y="19129"/>
                    <a:pt x="248804" y="8994"/>
                  </a:cubicBezTo>
                  <a:cubicBezTo>
                    <a:pt x="250325" y="6081"/>
                    <a:pt x="250451" y="3041"/>
                    <a:pt x="249691" y="0"/>
                  </a:cubicBezTo>
                  <a:cubicBezTo>
                    <a:pt x="250958" y="0"/>
                    <a:pt x="281488" y="1394"/>
                    <a:pt x="295677" y="29897"/>
                  </a:cubicBezTo>
                  <a:cubicBezTo>
                    <a:pt x="310245" y="58907"/>
                    <a:pt x="342549" y="86018"/>
                    <a:pt x="339256" y="103120"/>
                  </a:cubicBezTo>
                  <a:cubicBezTo>
                    <a:pt x="335962" y="120348"/>
                    <a:pt x="336595" y="145938"/>
                    <a:pt x="349770" y="153286"/>
                  </a:cubicBezTo>
                  <a:cubicBezTo>
                    <a:pt x="359018" y="158480"/>
                    <a:pt x="390435" y="186603"/>
                    <a:pt x="404117" y="206366"/>
                  </a:cubicBezTo>
                  <a:cubicBezTo>
                    <a:pt x="409818" y="214600"/>
                    <a:pt x="412478" y="221441"/>
                    <a:pt x="409184" y="224608"/>
                  </a:cubicBezTo>
                  <a:cubicBezTo>
                    <a:pt x="398036" y="235123"/>
                    <a:pt x="378147" y="262233"/>
                    <a:pt x="398670" y="277435"/>
                  </a:cubicBezTo>
                  <a:cubicBezTo>
                    <a:pt x="419192" y="292003"/>
                    <a:pt x="501789" y="371053"/>
                    <a:pt x="496975" y="40677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19" name="Полилиния: фигура 418">
              <a:extLst>
                <a:ext uri="{FF2B5EF4-FFF2-40B4-BE49-F238E27FC236}">
                  <a16:creationId xmlns:a16="http://schemas.microsoft.com/office/drawing/2014/main" id="{92D5102B-4089-4382-B02B-9AF64EE41844}"/>
                </a:ext>
              </a:extLst>
            </p:cNvPr>
            <p:cNvSpPr/>
            <p:nvPr/>
          </p:nvSpPr>
          <p:spPr>
            <a:xfrm>
              <a:off x="812479" y="4237257"/>
              <a:ext cx="479005" cy="661218"/>
            </a:xfrm>
            <a:custGeom>
              <a:avLst/>
              <a:gdLst>
                <a:gd name="connsiteX0" fmla="*/ 436440 w 479005"/>
                <a:gd name="connsiteY0" fmla="*/ 311200 h 661218"/>
                <a:gd name="connsiteX1" fmla="*/ 451262 w 479005"/>
                <a:gd name="connsiteY1" fmla="*/ 255459 h 661218"/>
                <a:gd name="connsiteX2" fmla="*/ 464310 w 479005"/>
                <a:gd name="connsiteY2" fmla="*/ 198579 h 661218"/>
                <a:gd name="connsiteX3" fmla="*/ 428586 w 479005"/>
                <a:gd name="connsiteY3" fmla="*/ 157280 h 661218"/>
                <a:gd name="connsiteX4" fmla="*/ 398942 w 479005"/>
                <a:gd name="connsiteY4" fmla="*/ 119656 h 661218"/>
                <a:gd name="connsiteX5" fmla="*/ 394888 w 479005"/>
                <a:gd name="connsiteY5" fmla="*/ 61635 h 661218"/>
                <a:gd name="connsiteX6" fmla="*/ 390074 w 479005"/>
                <a:gd name="connsiteY6" fmla="*/ 58721 h 661218"/>
                <a:gd name="connsiteX7" fmla="*/ 373225 w 479005"/>
                <a:gd name="connsiteY7" fmla="*/ 64549 h 661218"/>
                <a:gd name="connsiteX8" fmla="*/ 353336 w 479005"/>
                <a:gd name="connsiteY8" fmla="*/ 67336 h 661218"/>
                <a:gd name="connsiteX9" fmla="*/ 345355 w 479005"/>
                <a:gd name="connsiteY9" fmla="*/ 54034 h 661218"/>
                <a:gd name="connsiteX10" fmla="*/ 306337 w 479005"/>
                <a:gd name="connsiteY10" fmla="*/ 3868 h 661218"/>
                <a:gd name="connsiteX11" fmla="*/ 293542 w 479005"/>
                <a:gd name="connsiteY11" fmla="*/ 2221 h 661218"/>
                <a:gd name="connsiteX12" fmla="*/ 292655 w 479005"/>
                <a:gd name="connsiteY12" fmla="*/ 20843 h 661218"/>
                <a:gd name="connsiteX13" fmla="*/ 282901 w 479005"/>
                <a:gd name="connsiteY13" fmla="*/ 36425 h 661218"/>
                <a:gd name="connsiteX14" fmla="*/ 275426 w 479005"/>
                <a:gd name="connsiteY14" fmla="*/ 43646 h 661218"/>
                <a:gd name="connsiteX15" fmla="*/ 270106 w 479005"/>
                <a:gd name="connsiteY15" fmla="*/ 50233 h 661218"/>
                <a:gd name="connsiteX16" fmla="*/ 277073 w 479005"/>
                <a:gd name="connsiteY16" fmla="*/ 62268 h 661218"/>
                <a:gd name="connsiteX17" fmla="*/ 281761 w 479005"/>
                <a:gd name="connsiteY17" fmla="*/ 75950 h 661218"/>
                <a:gd name="connsiteX18" fmla="*/ 276693 w 479005"/>
                <a:gd name="connsiteY18" fmla="*/ 99260 h 661218"/>
                <a:gd name="connsiteX19" fmla="*/ 273019 w 479005"/>
                <a:gd name="connsiteY19" fmla="*/ 135238 h 661218"/>
                <a:gd name="connsiteX20" fmla="*/ 264658 w 479005"/>
                <a:gd name="connsiteY20" fmla="*/ 127383 h 661218"/>
                <a:gd name="connsiteX21" fmla="*/ 261618 w 479005"/>
                <a:gd name="connsiteY21" fmla="*/ 112181 h 661218"/>
                <a:gd name="connsiteX22" fmla="*/ 262505 w 479005"/>
                <a:gd name="connsiteY22" fmla="*/ 104707 h 661218"/>
                <a:gd name="connsiteX23" fmla="*/ 263645 w 479005"/>
                <a:gd name="connsiteY23" fmla="*/ 99513 h 661218"/>
                <a:gd name="connsiteX24" fmla="*/ 255411 w 479005"/>
                <a:gd name="connsiteY24" fmla="*/ 97106 h 661218"/>
                <a:gd name="connsiteX25" fmla="*/ 242996 w 479005"/>
                <a:gd name="connsiteY25" fmla="*/ 104960 h 661218"/>
                <a:gd name="connsiteX26" fmla="*/ 226274 w 479005"/>
                <a:gd name="connsiteY26" fmla="*/ 112815 h 661218"/>
                <a:gd name="connsiteX27" fmla="*/ 213479 w 479005"/>
                <a:gd name="connsiteY27" fmla="*/ 111675 h 661218"/>
                <a:gd name="connsiteX28" fmla="*/ 212085 w 479005"/>
                <a:gd name="connsiteY28" fmla="*/ 100526 h 661218"/>
                <a:gd name="connsiteX29" fmla="*/ 201824 w 479005"/>
                <a:gd name="connsiteY29" fmla="*/ 101160 h 661218"/>
                <a:gd name="connsiteX30" fmla="*/ 191563 w 479005"/>
                <a:gd name="connsiteY30" fmla="*/ 110281 h 661218"/>
                <a:gd name="connsiteX31" fmla="*/ 177374 w 479005"/>
                <a:gd name="connsiteY31" fmla="*/ 107747 h 661218"/>
                <a:gd name="connsiteX32" fmla="*/ 166986 w 479005"/>
                <a:gd name="connsiteY32" fmla="*/ 103060 h 661218"/>
                <a:gd name="connsiteX33" fmla="*/ 156725 w 479005"/>
                <a:gd name="connsiteY33" fmla="*/ 106861 h 661218"/>
                <a:gd name="connsiteX34" fmla="*/ 147604 w 479005"/>
                <a:gd name="connsiteY34" fmla="*/ 114082 h 661218"/>
                <a:gd name="connsiteX35" fmla="*/ 138103 w 479005"/>
                <a:gd name="connsiteY35" fmla="*/ 116109 h 661218"/>
                <a:gd name="connsiteX36" fmla="*/ 122901 w 479005"/>
                <a:gd name="connsiteY36" fmla="*/ 136251 h 661218"/>
                <a:gd name="connsiteX37" fmla="*/ 112513 w 479005"/>
                <a:gd name="connsiteY37" fmla="*/ 134224 h 661218"/>
                <a:gd name="connsiteX38" fmla="*/ 103518 w 479005"/>
                <a:gd name="connsiteY38" fmla="*/ 130044 h 661218"/>
                <a:gd name="connsiteX39" fmla="*/ 96931 w 479005"/>
                <a:gd name="connsiteY39" fmla="*/ 112308 h 661218"/>
                <a:gd name="connsiteX40" fmla="*/ 86923 w 479005"/>
                <a:gd name="connsiteY40" fmla="*/ 107874 h 661218"/>
                <a:gd name="connsiteX41" fmla="*/ 80589 w 479005"/>
                <a:gd name="connsiteY41" fmla="*/ 117629 h 661218"/>
                <a:gd name="connsiteX42" fmla="*/ 76408 w 479005"/>
                <a:gd name="connsiteY42" fmla="*/ 108634 h 661218"/>
                <a:gd name="connsiteX43" fmla="*/ 74761 w 479005"/>
                <a:gd name="connsiteY43" fmla="*/ 96599 h 661218"/>
                <a:gd name="connsiteX44" fmla="*/ 66020 w 479005"/>
                <a:gd name="connsiteY44" fmla="*/ 87732 h 661218"/>
                <a:gd name="connsiteX45" fmla="*/ 58926 w 479005"/>
                <a:gd name="connsiteY45" fmla="*/ 87352 h 661218"/>
                <a:gd name="connsiteX46" fmla="*/ 48538 w 479005"/>
                <a:gd name="connsiteY46" fmla="*/ 82158 h 661218"/>
                <a:gd name="connsiteX47" fmla="*/ 43217 w 479005"/>
                <a:gd name="connsiteY47" fmla="*/ 76204 h 661218"/>
                <a:gd name="connsiteX48" fmla="*/ 51072 w 479005"/>
                <a:gd name="connsiteY48" fmla="*/ 65816 h 661218"/>
                <a:gd name="connsiteX49" fmla="*/ 46511 w 479005"/>
                <a:gd name="connsiteY49" fmla="*/ 37692 h 661218"/>
                <a:gd name="connsiteX50" fmla="*/ 15981 w 479005"/>
                <a:gd name="connsiteY50" fmla="*/ 36425 h 661218"/>
                <a:gd name="connsiteX51" fmla="*/ 3566 w 479005"/>
                <a:gd name="connsiteY51" fmla="*/ 46180 h 661218"/>
                <a:gd name="connsiteX52" fmla="*/ 5213 w 479005"/>
                <a:gd name="connsiteY52" fmla="*/ 77724 h 661218"/>
                <a:gd name="connsiteX53" fmla="*/ 9140 w 479005"/>
                <a:gd name="connsiteY53" fmla="*/ 93559 h 661218"/>
                <a:gd name="connsiteX54" fmla="*/ 14080 w 479005"/>
                <a:gd name="connsiteY54" fmla="*/ 105847 h 661218"/>
                <a:gd name="connsiteX55" fmla="*/ 4959 w 479005"/>
                <a:gd name="connsiteY55" fmla="*/ 134098 h 661218"/>
                <a:gd name="connsiteX56" fmla="*/ 1792 w 479005"/>
                <a:gd name="connsiteY56" fmla="*/ 147272 h 661218"/>
                <a:gd name="connsiteX57" fmla="*/ 7746 w 479005"/>
                <a:gd name="connsiteY57" fmla="*/ 158547 h 661218"/>
                <a:gd name="connsiteX58" fmla="*/ 5719 w 479005"/>
                <a:gd name="connsiteY58" fmla="*/ 171722 h 661218"/>
                <a:gd name="connsiteX59" fmla="*/ 2046 w 479005"/>
                <a:gd name="connsiteY59" fmla="*/ 180970 h 661218"/>
                <a:gd name="connsiteX60" fmla="*/ 19 w 479005"/>
                <a:gd name="connsiteY60" fmla="*/ 192625 h 661218"/>
                <a:gd name="connsiteX61" fmla="*/ 2552 w 479005"/>
                <a:gd name="connsiteY61" fmla="*/ 204659 h 661218"/>
                <a:gd name="connsiteX62" fmla="*/ 3439 w 479005"/>
                <a:gd name="connsiteY62" fmla="*/ 224929 h 661218"/>
                <a:gd name="connsiteX63" fmla="*/ 2046 w 479005"/>
                <a:gd name="connsiteY63" fmla="*/ 242031 h 661218"/>
                <a:gd name="connsiteX64" fmla="*/ 3946 w 479005"/>
                <a:gd name="connsiteY64" fmla="*/ 266354 h 661218"/>
                <a:gd name="connsiteX65" fmla="*/ 7113 w 479005"/>
                <a:gd name="connsiteY65" fmla="*/ 292577 h 661218"/>
                <a:gd name="connsiteX66" fmla="*/ 9900 w 479005"/>
                <a:gd name="connsiteY66" fmla="*/ 313226 h 661218"/>
                <a:gd name="connsiteX67" fmla="*/ 11800 w 479005"/>
                <a:gd name="connsiteY67" fmla="*/ 330582 h 661218"/>
                <a:gd name="connsiteX68" fmla="*/ 17628 w 479005"/>
                <a:gd name="connsiteY68" fmla="*/ 359719 h 661218"/>
                <a:gd name="connsiteX69" fmla="*/ 24722 w 479005"/>
                <a:gd name="connsiteY69" fmla="*/ 415586 h 661218"/>
                <a:gd name="connsiteX70" fmla="*/ 25102 w 479005"/>
                <a:gd name="connsiteY70" fmla="*/ 453084 h 661218"/>
                <a:gd name="connsiteX71" fmla="*/ 21428 w 479005"/>
                <a:gd name="connsiteY71" fmla="*/ 480954 h 661218"/>
                <a:gd name="connsiteX72" fmla="*/ 18514 w 479005"/>
                <a:gd name="connsiteY72" fmla="*/ 494256 h 661218"/>
                <a:gd name="connsiteX73" fmla="*/ 15981 w 479005"/>
                <a:gd name="connsiteY73" fmla="*/ 509458 h 661218"/>
                <a:gd name="connsiteX74" fmla="*/ 16994 w 479005"/>
                <a:gd name="connsiteY74" fmla="*/ 525040 h 661218"/>
                <a:gd name="connsiteX75" fmla="*/ 15347 w 479005"/>
                <a:gd name="connsiteY75" fmla="*/ 531374 h 661218"/>
                <a:gd name="connsiteX76" fmla="*/ 16234 w 479005"/>
                <a:gd name="connsiteY76" fmla="*/ 543409 h 661218"/>
                <a:gd name="connsiteX77" fmla="*/ 21175 w 479005"/>
                <a:gd name="connsiteY77" fmla="*/ 551136 h 661218"/>
                <a:gd name="connsiteX78" fmla="*/ 35996 w 479005"/>
                <a:gd name="connsiteY78" fmla="*/ 573052 h 661218"/>
                <a:gd name="connsiteX79" fmla="*/ 56772 w 479005"/>
                <a:gd name="connsiteY79" fmla="*/ 594588 h 661218"/>
                <a:gd name="connsiteX80" fmla="*/ 76535 w 479005"/>
                <a:gd name="connsiteY80" fmla="*/ 618785 h 661218"/>
                <a:gd name="connsiteX81" fmla="*/ 88443 w 479005"/>
                <a:gd name="connsiteY81" fmla="*/ 639814 h 661218"/>
                <a:gd name="connsiteX82" fmla="*/ 94524 w 479005"/>
                <a:gd name="connsiteY82" fmla="*/ 628793 h 661218"/>
                <a:gd name="connsiteX83" fmla="*/ 114033 w 479005"/>
                <a:gd name="connsiteY83" fmla="*/ 601429 h 661218"/>
                <a:gd name="connsiteX84" fmla="*/ 124041 w 479005"/>
                <a:gd name="connsiteY84" fmla="*/ 590028 h 661218"/>
                <a:gd name="connsiteX85" fmla="*/ 137723 w 479005"/>
                <a:gd name="connsiteY85" fmla="*/ 587621 h 661218"/>
                <a:gd name="connsiteX86" fmla="*/ 168126 w 479005"/>
                <a:gd name="connsiteY86" fmla="*/ 578246 h 661218"/>
                <a:gd name="connsiteX87" fmla="*/ 194476 w 479005"/>
                <a:gd name="connsiteY87" fmla="*/ 573306 h 661218"/>
                <a:gd name="connsiteX88" fmla="*/ 200430 w 479005"/>
                <a:gd name="connsiteY88" fmla="*/ 601176 h 661218"/>
                <a:gd name="connsiteX89" fmla="*/ 202837 w 479005"/>
                <a:gd name="connsiteY89" fmla="*/ 636520 h 661218"/>
                <a:gd name="connsiteX90" fmla="*/ 213985 w 479005"/>
                <a:gd name="connsiteY90" fmla="*/ 656916 h 661218"/>
                <a:gd name="connsiteX91" fmla="*/ 237548 w 479005"/>
                <a:gd name="connsiteY91" fmla="*/ 653749 h 661218"/>
                <a:gd name="connsiteX92" fmla="*/ 266685 w 479005"/>
                <a:gd name="connsiteY92" fmla="*/ 625246 h 661218"/>
                <a:gd name="connsiteX93" fmla="*/ 290755 w 479005"/>
                <a:gd name="connsiteY93" fmla="*/ 602063 h 661218"/>
                <a:gd name="connsiteX94" fmla="*/ 290882 w 479005"/>
                <a:gd name="connsiteY94" fmla="*/ 602063 h 661218"/>
                <a:gd name="connsiteX95" fmla="*/ 302410 w 479005"/>
                <a:gd name="connsiteY95" fmla="*/ 556203 h 661218"/>
                <a:gd name="connsiteX96" fmla="*/ 341935 w 479005"/>
                <a:gd name="connsiteY96" fmla="*/ 549743 h 661218"/>
                <a:gd name="connsiteX97" fmla="*/ 371578 w 479005"/>
                <a:gd name="connsiteY97" fmla="*/ 490835 h 661218"/>
                <a:gd name="connsiteX98" fmla="*/ 371578 w 479005"/>
                <a:gd name="connsiteY98" fmla="*/ 415079 h 661218"/>
                <a:gd name="connsiteX99" fmla="*/ 402236 w 479005"/>
                <a:gd name="connsiteY99" fmla="*/ 400764 h 661218"/>
                <a:gd name="connsiteX100" fmla="*/ 462283 w 479005"/>
                <a:gd name="connsiteY100" fmla="*/ 416093 h 661218"/>
                <a:gd name="connsiteX101" fmla="*/ 458483 w 479005"/>
                <a:gd name="connsiteY101" fmla="*/ 410392 h 661218"/>
                <a:gd name="connsiteX102" fmla="*/ 469377 w 479005"/>
                <a:gd name="connsiteY102" fmla="*/ 386069 h 661218"/>
                <a:gd name="connsiteX103" fmla="*/ 479005 w 479005"/>
                <a:gd name="connsiteY103" fmla="*/ 354905 h 661218"/>
                <a:gd name="connsiteX104" fmla="*/ 436440 w 479005"/>
                <a:gd name="connsiteY104" fmla="*/ 311200 h 661218"/>
                <a:gd name="connsiteX105" fmla="*/ 267192 w 479005"/>
                <a:gd name="connsiteY105" fmla="*/ 466766 h 661218"/>
                <a:gd name="connsiteX106" fmla="*/ 253004 w 479005"/>
                <a:gd name="connsiteY106" fmla="*/ 510851 h 661218"/>
                <a:gd name="connsiteX107" fmla="*/ 213605 w 479005"/>
                <a:gd name="connsiteY107" fmla="*/ 549109 h 661218"/>
                <a:gd name="connsiteX108" fmla="*/ 193590 w 479005"/>
                <a:gd name="connsiteY108" fmla="*/ 544802 h 661218"/>
                <a:gd name="connsiteX109" fmla="*/ 193970 w 479005"/>
                <a:gd name="connsiteY109" fmla="*/ 525673 h 661218"/>
                <a:gd name="connsiteX110" fmla="*/ 202584 w 479005"/>
                <a:gd name="connsiteY110" fmla="*/ 487035 h 661218"/>
                <a:gd name="connsiteX111" fmla="*/ 169140 w 479005"/>
                <a:gd name="connsiteY111" fmla="*/ 517059 h 661218"/>
                <a:gd name="connsiteX112" fmla="*/ 129995 w 479005"/>
                <a:gd name="connsiteY112" fmla="*/ 537708 h 661218"/>
                <a:gd name="connsiteX113" fmla="*/ 94524 w 479005"/>
                <a:gd name="connsiteY113" fmla="*/ 562284 h 661218"/>
                <a:gd name="connsiteX114" fmla="*/ 73875 w 479005"/>
                <a:gd name="connsiteY114" fmla="*/ 544802 h 661218"/>
                <a:gd name="connsiteX115" fmla="*/ 74381 w 479005"/>
                <a:gd name="connsiteY115" fmla="*/ 521873 h 661218"/>
                <a:gd name="connsiteX116" fmla="*/ 71341 w 479005"/>
                <a:gd name="connsiteY116" fmla="*/ 506924 h 661218"/>
                <a:gd name="connsiteX117" fmla="*/ 78688 w 479005"/>
                <a:gd name="connsiteY117" fmla="*/ 478547 h 661218"/>
                <a:gd name="connsiteX118" fmla="*/ 122141 w 479005"/>
                <a:gd name="connsiteY118" fmla="*/ 474747 h 661218"/>
                <a:gd name="connsiteX119" fmla="*/ 157738 w 479005"/>
                <a:gd name="connsiteY119" fmla="*/ 452830 h 661218"/>
                <a:gd name="connsiteX120" fmla="*/ 190042 w 479005"/>
                <a:gd name="connsiteY120" fmla="*/ 415966 h 661218"/>
                <a:gd name="connsiteX121" fmla="*/ 157105 w 479005"/>
                <a:gd name="connsiteY121" fmla="*/ 373781 h 661218"/>
                <a:gd name="connsiteX122" fmla="*/ 131008 w 479005"/>
                <a:gd name="connsiteY122" fmla="*/ 327288 h 661218"/>
                <a:gd name="connsiteX123" fmla="*/ 114793 w 479005"/>
                <a:gd name="connsiteY123" fmla="*/ 292704 h 661218"/>
                <a:gd name="connsiteX124" fmla="*/ 116313 w 479005"/>
                <a:gd name="connsiteY124" fmla="*/ 265594 h 661218"/>
                <a:gd name="connsiteX125" fmla="*/ 125181 w 479005"/>
                <a:gd name="connsiteY125" fmla="*/ 249758 h 661218"/>
                <a:gd name="connsiteX126" fmla="*/ 138609 w 479005"/>
                <a:gd name="connsiteY126" fmla="*/ 263314 h 661218"/>
                <a:gd name="connsiteX127" fmla="*/ 155458 w 479005"/>
                <a:gd name="connsiteY127" fmla="*/ 289410 h 661218"/>
                <a:gd name="connsiteX128" fmla="*/ 182061 w 479005"/>
                <a:gd name="connsiteY128" fmla="*/ 335903 h 661218"/>
                <a:gd name="connsiteX129" fmla="*/ 224880 w 479005"/>
                <a:gd name="connsiteY129" fmla="*/ 362379 h 661218"/>
                <a:gd name="connsiteX130" fmla="*/ 256297 w 479005"/>
                <a:gd name="connsiteY130" fmla="*/ 408492 h 661218"/>
                <a:gd name="connsiteX131" fmla="*/ 267192 w 479005"/>
                <a:gd name="connsiteY131" fmla="*/ 466766 h 66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479005" h="661218">
                  <a:moveTo>
                    <a:pt x="436440" y="311200"/>
                  </a:moveTo>
                  <a:cubicBezTo>
                    <a:pt x="431246" y="291691"/>
                    <a:pt x="443027" y="272181"/>
                    <a:pt x="451262" y="255459"/>
                  </a:cubicBezTo>
                  <a:cubicBezTo>
                    <a:pt x="459749" y="238104"/>
                    <a:pt x="469631" y="218341"/>
                    <a:pt x="464310" y="198579"/>
                  </a:cubicBezTo>
                  <a:cubicBezTo>
                    <a:pt x="459243" y="180083"/>
                    <a:pt x="442901" y="168428"/>
                    <a:pt x="428586" y="157280"/>
                  </a:cubicBezTo>
                  <a:cubicBezTo>
                    <a:pt x="415411" y="146892"/>
                    <a:pt x="402869" y="136758"/>
                    <a:pt x="398942" y="119656"/>
                  </a:cubicBezTo>
                  <a:cubicBezTo>
                    <a:pt x="394635" y="100780"/>
                    <a:pt x="398308" y="80764"/>
                    <a:pt x="394888" y="61635"/>
                  </a:cubicBezTo>
                  <a:cubicBezTo>
                    <a:pt x="393368" y="60368"/>
                    <a:pt x="391721" y="59355"/>
                    <a:pt x="390074" y="58721"/>
                  </a:cubicBezTo>
                  <a:cubicBezTo>
                    <a:pt x="383487" y="56694"/>
                    <a:pt x="378546" y="61888"/>
                    <a:pt x="373225" y="64549"/>
                  </a:cubicBezTo>
                  <a:cubicBezTo>
                    <a:pt x="367271" y="67589"/>
                    <a:pt x="360177" y="71010"/>
                    <a:pt x="353336" y="67336"/>
                  </a:cubicBezTo>
                  <a:cubicBezTo>
                    <a:pt x="348522" y="64802"/>
                    <a:pt x="348269" y="58341"/>
                    <a:pt x="345355" y="54034"/>
                  </a:cubicBezTo>
                  <a:cubicBezTo>
                    <a:pt x="333954" y="36805"/>
                    <a:pt x="323059" y="16156"/>
                    <a:pt x="306337" y="3868"/>
                  </a:cubicBezTo>
                  <a:cubicBezTo>
                    <a:pt x="302790" y="1334"/>
                    <a:pt x="297089" y="-2466"/>
                    <a:pt x="293542" y="2221"/>
                  </a:cubicBezTo>
                  <a:cubicBezTo>
                    <a:pt x="289742" y="7542"/>
                    <a:pt x="292782" y="14889"/>
                    <a:pt x="292655" y="20843"/>
                  </a:cubicBezTo>
                  <a:cubicBezTo>
                    <a:pt x="292402" y="27431"/>
                    <a:pt x="287335" y="32118"/>
                    <a:pt x="282901" y="36425"/>
                  </a:cubicBezTo>
                  <a:cubicBezTo>
                    <a:pt x="280494" y="38832"/>
                    <a:pt x="277960" y="41239"/>
                    <a:pt x="275426" y="43646"/>
                  </a:cubicBezTo>
                  <a:cubicBezTo>
                    <a:pt x="273526" y="45546"/>
                    <a:pt x="271246" y="47700"/>
                    <a:pt x="270106" y="50233"/>
                  </a:cubicBezTo>
                  <a:cubicBezTo>
                    <a:pt x="268079" y="55301"/>
                    <a:pt x="274033" y="59228"/>
                    <a:pt x="277073" y="62268"/>
                  </a:cubicBezTo>
                  <a:cubicBezTo>
                    <a:pt x="281254" y="66449"/>
                    <a:pt x="282647" y="69996"/>
                    <a:pt x="281761" y="75950"/>
                  </a:cubicBezTo>
                  <a:cubicBezTo>
                    <a:pt x="280620" y="83805"/>
                    <a:pt x="278213" y="91532"/>
                    <a:pt x="276693" y="99260"/>
                  </a:cubicBezTo>
                  <a:cubicBezTo>
                    <a:pt x="274286" y="111295"/>
                    <a:pt x="278593" y="123836"/>
                    <a:pt x="273019" y="135238"/>
                  </a:cubicBezTo>
                  <a:cubicBezTo>
                    <a:pt x="268839" y="133718"/>
                    <a:pt x="266179" y="131691"/>
                    <a:pt x="264658" y="127383"/>
                  </a:cubicBezTo>
                  <a:cubicBezTo>
                    <a:pt x="263012" y="122569"/>
                    <a:pt x="261618" y="117122"/>
                    <a:pt x="261618" y="112181"/>
                  </a:cubicBezTo>
                  <a:cubicBezTo>
                    <a:pt x="261491" y="109648"/>
                    <a:pt x="261998" y="107241"/>
                    <a:pt x="262505" y="104707"/>
                  </a:cubicBezTo>
                  <a:cubicBezTo>
                    <a:pt x="262885" y="103187"/>
                    <a:pt x="263898" y="101160"/>
                    <a:pt x="263645" y="99513"/>
                  </a:cubicBezTo>
                  <a:cubicBezTo>
                    <a:pt x="263138" y="96093"/>
                    <a:pt x="257691" y="96599"/>
                    <a:pt x="255411" y="97106"/>
                  </a:cubicBezTo>
                  <a:cubicBezTo>
                    <a:pt x="250470" y="98246"/>
                    <a:pt x="246923" y="102047"/>
                    <a:pt x="242996" y="104960"/>
                  </a:cubicBezTo>
                  <a:cubicBezTo>
                    <a:pt x="238055" y="108634"/>
                    <a:pt x="232354" y="111295"/>
                    <a:pt x="226274" y="112815"/>
                  </a:cubicBezTo>
                  <a:cubicBezTo>
                    <a:pt x="222853" y="113702"/>
                    <a:pt x="216012" y="115475"/>
                    <a:pt x="213479" y="111675"/>
                  </a:cubicBezTo>
                  <a:cubicBezTo>
                    <a:pt x="211325" y="108508"/>
                    <a:pt x="213859" y="103947"/>
                    <a:pt x="212085" y="100526"/>
                  </a:cubicBezTo>
                  <a:cubicBezTo>
                    <a:pt x="209678" y="95713"/>
                    <a:pt x="204231" y="97359"/>
                    <a:pt x="201824" y="101160"/>
                  </a:cubicBezTo>
                  <a:cubicBezTo>
                    <a:pt x="199037" y="105720"/>
                    <a:pt x="196883" y="108634"/>
                    <a:pt x="191563" y="110281"/>
                  </a:cubicBezTo>
                  <a:cubicBezTo>
                    <a:pt x="186115" y="112055"/>
                    <a:pt x="182315" y="110028"/>
                    <a:pt x="177374" y="107747"/>
                  </a:cubicBezTo>
                  <a:cubicBezTo>
                    <a:pt x="173954" y="106227"/>
                    <a:pt x="170660" y="104327"/>
                    <a:pt x="166986" y="103060"/>
                  </a:cubicBezTo>
                  <a:cubicBezTo>
                    <a:pt x="161919" y="101287"/>
                    <a:pt x="159132" y="102680"/>
                    <a:pt x="156725" y="106861"/>
                  </a:cubicBezTo>
                  <a:cubicBezTo>
                    <a:pt x="154825" y="110408"/>
                    <a:pt x="152038" y="114208"/>
                    <a:pt x="147604" y="114082"/>
                  </a:cubicBezTo>
                  <a:cubicBezTo>
                    <a:pt x="143803" y="114082"/>
                    <a:pt x="141396" y="113448"/>
                    <a:pt x="138103" y="116109"/>
                  </a:cubicBezTo>
                  <a:cubicBezTo>
                    <a:pt x="131768" y="121303"/>
                    <a:pt x="130248" y="132704"/>
                    <a:pt x="122901" y="136251"/>
                  </a:cubicBezTo>
                  <a:cubicBezTo>
                    <a:pt x="118593" y="138278"/>
                    <a:pt x="115933" y="136885"/>
                    <a:pt x="112513" y="134224"/>
                  </a:cubicBezTo>
                  <a:cubicBezTo>
                    <a:pt x="109726" y="132071"/>
                    <a:pt x="106052" y="132197"/>
                    <a:pt x="103518" y="130044"/>
                  </a:cubicBezTo>
                  <a:cubicBezTo>
                    <a:pt x="98578" y="125737"/>
                    <a:pt x="100224" y="117629"/>
                    <a:pt x="96931" y="112308"/>
                  </a:cubicBezTo>
                  <a:cubicBezTo>
                    <a:pt x="95411" y="109901"/>
                    <a:pt x="89837" y="106987"/>
                    <a:pt x="86923" y="107874"/>
                  </a:cubicBezTo>
                  <a:cubicBezTo>
                    <a:pt x="82742" y="109141"/>
                    <a:pt x="84009" y="115602"/>
                    <a:pt x="80589" y="117629"/>
                  </a:cubicBezTo>
                  <a:cubicBezTo>
                    <a:pt x="74508" y="121303"/>
                    <a:pt x="75395" y="111675"/>
                    <a:pt x="76408" y="108634"/>
                  </a:cubicBezTo>
                  <a:cubicBezTo>
                    <a:pt x="77928" y="103567"/>
                    <a:pt x="76662" y="101667"/>
                    <a:pt x="74761" y="96599"/>
                  </a:cubicBezTo>
                  <a:cubicBezTo>
                    <a:pt x="73114" y="92039"/>
                    <a:pt x="71341" y="88492"/>
                    <a:pt x="66020" y="87732"/>
                  </a:cubicBezTo>
                  <a:cubicBezTo>
                    <a:pt x="63613" y="87478"/>
                    <a:pt x="61333" y="88112"/>
                    <a:pt x="58926" y="87352"/>
                  </a:cubicBezTo>
                  <a:cubicBezTo>
                    <a:pt x="55379" y="86212"/>
                    <a:pt x="51958" y="83805"/>
                    <a:pt x="48538" y="82158"/>
                  </a:cubicBezTo>
                  <a:cubicBezTo>
                    <a:pt x="45244" y="80638"/>
                    <a:pt x="41951" y="80258"/>
                    <a:pt x="43217" y="76204"/>
                  </a:cubicBezTo>
                  <a:cubicBezTo>
                    <a:pt x="44358" y="72530"/>
                    <a:pt x="48665" y="68729"/>
                    <a:pt x="51072" y="65816"/>
                  </a:cubicBezTo>
                  <a:cubicBezTo>
                    <a:pt x="59433" y="56061"/>
                    <a:pt x="60826" y="42253"/>
                    <a:pt x="46511" y="37692"/>
                  </a:cubicBezTo>
                  <a:cubicBezTo>
                    <a:pt x="37010" y="34652"/>
                    <a:pt x="25608" y="33132"/>
                    <a:pt x="15981" y="36425"/>
                  </a:cubicBezTo>
                  <a:cubicBezTo>
                    <a:pt x="11167" y="38072"/>
                    <a:pt x="6099" y="41619"/>
                    <a:pt x="3566" y="46180"/>
                  </a:cubicBezTo>
                  <a:cubicBezTo>
                    <a:pt x="-1628" y="55554"/>
                    <a:pt x="3946" y="67969"/>
                    <a:pt x="5213" y="77724"/>
                  </a:cubicBezTo>
                  <a:cubicBezTo>
                    <a:pt x="5973" y="83171"/>
                    <a:pt x="6859" y="88492"/>
                    <a:pt x="9140" y="93559"/>
                  </a:cubicBezTo>
                  <a:cubicBezTo>
                    <a:pt x="10913" y="97613"/>
                    <a:pt x="13194" y="101413"/>
                    <a:pt x="14080" y="105847"/>
                  </a:cubicBezTo>
                  <a:cubicBezTo>
                    <a:pt x="16234" y="116109"/>
                    <a:pt x="9900" y="125863"/>
                    <a:pt x="4959" y="134098"/>
                  </a:cubicBezTo>
                  <a:cubicBezTo>
                    <a:pt x="2679" y="137898"/>
                    <a:pt x="1285" y="142712"/>
                    <a:pt x="1792" y="147272"/>
                  </a:cubicBezTo>
                  <a:cubicBezTo>
                    <a:pt x="2426" y="152086"/>
                    <a:pt x="6226" y="154240"/>
                    <a:pt x="7746" y="158547"/>
                  </a:cubicBezTo>
                  <a:cubicBezTo>
                    <a:pt x="9266" y="162601"/>
                    <a:pt x="7493" y="168048"/>
                    <a:pt x="5719" y="171722"/>
                  </a:cubicBezTo>
                  <a:cubicBezTo>
                    <a:pt x="4072" y="175143"/>
                    <a:pt x="2426" y="177043"/>
                    <a:pt x="2046" y="180970"/>
                  </a:cubicBezTo>
                  <a:cubicBezTo>
                    <a:pt x="1792" y="184897"/>
                    <a:pt x="145" y="188824"/>
                    <a:pt x="19" y="192625"/>
                  </a:cubicBezTo>
                  <a:cubicBezTo>
                    <a:pt x="-235" y="196679"/>
                    <a:pt x="2172" y="200606"/>
                    <a:pt x="2552" y="204659"/>
                  </a:cubicBezTo>
                  <a:cubicBezTo>
                    <a:pt x="3312" y="211247"/>
                    <a:pt x="3946" y="218341"/>
                    <a:pt x="3439" y="224929"/>
                  </a:cubicBezTo>
                  <a:cubicBezTo>
                    <a:pt x="3059" y="230630"/>
                    <a:pt x="2679" y="236457"/>
                    <a:pt x="2046" y="242031"/>
                  </a:cubicBezTo>
                  <a:cubicBezTo>
                    <a:pt x="1032" y="250519"/>
                    <a:pt x="1666" y="258246"/>
                    <a:pt x="3946" y="266354"/>
                  </a:cubicBezTo>
                  <a:cubicBezTo>
                    <a:pt x="6353" y="274842"/>
                    <a:pt x="6986" y="283836"/>
                    <a:pt x="7113" y="292577"/>
                  </a:cubicBezTo>
                  <a:cubicBezTo>
                    <a:pt x="7240" y="299291"/>
                    <a:pt x="8886" y="306512"/>
                    <a:pt x="9900" y="313226"/>
                  </a:cubicBezTo>
                  <a:cubicBezTo>
                    <a:pt x="10660" y="319054"/>
                    <a:pt x="10913" y="324755"/>
                    <a:pt x="11800" y="330582"/>
                  </a:cubicBezTo>
                  <a:cubicBezTo>
                    <a:pt x="13320" y="340337"/>
                    <a:pt x="16741" y="349838"/>
                    <a:pt x="17628" y="359719"/>
                  </a:cubicBezTo>
                  <a:cubicBezTo>
                    <a:pt x="19148" y="378595"/>
                    <a:pt x="21301" y="396964"/>
                    <a:pt x="24722" y="415586"/>
                  </a:cubicBezTo>
                  <a:cubicBezTo>
                    <a:pt x="27002" y="427874"/>
                    <a:pt x="25482" y="440669"/>
                    <a:pt x="25102" y="453084"/>
                  </a:cubicBezTo>
                  <a:cubicBezTo>
                    <a:pt x="24848" y="462712"/>
                    <a:pt x="23075" y="471453"/>
                    <a:pt x="21428" y="480954"/>
                  </a:cubicBezTo>
                  <a:cubicBezTo>
                    <a:pt x="20668" y="485515"/>
                    <a:pt x="19274" y="489822"/>
                    <a:pt x="18514" y="494256"/>
                  </a:cubicBezTo>
                  <a:cubicBezTo>
                    <a:pt x="17628" y="499070"/>
                    <a:pt x="16234" y="504644"/>
                    <a:pt x="15981" y="509458"/>
                  </a:cubicBezTo>
                  <a:cubicBezTo>
                    <a:pt x="15727" y="514652"/>
                    <a:pt x="17754" y="519719"/>
                    <a:pt x="16994" y="525040"/>
                  </a:cubicBezTo>
                  <a:cubicBezTo>
                    <a:pt x="16741" y="527193"/>
                    <a:pt x="15727" y="529220"/>
                    <a:pt x="15347" y="531374"/>
                  </a:cubicBezTo>
                  <a:cubicBezTo>
                    <a:pt x="14840" y="534921"/>
                    <a:pt x="15347" y="539988"/>
                    <a:pt x="16234" y="543409"/>
                  </a:cubicBezTo>
                  <a:cubicBezTo>
                    <a:pt x="16994" y="546449"/>
                    <a:pt x="19401" y="548603"/>
                    <a:pt x="21175" y="551136"/>
                  </a:cubicBezTo>
                  <a:cubicBezTo>
                    <a:pt x="26369" y="558357"/>
                    <a:pt x="31183" y="565578"/>
                    <a:pt x="35996" y="573052"/>
                  </a:cubicBezTo>
                  <a:cubicBezTo>
                    <a:pt x="41570" y="581414"/>
                    <a:pt x="49298" y="588128"/>
                    <a:pt x="56772" y="594588"/>
                  </a:cubicBezTo>
                  <a:cubicBezTo>
                    <a:pt x="64753" y="601429"/>
                    <a:pt x="71214" y="609790"/>
                    <a:pt x="76535" y="618785"/>
                  </a:cubicBezTo>
                  <a:cubicBezTo>
                    <a:pt x="80462" y="625499"/>
                    <a:pt x="85023" y="632593"/>
                    <a:pt x="88443" y="639814"/>
                  </a:cubicBezTo>
                  <a:cubicBezTo>
                    <a:pt x="91483" y="634240"/>
                    <a:pt x="94270" y="629299"/>
                    <a:pt x="94524" y="628793"/>
                  </a:cubicBezTo>
                  <a:cubicBezTo>
                    <a:pt x="99971" y="619038"/>
                    <a:pt x="107699" y="610677"/>
                    <a:pt x="114033" y="601429"/>
                  </a:cubicBezTo>
                  <a:cubicBezTo>
                    <a:pt x="116820" y="597375"/>
                    <a:pt x="119734" y="592688"/>
                    <a:pt x="124041" y="590028"/>
                  </a:cubicBezTo>
                  <a:cubicBezTo>
                    <a:pt x="128095" y="587494"/>
                    <a:pt x="133035" y="587621"/>
                    <a:pt x="137723" y="587621"/>
                  </a:cubicBezTo>
                  <a:cubicBezTo>
                    <a:pt x="149757" y="587621"/>
                    <a:pt x="158245" y="585214"/>
                    <a:pt x="168126" y="578246"/>
                  </a:cubicBezTo>
                  <a:cubicBezTo>
                    <a:pt x="175347" y="573179"/>
                    <a:pt x="185989" y="566845"/>
                    <a:pt x="194476" y="573306"/>
                  </a:cubicBezTo>
                  <a:cubicBezTo>
                    <a:pt x="202457" y="579387"/>
                    <a:pt x="200557" y="592562"/>
                    <a:pt x="200430" y="601176"/>
                  </a:cubicBezTo>
                  <a:cubicBezTo>
                    <a:pt x="200177" y="612704"/>
                    <a:pt x="199290" y="625372"/>
                    <a:pt x="202837" y="636520"/>
                  </a:cubicBezTo>
                  <a:cubicBezTo>
                    <a:pt x="205118" y="643615"/>
                    <a:pt x="210058" y="650709"/>
                    <a:pt x="213985" y="656916"/>
                  </a:cubicBezTo>
                  <a:cubicBezTo>
                    <a:pt x="220066" y="666291"/>
                    <a:pt x="230581" y="658056"/>
                    <a:pt x="237548" y="653749"/>
                  </a:cubicBezTo>
                  <a:cubicBezTo>
                    <a:pt x="248823" y="646908"/>
                    <a:pt x="261238" y="637281"/>
                    <a:pt x="266685" y="625246"/>
                  </a:cubicBezTo>
                  <a:cubicBezTo>
                    <a:pt x="270992" y="615871"/>
                    <a:pt x="278720" y="601936"/>
                    <a:pt x="290755" y="602063"/>
                  </a:cubicBezTo>
                  <a:lnTo>
                    <a:pt x="290882" y="602063"/>
                  </a:lnTo>
                  <a:cubicBezTo>
                    <a:pt x="291388" y="582047"/>
                    <a:pt x="293669" y="541002"/>
                    <a:pt x="302410" y="556203"/>
                  </a:cubicBezTo>
                  <a:cubicBezTo>
                    <a:pt x="313811" y="575966"/>
                    <a:pt x="339021" y="570139"/>
                    <a:pt x="341935" y="549743"/>
                  </a:cubicBezTo>
                  <a:cubicBezTo>
                    <a:pt x="344848" y="529474"/>
                    <a:pt x="373099" y="513638"/>
                    <a:pt x="371578" y="490835"/>
                  </a:cubicBezTo>
                  <a:cubicBezTo>
                    <a:pt x="370058" y="468033"/>
                    <a:pt x="349916" y="430408"/>
                    <a:pt x="371578" y="415079"/>
                  </a:cubicBezTo>
                  <a:cubicBezTo>
                    <a:pt x="393368" y="399751"/>
                    <a:pt x="389821" y="389363"/>
                    <a:pt x="402236" y="400764"/>
                  </a:cubicBezTo>
                  <a:cubicBezTo>
                    <a:pt x="414017" y="411532"/>
                    <a:pt x="425672" y="454857"/>
                    <a:pt x="462283" y="416093"/>
                  </a:cubicBezTo>
                  <a:cubicBezTo>
                    <a:pt x="460890" y="414192"/>
                    <a:pt x="459623" y="412292"/>
                    <a:pt x="458483" y="410392"/>
                  </a:cubicBezTo>
                  <a:cubicBezTo>
                    <a:pt x="448728" y="394937"/>
                    <a:pt x="461650" y="397090"/>
                    <a:pt x="469377" y="386069"/>
                  </a:cubicBezTo>
                  <a:cubicBezTo>
                    <a:pt x="474825" y="378341"/>
                    <a:pt x="477738" y="364153"/>
                    <a:pt x="479005" y="354905"/>
                  </a:cubicBezTo>
                  <a:cubicBezTo>
                    <a:pt x="463043" y="344010"/>
                    <a:pt x="441887" y="331342"/>
                    <a:pt x="436440" y="311200"/>
                  </a:cubicBezTo>
                  <a:close/>
                  <a:moveTo>
                    <a:pt x="267192" y="466766"/>
                  </a:moveTo>
                  <a:cubicBezTo>
                    <a:pt x="265545" y="481714"/>
                    <a:pt x="258578" y="497169"/>
                    <a:pt x="253004" y="510851"/>
                  </a:cubicBezTo>
                  <a:cubicBezTo>
                    <a:pt x="245783" y="528460"/>
                    <a:pt x="233368" y="545182"/>
                    <a:pt x="213605" y="549109"/>
                  </a:cubicBezTo>
                  <a:cubicBezTo>
                    <a:pt x="207145" y="550376"/>
                    <a:pt x="198150" y="550503"/>
                    <a:pt x="193590" y="544802"/>
                  </a:cubicBezTo>
                  <a:cubicBezTo>
                    <a:pt x="189156" y="539228"/>
                    <a:pt x="191689" y="531501"/>
                    <a:pt x="193970" y="525673"/>
                  </a:cubicBezTo>
                  <a:cubicBezTo>
                    <a:pt x="196250" y="519592"/>
                    <a:pt x="213225" y="491976"/>
                    <a:pt x="202584" y="487035"/>
                  </a:cubicBezTo>
                  <a:cubicBezTo>
                    <a:pt x="191563" y="482094"/>
                    <a:pt x="174587" y="510978"/>
                    <a:pt x="169140" y="517059"/>
                  </a:cubicBezTo>
                  <a:cubicBezTo>
                    <a:pt x="157992" y="529727"/>
                    <a:pt x="144057" y="530360"/>
                    <a:pt x="129995" y="537708"/>
                  </a:cubicBezTo>
                  <a:cubicBezTo>
                    <a:pt x="117580" y="544169"/>
                    <a:pt x="108079" y="558357"/>
                    <a:pt x="94524" y="562284"/>
                  </a:cubicBezTo>
                  <a:cubicBezTo>
                    <a:pt x="82996" y="565578"/>
                    <a:pt x="75395" y="555063"/>
                    <a:pt x="73875" y="544802"/>
                  </a:cubicBezTo>
                  <a:cubicBezTo>
                    <a:pt x="72734" y="537075"/>
                    <a:pt x="75141" y="529474"/>
                    <a:pt x="74381" y="521873"/>
                  </a:cubicBezTo>
                  <a:cubicBezTo>
                    <a:pt x="73875" y="516932"/>
                    <a:pt x="71974" y="511991"/>
                    <a:pt x="71341" y="506924"/>
                  </a:cubicBezTo>
                  <a:cubicBezTo>
                    <a:pt x="70074" y="497296"/>
                    <a:pt x="69441" y="484501"/>
                    <a:pt x="78688" y="478547"/>
                  </a:cubicBezTo>
                  <a:cubicBezTo>
                    <a:pt x="90597" y="470820"/>
                    <a:pt x="108712" y="478167"/>
                    <a:pt x="122141" y="474747"/>
                  </a:cubicBezTo>
                  <a:cubicBezTo>
                    <a:pt x="135949" y="471326"/>
                    <a:pt x="145957" y="459925"/>
                    <a:pt x="157738" y="452830"/>
                  </a:cubicBezTo>
                  <a:cubicBezTo>
                    <a:pt x="172180" y="444090"/>
                    <a:pt x="188269" y="434715"/>
                    <a:pt x="190042" y="415966"/>
                  </a:cubicBezTo>
                  <a:cubicBezTo>
                    <a:pt x="192196" y="394050"/>
                    <a:pt x="172180" y="384422"/>
                    <a:pt x="157105" y="373781"/>
                  </a:cubicBezTo>
                  <a:cubicBezTo>
                    <a:pt x="140510" y="361999"/>
                    <a:pt x="137089" y="345404"/>
                    <a:pt x="131008" y="327288"/>
                  </a:cubicBezTo>
                  <a:cubicBezTo>
                    <a:pt x="126954" y="315000"/>
                    <a:pt x="116820" y="305625"/>
                    <a:pt x="114793" y="292704"/>
                  </a:cubicBezTo>
                  <a:cubicBezTo>
                    <a:pt x="113399" y="283710"/>
                    <a:pt x="114413" y="274335"/>
                    <a:pt x="116313" y="265594"/>
                  </a:cubicBezTo>
                  <a:cubicBezTo>
                    <a:pt x="117327" y="261287"/>
                    <a:pt x="119227" y="250392"/>
                    <a:pt x="125181" y="249758"/>
                  </a:cubicBezTo>
                  <a:cubicBezTo>
                    <a:pt x="131008" y="249252"/>
                    <a:pt x="136202" y="259513"/>
                    <a:pt x="138609" y="263314"/>
                  </a:cubicBezTo>
                  <a:cubicBezTo>
                    <a:pt x="144310" y="271928"/>
                    <a:pt x="149757" y="280796"/>
                    <a:pt x="155458" y="289410"/>
                  </a:cubicBezTo>
                  <a:cubicBezTo>
                    <a:pt x="165339" y="304359"/>
                    <a:pt x="172434" y="320828"/>
                    <a:pt x="182061" y="335903"/>
                  </a:cubicBezTo>
                  <a:cubicBezTo>
                    <a:pt x="192576" y="352371"/>
                    <a:pt x="207778" y="355665"/>
                    <a:pt x="224880" y="362379"/>
                  </a:cubicBezTo>
                  <a:cubicBezTo>
                    <a:pt x="244516" y="370107"/>
                    <a:pt x="250723" y="389743"/>
                    <a:pt x="256297" y="408492"/>
                  </a:cubicBezTo>
                  <a:cubicBezTo>
                    <a:pt x="261618" y="426734"/>
                    <a:pt x="269219" y="447510"/>
                    <a:pt x="267192" y="46676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0" name="Полилиния: фигура 419">
              <a:extLst>
                <a:ext uri="{FF2B5EF4-FFF2-40B4-BE49-F238E27FC236}">
                  <a16:creationId xmlns:a16="http://schemas.microsoft.com/office/drawing/2014/main" id="{80DA29C9-73F9-44A4-B08A-668B34DF4CDD}"/>
                </a:ext>
              </a:extLst>
            </p:cNvPr>
            <p:cNvSpPr/>
            <p:nvPr/>
          </p:nvSpPr>
          <p:spPr>
            <a:xfrm>
              <a:off x="1095216" y="4633314"/>
              <a:ext cx="444418" cy="653955"/>
            </a:xfrm>
            <a:custGeom>
              <a:avLst/>
              <a:gdLst>
                <a:gd name="connsiteX0" fmla="*/ 421636 w 444418"/>
                <a:gd name="connsiteY0" fmla="*/ 554890 h 653955"/>
                <a:gd name="connsiteX1" fmla="*/ 382491 w 444418"/>
                <a:gd name="connsiteY1" fmla="*/ 554383 h 653955"/>
                <a:gd name="connsiteX2" fmla="*/ 330298 w 444418"/>
                <a:gd name="connsiteY2" fmla="*/ 550582 h 653955"/>
                <a:gd name="connsiteX3" fmla="*/ 336506 w 444418"/>
                <a:gd name="connsiteY3" fmla="*/ 585167 h 653955"/>
                <a:gd name="connsiteX4" fmla="*/ 301288 w 444418"/>
                <a:gd name="connsiteY4" fmla="*/ 596568 h 653955"/>
                <a:gd name="connsiteX5" fmla="*/ 255176 w 444418"/>
                <a:gd name="connsiteY5" fmla="*/ 586307 h 653955"/>
                <a:gd name="connsiteX6" fmla="*/ 279245 w 444418"/>
                <a:gd name="connsiteY6" fmla="*/ 620511 h 653955"/>
                <a:gd name="connsiteX7" fmla="*/ 271138 w 444418"/>
                <a:gd name="connsiteY7" fmla="*/ 651422 h 653955"/>
                <a:gd name="connsiteX8" fmla="*/ 272658 w 444418"/>
                <a:gd name="connsiteY8" fmla="*/ 653955 h 653955"/>
                <a:gd name="connsiteX9" fmla="*/ 227686 w 444418"/>
                <a:gd name="connsiteY9" fmla="*/ 628492 h 653955"/>
                <a:gd name="connsiteX10" fmla="*/ 227686 w 444418"/>
                <a:gd name="connsiteY10" fmla="*/ 628492 h 653955"/>
                <a:gd name="connsiteX11" fmla="*/ 230346 w 444418"/>
                <a:gd name="connsiteY11" fmla="*/ 616331 h 653955"/>
                <a:gd name="connsiteX12" fmla="*/ 212990 w 444418"/>
                <a:gd name="connsiteY12" fmla="*/ 606703 h 653955"/>
                <a:gd name="connsiteX13" fmla="*/ 192721 w 444418"/>
                <a:gd name="connsiteY13" fmla="*/ 591881 h 653955"/>
                <a:gd name="connsiteX14" fmla="*/ 171945 w 444418"/>
                <a:gd name="connsiteY14" fmla="*/ 549189 h 653955"/>
                <a:gd name="connsiteX15" fmla="*/ 164091 w 444418"/>
                <a:gd name="connsiteY15" fmla="*/ 530567 h 653955"/>
                <a:gd name="connsiteX16" fmla="*/ 108984 w 444418"/>
                <a:gd name="connsiteY16" fmla="*/ 505610 h 653955"/>
                <a:gd name="connsiteX17" fmla="*/ 57931 w 444418"/>
                <a:gd name="connsiteY17" fmla="*/ 468999 h 653955"/>
                <a:gd name="connsiteX18" fmla="*/ 57931 w 444418"/>
                <a:gd name="connsiteY18" fmla="*/ 411232 h 653955"/>
                <a:gd name="connsiteX19" fmla="*/ 12959 w 444418"/>
                <a:gd name="connsiteY19" fmla="*/ 410598 h 653955"/>
                <a:gd name="connsiteX20" fmla="*/ 37 w 444418"/>
                <a:gd name="connsiteY20" fmla="*/ 404897 h 653955"/>
                <a:gd name="connsiteX21" fmla="*/ 10425 w 444418"/>
                <a:gd name="connsiteY21" fmla="*/ 398183 h 653955"/>
                <a:gd name="connsiteX22" fmla="*/ 20560 w 444418"/>
                <a:gd name="connsiteY22" fmla="*/ 365626 h 653955"/>
                <a:gd name="connsiteX23" fmla="*/ 57551 w 444418"/>
                <a:gd name="connsiteY23" fmla="*/ 308365 h 653955"/>
                <a:gd name="connsiteX24" fmla="*/ 42856 w 444418"/>
                <a:gd name="connsiteY24" fmla="*/ 295317 h 653955"/>
                <a:gd name="connsiteX25" fmla="*/ 28414 w 444418"/>
                <a:gd name="connsiteY25" fmla="*/ 277835 h 653955"/>
                <a:gd name="connsiteX26" fmla="*/ 14479 w 444418"/>
                <a:gd name="connsiteY26" fmla="*/ 243504 h 653955"/>
                <a:gd name="connsiteX27" fmla="*/ 8271 w 444418"/>
                <a:gd name="connsiteY27" fmla="*/ 206133 h 653955"/>
                <a:gd name="connsiteX28" fmla="*/ 19799 w 444418"/>
                <a:gd name="connsiteY28" fmla="*/ 160274 h 653955"/>
                <a:gd name="connsiteX29" fmla="*/ 59324 w 444418"/>
                <a:gd name="connsiteY29" fmla="*/ 153813 h 653955"/>
                <a:gd name="connsiteX30" fmla="*/ 88968 w 444418"/>
                <a:gd name="connsiteY30" fmla="*/ 94905 h 653955"/>
                <a:gd name="connsiteX31" fmla="*/ 88968 w 444418"/>
                <a:gd name="connsiteY31" fmla="*/ 19150 h 653955"/>
                <a:gd name="connsiteX32" fmla="*/ 119625 w 444418"/>
                <a:gd name="connsiteY32" fmla="*/ 4834 h 653955"/>
                <a:gd name="connsiteX33" fmla="*/ 179673 w 444418"/>
                <a:gd name="connsiteY33" fmla="*/ 20163 h 653955"/>
                <a:gd name="connsiteX34" fmla="*/ 199055 w 444418"/>
                <a:gd name="connsiteY34" fmla="*/ 40052 h 653955"/>
                <a:gd name="connsiteX35" fmla="*/ 219451 w 444418"/>
                <a:gd name="connsiteY35" fmla="*/ 58674 h 653955"/>
                <a:gd name="connsiteX36" fmla="*/ 220338 w 444418"/>
                <a:gd name="connsiteY36" fmla="*/ 62728 h 653955"/>
                <a:gd name="connsiteX37" fmla="*/ 222872 w 444418"/>
                <a:gd name="connsiteY37" fmla="*/ 92498 h 653955"/>
                <a:gd name="connsiteX38" fmla="*/ 275698 w 444418"/>
                <a:gd name="connsiteY38" fmla="*/ 108207 h 653955"/>
                <a:gd name="connsiteX39" fmla="*/ 264677 w 444418"/>
                <a:gd name="connsiteY39" fmla="*/ 134557 h 653955"/>
                <a:gd name="connsiteX40" fmla="*/ 282032 w 444418"/>
                <a:gd name="connsiteY40" fmla="*/ 143805 h 653955"/>
                <a:gd name="connsiteX41" fmla="*/ 311169 w 444418"/>
                <a:gd name="connsiteY41" fmla="*/ 146718 h 653955"/>
                <a:gd name="connsiteX42" fmla="*/ 316870 w 444418"/>
                <a:gd name="connsiteY42" fmla="*/ 146972 h 653955"/>
                <a:gd name="connsiteX43" fmla="*/ 335746 w 444418"/>
                <a:gd name="connsiteY43" fmla="*/ 153306 h 653955"/>
                <a:gd name="connsiteX44" fmla="*/ 352721 w 444418"/>
                <a:gd name="connsiteY44" fmla="*/ 166735 h 653955"/>
                <a:gd name="connsiteX45" fmla="*/ 348161 w 444418"/>
                <a:gd name="connsiteY45" fmla="*/ 190931 h 653955"/>
                <a:gd name="connsiteX46" fmla="*/ 355761 w 444418"/>
                <a:gd name="connsiteY46" fmla="*/ 214874 h 653955"/>
                <a:gd name="connsiteX47" fmla="*/ 383505 w 444418"/>
                <a:gd name="connsiteY47" fmla="*/ 299371 h 653955"/>
                <a:gd name="connsiteX48" fmla="*/ 394020 w 444418"/>
                <a:gd name="connsiteY48" fmla="*/ 408951 h 653955"/>
                <a:gd name="connsiteX49" fmla="*/ 421636 w 444418"/>
                <a:gd name="connsiteY49" fmla="*/ 554890 h 6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4418" h="653955">
                  <a:moveTo>
                    <a:pt x="421636" y="554890"/>
                  </a:moveTo>
                  <a:cubicBezTo>
                    <a:pt x="408968" y="552229"/>
                    <a:pt x="395286" y="555776"/>
                    <a:pt x="382491" y="554383"/>
                  </a:cubicBezTo>
                  <a:cubicBezTo>
                    <a:pt x="366149" y="552609"/>
                    <a:pt x="346387" y="542981"/>
                    <a:pt x="330298" y="550582"/>
                  </a:cubicBezTo>
                  <a:cubicBezTo>
                    <a:pt x="313070" y="558690"/>
                    <a:pt x="333465" y="574652"/>
                    <a:pt x="336506" y="585167"/>
                  </a:cubicBezTo>
                  <a:cubicBezTo>
                    <a:pt x="343093" y="607209"/>
                    <a:pt x="312183" y="602776"/>
                    <a:pt x="301288" y="596568"/>
                  </a:cubicBezTo>
                  <a:cubicBezTo>
                    <a:pt x="291914" y="591247"/>
                    <a:pt x="264043" y="567558"/>
                    <a:pt x="255176" y="586307"/>
                  </a:cubicBezTo>
                  <a:cubicBezTo>
                    <a:pt x="248081" y="601509"/>
                    <a:pt x="275572" y="608856"/>
                    <a:pt x="279245" y="620511"/>
                  </a:cubicBezTo>
                  <a:cubicBezTo>
                    <a:pt x="282919" y="631913"/>
                    <a:pt x="267337" y="641794"/>
                    <a:pt x="271138" y="651422"/>
                  </a:cubicBezTo>
                  <a:cubicBezTo>
                    <a:pt x="271518" y="652435"/>
                    <a:pt x="272024" y="653322"/>
                    <a:pt x="272658" y="653955"/>
                  </a:cubicBezTo>
                  <a:cubicBezTo>
                    <a:pt x="235033" y="651802"/>
                    <a:pt x="228066" y="629886"/>
                    <a:pt x="227686" y="628492"/>
                  </a:cubicBezTo>
                  <a:lnTo>
                    <a:pt x="227686" y="628492"/>
                  </a:lnTo>
                  <a:cubicBezTo>
                    <a:pt x="231106" y="624819"/>
                    <a:pt x="232626" y="620765"/>
                    <a:pt x="230346" y="616331"/>
                  </a:cubicBezTo>
                  <a:cubicBezTo>
                    <a:pt x="227559" y="610883"/>
                    <a:pt x="218058" y="609110"/>
                    <a:pt x="212990" y="606703"/>
                  </a:cubicBezTo>
                  <a:cubicBezTo>
                    <a:pt x="205263" y="603029"/>
                    <a:pt x="198422" y="598215"/>
                    <a:pt x="192721" y="591881"/>
                  </a:cubicBezTo>
                  <a:cubicBezTo>
                    <a:pt x="181573" y="579466"/>
                    <a:pt x="175872" y="565151"/>
                    <a:pt x="171945" y="549189"/>
                  </a:cubicBezTo>
                  <a:cubicBezTo>
                    <a:pt x="170932" y="545388"/>
                    <a:pt x="169412" y="531327"/>
                    <a:pt x="164091" y="530567"/>
                  </a:cubicBezTo>
                  <a:cubicBezTo>
                    <a:pt x="163331" y="504597"/>
                    <a:pt x="133180" y="507637"/>
                    <a:pt x="108984" y="505610"/>
                  </a:cubicBezTo>
                  <a:cubicBezTo>
                    <a:pt x="84788" y="503583"/>
                    <a:pt x="65405" y="481414"/>
                    <a:pt x="57931" y="468999"/>
                  </a:cubicBezTo>
                  <a:cubicBezTo>
                    <a:pt x="50583" y="456584"/>
                    <a:pt x="67812" y="430868"/>
                    <a:pt x="57931" y="411232"/>
                  </a:cubicBezTo>
                  <a:cubicBezTo>
                    <a:pt x="48050" y="391596"/>
                    <a:pt x="27274" y="407685"/>
                    <a:pt x="12959" y="410598"/>
                  </a:cubicBezTo>
                  <a:cubicBezTo>
                    <a:pt x="-1356" y="413639"/>
                    <a:pt x="37" y="404897"/>
                    <a:pt x="37" y="404897"/>
                  </a:cubicBezTo>
                  <a:cubicBezTo>
                    <a:pt x="4218" y="403757"/>
                    <a:pt x="7891" y="401730"/>
                    <a:pt x="10425" y="398183"/>
                  </a:cubicBezTo>
                  <a:cubicBezTo>
                    <a:pt x="17139" y="389189"/>
                    <a:pt x="15366" y="375634"/>
                    <a:pt x="20560" y="365626"/>
                  </a:cubicBezTo>
                  <a:cubicBezTo>
                    <a:pt x="28921" y="349664"/>
                    <a:pt x="76300" y="332182"/>
                    <a:pt x="57551" y="308365"/>
                  </a:cubicBezTo>
                  <a:cubicBezTo>
                    <a:pt x="53497" y="303298"/>
                    <a:pt x="47543" y="299751"/>
                    <a:pt x="42856" y="295317"/>
                  </a:cubicBezTo>
                  <a:cubicBezTo>
                    <a:pt x="37282" y="290123"/>
                    <a:pt x="32721" y="284042"/>
                    <a:pt x="28414" y="277835"/>
                  </a:cubicBezTo>
                  <a:cubicBezTo>
                    <a:pt x="20813" y="266940"/>
                    <a:pt x="13972" y="257312"/>
                    <a:pt x="14479" y="243504"/>
                  </a:cubicBezTo>
                  <a:cubicBezTo>
                    <a:pt x="14859" y="235396"/>
                    <a:pt x="22460" y="206386"/>
                    <a:pt x="8271" y="206133"/>
                  </a:cubicBezTo>
                  <a:cubicBezTo>
                    <a:pt x="8778" y="186117"/>
                    <a:pt x="11058" y="145072"/>
                    <a:pt x="19799" y="160274"/>
                  </a:cubicBezTo>
                  <a:cubicBezTo>
                    <a:pt x="31201" y="180036"/>
                    <a:pt x="56411" y="174209"/>
                    <a:pt x="59324" y="153813"/>
                  </a:cubicBezTo>
                  <a:cubicBezTo>
                    <a:pt x="62238" y="133544"/>
                    <a:pt x="90488" y="117708"/>
                    <a:pt x="88968" y="94905"/>
                  </a:cubicBezTo>
                  <a:cubicBezTo>
                    <a:pt x="87448" y="72103"/>
                    <a:pt x="67305" y="34478"/>
                    <a:pt x="88968" y="19150"/>
                  </a:cubicBezTo>
                  <a:cubicBezTo>
                    <a:pt x="110758" y="3821"/>
                    <a:pt x="107210" y="-6567"/>
                    <a:pt x="119625" y="4834"/>
                  </a:cubicBezTo>
                  <a:cubicBezTo>
                    <a:pt x="131407" y="15602"/>
                    <a:pt x="143062" y="58928"/>
                    <a:pt x="179673" y="20163"/>
                  </a:cubicBezTo>
                  <a:cubicBezTo>
                    <a:pt x="185120" y="27764"/>
                    <a:pt x="191834" y="35365"/>
                    <a:pt x="199055" y="40052"/>
                  </a:cubicBezTo>
                  <a:cubicBezTo>
                    <a:pt x="207416" y="45626"/>
                    <a:pt x="216411" y="48413"/>
                    <a:pt x="219451" y="58674"/>
                  </a:cubicBezTo>
                  <a:cubicBezTo>
                    <a:pt x="219831" y="59941"/>
                    <a:pt x="220085" y="61335"/>
                    <a:pt x="220338" y="62728"/>
                  </a:cubicBezTo>
                  <a:cubicBezTo>
                    <a:pt x="221731" y="72609"/>
                    <a:pt x="218438" y="82744"/>
                    <a:pt x="222872" y="92498"/>
                  </a:cubicBezTo>
                  <a:cubicBezTo>
                    <a:pt x="232373" y="113655"/>
                    <a:pt x="258216" y="101366"/>
                    <a:pt x="275698" y="108207"/>
                  </a:cubicBezTo>
                  <a:cubicBezTo>
                    <a:pt x="275952" y="119862"/>
                    <a:pt x="266197" y="124423"/>
                    <a:pt x="264677" y="134557"/>
                  </a:cubicBezTo>
                  <a:cubicBezTo>
                    <a:pt x="262777" y="146718"/>
                    <a:pt x="273165" y="143045"/>
                    <a:pt x="282032" y="143805"/>
                  </a:cubicBezTo>
                  <a:cubicBezTo>
                    <a:pt x="291787" y="144818"/>
                    <a:pt x="301415" y="146085"/>
                    <a:pt x="311169" y="146718"/>
                  </a:cubicBezTo>
                  <a:cubicBezTo>
                    <a:pt x="313196" y="146845"/>
                    <a:pt x="315223" y="146972"/>
                    <a:pt x="316870" y="146972"/>
                  </a:cubicBezTo>
                  <a:cubicBezTo>
                    <a:pt x="323077" y="149125"/>
                    <a:pt x="329412" y="151406"/>
                    <a:pt x="335746" y="153306"/>
                  </a:cubicBezTo>
                  <a:cubicBezTo>
                    <a:pt x="343093" y="155586"/>
                    <a:pt x="355888" y="156093"/>
                    <a:pt x="352721" y="166735"/>
                  </a:cubicBezTo>
                  <a:cubicBezTo>
                    <a:pt x="350187" y="175602"/>
                    <a:pt x="346767" y="181176"/>
                    <a:pt x="348161" y="190931"/>
                  </a:cubicBezTo>
                  <a:cubicBezTo>
                    <a:pt x="349301" y="199292"/>
                    <a:pt x="352214" y="207273"/>
                    <a:pt x="355761" y="214874"/>
                  </a:cubicBezTo>
                  <a:cubicBezTo>
                    <a:pt x="381478" y="272261"/>
                    <a:pt x="386799" y="272895"/>
                    <a:pt x="383505" y="299371"/>
                  </a:cubicBezTo>
                  <a:cubicBezTo>
                    <a:pt x="380211" y="325848"/>
                    <a:pt x="375524" y="383235"/>
                    <a:pt x="394020" y="408951"/>
                  </a:cubicBezTo>
                  <a:cubicBezTo>
                    <a:pt x="412389" y="434541"/>
                    <a:pt x="478897" y="518912"/>
                    <a:pt x="421636" y="55489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1" name="Полилиния: фигура 420">
              <a:extLst>
                <a:ext uri="{FF2B5EF4-FFF2-40B4-BE49-F238E27FC236}">
                  <a16:creationId xmlns:a16="http://schemas.microsoft.com/office/drawing/2014/main" id="{768D7BD4-90F9-4D98-93B1-AD95EBA0CFF0}"/>
                </a:ext>
              </a:extLst>
            </p:cNvPr>
            <p:cNvSpPr/>
            <p:nvPr/>
          </p:nvSpPr>
          <p:spPr>
            <a:xfrm>
              <a:off x="2100885" y="4055422"/>
              <a:ext cx="653547" cy="774929"/>
            </a:xfrm>
            <a:custGeom>
              <a:avLst/>
              <a:gdLst>
                <a:gd name="connsiteX0" fmla="*/ 652769 w 653547"/>
                <a:gd name="connsiteY0" fmla="*/ 681918 h 774929"/>
                <a:gd name="connsiteX1" fmla="*/ 648968 w 653547"/>
                <a:gd name="connsiteY1" fmla="*/ 704087 h 774929"/>
                <a:gd name="connsiteX2" fmla="*/ 626799 w 653547"/>
                <a:gd name="connsiteY2" fmla="*/ 690659 h 774929"/>
                <a:gd name="connsiteX3" fmla="*/ 594621 w 653547"/>
                <a:gd name="connsiteY3" fmla="*/ 688886 h 774929"/>
                <a:gd name="connsiteX4" fmla="*/ 574352 w 653547"/>
                <a:gd name="connsiteY4" fmla="*/ 703834 h 774929"/>
                <a:gd name="connsiteX5" fmla="*/ 523933 w 653547"/>
                <a:gd name="connsiteY5" fmla="*/ 690532 h 774929"/>
                <a:gd name="connsiteX6" fmla="*/ 489855 w 653547"/>
                <a:gd name="connsiteY6" fmla="*/ 669757 h 774929"/>
                <a:gd name="connsiteX7" fmla="*/ 455777 w 653547"/>
                <a:gd name="connsiteY7" fmla="*/ 688379 h 774929"/>
                <a:gd name="connsiteX8" fmla="*/ 401431 w 653547"/>
                <a:gd name="connsiteY8" fmla="*/ 684958 h 774929"/>
                <a:gd name="connsiteX9" fmla="*/ 342777 w 653547"/>
                <a:gd name="connsiteY9" fmla="*/ 675837 h 774929"/>
                <a:gd name="connsiteX10" fmla="*/ 324028 w 653547"/>
                <a:gd name="connsiteY10" fmla="*/ 692939 h 774929"/>
                <a:gd name="connsiteX11" fmla="*/ 323141 w 653547"/>
                <a:gd name="connsiteY11" fmla="*/ 715109 h 774929"/>
                <a:gd name="connsiteX12" fmla="*/ 296918 w 653547"/>
                <a:gd name="connsiteY12" fmla="*/ 762995 h 774929"/>
                <a:gd name="connsiteX13" fmla="*/ 280196 w 653547"/>
                <a:gd name="connsiteY13" fmla="*/ 773636 h 774929"/>
                <a:gd name="connsiteX14" fmla="*/ 250552 w 653547"/>
                <a:gd name="connsiteY14" fmla="*/ 768569 h 774929"/>
                <a:gd name="connsiteX15" fmla="*/ 242064 w 653547"/>
                <a:gd name="connsiteY15" fmla="*/ 752353 h 774929"/>
                <a:gd name="connsiteX16" fmla="*/ 245864 w 653547"/>
                <a:gd name="connsiteY16" fmla="*/ 710295 h 774929"/>
                <a:gd name="connsiteX17" fmla="*/ 236870 w 653547"/>
                <a:gd name="connsiteY17" fmla="*/ 629218 h 774929"/>
                <a:gd name="connsiteX18" fmla="*/ 191898 w 653547"/>
                <a:gd name="connsiteY18" fmla="*/ 633525 h 774929"/>
                <a:gd name="connsiteX19" fmla="*/ 190631 w 653547"/>
                <a:gd name="connsiteY19" fmla="*/ 634159 h 774929"/>
                <a:gd name="connsiteX20" fmla="*/ 201779 w 653547"/>
                <a:gd name="connsiteY20" fmla="*/ 611609 h 774929"/>
                <a:gd name="connsiteX21" fmla="*/ 214574 w 653547"/>
                <a:gd name="connsiteY21" fmla="*/ 587159 h 774929"/>
                <a:gd name="connsiteX22" fmla="*/ 192911 w 653547"/>
                <a:gd name="connsiteY22" fmla="*/ 554729 h 774929"/>
                <a:gd name="connsiteX23" fmla="*/ 191264 w 653547"/>
                <a:gd name="connsiteY23" fmla="*/ 511023 h 774929"/>
                <a:gd name="connsiteX24" fmla="*/ 163901 w 653547"/>
                <a:gd name="connsiteY24" fmla="*/ 503042 h 774929"/>
                <a:gd name="connsiteX25" fmla="*/ 143758 w 653547"/>
                <a:gd name="connsiteY25" fmla="*/ 490881 h 774929"/>
                <a:gd name="connsiteX26" fmla="*/ 143252 w 653547"/>
                <a:gd name="connsiteY26" fmla="*/ 479353 h 774929"/>
                <a:gd name="connsiteX27" fmla="*/ 140338 w 653547"/>
                <a:gd name="connsiteY27" fmla="*/ 464658 h 774929"/>
                <a:gd name="connsiteX28" fmla="*/ 125389 w 653547"/>
                <a:gd name="connsiteY28" fmla="*/ 455916 h 774929"/>
                <a:gd name="connsiteX29" fmla="*/ 111961 w 653547"/>
                <a:gd name="connsiteY29" fmla="*/ 450596 h 774929"/>
                <a:gd name="connsiteX30" fmla="*/ 109174 w 653547"/>
                <a:gd name="connsiteY30" fmla="*/ 446035 h 774929"/>
                <a:gd name="connsiteX31" fmla="*/ 102713 w 653547"/>
                <a:gd name="connsiteY31" fmla="*/ 440841 h 774929"/>
                <a:gd name="connsiteX32" fmla="*/ 94226 w 653547"/>
                <a:gd name="connsiteY32" fmla="*/ 422852 h 774929"/>
                <a:gd name="connsiteX33" fmla="*/ 92959 w 653547"/>
                <a:gd name="connsiteY33" fmla="*/ 405370 h 774929"/>
                <a:gd name="connsiteX34" fmla="*/ 103220 w 653547"/>
                <a:gd name="connsiteY34" fmla="*/ 390675 h 774929"/>
                <a:gd name="connsiteX35" fmla="*/ 115762 w 653547"/>
                <a:gd name="connsiteY35" fmla="*/ 373826 h 774929"/>
                <a:gd name="connsiteX36" fmla="*/ 127163 w 653547"/>
                <a:gd name="connsiteY36" fmla="*/ 362805 h 774929"/>
                <a:gd name="connsiteX37" fmla="*/ 136031 w 653547"/>
                <a:gd name="connsiteY37" fmla="*/ 348870 h 774929"/>
                <a:gd name="connsiteX38" fmla="*/ 147052 w 653547"/>
                <a:gd name="connsiteY38" fmla="*/ 337088 h 774929"/>
                <a:gd name="connsiteX39" fmla="*/ 150979 w 653547"/>
                <a:gd name="connsiteY39" fmla="*/ 314919 h 774929"/>
                <a:gd name="connsiteX40" fmla="*/ 130584 w 653547"/>
                <a:gd name="connsiteY40" fmla="*/ 277168 h 774929"/>
                <a:gd name="connsiteX41" fmla="*/ 109428 w 653547"/>
                <a:gd name="connsiteY41" fmla="*/ 239289 h 774929"/>
                <a:gd name="connsiteX42" fmla="*/ 90298 w 653547"/>
                <a:gd name="connsiteY42" fmla="*/ 239289 h 774929"/>
                <a:gd name="connsiteX43" fmla="*/ 74336 w 653547"/>
                <a:gd name="connsiteY43" fmla="*/ 245117 h 774929"/>
                <a:gd name="connsiteX44" fmla="*/ 64202 w 653547"/>
                <a:gd name="connsiteY44" fmla="*/ 227128 h 774929"/>
                <a:gd name="connsiteX45" fmla="*/ 60275 w 653547"/>
                <a:gd name="connsiteY45" fmla="*/ 214966 h 774929"/>
                <a:gd name="connsiteX46" fmla="*/ 53307 w 653547"/>
                <a:gd name="connsiteY46" fmla="*/ 203945 h 774929"/>
                <a:gd name="connsiteX47" fmla="*/ 33038 w 653547"/>
                <a:gd name="connsiteY47" fmla="*/ 213573 h 774929"/>
                <a:gd name="connsiteX48" fmla="*/ 15302 w 653547"/>
                <a:gd name="connsiteY48" fmla="*/ 211166 h 774929"/>
                <a:gd name="connsiteX49" fmla="*/ 21256 w 653547"/>
                <a:gd name="connsiteY49" fmla="*/ 187223 h 774929"/>
                <a:gd name="connsiteX50" fmla="*/ 20623 w 653547"/>
                <a:gd name="connsiteY50" fmla="*/ 165814 h 774929"/>
                <a:gd name="connsiteX51" fmla="*/ 6941 w 653547"/>
                <a:gd name="connsiteY51" fmla="*/ 153018 h 774929"/>
                <a:gd name="connsiteX52" fmla="*/ 227 w 653547"/>
                <a:gd name="connsiteY52" fmla="*/ 134269 h 774929"/>
                <a:gd name="connsiteX53" fmla="*/ 2381 w 653547"/>
                <a:gd name="connsiteY53" fmla="*/ 128569 h 774929"/>
                <a:gd name="connsiteX54" fmla="*/ 14922 w 653547"/>
                <a:gd name="connsiteY54" fmla="*/ 117548 h 774929"/>
                <a:gd name="connsiteX55" fmla="*/ 29491 w 653547"/>
                <a:gd name="connsiteY55" fmla="*/ 99558 h 774929"/>
                <a:gd name="connsiteX56" fmla="*/ 31011 w 653547"/>
                <a:gd name="connsiteY56" fmla="*/ 71562 h 774929"/>
                <a:gd name="connsiteX57" fmla="*/ 34305 w 653547"/>
                <a:gd name="connsiteY57" fmla="*/ 63834 h 774929"/>
                <a:gd name="connsiteX58" fmla="*/ 69016 w 653547"/>
                <a:gd name="connsiteY58" fmla="*/ 43691 h 774929"/>
                <a:gd name="connsiteX59" fmla="*/ 116015 w 653547"/>
                <a:gd name="connsiteY59" fmla="*/ 25069 h 774929"/>
                <a:gd name="connsiteX60" fmla="*/ 148699 w 653547"/>
                <a:gd name="connsiteY60" fmla="*/ 1760 h 774929"/>
                <a:gd name="connsiteX61" fmla="*/ 167955 w 653547"/>
                <a:gd name="connsiteY61" fmla="*/ 3660 h 774929"/>
                <a:gd name="connsiteX62" fmla="*/ 169348 w 653547"/>
                <a:gd name="connsiteY62" fmla="*/ 5813 h 774929"/>
                <a:gd name="connsiteX63" fmla="*/ 166308 w 653547"/>
                <a:gd name="connsiteY63" fmla="*/ 24689 h 774929"/>
                <a:gd name="connsiteX64" fmla="*/ 149839 w 653547"/>
                <a:gd name="connsiteY64" fmla="*/ 54966 h 774929"/>
                <a:gd name="connsiteX65" fmla="*/ 153766 w 653547"/>
                <a:gd name="connsiteY65" fmla="*/ 68395 h 774929"/>
                <a:gd name="connsiteX66" fmla="*/ 171122 w 653547"/>
                <a:gd name="connsiteY66" fmla="*/ 68015 h 774929"/>
                <a:gd name="connsiteX67" fmla="*/ 197345 w 653547"/>
                <a:gd name="connsiteY67" fmla="*/ 89170 h 774929"/>
                <a:gd name="connsiteX68" fmla="*/ 229776 w 653547"/>
                <a:gd name="connsiteY68" fmla="*/ 114380 h 774929"/>
                <a:gd name="connsiteX69" fmla="*/ 244471 w 653547"/>
                <a:gd name="connsiteY69" fmla="*/ 114254 h 774929"/>
                <a:gd name="connsiteX70" fmla="*/ 260560 w 653547"/>
                <a:gd name="connsiteY70" fmla="*/ 113620 h 774929"/>
                <a:gd name="connsiteX71" fmla="*/ 274495 w 653547"/>
                <a:gd name="connsiteY71" fmla="*/ 131102 h 774929"/>
                <a:gd name="connsiteX72" fmla="*/ 279942 w 653547"/>
                <a:gd name="connsiteY72" fmla="*/ 151752 h 774929"/>
                <a:gd name="connsiteX73" fmla="*/ 300211 w 653547"/>
                <a:gd name="connsiteY73" fmla="*/ 176835 h 774929"/>
                <a:gd name="connsiteX74" fmla="*/ 322254 w 653547"/>
                <a:gd name="connsiteY74" fmla="*/ 176328 h 774929"/>
                <a:gd name="connsiteX75" fmla="*/ 341510 w 653547"/>
                <a:gd name="connsiteY75" fmla="*/ 183802 h 774929"/>
                <a:gd name="connsiteX76" fmla="*/ 354558 w 653547"/>
                <a:gd name="connsiteY76" fmla="*/ 198117 h 774929"/>
                <a:gd name="connsiteX77" fmla="*/ 359245 w 653547"/>
                <a:gd name="connsiteY77" fmla="*/ 218513 h 774929"/>
                <a:gd name="connsiteX78" fmla="*/ 393450 w 653547"/>
                <a:gd name="connsiteY78" fmla="*/ 226241 h 774929"/>
                <a:gd name="connsiteX79" fmla="*/ 422713 w 653547"/>
                <a:gd name="connsiteY79" fmla="*/ 213826 h 774929"/>
                <a:gd name="connsiteX80" fmla="*/ 440956 w 653547"/>
                <a:gd name="connsiteY80" fmla="*/ 236122 h 774929"/>
                <a:gd name="connsiteX81" fmla="*/ 452737 w 653547"/>
                <a:gd name="connsiteY81" fmla="*/ 248410 h 774929"/>
                <a:gd name="connsiteX82" fmla="*/ 459451 w 653547"/>
                <a:gd name="connsiteY82" fmla="*/ 260825 h 774929"/>
                <a:gd name="connsiteX83" fmla="*/ 464519 w 653547"/>
                <a:gd name="connsiteY83" fmla="*/ 272480 h 774929"/>
                <a:gd name="connsiteX84" fmla="*/ 476047 w 653547"/>
                <a:gd name="connsiteY84" fmla="*/ 302124 h 774929"/>
                <a:gd name="connsiteX85" fmla="*/ 497456 w 653547"/>
                <a:gd name="connsiteY85" fmla="*/ 321633 h 774929"/>
                <a:gd name="connsiteX86" fmla="*/ 516332 w 653547"/>
                <a:gd name="connsiteY86" fmla="*/ 322773 h 774929"/>
                <a:gd name="connsiteX87" fmla="*/ 535207 w 653547"/>
                <a:gd name="connsiteY87" fmla="*/ 316946 h 774929"/>
                <a:gd name="connsiteX88" fmla="*/ 546102 w 653547"/>
                <a:gd name="connsiteY88" fmla="*/ 331261 h 774929"/>
                <a:gd name="connsiteX89" fmla="*/ 563331 w 653547"/>
                <a:gd name="connsiteY89" fmla="*/ 347476 h 774929"/>
                <a:gd name="connsiteX90" fmla="*/ 598295 w 653547"/>
                <a:gd name="connsiteY90" fmla="*/ 361031 h 774929"/>
                <a:gd name="connsiteX91" fmla="*/ 600195 w 653547"/>
                <a:gd name="connsiteY91" fmla="*/ 363565 h 774929"/>
                <a:gd name="connsiteX92" fmla="*/ 600956 w 653547"/>
                <a:gd name="connsiteY92" fmla="*/ 364832 h 774929"/>
                <a:gd name="connsiteX93" fmla="*/ 601589 w 653547"/>
                <a:gd name="connsiteY93" fmla="*/ 366099 h 774929"/>
                <a:gd name="connsiteX94" fmla="*/ 601969 w 653547"/>
                <a:gd name="connsiteY94" fmla="*/ 366985 h 774929"/>
                <a:gd name="connsiteX95" fmla="*/ 602856 w 653547"/>
                <a:gd name="connsiteY95" fmla="*/ 369772 h 774929"/>
                <a:gd name="connsiteX96" fmla="*/ 603236 w 653547"/>
                <a:gd name="connsiteY96" fmla="*/ 371293 h 774929"/>
                <a:gd name="connsiteX97" fmla="*/ 603996 w 653547"/>
                <a:gd name="connsiteY97" fmla="*/ 378007 h 774929"/>
                <a:gd name="connsiteX98" fmla="*/ 603996 w 653547"/>
                <a:gd name="connsiteY98" fmla="*/ 383201 h 774929"/>
                <a:gd name="connsiteX99" fmla="*/ 611597 w 653547"/>
                <a:gd name="connsiteY99" fmla="*/ 401316 h 774929"/>
                <a:gd name="connsiteX100" fmla="*/ 618184 w 653547"/>
                <a:gd name="connsiteY100" fmla="*/ 420445 h 774929"/>
                <a:gd name="connsiteX101" fmla="*/ 604756 w 653547"/>
                <a:gd name="connsiteY101" fmla="*/ 443121 h 774929"/>
                <a:gd name="connsiteX102" fmla="*/ 615017 w 653547"/>
                <a:gd name="connsiteY102" fmla="*/ 457943 h 774929"/>
                <a:gd name="connsiteX103" fmla="*/ 628192 w 653547"/>
                <a:gd name="connsiteY103" fmla="*/ 475299 h 774929"/>
                <a:gd name="connsiteX104" fmla="*/ 621731 w 653547"/>
                <a:gd name="connsiteY104" fmla="*/ 496835 h 774929"/>
                <a:gd name="connsiteX105" fmla="*/ 619325 w 653547"/>
                <a:gd name="connsiteY105" fmla="*/ 512924 h 774929"/>
                <a:gd name="connsiteX106" fmla="*/ 634780 w 653547"/>
                <a:gd name="connsiteY106" fmla="*/ 527872 h 774929"/>
                <a:gd name="connsiteX107" fmla="*/ 633513 w 653547"/>
                <a:gd name="connsiteY107" fmla="*/ 552068 h 774929"/>
                <a:gd name="connsiteX108" fmla="*/ 630726 w 653547"/>
                <a:gd name="connsiteY108" fmla="*/ 572464 h 774929"/>
                <a:gd name="connsiteX109" fmla="*/ 634527 w 653547"/>
                <a:gd name="connsiteY109" fmla="*/ 590200 h 774929"/>
                <a:gd name="connsiteX110" fmla="*/ 635033 w 653547"/>
                <a:gd name="connsiteY110" fmla="*/ 605402 h 774929"/>
                <a:gd name="connsiteX111" fmla="*/ 638834 w 653547"/>
                <a:gd name="connsiteY111" fmla="*/ 615790 h 774929"/>
                <a:gd name="connsiteX112" fmla="*/ 647828 w 653547"/>
                <a:gd name="connsiteY112" fmla="*/ 647714 h 774929"/>
                <a:gd name="connsiteX113" fmla="*/ 652769 w 653547"/>
                <a:gd name="connsiteY113" fmla="*/ 681918 h 77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53547" h="774929">
                  <a:moveTo>
                    <a:pt x="652769" y="681918"/>
                  </a:moveTo>
                  <a:cubicBezTo>
                    <a:pt x="652135" y="685338"/>
                    <a:pt x="648842" y="696106"/>
                    <a:pt x="648968" y="704087"/>
                  </a:cubicBezTo>
                  <a:cubicBezTo>
                    <a:pt x="640101" y="702187"/>
                    <a:pt x="635160" y="695726"/>
                    <a:pt x="626799" y="690659"/>
                  </a:cubicBezTo>
                  <a:cubicBezTo>
                    <a:pt x="617298" y="684958"/>
                    <a:pt x="604883" y="684832"/>
                    <a:pt x="594621" y="688886"/>
                  </a:cubicBezTo>
                  <a:cubicBezTo>
                    <a:pt x="586261" y="692053"/>
                    <a:pt x="582080" y="700287"/>
                    <a:pt x="574352" y="703834"/>
                  </a:cubicBezTo>
                  <a:cubicBezTo>
                    <a:pt x="559024" y="710928"/>
                    <a:pt x="535461" y="700667"/>
                    <a:pt x="523933" y="690532"/>
                  </a:cubicBezTo>
                  <a:cubicBezTo>
                    <a:pt x="514051" y="681791"/>
                    <a:pt x="503283" y="672797"/>
                    <a:pt x="489855" y="669757"/>
                  </a:cubicBezTo>
                  <a:cubicBezTo>
                    <a:pt x="473640" y="666083"/>
                    <a:pt x="465532" y="677864"/>
                    <a:pt x="455777" y="688379"/>
                  </a:cubicBezTo>
                  <a:cubicBezTo>
                    <a:pt x="440449" y="704974"/>
                    <a:pt x="418533" y="695473"/>
                    <a:pt x="401431" y="684958"/>
                  </a:cubicBezTo>
                  <a:cubicBezTo>
                    <a:pt x="381795" y="672924"/>
                    <a:pt x="365453" y="664182"/>
                    <a:pt x="342777" y="675837"/>
                  </a:cubicBezTo>
                  <a:cubicBezTo>
                    <a:pt x="335556" y="679511"/>
                    <a:pt x="326561" y="684705"/>
                    <a:pt x="324028" y="692939"/>
                  </a:cubicBezTo>
                  <a:cubicBezTo>
                    <a:pt x="322001" y="699780"/>
                    <a:pt x="323901" y="708141"/>
                    <a:pt x="323141" y="715109"/>
                  </a:cubicBezTo>
                  <a:cubicBezTo>
                    <a:pt x="320987" y="736011"/>
                    <a:pt x="315793" y="752480"/>
                    <a:pt x="296918" y="762995"/>
                  </a:cubicBezTo>
                  <a:cubicBezTo>
                    <a:pt x="291344" y="766162"/>
                    <a:pt x="285896" y="771103"/>
                    <a:pt x="280196" y="773636"/>
                  </a:cubicBezTo>
                  <a:cubicBezTo>
                    <a:pt x="272341" y="777183"/>
                    <a:pt x="257646" y="772749"/>
                    <a:pt x="250552" y="768569"/>
                  </a:cubicBezTo>
                  <a:cubicBezTo>
                    <a:pt x="244471" y="765022"/>
                    <a:pt x="242824" y="759194"/>
                    <a:pt x="242064" y="752353"/>
                  </a:cubicBezTo>
                  <a:cubicBezTo>
                    <a:pt x="240417" y="738165"/>
                    <a:pt x="244598" y="724357"/>
                    <a:pt x="245864" y="710295"/>
                  </a:cubicBezTo>
                  <a:cubicBezTo>
                    <a:pt x="247638" y="689012"/>
                    <a:pt x="255619" y="645813"/>
                    <a:pt x="236870" y="629218"/>
                  </a:cubicBezTo>
                  <a:cubicBezTo>
                    <a:pt x="224202" y="617817"/>
                    <a:pt x="204439" y="626685"/>
                    <a:pt x="191898" y="633525"/>
                  </a:cubicBezTo>
                  <a:cubicBezTo>
                    <a:pt x="191518" y="633779"/>
                    <a:pt x="191011" y="634032"/>
                    <a:pt x="190631" y="634159"/>
                  </a:cubicBezTo>
                  <a:cubicBezTo>
                    <a:pt x="192911" y="625924"/>
                    <a:pt x="196332" y="617817"/>
                    <a:pt x="201779" y="611609"/>
                  </a:cubicBezTo>
                  <a:cubicBezTo>
                    <a:pt x="207987" y="604642"/>
                    <a:pt x="218374" y="598054"/>
                    <a:pt x="214574" y="587159"/>
                  </a:cubicBezTo>
                  <a:cubicBezTo>
                    <a:pt x="210013" y="574238"/>
                    <a:pt x="195572" y="569297"/>
                    <a:pt x="192911" y="554729"/>
                  </a:cubicBezTo>
                  <a:cubicBezTo>
                    <a:pt x="190378" y="540287"/>
                    <a:pt x="194558" y="525339"/>
                    <a:pt x="191264" y="511023"/>
                  </a:cubicBezTo>
                  <a:cubicBezTo>
                    <a:pt x="187591" y="494808"/>
                    <a:pt x="175682" y="502915"/>
                    <a:pt x="163901" y="503042"/>
                  </a:cubicBezTo>
                  <a:cubicBezTo>
                    <a:pt x="156427" y="503169"/>
                    <a:pt x="147179" y="497848"/>
                    <a:pt x="143758" y="490881"/>
                  </a:cubicBezTo>
                  <a:cubicBezTo>
                    <a:pt x="142111" y="487460"/>
                    <a:pt x="143252" y="483027"/>
                    <a:pt x="143252" y="479353"/>
                  </a:cubicBezTo>
                  <a:cubicBezTo>
                    <a:pt x="143125" y="474412"/>
                    <a:pt x="142238" y="469218"/>
                    <a:pt x="140338" y="464658"/>
                  </a:cubicBezTo>
                  <a:cubicBezTo>
                    <a:pt x="137298" y="457817"/>
                    <a:pt x="131724" y="458070"/>
                    <a:pt x="125389" y="455916"/>
                  </a:cubicBezTo>
                  <a:cubicBezTo>
                    <a:pt x="121462" y="454523"/>
                    <a:pt x="115001" y="453383"/>
                    <a:pt x="111961" y="450596"/>
                  </a:cubicBezTo>
                  <a:cubicBezTo>
                    <a:pt x="110568" y="449329"/>
                    <a:pt x="110188" y="447428"/>
                    <a:pt x="109174" y="446035"/>
                  </a:cubicBezTo>
                  <a:cubicBezTo>
                    <a:pt x="107401" y="443628"/>
                    <a:pt x="105120" y="442361"/>
                    <a:pt x="102713" y="440841"/>
                  </a:cubicBezTo>
                  <a:cubicBezTo>
                    <a:pt x="95746" y="436027"/>
                    <a:pt x="94099" y="431087"/>
                    <a:pt x="94226" y="422852"/>
                  </a:cubicBezTo>
                  <a:cubicBezTo>
                    <a:pt x="94352" y="417152"/>
                    <a:pt x="91819" y="410817"/>
                    <a:pt x="92959" y="405370"/>
                  </a:cubicBezTo>
                  <a:cubicBezTo>
                    <a:pt x="94226" y="399289"/>
                    <a:pt x="99926" y="395489"/>
                    <a:pt x="103220" y="390675"/>
                  </a:cubicBezTo>
                  <a:cubicBezTo>
                    <a:pt x="107274" y="384721"/>
                    <a:pt x="110948" y="379147"/>
                    <a:pt x="115762" y="373826"/>
                  </a:cubicBezTo>
                  <a:cubicBezTo>
                    <a:pt x="119435" y="369899"/>
                    <a:pt x="123363" y="366479"/>
                    <a:pt x="127163" y="362805"/>
                  </a:cubicBezTo>
                  <a:cubicBezTo>
                    <a:pt x="131344" y="358751"/>
                    <a:pt x="132991" y="353557"/>
                    <a:pt x="136031" y="348870"/>
                  </a:cubicBezTo>
                  <a:cubicBezTo>
                    <a:pt x="139071" y="344309"/>
                    <a:pt x="143758" y="341395"/>
                    <a:pt x="147052" y="337088"/>
                  </a:cubicBezTo>
                  <a:cubicBezTo>
                    <a:pt x="151739" y="330754"/>
                    <a:pt x="152120" y="322393"/>
                    <a:pt x="150979" y="314919"/>
                  </a:cubicBezTo>
                  <a:cubicBezTo>
                    <a:pt x="148446" y="299083"/>
                    <a:pt x="136284" y="291102"/>
                    <a:pt x="130584" y="277168"/>
                  </a:cubicBezTo>
                  <a:cubicBezTo>
                    <a:pt x="125770" y="265006"/>
                    <a:pt x="122096" y="246383"/>
                    <a:pt x="109428" y="239289"/>
                  </a:cubicBezTo>
                  <a:cubicBezTo>
                    <a:pt x="103347" y="235869"/>
                    <a:pt x="96759" y="238782"/>
                    <a:pt x="90298" y="239289"/>
                  </a:cubicBezTo>
                  <a:cubicBezTo>
                    <a:pt x="82951" y="239796"/>
                    <a:pt x="80291" y="241063"/>
                    <a:pt x="74336" y="245117"/>
                  </a:cubicBezTo>
                  <a:cubicBezTo>
                    <a:pt x="65595" y="250944"/>
                    <a:pt x="65215" y="231055"/>
                    <a:pt x="64202" y="227128"/>
                  </a:cubicBezTo>
                  <a:cubicBezTo>
                    <a:pt x="63062" y="223074"/>
                    <a:pt x="61288" y="219147"/>
                    <a:pt x="60275" y="214966"/>
                  </a:cubicBezTo>
                  <a:cubicBezTo>
                    <a:pt x="59261" y="211166"/>
                    <a:pt x="57994" y="204832"/>
                    <a:pt x="53307" y="203945"/>
                  </a:cubicBezTo>
                  <a:cubicBezTo>
                    <a:pt x="47353" y="202805"/>
                    <a:pt x="38232" y="211419"/>
                    <a:pt x="33038" y="213573"/>
                  </a:cubicBezTo>
                  <a:cubicBezTo>
                    <a:pt x="27717" y="215853"/>
                    <a:pt x="17836" y="218767"/>
                    <a:pt x="15302" y="211166"/>
                  </a:cubicBezTo>
                  <a:cubicBezTo>
                    <a:pt x="13022" y="203945"/>
                    <a:pt x="19103" y="193937"/>
                    <a:pt x="21256" y="187223"/>
                  </a:cubicBezTo>
                  <a:cubicBezTo>
                    <a:pt x="23537" y="180129"/>
                    <a:pt x="24930" y="172401"/>
                    <a:pt x="20623" y="165814"/>
                  </a:cubicBezTo>
                  <a:cubicBezTo>
                    <a:pt x="17203" y="160620"/>
                    <a:pt x="11249" y="157579"/>
                    <a:pt x="6941" y="153018"/>
                  </a:cubicBezTo>
                  <a:cubicBezTo>
                    <a:pt x="2381" y="148078"/>
                    <a:pt x="-913" y="141110"/>
                    <a:pt x="227" y="134269"/>
                  </a:cubicBezTo>
                  <a:cubicBezTo>
                    <a:pt x="607" y="132116"/>
                    <a:pt x="1367" y="130216"/>
                    <a:pt x="2381" y="128569"/>
                  </a:cubicBezTo>
                  <a:cubicBezTo>
                    <a:pt x="5168" y="123882"/>
                    <a:pt x="10235" y="120588"/>
                    <a:pt x="14922" y="117548"/>
                  </a:cubicBezTo>
                  <a:cubicBezTo>
                    <a:pt x="22017" y="112987"/>
                    <a:pt x="27971" y="108300"/>
                    <a:pt x="29491" y="99558"/>
                  </a:cubicBezTo>
                  <a:cubicBezTo>
                    <a:pt x="31011" y="90311"/>
                    <a:pt x="28604" y="80810"/>
                    <a:pt x="31011" y="71562"/>
                  </a:cubicBezTo>
                  <a:cubicBezTo>
                    <a:pt x="31771" y="68775"/>
                    <a:pt x="32911" y="66241"/>
                    <a:pt x="34305" y="63834"/>
                  </a:cubicBezTo>
                  <a:cubicBezTo>
                    <a:pt x="41399" y="52179"/>
                    <a:pt x="56094" y="46605"/>
                    <a:pt x="69016" y="43691"/>
                  </a:cubicBezTo>
                  <a:cubicBezTo>
                    <a:pt x="85738" y="39891"/>
                    <a:pt x="102333" y="35964"/>
                    <a:pt x="116015" y="25069"/>
                  </a:cubicBezTo>
                  <a:cubicBezTo>
                    <a:pt x="126910" y="16455"/>
                    <a:pt x="135017" y="6320"/>
                    <a:pt x="148699" y="1760"/>
                  </a:cubicBezTo>
                  <a:cubicBezTo>
                    <a:pt x="154653" y="-141"/>
                    <a:pt x="163268" y="-1661"/>
                    <a:pt x="167955" y="3660"/>
                  </a:cubicBezTo>
                  <a:cubicBezTo>
                    <a:pt x="168588" y="4293"/>
                    <a:pt x="168968" y="5053"/>
                    <a:pt x="169348" y="5813"/>
                  </a:cubicBezTo>
                  <a:cubicBezTo>
                    <a:pt x="172262" y="11641"/>
                    <a:pt x="168968" y="19495"/>
                    <a:pt x="166308" y="24689"/>
                  </a:cubicBezTo>
                  <a:cubicBezTo>
                    <a:pt x="161114" y="35077"/>
                    <a:pt x="153513" y="43691"/>
                    <a:pt x="149839" y="54966"/>
                  </a:cubicBezTo>
                  <a:cubicBezTo>
                    <a:pt x="148319" y="59907"/>
                    <a:pt x="148319" y="65861"/>
                    <a:pt x="153766" y="68395"/>
                  </a:cubicBezTo>
                  <a:cubicBezTo>
                    <a:pt x="159340" y="71055"/>
                    <a:pt x="165294" y="66368"/>
                    <a:pt x="171122" y="68015"/>
                  </a:cubicBezTo>
                  <a:cubicBezTo>
                    <a:pt x="181257" y="70928"/>
                    <a:pt x="189491" y="82836"/>
                    <a:pt x="197345" y="89170"/>
                  </a:cubicBezTo>
                  <a:cubicBezTo>
                    <a:pt x="208367" y="98038"/>
                    <a:pt x="216474" y="108426"/>
                    <a:pt x="229776" y="114380"/>
                  </a:cubicBezTo>
                  <a:cubicBezTo>
                    <a:pt x="235350" y="116787"/>
                    <a:pt x="239150" y="116661"/>
                    <a:pt x="244471" y="114254"/>
                  </a:cubicBezTo>
                  <a:cubicBezTo>
                    <a:pt x="249792" y="111847"/>
                    <a:pt x="255492" y="110453"/>
                    <a:pt x="260560" y="113620"/>
                  </a:cubicBezTo>
                  <a:cubicBezTo>
                    <a:pt x="266260" y="117167"/>
                    <a:pt x="270948" y="125529"/>
                    <a:pt x="274495" y="131102"/>
                  </a:cubicBezTo>
                  <a:cubicBezTo>
                    <a:pt x="278169" y="137056"/>
                    <a:pt x="279562" y="144911"/>
                    <a:pt x="279942" y="151752"/>
                  </a:cubicBezTo>
                  <a:cubicBezTo>
                    <a:pt x="280576" y="162773"/>
                    <a:pt x="287923" y="175948"/>
                    <a:pt x="300211" y="176835"/>
                  </a:cubicBezTo>
                  <a:cubicBezTo>
                    <a:pt x="307559" y="177342"/>
                    <a:pt x="315033" y="175188"/>
                    <a:pt x="322254" y="176328"/>
                  </a:cubicBezTo>
                  <a:cubicBezTo>
                    <a:pt x="328842" y="177342"/>
                    <a:pt x="335683" y="180509"/>
                    <a:pt x="341510" y="183802"/>
                  </a:cubicBezTo>
                  <a:cubicBezTo>
                    <a:pt x="347210" y="187096"/>
                    <a:pt x="352531" y="191657"/>
                    <a:pt x="354558" y="198117"/>
                  </a:cubicBezTo>
                  <a:cubicBezTo>
                    <a:pt x="356712" y="204705"/>
                    <a:pt x="356965" y="212053"/>
                    <a:pt x="359245" y="218513"/>
                  </a:cubicBezTo>
                  <a:cubicBezTo>
                    <a:pt x="363426" y="230802"/>
                    <a:pt x="384075" y="232322"/>
                    <a:pt x="393450" y="226241"/>
                  </a:cubicBezTo>
                  <a:cubicBezTo>
                    <a:pt x="400037" y="222061"/>
                    <a:pt x="414732" y="209266"/>
                    <a:pt x="422713" y="213826"/>
                  </a:cubicBezTo>
                  <a:cubicBezTo>
                    <a:pt x="431074" y="218513"/>
                    <a:pt x="435128" y="229028"/>
                    <a:pt x="440956" y="236122"/>
                  </a:cubicBezTo>
                  <a:cubicBezTo>
                    <a:pt x="444629" y="240556"/>
                    <a:pt x="449443" y="243723"/>
                    <a:pt x="452737" y="248410"/>
                  </a:cubicBezTo>
                  <a:cubicBezTo>
                    <a:pt x="455524" y="252211"/>
                    <a:pt x="457551" y="256645"/>
                    <a:pt x="459451" y="260825"/>
                  </a:cubicBezTo>
                  <a:cubicBezTo>
                    <a:pt x="461225" y="264626"/>
                    <a:pt x="462998" y="268426"/>
                    <a:pt x="464519" y="272480"/>
                  </a:cubicBezTo>
                  <a:cubicBezTo>
                    <a:pt x="468446" y="282235"/>
                    <a:pt x="471486" y="292749"/>
                    <a:pt x="476047" y="302124"/>
                  </a:cubicBezTo>
                  <a:cubicBezTo>
                    <a:pt x="480481" y="311118"/>
                    <a:pt x="488715" y="317072"/>
                    <a:pt x="497456" y="321633"/>
                  </a:cubicBezTo>
                  <a:cubicBezTo>
                    <a:pt x="503917" y="325054"/>
                    <a:pt x="509618" y="325687"/>
                    <a:pt x="516332" y="322773"/>
                  </a:cubicBezTo>
                  <a:cubicBezTo>
                    <a:pt x="522032" y="320240"/>
                    <a:pt x="528620" y="315172"/>
                    <a:pt x="535207" y="316946"/>
                  </a:cubicBezTo>
                  <a:cubicBezTo>
                    <a:pt x="541668" y="318593"/>
                    <a:pt x="543315" y="326067"/>
                    <a:pt x="546102" y="331261"/>
                  </a:cubicBezTo>
                  <a:cubicBezTo>
                    <a:pt x="549903" y="338608"/>
                    <a:pt x="555857" y="343802"/>
                    <a:pt x="563331" y="347476"/>
                  </a:cubicBezTo>
                  <a:cubicBezTo>
                    <a:pt x="574352" y="352923"/>
                    <a:pt x="589681" y="351530"/>
                    <a:pt x="598295" y="361031"/>
                  </a:cubicBezTo>
                  <a:cubicBezTo>
                    <a:pt x="599055" y="361918"/>
                    <a:pt x="599689" y="362678"/>
                    <a:pt x="600195" y="363565"/>
                  </a:cubicBezTo>
                  <a:cubicBezTo>
                    <a:pt x="600449" y="363945"/>
                    <a:pt x="600702" y="364452"/>
                    <a:pt x="600956" y="364832"/>
                  </a:cubicBezTo>
                  <a:cubicBezTo>
                    <a:pt x="601209" y="365212"/>
                    <a:pt x="601462" y="365719"/>
                    <a:pt x="601589" y="366099"/>
                  </a:cubicBezTo>
                  <a:cubicBezTo>
                    <a:pt x="601716" y="366352"/>
                    <a:pt x="601842" y="366605"/>
                    <a:pt x="601969" y="366985"/>
                  </a:cubicBezTo>
                  <a:cubicBezTo>
                    <a:pt x="602349" y="367872"/>
                    <a:pt x="602729" y="368759"/>
                    <a:pt x="602856" y="369772"/>
                  </a:cubicBezTo>
                  <a:cubicBezTo>
                    <a:pt x="602983" y="370279"/>
                    <a:pt x="603109" y="370786"/>
                    <a:pt x="603236" y="371293"/>
                  </a:cubicBezTo>
                  <a:cubicBezTo>
                    <a:pt x="603743" y="373446"/>
                    <a:pt x="603869" y="375727"/>
                    <a:pt x="603996" y="378007"/>
                  </a:cubicBezTo>
                  <a:cubicBezTo>
                    <a:pt x="604123" y="379654"/>
                    <a:pt x="603996" y="381554"/>
                    <a:pt x="603996" y="383201"/>
                  </a:cubicBezTo>
                  <a:cubicBezTo>
                    <a:pt x="603869" y="391182"/>
                    <a:pt x="605896" y="395742"/>
                    <a:pt x="611597" y="401316"/>
                  </a:cubicBezTo>
                  <a:cubicBezTo>
                    <a:pt x="617298" y="407017"/>
                    <a:pt x="621478" y="412211"/>
                    <a:pt x="618184" y="420445"/>
                  </a:cubicBezTo>
                  <a:cubicBezTo>
                    <a:pt x="615017" y="428426"/>
                    <a:pt x="606530" y="434634"/>
                    <a:pt x="604756" y="443121"/>
                  </a:cubicBezTo>
                  <a:cubicBezTo>
                    <a:pt x="603236" y="450469"/>
                    <a:pt x="609950" y="454143"/>
                    <a:pt x="615017" y="457943"/>
                  </a:cubicBezTo>
                  <a:cubicBezTo>
                    <a:pt x="621098" y="462377"/>
                    <a:pt x="626926" y="467445"/>
                    <a:pt x="628192" y="475299"/>
                  </a:cubicBezTo>
                  <a:cubicBezTo>
                    <a:pt x="629459" y="483153"/>
                    <a:pt x="625532" y="490247"/>
                    <a:pt x="621731" y="496835"/>
                  </a:cubicBezTo>
                  <a:cubicBezTo>
                    <a:pt x="618691" y="502029"/>
                    <a:pt x="615271" y="507223"/>
                    <a:pt x="619325" y="512924"/>
                  </a:cubicBezTo>
                  <a:cubicBezTo>
                    <a:pt x="623632" y="518751"/>
                    <a:pt x="631106" y="521411"/>
                    <a:pt x="634780" y="527872"/>
                  </a:cubicBezTo>
                  <a:cubicBezTo>
                    <a:pt x="639087" y="535473"/>
                    <a:pt x="635920" y="544341"/>
                    <a:pt x="633513" y="552068"/>
                  </a:cubicBezTo>
                  <a:cubicBezTo>
                    <a:pt x="631359" y="558783"/>
                    <a:pt x="628826" y="565497"/>
                    <a:pt x="630726" y="572464"/>
                  </a:cubicBezTo>
                  <a:cubicBezTo>
                    <a:pt x="632246" y="578165"/>
                    <a:pt x="634653" y="584246"/>
                    <a:pt x="634527" y="590200"/>
                  </a:cubicBezTo>
                  <a:cubicBezTo>
                    <a:pt x="634400" y="595394"/>
                    <a:pt x="633766" y="600208"/>
                    <a:pt x="635033" y="605402"/>
                  </a:cubicBezTo>
                  <a:cubicBezTo>
                    <a:pt x="635920" y="609075"/>
                    <a:pt x="637820" y="612243"/>
                    <a:pt x="638834" y="615790"/>
                  </a:cubicBezTo>
                  <a:cubicBezTo>
                    <a:pt x="642127" y="626558"/>
                    <a:pt x="643648" y="637326"/>
                    <a:pt x="647828" y="647714"/>
                  </a:cubicBezTo>
                  <a:cubicBezTo>
                    <a:pt x="652769" y="658355"/>
                    <a:pt x="654796" y="670137"/>
                    <a:pt x="652769" y="68191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2" name="Полилиния: фигура 421">
              <a:extLst>
                <a:ext uri="{FF2B5EF4-FFF2-40B4-BE49-F238E27FC236}">
                  <a16:creationId xmlns:a16="http://schemas.microsoft.com/office/drawing/2014/main" id="{BEC403EF-2399-4EBE-BBF8-5682D0565380}"/>
                </a:ext>
              </a:extLst>
            </p:cNvPr>
            <p:cNvSpPr/>
            <p:nvPr/>
          </p:nvSpPr>
          <p:spPr>
            <a:xfrm>
              <a:off x="1611068" y="4096781"/>
              <a:ext cx="705261" cy="732784"/>
            </a:xfrm>
            <a:custGeom>
              <a:avLst/>
              <a:gdLst>
                <a:gd name="connsiteX0" fmla="*/ 691722 w 705261"/>
                <a:gd name="connsiteY0" fmla="*/ 570124 h 732784"/>
                <a:gd name="connsiteX1" fmla="*/ 680574 w 705261"/>
                <a:gd name="connsiteY1" fmla="*/ 592674 h 732784"/>
                <a:gd name="connsiteX2" fmla="*/ 616346 w 705261"/>
                <a:gd name="connsiteY2" fmla="*/ 609649 h 732784"/>
                <a:gd name="connsiteX3" fmla="*/ 556552 w 705261"/>
                <a:gd name="connsiteY3" fmla="*/ 601922 h 732784"/>
                <a:gd name="connsiteX4" fmla="*/ 549331 w 705261"/>
                <a:gd name="connsiteY4" fmla="*/ 665009 h 732784"/>
                <a:gd name="connsiteX5" fmla="*/ 493844 w 705261"/>
                <a:gd name="connsiteY5" fmla="*/ 714922 h 732784"/>
                <a:gd name="connsiteX6" fmla="*/ 460653 w 705261"/>
                <a:gd name="connsiteY6" fmla="*/ 732785 h 732784"/>
                <a:gd name="connsiteX7" fmla="*/ 452039 w 705261"/>
                <a:gd name="connsiteY7" fmla="*/ 723157 h 732784"/>
                <a:gd name="connsiteX8" fmla="*/ 431390 w 705261"/>
                <a:gd name="connsiteY8" fmla="*/ 718343 h 732784"/>
                <a:gd name="connsiteX9" fmla="*/ 425562 w 705261"/>
                <a:gd name="connsiteY9" fmla="*/ 686039 h 732784"/>
                <a:gd name="connsiteX10" fmla="*/ 413528 w 705261"/>
                <a:gd name="connsiteY10" fmla="*/ 657029 h 732784"/>
                <a:gd name="connsiteX11" fmla="*/ 383884 w 705261"/>
                <a:gd name="connsiteY11" fmla="*/ 654495 h 732784"/>
                <a:gd name="connsiteX12" fmla="*/ 372482 w 705261"/>
                <a:gd name="connsiteY12" fmla="*/ 635366 h 732784"/>
                <a:gd name="connsiteX13" fmla="*/ 375903 w 705261"/>
                <a:gd name="connsiteY13" fmla="*/ 604075 h 732784"/>
                <a:gd name="connsiteX14" fmla="*/ 349046 w 705261"/>
                <a:gd name="connsiteY14" fmla="*/ 613703 h 732784"/>
                <a:gd name="connsiteX15" fmla="*/ 321809 w 705261"/>
                <a:gd name="connsiteY15" fmla="*/ 614970 h 732784"/>
                <a:gd name="connsiteX16" fmla="*/ 295586 w 705261"/>
                <a:gd name="connsiteY16" fmla="*/ 601035 h 732784"/>
                <a:gd name="connsiteX17" fmla="*/ 266956 w 705261"/>
                <a:gd name="connsiteY17" fmla="*/ 609649 h 732784"/>
                <a:gd name="connsiteX18" fmla="*/ 264929 w 705261"/>
                <a:gd name="connsiteY18" fmla="*/ 612943 h 732784"/>
                <a:gd name="connsiteX19" fmla="*/ 210709 w 705261"/>
                <a:gd name="connsiteY19" fmla="*/ 623838 h 732784"/>
                <a:gd name="connsiteX20" fmla="*/ 195380 w 705261"/>
                <a:gd name="connsiteY20" fmla="*/ 582286 h 732784"/>
                <a:gd name="connsiteX21" fmla="*/ 169157 w 705261"/>
                <a:gd name="connsiteY21" fmla="*/ 604582 h 732784"/>
                <a:gd name="connsiteX22" fmla="*/ 137486 w 705261"/>
                <a:gd name="connsiteY22" fmla="*/ 598628 h 732784"/>
                <a:gd name="connsiteX23" fmla="*/ 82506 w 705261"/>
                <a:gd name="connsiteY23" fmla="*/ 580386 h 732784"/>
                <a:gd name="connsiteX24" fmla="*/ 40701 w 705261"/>
                <a:gd name="connsiteY24" fmla="*/ 609269 h 732784"/>
                <a:gd name="connsiteX25" fmla="*/ 37787 w 705261"/>
                <a:gd name="connsiteY25" fmla="*/ 581779 h 732784"/>
                <a:gd name="connsiteX26" fmla="*/ 4216 w 705261"/>
                <a:gd name="connsiteY26" fmla="*/ 552389 h 732784"/>
                <a:gd name="connsiteX27" fmla="*/ 9157 w 705261"/>
                <a:gd name="connsiteY27" fmla="*/ 508430 h 732784"/>
                <a:gd name="connsiteX28" fmla="*/ 29173 w 705261"/>
                <a:gd name="connsiteY28" fmla="*/ 458644 h 732784"/>
                <a:gd name="connsiteX29" fmla="*/ 15618 w 705261"/>
                <a:gd name="connsiteY29" fmla="*/ 412658 h 732784"/>
                <a:gd name="connsiteX30" fmla="*/ 76172 w 705261"/>
                <a:gd name="connsiteY30" fmla="*/ 360085 h 732784"/>
                <a:gd name="connsiteX31" fmla="*/ 124692 w 705261"/>
                <a:gd name="connsiteY31" fmla="*/ 357171 h 732784"/>
                <a:gd name="connsiteX32" fmla="*/ 155222 w 705261"/>
                <a:gd name="connsiteY32" fmla="*/ 317013 h 732784"/>
                <a:gd name="connsiteX33" fmla="*/ 179292 w 705261"/>
                <a:gd name="connsiteY33" fmla="*/ 244930 h 732784"/>
                <a:gd name="connsiteX34" fmla="*/ 215143 w 705261"/>
                <a:gd name="connsiteY34" fmla="*/ 223141 h 732784"/>
                <a:gd name="connsiteX35" fmla="*/ 240353 w 705261"/>
                <a:gd name="connsiteY35" fmla="*/ 180829 h 732784"/>
                <a:gd name="connsiteX36" fmla="*/ 232372 w 705261"/>
                <a:gd name="connsiteY36" fmla="*/ 69095 h 732784"/>
                <a:gd name="connsiteX37" fmla="*/ 297486 w 705261"/>
                <a:gd name="connsiteY37" fmla="*/ 50726 h 732784"/>
                <a:gd name="connsiteX38" fmla="*/ 342966 w 705261"/>
                <a:gd name="connsiteY38" fmla="*/ 5754 h 732784"/>
                <a:gd name="connsiteX39" fmla="*/ 412261 w 705261"/>
                <a:gd name="connsiteY39" fmla="*/ 61621 h 732784"/>
                <a:gd name="connsiteX40" fmla="*/ 492197 w 705261"/>
                <a:gd name="connsiteY40" fmla="*/ 86577 h 732784"/>
                <a:gd name="connsiteX41" fmla="*/ 490044 w 705261"/>
                <a:gd name="connsiteY41" fmla="*/ 92278 h 732784"/>
                <a:gd name="connsiteX42" fmla="*/ 496758 w 705261"/>
                <a:gd name="connsiteY42" fmla="*/ 111027 h 732784"/>
                <a:gd name="connsiteX43" fmla="*/ 510440 w 705261"/>
                <a:gd name="connsiteY43" fmla="*/ 123822 h 732784"/>
                <a:gd name="connsiteX44" fmla="*/ 511073 w 705261"/>
                <a:gd name="connsiteY44" fmla="*/ 145231 h 732784"/>
                <a:gd name="connsiteX45" fmla="*/ 505119 w 705261"/>
                <a:gd name="connsiteY45" fmla="*/ 169174 h 732784"/>
                <a:gd name="connsiteX46" fmla="*/ 522855 w 705261"/>
                <a:gd name="connsiteY46" fmla="*/ 171581 h 732784"/>
                <a:gd name="connsiteX47" fmla="*/ 543124 w 705261"/>
                <a:gd name="connsiteY47" fmla="*/ 161953 h 732784"/>
                <a:gd name="connsiteX48" fmla="*/ 550091 w 705261"/>
                <a:gd name="connsiteY48" fmla="*/ 172975 h 732784"/>
                <a:gd name="connsiteX49" fmla="*/ 554019 w 705261"/>
                <a:gd name="connsiteY49" fmla="*/ 185136 h 732784"/>
                <a:gd name="connsiteX50" fmla="*/ 564153 w 705261"/>
                <a:gd name="connsiteY50" fmla="*/ 203125 h 732784"/>
                <a:gd name="connsiteX51" fmla="*/ 580115 w 705261"/>
                <a:gd name="connsiteY51" fmla="*/ 197298 h 732784"/>
                <a:gd name="connsiteX52" fmla="*/ 599244 w 705261"/>
                <a:gd name="connsiteY52" fmla="*/ 197298 h 732784"/>
                <a:gd name="connsiteX53" fmla="*/ 620400 w 705261"/>
                <a:gd name="connsiteY53" fmla="*/ 235176 h 732784"/>
                <a:gd name="connsiteX54" fmla="*/ 640796 w 705261"/>
                <a:gd name="connsiteY54" fmla="*/ 272927 h 732784"/>
                <a:gd name="connsiteX55" fmla="*/ 636869 w 705261"/>
                <a:gd name="connsiteY55" fmla="*/ 295097 h 732784"/>
                <a:gd name="connsiteX56" fmla="*/ 625847 w 705261"/>
                <a:gd name="connsiteY56" fmla="*/ 306878 h 732784"/>
                <a:gd name="connsiteX57" fmla="*/ 616980 w 705261"/>
                <a:gd name="connsiteY57" fmla="*/ 320813 h 732784"/>
                <a:gd name="connsiteX58" fmla="*/ 605578 w 705261"/>
                <a:gd name="connsiteY58" fmla="*/ 331835 h 732784"/>
                <a:gd name="connsiteX59" fmla="*/ 593037 w 705261"/>
                <a:gd name="connsiteY59" fmla="*/ 348683 h 732784"/>
                <a:gd name="connsiteX60" fmla="*/ 582776 w 705261"/>
                <a:gd name="connsiteY60" fmla="*/ 363378 h 732784"/>
                <a:gd name="connsiteX61" fmla="*/ 584042 w 705261"/>
                <a:gd name="connsiteY61" fmla="*/ 380861 h 732784"/>
                <a:gd name="connsiteX62" fmla="*/ 592530 w 705261"/>
                <a:gd name="connsiteY62" fmla="*/ 398850 h 732784"/>
                <a:gd name="connsiteX63" fmla="*/ 598991 w 705261"/>
                <a:gd name="connsiteY63" fmla="*/ 404044 h 732784"/>
                <a:gd name="connsiteX64" fmla="*/ 601778 w 705261"/>
                <a:gd name="connsiteY64" fmla="*/ 408604 h 732784"/>
                <a:gd name="connsiteX65" fmla="*/ 615206 w 705261"/>
                <a:gd name="connsiteY65" fmla="*/ 413925 h 732784"/>
                <a:gd name="connsiteX66" fmla="*/ 630155 w 705261"/>
                <a:gd name="connsiteY66" fmla="*/ 422666 h 732784"/>
                <a:gd name="connsiteX67" fmla="*/ 633068 w 705261"/>
                <a:gd name="connsiteY67" fmla="*/ 437361 h 732784"/>
                <a:gd name="connsiteX68" fmla="*/ 633575 w 705261"/>
                <a:gd name="connsiteY68" fmla="*/ 448889 h 732784"/>
                <a:gd name="connsiteX69" fmla="*/ 653718 w 705261"/>
                <a:gd name="connsiteY69" fmla="*/ 461051 h 732784"/>
                <a:gd name="connsiteX70" fmla="*/ 681081 w 705261"/>
                <a:gd name="connsiteY70" fmla="*/ 469032 h 732784"/>
                <a:gd name="connsiteX71" fmla="*/ 682728 w 705261"/>
                <a:gd name="connsiteY71" fmla="*/ 512737 h 732784"/>
                <a:gd name="connsiteX72" fmla="*/ 704391 w 705261"/>
                <a:gd name="connsiteY72" fmla="*/ 545168 h 732784"/>
                <a:gd name="connsiteX73" fmla="*/ 691722 w 705261"/>
                <a:gd name="connsiteY73" fmla="*/ 570124 h 73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705261" h="732784">
                  <a:moveTo>
                    <a:pt x="691722" y="570124"/>
                  </a:moveTo>
                  <a:cubicBezTo>
                    <a:pt x="686275" y="576332"/>
                    <a:pt x="682981" y="584313"/>
                    <a:pt x="680574" y="592674"/>
                  </a:cubicBezTo>
                  <a:cubicBezTo>
                    <a:pt x="659799" y="603695"/>
                    <a:pt x="640669" y="612183"/>
                    <a:pt x="616346" y="609649"/>
                  </a:cubicBezTo>
                  <a:cubicBezTo>
                    <a:pt x="600131" y="608002"/>
                    <a:pt x="571881" y="592547"/>
                    <a:pt x="556552" y="601922"/>
                  </a:cubicBezTo>
                  <a:cubicBezTo>
                    <a:pt x="538310" y="612943"/>
                    <a:pt x="549711" y="648414"/>
                    <a:pt x="549331" y="665009"/>
                  </a:cubicBezTo>
                  <a:cubicBezTo>
                    <a:pt x="548444" y="696680"/>
                    <a:pt x="518801" y="704915"/>
                    <a:pt x="493844" y="714922"/>
                  </a:cubicBezTo>
                  <a:cubicBezTo>
                    <a:pt x="482063" y="719736"/>
                    <a:pt x="471422" y="726324"/>
                    <a:pt x="460653" y="732785"/>
                  </a:cubicBezTo>
                  <a:cubicBezTo>
                    <a:pt x="457993" y="729364"/>
                    <a:pt x="455586" y="725690"/>
                    <a:pt x="452039" y="723157"/>
                  </a:cubicBezTo>
                  <a:cubicBezTo>
                    <a:pt x="446338" y="718976"/>
                    <a:pt x="437851" y="722143"/>
                    <a:pt x="431390" y="718343"/>
                  </a:cubicBezTo>
                  <a:cubicBezTo>
                    <a:pt x="421129" y="712262"/>
                    <a:pt x="425943" y="696047"/>
                    <a:pt x="425562" y="686039"/>
                  </a:cubicBezTo>
                  <a:cubicBezTo>
                    <a:pt x="425182" y="675904"/>
                    <a:pt x="423662" y="662222"/>
                    <a:pt x="413528" y="657029"/>
                  </a:cubicBezTo>
                  <a:cubicBezTo>
                    <a:pt x="404533" y="652341"/>
                    <a:pt x="393512" y="655382"/>
                    <a:pt x="383884" y="654495"/>
                  </a:cubicBezTo>
                  <a:cubicBezTo>
                    <a:pt x="372482" y="653481"/>
                    <a:pt x="370962" y="645501"/>
                    <a:pt x="372482" y="635366"/>
                  </a:cubicBezTo>
                  <a:cubicBezTo>
                    <a:pt x="373496" y="628905"/>
                    <a:pt x="381604" y="609523"/>
                    <a:pt x="375903" y="604075"/>
                  </a:cubicBezTo>
                  <a:cubicBezTo>
                    <a:pt x="370202" y="598628"/>
                    <a:pt x="354114" y="611296"/>
                    <a:pt x="349046" y="613703"/>
                  </a:cubicBezTo>
                  <a:cubicBezTo>
                    <a:pt x="339798" y="618390"/>
                    <a:pt x="331057" y="621051"/>
                    <a:pt x="321809" y="614970"/>
                  </a:cubicBezTo>
                  <a:cubicBezTo>
                    <a:pt x="313195" y="609269"/>
                    <a:pt x="306228" y="602808"/>
                    <a:pt x="295586" y="601035"/>
                  </a:cubicBezTo>
                  <a:cubicBezTo>
                    <a:pt x="285705" y="599388"/>
                    <a:pt x="273417" y="601162"/>
                    <a:pt x="266956" y="609649"/>
                  </a:cubicBezTo>
                  <a:cubicBezTo>
                    <a:pt x="266196" y="610663"/>
                    <a:pt x="265436" y="611803"/>
                    <a:pt x="264929" y="612943"/>
                  </a:cubicBezTo>
                  <a:cubicBezTo>
                    <a:pt x="257835" y="611423"/>
                    <a:pt x="219070" y="625865"/>
                    <a:pt x="210709" y="623838"/>
                  </a:cubicBezTo>
                  <a:cubicBezTo>
                    <a:pt x="202348" y="621811"/>
                    <a:pt x="203741" y="595208"/>
                    <a:pt x="195380" y="582286"/>
                  </a:cubicBezTo>
                  <a:cubicBezTo>
                    <a:pt x="187019" y="569364"/>
                    <a:pt x="173591" y="587227"/>
                    <a:pt x="169157" y="604582"/>
                  </a:cubicBezTo>
                  <a:cubicBezTo>
                    <a:pt x="164723" y="621937"/>
                    <a:pt x="152815" y="607622"/>
                    <a:pt x="137486" y="598628"/>
                  </a:cubicBezTo>
                  <a:cubicBezTo>
                    <a:pt x="122158" y="589760"/>
                    <a:pt x="94921" y="582286"/>
                    <a:pt x="82506" y="580386"/>
                  </a:cubicBezTo>
                  <a:cubicBezTo>
                    <a:pt x="70091" y="578359"/>
                    <a:pt x="40701" y="609269"/>
                    <a:pt x="40701" y="609269"/>
                  </a:cubicBezTo>
                  <a:cubicBezTo>
                    <a:pt x="42095" y="599768"/>
                    <a:pt x="43361" y="589887"/>
                    <a:pt x="37787" y="581779"/>
                  </a:cubicBezTo>
                  <a:cubicBezTo>
                    <a:pt x="29046" y="568984"/>
                    <a:pt x="11944" y="567084"/>
                    <a:pt x="4216" y="552389"/>
                  </a:cubicBezTo>
                  <a:cubicBezTo>
                    <a:pt x="-3765" y="537060"/>
                    <a:pt x="543" y="522112"/>
                    <a:pt x="9157" y="508430"/>
                  </a:cubicBezTo>
                  <a:cubicBezTo>
                    <a:pt x="19038" y="492721"/>
                    <a:pt x="29933" y="478153"/>
                    <a:pt x="29173" y="458644"/>
                  </a:cubicBezTo>
                  <a:cubicBezTo>
                    <a:pt x="28540" y="442048"/>
                    <a:pt x="17138" y="428747"/>
                    <a:pt x="15618" y="412658"/>
                  </a:cubicBezTo>
                  <a:cubicBezTo>
                    <a:pt x="12451" y="379087"/>
                    <a:pt x="46022" y="355017"/>
                    <a:pt x="76172" y="360085"/>
                  </a:cubicBezTo>
                  <a:cubicBezTo>
                    <a:pt x="93274" y="362872"/>
                    <a:pt x="109490" y="368699"/>
                    <a:pt x="124692" y="357171"/>
                  </a:cubicBezTo>
                  <a:cubicBezTo>
                    <a:pt x="137233" y="347670"/>
                    <a:pt x="148001" y="330948"/>
                    <a:pt x="155222" y="317013"/>
                  </a:cubicBezTo>
                  <a:cubicBezTo>
                    <a:pt x="166877" y="294337"/>
                    <a:pt x="164723" y="266213"/>
                    <a:pt x="179292" y="244930"/>
                  </a:cubicBezTo>
                  <a:cubicBezTo>
                    <a:pt x="189046" y="230742"/>
                    <a:pt x="201208" y="230362"/>
                    <a:pt x="215143" y="223141"/>
                  </a:cubicBezTo>
                  <a:cubicBezTo>
                    <a:pt x="230851" y="215160"/>
                    <a:pt x="237819" y="197424"/>
                    <a:pt x="240353" y="180829"/>
                  </a:cubicBezTo>
                  <a:cubicBezTo>
                    <a:pt x="241873" y="170948"/>
                    <a:pt x="232878" y="69095"/>
                    <a:pt x="232372" y="69095"/>
                  </a:cubicBezTo>
                  <a:cubicBezTo>
                    <a:pt x="232372" y="69095"/>
                    <a:pt x="285578" y="73529"/>
                    <a:pt x="297486" y="50726"/>
                  </a:cubicBezTo>
                  <a:cubicBezTo>
                    <a:pt x="309395" y="27923"/>
                    <a:pt x="305467" y="-15655"/>
                    <a:pt x="342966" y="5754"/>
                  </a:cubicBezTo>
                  <a:cubicBezTo>
                    <a:pt x="380590" y="27037"/>
                    <a:pt x="393385" y="55667"/>
                    <a:pt x="412261" y="61621"/>
                  </a:cubicBezTo>
                  <a:cubicBezTo>
                    <a:pt x="431010" y="67575"/>
                    <a:pt x="452546" y="92658"/>
                    <a:pt x="492197" y="86577"/>
                  </a:cubicBezTo>
                  <a:cubicBezTo>
                    <a:pt x="491184" y="88224"/>
                    <a:pt x="490424" y="90251"/>
                    <a:pt x="490044" y="92278"/>
                  </a:cubicBezTo>
                  <a:cubicBezTo>
                    <a:pt x="488904" y="99119"/>
                    <a:pt x="492324" y="105960"/>
                    <a:pt x="496758" y="111027"/>
                  </a:cubicBezTo>
                  <a:cubicBezTo>
                    <a:pt x="500939" y="115587"/>
                    <a:pt x="506893" y="118628"/>
                    <a:pt x="510440" y="123822"/>
                  </a:cubicBezTo>
                  <a:cubicBezTo>
                    <a:pt x="514747" y="130409"/>
                    <a:pt x="513353" y="138137"/>
                    <a:pt x="511073" y="145231"/>
                  </a:cubicBezTo>
                  <a:cubicBezTo>
                    <a:pt x="508920" y="151945"/>
                    <a:pt x="502839" y="161953"/>
                    <a:pt x="505119" y="169174"/>
                  </a:cubicBezTo>
                  <a:cubicBezTo>
                    <a:pt x="507653" y="176775"/>
                    <a:pt x="517534" y="173861"/>
                    <a:pt x="522855" y="171581"/>
                  </a:cubicBezTo>
                  <a:cubicBezTo>
                    <a:pt x="528175" y="169428"/>
                    <a:pt x="537170" y="160813"/>
                    <a:pt x="543124" y="161953"/>
                  </a:cubicBezTo>
                  <a:cubicBezTo>
                    <a:pt x="547811" y="162840"/>
                    <a:pt x="549078" y="169174"/>
                    <a:pt x="550091" y="172975"/>
                  </a:cubicBezTo>
                  <a:cubicBezTo>
                    <a:pt x="551105" y="177155"/>
                    <a:pt x="552878" y="180956"/>
                    <a:pt x="554019" y="185136"/>
                  </a:cubicBezTo>
                  <a:cubicBezTo>
                    <a:pt x="555159" y="189064"/>
                    <a:pt x="555539" y="208952"/>
                    <a:pt x="564153" y="203125"/>
                  </a:cubicBezTo>
                  <a:cubicBezTo>
                    <a:pt x="570107" y="199071"/>
                    <a:pt x="572767" y="197931"/>
                    <a:pt x="580115" y="197298"/>
                  </a:cubicBezTo>
                  <a:cubicBezTo>
                    <a:pt x="586576" y="196791"/>
                    <a:pt x="593163" y="194004"/>
                    <a:pt x="599244" y="197298"/>
                  </a:cubicBezTo>
                  <a:cubicBezTo>
                    <a:pt x="611913" y="204265"/>
                    <a:pt x="615460" y="223014"/>
                    <a:pt x="620400" y="235176"/>
                  </a:cubicBezTo>
                  <a:cubicBezTo>
                    <a:pt x="625974" y="248984"/>
                    <a:pt x="638136" y="257092"/>
                    <a:pt x="640796" y="272927"/>
                  </a:cubicBezTo>
                  <a:cubicBezTo>
                    <a:pt x="642063" y="280528"/>
                    <a:pt x="641556" y="288763"/>
                    <a:pt x="636869" y="295097"/>
                  </a:cubicBezTo>
                  <a:cubicBezTo>
                    <a:pt x="633575" y="299404"/>
                    <a:pt x="628888" y="302318"/>
                    <a:pt x="625847" y="306878"/>
                  </a:cubicBezTo>
                  <a:cubicBezTo>
                    <a:pt x="622807" y="311565"/>
                    <a:pt x="621160" y="316886"/>
                    <a:pt x="616980" y="320813"/>
                  </a:cubicBezTo>
                  <a:cubicBezTo>
                    <a:pt x="613179" y="324487"/>
                    <a:pt x="609252" y="327907"/>
                    <a:pt x="605578" y="331835"/>
                  </a:cubicBezTo>
                  <a:cubicBezTo>
                    <a:pt x="600764" y="337155"/>
                    <a:pt x="596964" y="342729"/>
                    <a:pt x="593037" y="348683"/>
                  </a:cubicBezTo>
                  <a:cubicBezTo>
                    <a:pt x="589743" y="353624"/>
                    <a:pt x="583916" y="357424"/>
                    <a:pt x="582776" y="363378"/>
                  </a:cubicBezTo>
                  <a:cubicBezTo>
                    <a:pt x="581635" y="368952"/>
                    <a:pt x="584169" y="375287"/>
                    <a:pt x="584042" y="380861"/>
                  </a:cubicBezTo>
                  <a:cubicBezTo>
                    <a:pt x="583916" y="389095"/>
                    <a:pt x="585436" y="394163"/>
                    <a:pt x="592530" y="398850"/>
                  </a:cubicBezTo>
                  <a:cubicBezTo>
                    <a:pt x="594937" y="400497"/>
                    <a:pt x="597217" y="401763"/>
                    <a:pt x="598991" y="404044"/>
                  </a:cubicBezTo>
                  <a:cubicBezTo>
                    <a:pt x="600004" y="405437"/>
                    <a:pt x="600511" y="407464"/>
                    <a:pt x="601778" y="408604"/>
                  </a:cubicBezTo>
                  <a:cubicBezTo>
                    <a:pt x="604818" y="411391"/>
                    <a:pt x="611406" y="412658"/>
                    <a:pt x="615206" y="413925"/>
                  </a:cubicBezTo>
                  <a:cubicBezTo>
                    <a:pt x="621540" y="416078"/>
                    <a:pt x="627114" y="415825"/>
                    <a:pt x="630155" y="422666"/>
                  </a:cubicBezTo>
                  <a:cubicBezTo>
                    <a:pt x="632182" y="427226"/>
                    <a:pt x="632942" y="432421"/>
                    <a:pt x="633068" y="437361"/>
                  </a:cubicBezTo>
                  <a:cubicBezTo>
                    <a:pt x="633195" y="441035"/>
                    <a:pt x="631928" y="445469"/>
                    <a:pt x="633575" y="448889"/>
                  </a:cubicBezTo>
                  <a:cubicBezTo>
                    <a:pt x="636996" y="455730"/>
                    <a:pt x="646243" y="461051"/>
                    <a:pt x="653718" y="461051"/>
                  </a:cubicBezTo>
                  <a:cubicBezTo>
                    <a:pt x="665499" y="460924"/>
                    <a:pt x="677407" y="452816"/>
                    <a:pt x="681081" y="469032"/>
                  </a:cubicBezTo>
                  <a:cubicBezTo>
                    <a:pt x="684375" y="483347"/>
                    <a:pt x="680068" y="498295"/>
                    <a:pt x="682728" y="512737"/>
                  </a:cubicBezTo>
                  <a:cubicBezTo>
                    <a:pt x="685388" y="527306"/>
                    <a:pt x="699830" y="532246"/>
                    <a:pt x="704391" y="545168"/>
                  </a:cubicBezTo>
                  <a:cubicBezTo>
                    <a:pt x="708318" y="556569"/>
                    <a:pt x="698056" y="563030"/>
                    <a:pt x="691722" y="57012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3" name="Полилиния: фигура 422">
              <a:extLst>
                <a:ext uri="{FF2B5EF4-FFF2-40B4-BE49-F238E27FC236}">
                  <a16:creationId xmlns:a16="http://schemas.microsoft.com/office/drawing/2014/main" id="{FB546CB3-E98F-4395-89EA-AB8B96ECD0CF}"/>
                </a:ext>
              </a:extLst>
            </p:cNvPr>
            <p:cNvSpPr/>
            <p:nvPr/>
          </p:nvSpPr>
          <p:spPr>
            <a:xfrm>
              <a:off x="1706041" y="4697513"/>
              <a:ext cx="365680" cy="641221"/>
            </a:xfrm>
            <a:custGeom>
              <a:avLst/>
              <a:gdLst>
                <a:gd name="connsiteX0" fmla="*/ 357827 w 365680"/>
                <a:gd name="connsiteY0" fmla="*/ 355773 h 641221"/>
                <a:gd name="connsiteX1" fmla="*/ 348579 w 365680"/>
                <a:gd name="connsiteY1" fmla="*/ 400492 h 641221"/>
                <a:gd name="connsiteX2" fmla="*/ 333504 w 365680"/>
                <a:gd name="connsiteY2" fmla="*/ 432289 h 641221"/>
                <a:gd name="connsiteX3" fmla="*/ 327676 w 365680"/>
                <a:gd name="connsiteY3" fmla="*/ 467380 h 641221"/>
                <a:gd name="connsiteX4" fmla="*/ 324382 w 365680"/>
                <a:gd name="connsiteY4" fmla="*/ 497658 h 641221"/>
                <a:gd name="connsiteX5" fmla="*/ 313741 w 365680"/>
                <a:gd name="connsiteY5" fmla="*/ 516913 h 641221"/>
                <a:gd name="connsiteX6" fmla="*/ 286631 w 365680"/>
                <a:gd name="connsiteY6" fmla="*/ 507285 h 641221"/>
                <a:gd name="connsiteX7" fmla="*/ 273709 w 365680"/>
                <a:gd name="connsiteY7" fmla="*/ 523501 h 641221"/>
                <a:gd name="connsiteX8" fmla="*/ 293599 w 365680"/>
                <a:gd name="connsiteY8" fmla="*/ 572780 h 641221"/>
                <a:gd name="connsiteX9" fmla="*/ 316148 w 365680"/>
                <a:gd name="connsiteY9" fmla="*/ 605464 h 641221"/>
                <a:gd name="connsiteX10" fmla="*/ 324256 w 365680"/>
                <a:gd name="connsiteY10" fmla="*/ 621806 h 641221"/>
                <a:gd name="connsiteX11" fmla="*/ 321469 w 365680"/>
                <a:gd name="connsiteY11" fmla="*/ 625353 h 641221"/>
                <a:gd name="connsiteX12" fmla="*/ 322102 w 365680"/>
                <a:gd name="connsiteY12" fmla="*/ 629661 h 641221"/>
                <a:gd name="connsiteX13" fmla="*/ 293345 w 365680"/>
                <a:gd name="connsiteY13" fmla="*/ 639542 h 641221"/>
                <a:gd name="connsiteX14" fmla="*/ 262815 w 365680"/>
                <a:gd name="connsiteY14" fmla="*/ 634348 h 641221"/>
                <a:gd name="connsiteX15" fmla="*/ 248753 w 365680"/>
                <a:gd name="connsiteY15" fmla="*/ 628141 h 641221"/>
                <a:gd name="connsiteX16" fmla="*/ 234311 w 365680"/>
                <a:gd name="connsiteY16" fmla="*/ 635868 h 641221"/>
                <a:gd name="connsiteX17" fmla="*/ 196940 w 365680"/>
                <a:gd name="connsiteY17" fmla="*/ 626494 h 641221"/>
                <a:gd name="connsiteX18" fmla="*/ 154628 w 365680"/>
                <a:gd name="connsiteY18" fmla="*/ 612685 h 641221"/>
                <a:gd name="connsiteX19" fmla="*/ 100281 w 365680"/>
                <a:gd name="connsiteY19" fmla="*/ 596850 h 641221"/>
                <a:gd name="connsiteX20" fmla="*/ 76718 w 365680"/>
                <a:gd name="connsiteY20" fmla="*/ 601157 h 641221"/>
                <a:gd name="connsiteX21" fmla="*/ 65317 w 365680"/>
                <a:gd name="connsiteY21" fmla="*/ 595330 h 641221"/>
                <a:gd name="connsiteX22" fmla="*/ 51255 w 365680"/>
                <a:gd name="connsiteY22" fmla="*/ 586082 h 641221"/>
                <a:gd name="connsiteX23" fmla="*/ 54422 w 365680"/>
                <a:gd name="connsiteY23" fmla="*/ 557072 h 641221"/>
                <a:gd name="connsiteX24" fmla="*/ 39727 w 365680"/>
                <a:gd name="connsiteY24" fmla="*/ 534142 h 641221"/>
                <a:gd name="connsiteX25" fmla="*/ 1975 w 365680"/>
                <a:gd name="connsiteY25" fmla="*/ 494997 h 641221"/>
                <a:gd name="connsiteX26" fmla="*/ 38207 w 365680"/>
                <a:gd name="connsiteY26" fmla="*/ 470547 h 641221"/>
                <a:gd name="connsiteX27" fmla="*/ 60123 w 365680"/>
                <a:gd name="connsiteY27" fmla="*/ 459146 h 641221"/>
                <a:gd name="connsiteX28" fmla="*/ 47961 w 365680"/>
                <a:gd name="connsiteY28" fmla="*/ 446225 h 641221"/>
                <a:gd name="connsiteX29" fmla="*/ 48088 w 365680"/>
                <a:gd name="connsiteY29" fmla="*/ 405939 h 641221"/>
                <a:gd name="connsiteX30" fmla="*/ 35040 w 365680"/>
                <a:gd name="connsiteY30" fmla="*/ 381490 h 641221"/>
                <a:gd name="connsiteX31" fmla="*/ 49481 w 365680"/>
                <a:gd name="connsiteY31" fmla="*/ 372622 h 641221"/>
                <a:gd name="connsiteX32" fmla="*/ 69751 w 365680"/>
                <a:gd name="connsiteY32" fmla="*/ 396058 h 641221"/>
                <a:gd name="connsiteX33" fmla="*/ 94707 w 365680"/>
                <a:gd name="connsiteY33" fmla="*/ 401252 h 641221"/>
                <a:gd name="connsiteX34" fmla="*/ 122957 w 365680"/>
                <a:gd name="connsiteY34" fmla="*/ 401379 h 641221"/>
                <a:gd name="connsiteX35" fmla="*/ 147660 w 365680"/>
                <a:gd name="connsiteY35" fmla="*/ 398592 h 641221"/>
                <a:gd name="connsiteX36" fmla="*/ 147280 w 365680"/>
                <a:gd name="connsiteY36" fmla="*/ 372242 h 641221"/>
                <a:gd name="connsiteX37" fmla="*/ 155261 w 365680"/>
                <a:gd name="connsiteY37" fmla="*/ 348552 h 641221"/>
                <a:gd name="connsiteX38" fmla="*/ 153234 w 365680"/>
                <a:gd name="connsiteY38" fmla="*/ 320302 h 641221"/>
                <a:gd name="connsiteX39" fmla="*/ 166156 w 365680"/>
                <a:gd name="connsiteY39" fmla="*/ 298133 h 641221"/>
                <a:gd name="connsiteX40" fmla="*/ 157922 w 365680"/>
                <a:gd name="connsiteY40" fmla="*/ 282297 h 641221"/>
                <a:gd name="connsiteX41" fmla="*/ 151461 w 365680"/>
                <a:gd name="connsiteY41" fmla="*/ 263295 h 641221"/>
                <a:gd name="connsiteX42" fmla="*/ 169956 w 365680"/>
                <a:gd name="connsiteY42" fmla="*/ 243279 h 641221"/>
                <a:gd name="connsiteX43" fmla="*/ 227977 w 365680"/>
                <a:gd name="connsiteY43" fmla="*/ 233778 h 641221"/>
                <a:gd name="connsiteX44" fmla="*/ 213409 w 365680"/>
                <a:gd name="connsiteY44" fmla="*/ 217436 h 641221"/>
                <a:gd name="connsiteX45" fmla="*/ 196306 w 365680"/>
                <a:gd name="connsiteY45" fmla="*/ 216549 h 641221"/>
                <a:gd name="connsiteX46" fmla="*/ 180724 w 365680"/>
                <a:gd name="connsiteY46" fmla="*/ 213889 h 641221"/>
                <a:gd name="connsiteX47" fmla="*/ 168563 w 365680"/>
                <a:gd name="connsiteY47" fmla="*/ 205654 h 641221"/>
                <a:gd name="connsiteX48" fmla="*/ 163496 w 365680"/>
                <a:gd name="connsiteY48" fmla="*/ 218576 h 641221"/>
                <a:gd name="connsiteX49" fmla="*/ 157542 w 365680"/>
                <a:gd name="connsiteY49" fmla="*/ 197547 h 641221"/>
                <a:gd name="connsiteX50" fmla="*/ 144240 w 365680"/>
                <a:gd name="connsiteY50" fmla="*/ 183738 h 641221"/>
                <a:gd name="connsiteX51" fmla="*/ 151588 w 365680"/>
                <a:gd name="connsiteY51" fmla="*/ 160049 h 641221"/>
                <a:gd name="connsiteX52" fmla="*/ 182245 w 365680"/>
                <a:gd name="connsiteY52" fmla="*/ 147760 h 641221"/>
                <a:gd name="connsiteX53" fmla="*/ 184905 w 365680"/>
                <a:gd name="connsiteY53" fmla="*/ 136993 h 641221"/>
                <a:gd name="connsiteX54" fmla="*/ 161089 w 365680"/>
                <a:gd name="connsiteY54" fmla="*/ 132179 h 641221"/>
                <a:gd name="connsiteX55" fmla="*/ 159949 w 365680"/>
                <a:gd name="connsiteY55" fmla="*/ 116470 h 641221"/>
                <a:gd name="connsiteX56" fmla="*/ 203654 w 365680"/>
                <a:gd name="connsiteY56" fmla="*/ 107602 h 641221"/>
                <a:gd name="connsiteX57" fmla="*/ 179331 w 365680"/>
                <a:gd name="connsiteY57" fmla="*/ 96581 h 641221"/>
                <a:gd name="connsiteX58" fmla="*/ 154501 w 365680"/>
                <a:gd name="connsiteY58" fmla="*/ 76692 h 641221"/>
                <a:gd name="connsiteX59" fmla="*/ 165903 w 365680"/>
                <a:gd name="connsiteY59" fmla="*/ 61870 h 641221"/>
                <a:gd name="connsiteX60" fmla="*/ 169070 w 365680"/>
                <a:gd name="connsiteY60" fmla="*/ 40080 h 641221"/>
                <a:gd name="connsiteX61" fmla="*/ 169956 w 365680"/>
                <a:gd name="connsiteY61" fmla="*/ 12463 h 641221"/>
                <a:gd name="connsiteX62" fmla="*/ 171983 w 365680"/>
                <a:gd name="connsiteY62" fmla="*/ 9170 h 641221"/>
                <a:gd name="connsiteX63" fmla="*/ 200614 w 365680"/>
                <a:gd name="connsiteY63" fmla="*/ 555 h 641221"/>
                <a:gd name="connsiteX64" fmla="*/ 226837 w 365680"/>
                <a:gd name="connsiteY64" fmla="*/ 14490 h 641221"/>
                <a:gd name="connsiteX65" fmla="*/ 254074 w 365680"/>
                <a:gd name="connsiteY65" fmla="*/ 13224 h 641221"/>
                <a:gd name="connsiteX66" fmla="*/ 280930 w 365680"/>
                <a:gd name="connsiteY66" fmla="*/ 3596 h 641221"/>
                <a:gd name="connsiteX67" fmla="*/ 277510 w 365680"/>
                <a:gd name="connsiteY67" fmla="*/ 34887 h 641221"/>
                <a:gd name="connsiteX68" fmla="*/ 288911 w 365680"/>
                <a:gd name="connsiteY68" fmla="*/ 54015 h 641221"/>
                <a:gd name="connsiteX69" fmla="*/ 318555 w 365680"/>
                <a:gd name="connsiteY69" fmla="*/ 56549 h 641221"/>
                <a:gd name="connsiteX70" fmla="*/ 330590 w 365680"/>
                <a:gd name="connsiteY70" fmla="*/ 85560 h 641221"/>
                <a:gd name="connsiteX71" fmla="*/ 336417 w 365680"/>
                <a:gd name="connsiteY71" fmla="*/ 117863 h 641221"/>
                <a:gd name="connsiteX72" fmla="*/ 357066 w 365680"/>
                <a:gd name="connsiteY72" fmla="*/ 122677 h 641221"/>
                <a:gd name="connsiteX73" fmla="*/ 365681 w 365680"/>
                <a:gd name="connsiteY73" fmla="*/ 132305 h 641221"/>
                <a:gd name="connsiteX74" fmla="*/ 343511 w 365680"/>
                <a:gd name="connsiteY74" fmla="*/ 143960 h 641221"/>
                <a:gd name="connsiteX75" fmla="*/ 308420 w 365680"/>
                <a:gd name="connsiteY75" fmla="*/ 183992 h 641221"/>
                <a:gd name="connsiteX76" fmla="*/ 319315 w 365680"/>
                <a:gd name="connsiteY76" fmla="*/ 213509 h 641221"/>
                <a:gd name="connsiteX77" fmla="*/ 295625 w 365680"/>
                <a:gd name="connsiteY77" fmla="*/ 242772 h 641221"/>
                <a:gd name="connsiteX78" fmla="*/ 275990 w 365680"/>
                <a:gd name="connsiteY78" fmla="*/ 266715 h 641221"/>
                <a:gd name="connsiteX79" fmla="*/ 294359 w 365680"/>
                <a:gd name="connsiteY79" fmla="*/ 287871 h 641221"/>
                <a:gd name="connsiteX80" fmla="*/ 317542 w 365680"/>
                <a:gd name="connsiteY80" fmla="*/ 301553 h 641221"/>
                <a:gd name="connsiteX81" fmla="*/ 330210 w 365680"/>
                <a:gd name="connsiteY81" fmla="*/ 325496 h 641221"/>
                <a:gd name="connsiteX82" fmla="*/ 357827 w 365680"/>
                <a:gd name="connsiteY82" fmla="*/ 355773 h 641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65680" h="641221">
                  <a:moveTo>
                    <a:pt x="357827" y="355773"/>
                  </a:moveTo>
                  <a:cubicBezTo>
                    <a:pt x="361247" y="372242"/>
                    <a:pt x="355293" y="386177"/>
                    <a:pt x="348579" y="400492"/>
                  </a:cubicBezTo>
                  <a:cubicBezTo>
                    <a:pt x="343765" y="410753"/>
                    <a:pt x="336291" y="421395"/>
                    <a:pt x="333504" y="432289"/>
                  </a:cubicBezTo>
                  <a:cubicBezTo>
                    <a:pt x="330590" y="443564"/>
                    <a:pt x="329070" y="455852"/>
                    <a:pt x="327676" y="467380"/>
                  </a:cubicBezTo>
                  <a:cubicBezTo>
                    <a:pt x="326409" y="477515"/>
                    <a:pt x="326916" y="487650"/>
                    <a:pt x="324382" y="497658"/>
                  </a:cubicBezTo>
                  <a:cubicBezTo>
                    <a:pt x="323116" y="502978"/>
                    <a:pt x="319568" y="515266"/>
                    <a:pt x="313741" y="516913"/>
                  </a:cubicBezTo>
                  <a:cubicBezTo>
                    <a:pt x="305887" y="519067"/>
                    <a:pt x="294485" y="507919"/>
                    <a:pt x="286631" y="507285"/>
                  </a:cubicBezTo>
                  <a:cubicBezTo>
                    <a:pt x="276750" y="506525"/>
                    <a:pt x="274343" y="515266"/>
                    <a:pt x="273709" y="523501"/>
                  </a:cubicBezTo>
                  <a:cubicBezTo>
                    <a:pt x="272443" y="540476"/>
                    <a:pt x="283717" y="559859"/>
                    <a:pt x="293599" y="572780"/>
                  </a:cubicBezTo>
                  <a:cubicBezTo>
                    <a:pt x="301706" y="583422"/>
                    <a:pt x="306013" y="596597"/>
                    <a:pt x="316148" y="605464"/>
                  </a:cubicBezTo>
                  <a:cubicBezTo>
                    <a:pt x="320962" y="609771"/>
                    <a:pt x="324889" y="614712"/>
                    <a:pt x="324256" y="621806"/>
                  </a:cubicBezTo>
                  <a:cubicBezTo>
                    <a:pt x="324129" y="623200"/>
                    <a:pt x="321722" y="623833"/>
                    <a:pt x="321469" y="625353"/>
                  </a:cubicBezTo>
                  <a:cubicBezTo>
                    <a:pt x="321342" y="626367"/>
                    <a:pt x="322355" y="629154"/>
                    <a:pt x="322102" y="629661"/>
                  </a:cubicBezTo>
                  <a:cubicBezTo>
                    <a:pt x="318682" y="636755"/>
                    <a:pt x="300693" y="638275"/>
                    <a:pt x="293345" y="639542"/>
                  </a:cubicBezTo>
                  <a:cubicBezTo>
                    <a:pt x="282197" y="641569"/>
                    <a:pt x="271302" y="643469"/>
                    <a:pt x="262815" y="634348"/>
                  </a:cubicBezTo>
                  <a:cubicBezTo>
                    <a:pt x="258761" y="629914"/>
                    <a:pt x="255340" y="624720"/>
                    <a:pt x="248753" y="628141"/>
                  </a:cubicBezTo>
                  <a:cubicBezTo>
                    <a:pt x="242292" y="631434"/>
                    <a:pt x="242799" y="634855"/>
                    <a:pt x="234311" y="635868"/>
                  </a:cubicBezTo>
                  <a:cubicBezTo>
                    <a:pt x="221643" y="637262"/>
                    <a:pt x="207834" y="632701"/>
                    <a:pt x="196940" y="626494"/>
                  </a:cubicBezTo>
                  <a:cubicBezTo>
                    <a:pt x="183638" y="618893"/>
                    <a:pt x="170970" y="609645"/>
                    <a:pt x="154628" y="612685"/>
                  </a:cubicBezTo>
                  <a:cubicBezTo>
                    <a:pt x="133599" y="616612"/>
                    <a:pt x="120550" y="598624"/>
                    <a:pt x="100281" y="596850"/>
                  </a:cubicBezTo>
                  <a:cubicBezTo>
                    <a:pt x="91413" y="595963"/>
                    <a:pt x="84952" y="600144"/>
                    <a:pt x="76718" y="601157"/>
                  </a:cubicBezTo>
                  <a:cubicBezTo>
                    <a:pt x="70637" y="601917"/>
                    <a:pt x="69497" y="599510"/>
                    <a:pt x="65317" y="595330"/>
                  </a:cubicBezTo>
                  <a:cubicBezTo>
                    <a:pt x="60756" y="590896"/>
                    <a:pt x="56069" y="587856"/>
                    <a:pt x="51255" y="586082"/>
                  </a:cubicBezTo>
                  <a:cubicBezTo>
                    <a:pt x="53535" y="576961"/>
                    <a:pt x="56576" y="566446"/>
                    <a:pt x="54422" y="557072"/>
                  </a:cubicBezTo>
                  <a:cubicBezTo>
                    <a:pt x="52395" y="548204"/>
                    <a:pt x="45808" y="540476"/>
                    <a:pt x="39727" y="534142"/>
                  </a:cubicBezTo>
                  <a:cubicBezTo>
                    <a:pt x="27312" y="521094"/>
                    <a:pt x="9196" y="512353"/>
                    <a:pt x="1975" y="494997"/>
                  </a:cubicBezTo>
                  <a:cubicBezTo>
                    <a:pt x="-8159" y="470294"/>
                    <a:pt x="23258" y="471561"/>
                    <a:pt x="38207" y="470547"/>
                  </a:cubicBezTo>
                  <a:cubicBezTo>
                    <a:pt x="45934" y="470041"/>
                    <a:pt x="55815" y="465987"/>
                    <a:pt x="60123" y="459146"/>
                  </a:cubicBezTo>
                  <a:cubicBezTo>
                    <a:pt x="65697" y="450278"/>
                    <a:pt x="54422" y="448378"/>
                    <a:pt x="47961" y="446225"/>
                  </a:cubicBezTo>
                  <a:cubicBezTo>
                    <a:pt x="23765" y="438117"/>
                    <a:pt x="55942" y="421775"/>
                    <a:pt x="48088" y="405939"/>
                  </a:cubicBezTo>
                  <a:cubicBezTo>
                    <a:pt x="43907" y="397578"/>
                    <a:pt x="35673" y="391751"/>
                    <a:pt x="35040" y="381490"/>
                  </a:cubicBezTo>
                  <a:cubicBezTo>
                    <a:pt x="34406" y="372115"/>
                    <a:pt x="41500" y="368061"/>
                    <a:pt x="49481" y="372622"/>
                  </a:cubicBezTo>
                  <a:cubicBezTo>
                    <a:pt x="58856" y="377816"/>
                    <a:pt x="62530" y="388711"/>
                    <a:pt x="69751" y="396058"/>
                  </a:cubicBezTo>
                  <a:cubicBezTo>
                    <a:pt x="76718" y="403279"/>
                    <a:pt x="85459" y="402392"/>
                    <a:pt x="94707" y="401252"/>
                  </a:cubicBezTo>
                  <a:cubicBezTo>
                    <a:pt x="104462" y="399985"/>
                    <a:pt x="113203" y="399352"/>
                    <a:pt x="122957" y="401379"/>
                  </a:cubicBezTo>
                  <a:cubicBezTo>
                    <a:pt x="130431" y="402899"/>
                    <a:pt x="142466" y="406573"/>
                    <a:pt x="147660" y="398592"/>
                  </a:cubicBezTo>
                  <a:cubicBezTo>
                    <a:pt x="152601" y="390991"/>
                    <a:pt x="148294" y="380223"/>
                    <a:pt x="147280" y="372242"/>
                  </a:cubicBezTo>
                  <a:cubicBezTo>
                    <a:pt x="146013" y="362487"/>
                    <a:pt x="150067" y="356153"/>
                    <a:pt x="155261" y="348552"/>
                  </a:cubicBezTo>
                  <a:cubicBezTo>
                    <a:pt x="162356" y="338164"/>
                    <a:pt x="153234" y="331197"/>
                    <a:pt x="153234" y="320302"/>
                  </a:cubicBezTo>
                  <a:cubicBezTo>
                    <a:pt x="153234" y="309661"/>
                    <a:pt x="166789" y="308267"/>
                    <a:pt x="166156" y="298133"/>
                  </a:cubicBezTo>
                  <a:cubicBezTo>
                    <a:pt x="165776" y="292305"/>
                    <a:pt x="160709" y="287111"/>
                    <a:pt x="157922" y="282297"/>
                  </a:cubicBezTo>
                  <a:cubicBezTo>
                    <a:pt x="154501" y="276470"/>
                    <a:pt x="151588" y="270136"/>
                    <a:pt x="151461" y="263295"/>
                  </a:cubicBezTo>
                  <a:cubicBezTo>
                    <a:pt x="151207" y="251893"/>
                    <a:pt x="158682" y="243786"/>
                    <a:pt x="169956" y="243279"/>
                  </a:cubicBezTo>
                  <a:cubicBezTo>
                    <a:pt x="179838" y="242899"/>
                    <a:pt x="233298" y="255187"/>
                    <a:pt x="227977" y="233778"/>
                  </a:cubicBezTo>
                  <a:cubicBezTo>
                    <a:pt x="226330" y="227317"/>
                    <a:pt x="218856" y="220856"/>
                    <a:pt x="213409" y="217436"/>
                  </a:cubicBezTo>
                  <a:cubicBezTo>
                    <a:pt x="207328" y="213635"/>
                    <a:pt x="202894" y="214649"/>
                    <a:pt x="196306" y="216549"/>
                  </a:cubicBezTo>
                  <a:cubicBezTo>
                    <a:pt x="189719" y="218323"/>
                    <a:pt x="185538" y="219083"/>
                    <a:pt x="180724" y="213889"/>
                  </a:cubicBezTo>
                  <a:cubicBezTo>
                    <a:pt x="176671" y="209581"/>
                    <a:pt x="175150" y="206034"/>
                    <a:pt x="168563" y="205654"/>
                  </a:cubicBezTo>
                  <a:cubicBezTo>
                    <a:pt x="168436" y="209581"/>
                    <a:pt x="171223" y="223390"/>
                    <a:pt x="163496" y="218576"/>
                  </a:cubicBezTo>
                  <a:cubicBezTo>
                    <a:pt x="156655" y="214395"/>
                    <a:pt x="159695" y="203374"/>
                    <a:pt x="157542" y="197547"/>
                  </a:cubicBezTo>
                  <a:cubicBezTo>
                    <a:pt x="155261" y="191086"/>
                    <a:pt x="147534" y="189566"/>
                    <a:pt x="144240" y="183738"/>
                  </a:cubicBezTo>
                  <a:cubicBezTo>
                    <a:pt x="140693" y="177278"/>
                    <a:pt x="146393" y="164736"/>
                    <a:pt x="151588" y="160049"/>
                  </a:cubicBezTo>
                  <a:cubicBezTo>
                    <a:pt x="160329" y="151941"/>
                    <a:pt x="172870" y="155488"/>
                    <a:pt x="182245" y="147760"/>
                  </a:cubicBezTo>
                  <a:cubicBezTo>
                    <a:pt x="185792" y="144847"/>
                    <a:pt x="191366" y="139273"/>
                    <a:pt x="184905" y="136993"/>
                  </a:cubicBezTo>
                  <a:cubicBezTo>
                    <a:pt x="177051" y="134332"/>
                    <a:pt x="168690" y="137246"/>
                    <a:pt x="161089" y="132179"/>
                  </a:cubicBezTo>
                  <a:cubicBezTo>
                    <a:pt x="155261" y="128251"/>
                    <a:pt x="153234" y="120650"/>
                    <a:pt x="159949" y="116470"/>
                  </a:cubicBezTo>
                  <a:cubicBezTo>
                    <a:pt x="166029" y="112669"/>
                    <a:pt x="204667" y="117990"/>
                    <a:pt x="203654" y="107602"/>
                  </a:cubicBezTo>
                  <a:cubicBezTo>
                    <a:pt x="203147" y="101775"/>
                    <a:pt x="183385" y="98228"/>
                    <a:pt x="179331" y="96581"/>
                  </a:cubicBezTo>
                  <a:cubicBezTo>
                    <a:pt x="170843" y="93287"/>
                    <a:pt x="155768" y="87333"/>
                    <a:pt x="154501" y="76692"/>
                  </a:cubicBezTo>
                  <a:cubicBezTo>
                    <a:pt x="153614" y="68964"/>
                    <a:pt x="161342" y="66304"/>
                    <a:pt x="165903" y="61870"/>
                  </a:cubicBezTo>
                  <a:cubicBezTo>
                    <a:pt x="172110" y="56042"/>
                    <a:pt x="170210" y="47681"/>
                    <a:pt x="169070" y="40080"/>
                  </a:cubicBezTo>
                  <a:cubicBezTo>
                    <a:pt x="167803" y="31339"/>
                    <a:pt x="165903" y="20825"/>
                    <a:pt x="169956" y="12463"/>
                  </a:cubicBezTo>
                  <a:cubicBezTo>
                    <a:pt x="170590" y="11323"/>
                    <a:pt x="171223" y="10183"/>
                    <a:pt x="171983" y="9170"/>
                  </a:cubicBezTo>
                  <a:cubicBezTo>
                    <a:pt x="178444" y="682"/>
                    <a:pt x="190732" y="-1092"/>
                    <a:pt x="200614" y="555"/>
                  </a:cubicBezTo>
                  <a:cubicBezTo>
                    <a:pt x="211255" y="2329"/>
                    <a:pt x="218222" y="8790"/>
                    <a:pt x="226837" y="14490"/>
                  </a:cubicBezTo>
                  <a:cubicBezTo>
                    <a:pt x="236085" y="20445"/>
                    <a:pt x="244826" y="17911"/>
                    <a:pt x="254074" y="13224"/>
                  </a:cubicBezTo>
                  <a:cubicBezTo>
                    <a:pt x="259014" y="10817"/>
                    <a:pt x="275230" y="-1852"/>
                    <a:pt x="280930" y="3596"/>
                  </a:cubicBezTo>
                  <a:cubicBezTo>
                    <a:pt x="286631" y="9043"/>
                    <a:pt x="278523" y="28426"/>
                    <a:pt x="277510" y="34887"/>
                  </a:cubicBezTo>
                  <a:cubicBezTo>
                    <a:pt x="275863" y="45021"/>
                    <a:pt x="277383" y="53002"/>
                    <a:pt x="288911" y="54015"/>
                  </a:cubicBezTo>
                  <a:cubicBezTo>
                    <a:pt x="298539" y="54902"/>
                    <a:pt x="309561" y="51988"/>
                    <a:pt x="318555" y="56549"/>
                  </a:cubicBezTo>
                  <a:cubicBezTo>
                    <a:pt x="328690" y="61870"/>
                    <a:pt x="330210" y="75425"/>
                    <a:pt x="330590" y="85560"/>
                  </a:cubicBezTo>
                  <a:cubicBezTo>
                    <a:pt x="330970" y="95694"/>
                    <a:pt x="326156" y="111909"/>
                    <a:pt x="336417" y="117863"/>
                  </a:cubicBezTo>
                  <a:cubicBezTo>
                    <a:pt x="342878" y="121664"/>
                    <a:pt x="351366" y="118623"/>
                    <a:pt x="357066" y="122677"/>
                  </a:cubicBezTo>
                  <a:cubicBezTo>
                    <a:pt x="360614" y="125211"/>
                    <a:pt x="363147" y="128885"/>
                    <a:pt x="365681" y="132305"/>
                  </a:cubicBezTo>
                  <a:cubicBezTo>
                    <a:pt x="358460" y="136613"/>
                    <a:pt x="351239" y="140666"/>
                    <a:pt x="343511" y="143960"/>
                  </a:cubicBezTo>
                  <a:cubicBezTo>
                    <a:pt x="326029" y="151561"/>
                    <a:pt x="296259" y="159668"/>
                    <a:pt x="308420" y="183992"/>
                  </a:cubicBezTo>
                  <a:cubicBezTo>
                    <a:pt x="313108" y="193366"/>
                    <a:pt x="321215" y="202234"/>
                    <a:pt x="319315" y="213509"/>
                  </a:cubicBezTo>
                  <a:cubicBezTo>
                    <a:pt x="317162" y="226810"/>
                    <a:pt x="305000" y="234538"/>
                    <a:pt x="295625" y="242772"/>
                  </a:cubicBezTo>
                  <a:cubicBezTo>
                    <a:pt x="288278" y="249106"/>
                    <a:pt x="273836" y="254807"/>
                    <a:pt x="275990" y="266715"/>
                  </a:cubicBezTo>
                  <a:cubicBezTo>
                    <a:pt x="277890" y="276343"/>
                    <a:pt x="285998" y="284071"/>
                    <a:pt x="294359" y="287871"/>
                  </a:cubicBezTo>
                  <a:cubicBezTo>
                    <a:pt x="302846" y="291799"/>
                    <a:pt x="310954" y="294206"/>
                    <a:pt x="317542" y="301553"/>
                  </a:cubicBezTo>
                  <a:cubicBezTo>
                    <a:pt x="323749" y="308267"/>
                    <a:pt x="326156" y="317515"/>
                    <a:pt x="330210" y="325496"/>
                  </a:cubicBezTo>
                  <a:cubicBezTo>
                    <a:pt x="337684" y="339431"/>
                    <a:pt x="354533" y="339811"/>
                    <a:pt x="357827" y="35577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4" name="Полилиния: фигура 423">
              <a:extLst>
                <a:ext uri="{FF2B5EF4-FFF2-40B4-BE49-F238E27FC236}">
                  <a16:creationId xmlns:a16="http://schemas.microsoft.com/office/drawing/2014/main" id="{0929F8AB-D215-4AAF-ADA8-F3E554DF28D0}"/>
                </a:ext>
              </a:extLst>
            </p:cNvPr>
            <p:cNvSpPr/>
            <p:nvPr/>
          </p:nvSpPr>
          <p:spPr>
            <a:xfrm>
              <a:off x="1315680" y="4674449"/>
              <a:ext cx="618835" cy="646897"/>
            </a:xfrm>
            <a:custGeom>
              <a:avLst/>
              <a:gdLst>
                <a:gd name="connsiteX0" fmla="*/ 560443 w 618835"/>
                <a:gd name="connsiteY0" fmla="*/ 266090 h 646897"/>
                <a:gd name="connsiteX1" fmla="*/ 541948 w 618835"/>
                <a:gd name="connsiteY1" fmla="*/ 286106 h 646897"/>
                <a:gd name="connsiteX2" fmla="*/ 548409 w 618835"/>
                <a:gd name="connsiteY2" fmla="*/ 305108 h 646897"/>
                <a:gd name="connsiteX3" fmla="*/ 556643 w 618835"/>
                <a:gd name="connsiteY3" fmla="*/ 320944 h 646897"/>
                <a:gd name="connsiteX4" fmla="*/ 543721 w 618835"/>
                <a:gd name="connsiteY4" fmla="*/ 343113 h 646897"/>
                <a:gd name="connsiteX5" fmla="*/ 545748 w 618835"/>
                <a:gd name="connsiteY5" fmla="*/ 371363 h 646897"/>
                <a:gd name="connsiteX6" fmla="*/ 537767 w 618835"/>
                <a:gd name="connsiteY6" fmla="*/ 395053 h 646897"/>
                <a:gd name="connsiteX7" fmla="*/ 538147 w 618835"/>
                <a:gd name="connsiteY7" fmla="*/ 421403 h 646897"/>
                <a:gd name="connsiteX8" fmla="*/ 513444 w 618835"/>
                <a:gd name="connsiteY8" fmla="*/ 424190 h 646897"/>
                <a:gd name="connsiteX9" fmla="*/ 485194 w 618835"/>
                <a:gd name="connsiteY9" fmla="*/ 424063 h 646897"/>
                <a:gd name="connsiteX10" fmla="*/ 460238 w 618835"/>
                <a:gd name="connsiteY10" fmla="*/ 418869 h 646897"/>
                <a:gd name="connsiteX11" fmla="*/ 439968 w 618835"/>
                <a:gd name="connsiteY11" fmla="*/ 395433 h 646897"/>
                <a:gd name="connsiteX12" fmla="*/ 425527 w 618835"/>
                <a:gd name="connsiteY12" fmla="*/ 404301 h 646897"/>
                <a:gd name="connsiteX13" fmla="*/ 438575 w 618835"/>
                <a:gd name="connsiteY13" fmla="*/ 428751 h 646897"/>
                <a:gd name="connsiteX14" fmla="*/ 438448 w 618835"/>
                <a:gd name="connsiteY14" fmla="*/ 469036 h 646897"/>
                <a:gd name="connsiteX15" fmla="*/ 450610 w 618835"/>
                <a:gd name="connsiteY15" fmla="*/ 481957 h 646897"/>
                <a:gd name="connsiteX16" fmla="*/ 428694 w 618835"/>
                <a:gd name="connsiteY16" fmla="*/ 493359 h 646897"/>
                <a:gd name="connsiteX17" fmla="*/ 392462 w 618835"/>
                <a:gd name="connsiteY17" fmla="*/ 517808 h 646897"/>
                <a:gd name="connsiteX18" fmla="*/ 430214 w 618835"/>
                <a:gd name="connsiteY18" fmla="*/ 556953 h 646897"/>
                <a:gd name="connsiteX19" fmla="*/ 444909 w 618835"/>
                <a:gd name="connsiteY19" fmla="*/ 579883 h 646897"/>
                <a:gd name="connsiteX20" fmla="*/ 441742 w 618835"/>
                <a:gd name="connsiteY20" fmla="*/ 608893 h 646897"/>
                <a:gd name="connsiteX21" fmla="*/ 404751 w 618835"/>
                <a:gd name="connsiteY21" fmla="*/ 611173 h 646897"/>
                <a:gd name="connsiteX22" fmla="*/ 365479 w 618835"/>
                <a:gd name="connsiteY22" fmla="*/ 627896 h 646897"/>
                <a:gd name="connsiteX23" fmla="*/ 313159 w 618835"/>
                <a:gd name="connsiteY23" fmla="*/ 646391 h 646897"/>
                <a:gd name="connsiteX24" fmla="*/ 296691 w 618835"/>
                <a:gd name="connsiteY24" fmla="*/ 646898 h 646897"/>
                <a:gd name="connsiteX25" fmla="*/ 278828 w 618835"/>
                <a:gd name="connsiteY25" fmla="*/ 600279 h 646897"/>
                <a:gd name="connsiteX26" fmla="*/ 247411 w 618835"/>
                <a:gd name="connsiteY26" fmla="*/ 554039 h 646897"/>
                <a:gd name="connsiteX27" fmla="*/ 207379 w 618835"/>
                <a:gd name="connsiteY27" fmla="*/ 515401 h 646897"/>
                <a:gd name="connsiteX28" fmla="*/ 201299 w 618835"/>
                <a:gd name="connsiteY28" fmla="*/ 513628 h 646897"/>
                <a:gd name="connsiteX29" fmla="*/ 173682 w 618835"/>
                <a:gd name="connsiteY29" fmla="*/ 367436 h 646897"/>
                <a:gd name="connsiteX30" fmla="*/ 163167 w 618835"/>
                <a:gd name="connsiteY30" fmla="*/ 257856 h 646897"/>
                <a:gd name="connsiteX31" fmla="*/ 135424 w 618835"/>
                <a:gd name="connsiteY31" fmla="*/ 173359 h 646897"/>
                <a:gd name="connsiteX32" fmla="*/ 127823 w 618835"/>
                <a:gd name="connsiteY32" fmla="*/ 149416 h 646897"/>
                <a:gd name="connsiteX33" fmla="*/ 132383 w 618835"/>
                <a:gd name="connsiteY33" fmla="*/ 125219 h 646897"/>
                <a:gd name="connsiteX34" fmla="*/ 115408 w 618835"/>
                <a:gd name="connsiteY34" fmla="*/ 111791 h 646897"/>
                <a:gd name="connsiteX35" fmla="*/ 96532 w 618835"/>
                <a:gd name="connsiteY35" fmla="*/ 105457 h 646897"/>
                <a:gd name="connsiteX36" fmla="*/ 90831 w 618835"/>
                <a:gd name="connsiteY36" fmla="*/ 105203 h 646897"/>
                <a:gd name="connsiteX37" fmla="*/ 61694 w 618835"/>
                <a:gd name="connsiteY37" fmla="*/ 102290 h 646897"/>
                <a:gd name="connsiteX38" fmla="*/ 44339 w 618835"/>
                <a:gd name="connsiteY38" fmla="*/ 93042 h 646897"/>
                <a:gd name="connsiteX39" fmla="*/ 55360 w 618835"/>
                <a:gd name="connsiteY39" fmla="*/ 66692 h 646897"/>
                <a:gd name="connsiteX40" fmla="*/ 2534 w 618835"/>
                <a:gd name="connsiteY40" fmla="*/ 50983 h 646897"/>
                <a:gd name="connsiteX41" fmla="*/ 0 w 618835"/>
                <a:gd name="connsiteY41" fmla="*/ 21213 h 646897"/>
                <a:gd name="connsiteX42" fmla="*/ 21156 w 618835"/>
                <a:gd name="connsiteY42" fmla="*/ 15006 h 646897"/>
                <a:gd name="connsiteX43" fmla="*/ 54854 w 618835"/>
                <a:gd name="connsiteY43" fmla="*/ 24887 h 646897"/>
                <a:gd name="connsiteX44" fmla="*/ 81204 w 618835"/>
                <a:gd name="connsiteY44" fmla="*/ 20453 h 646897"/>
                <a:gd name="connsiteX45" fmla="*/ 118195 w 618835"/>
                <a:gd name="connsiteY45" fmla="*/ 26154 h 646897"/>
                <a:gd name="connsiteX46" fmla="*/ 118955 w 618835"/>
                <a:gd name="connsiteY46" fmla="*/ 71253 h 646897"/>
                <a:gd name="connsiteX47" fmla="*/ 119968 w 618835"/>
                <a:gd name="connsiteY47" fmla="*/ 70113 h 646897"/>
                <a:gd name="connsiteX48" fmla="*/ 147205 w 618835"/>
                <a:gd name="connsiteY48" fmla="*/ 71886 h 646897"/>
                <a:gd name="connsiteX49" fmla="*/ 158987 w 618835"/>
                <a:gd name="connsiteY49" fmla="*/ 77714 h 646897"/>
                <a:gd name="connsiteX50" fmla="*/ 163167 w 618835"/>
                <a:gd name="connsiteY50" fmla="*/ 94689 h 646897"/>
                <a:gd name="connsiteX51" fmla="*/ 163420 w 618835"/>
                <a:gd name="connsiteY51" fmla="*/ 127500 h 646897"/>
                <a:gd name="connsiteX52" fmla="*/ 194331 w 618835"/>
                <a:gd name="connsiteY52" fmla="*/ 155370 h 646897"/>
                <a:gd name="connsiteX53" fmla="*/ 230309 w 618835"/>
                <a:gd name="connsiteY53" fmla="*/ 175006 h 646897"/>
                <a:gd name="connsiteX54" fmla="*/ 282755 w 618835"/>
                <a:gd name="connsiteY54" fmla="*/ 145742 h 646897"/>
                <a:gd name="connsiteX55" fmla="*/ 328614 w 618835"/>
                <a:gd name="connsiteY55" fmla="*/ 135734 h 646897"/>
                <a:gd name="connsiteX56" fmla="*/ 381821 w 618835"/>
                <a:gd name="connsiteY56" fmla="*/ 56177 h 646897"/>
                <a:gd name="connsiteX57" fmla="*/ 337989 w 618835"/>
                <a:gd name="connsiteY57" fmla="*/ 56177 h 646897"/>
                <a:gd name="connsiteX58" fmla="*/ 336215 w 618835"/>
                <a:gd name="connsiteY58" fmla="*/ 31348 h 646897"/>
                <a:gd name="connsiteX59" fmla="*/ 378021 w 618835"/>
                <a:gd name="connsiteY59" fmla="*/ 2464 h 646897"/>
                <a:gd name="connsiteX60" fmla="*/ 433001 w 618835"/>
                <a:gd name="connsiteY60" fmla="*/ 20706 h 646897"/>
                <a:gd name="connsiteX61" fmla="*/ 464671 w 618835"/>
                <a:gd name="connsiteY61" fmla="*/ 26661 h 646897"/>
                <a:gd name="connsiteX62" fmla="*/ 490895 w 618835"/>
                <a:gd name="connsiteY62" fmla="*/ 4364 h 646897"/>
                <a:gd name="connsiteX63" fmla="*/ 506223 w 618835"/>
                <a:gd name="connsiteY63" fmla="*/ 45916 h 646897"/>
                <a:gd name="connsiteX64" fmla="*/ 560443 w 618835"/>
                <a:gd name="connsiteY64" fmla="*/ 35022 h 646897"/>
                <a:gd name="connsiteX65" fmla="*/ 559557 w 618835"/>
                <a:gd name="connsiteY65" fmla="*/ 62638 h 646897"/>
                <a:gd name="connsiteX66" fmla="*/ 556390 w 618835"/>
                <a:gd name="connsiteY66" fmla="*/ 84428 h 646897"/>
                <a:gd name="connsiteX67" fmla="*/ 544988 w 618835"/>
                <a:gd name="connsiteY67" fmla="*/ 99249 h 646897"/>
                <a:gd name="connsiteX68" fmla="*/ 569818 w 618835"/>
                <a:gd name="connsiteY68" fmla="*/ 119139 h 646897"/>
                <a:gd name="connsiteX69" fmla="*/ 594141 w 618835"/>
                <a:gd name="connsiteY69" fmla="*/ 130160 h 646897"/>
                <a:gd name="connsiteX70" fmla="*/ 550436 w 618835"/>
                <a:gd name="connsiteY70" fmla="*/ 139028 h 646897"/>
                <a:gd name="connsiteX71" fmla="*/ 551576 w 618835"/>
                <a:gd name="connsiteY71" fmla="*/ 154736 h 646897"/>
                <a:gd name="connsiteX72" fmla="*/ 575392 w 618835"/>
                <a:gd name="connsiteY72" fmla="*/ 159550 h 646897"/>
                <a:gd name="connsiteX73" fmla="*/ 572732 w 618835"/>
                <a:gd name="connsiteY73" fmla="*/ 170318 h 646897"/>
                <a:gd name="connsiteX74" fmla="*/ 542074 w 618835"/>
                <a:gd name="connsiteY74" fmla="*/ 182607 h 646897"/>
                <a:gd name="connsiteX75" fmla="*/ 534727 w 618835"/>
                <a:gd name="connsiteY75" fmla="*/ 206296 h 646897"/>
                <a:gd name="connsiteX76" fmla="*/ 548029 w 618835"/>
                <a:gd name="connsiteY76" fmla="*/ 220105 h 646897"/>
                <a:gd name="connsiteX77" fmla="*/ 553983 w 618835"/>
                <a:gd name="connsiteY77" fmla="*/ 241134 h 646897"/>
                <a:gd name="connsiteX78" fmla="*/ 559050 w 618835"/>
                <a:gd name="connsiteY78" fmla="*/ 228212 h 646897"/>
                <a:gd name="connsiteX79" fmla="*/ 571211 w 618835"/>
                <a:gd name="connsiteY79" fmla="*/ 236447 h 646897"/>
                <a:gd name="connsiteX80" fmla="*/ 586793 w 618835"/>
                <a:gd name="connsiteY80" fmla="*/ 239107 h 646897"/>
                <a:gd name="connsiteX81" fmla="*/ 603896 w 618835"/>
                <a:gd name="connsiteY81" fmla="*/ 239994 h 646897"/>
                <a:gd name="connsiteX82" fmla="*/ 618464 w 618835"/>
                <a:gd name="connsiteY82" fmla="*/ 256336 h 646897"/>
                <a:gd name="connsiteX83" fmla="*/ 560443 w 618835"/>
                <a:gd name="connsiteY83" fmla="*/ 266090 h 64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618835" h="646897">
                  <a:moveTo>
                    <a:pt x="560443" y="266090"/>
                  </a:moveTo>
                  <a:cubicBezTo>
                    <a:pt x="549169" y="266597"/>
                    <a:pt x="541568" y="274705"/>
                    <a:pt x="541948" y="286106"/>
                  </a:cubicBezTo>
                  <a:cubicBezTo>
                    <a:pt x="542201" y="292947"/>
                    <a:pt x="544988" y="299281"/>
                    <a:pt x="548409" y="305108"/>
                  </a:cubicBezTo>
                  <a:cubicBezTo>
                    <a:pt x="551196" y="309796"/>
                    <a:pt x="556263" y="315116"/>
                    <a:pt x="556643" y="320944"/>
                  </a:cubicBezTo>
                  <a:cubicBezTo>
                    <a:pt x="557276" y="331079"/>
                    <a:pt x="543721" y="332472"/>
                    <a:pt x="543721" y="343113"/>
                  </a:cubicBezTo>
                  <a:cubicBezTo>
                    <a:pt x="543721" y="354008"/>
                    <a:pt x="552843" y="360975"/>
                    <a:pt x="545748" y="371363"/>
                  </a:cubicBezTo>
                  <a:cubicBezTo>
                    <a:pt x="540554" y="378965"/>
                    <a:pt x="536501" y="385299"/>
                    <a:pt x="537767" y="395053"/>
                  </a:cubicBezTo>
                  <a:cubicBezTo>
                    <a:pt x="538781" y="403034"/>
                    <a:pt x="543088" y="413802"/>
                    <a:pt x="538147" y="421403"/>
                  </a:cubicBezTo>
                  <a:cubicBezTo>
                    <a:pt x="532953" y="429257"/>
                    <a:pt x="520919" y="425710"/>
                    <a:pt x="513444" y="424190"/>
                  </a:cubicBezTo>
                  <a:cubicBezTo>
                    <a:pt x="503690" y="422163"/>
                    <a:pt x="495075" y="422797"/>
                    <a:pt x="485194" y="424063"/>
                  </a:cubicBezTo>
                  <a:cubicBezTo>
                    <a:pt x="475946" y="425330"/>
                    <a:pt x="467205" y="426090"/>
                    <a:pt x="460238" y="418869"/>
                  </a:cubicBezTo>
                  <a:cubicBezTo>
                    <a:pt x="453017" y="411395"/>
                    <a:pt x="449470" y="400627"/>
                    <a:pt x="439968" y="395433"/>
                  </a:cubicBezTo>
                  <a:cubicBezTo>
                    <a:pt x="431861" y="390873"/>
                    <a:pt x="424893" y="394926"/>
                    <a:pt x="425527" y="404301"/>
                  </a:cubicBezTo>
                  <a:cubicBezTo>
                    <a:pt x="426160" y="414435"/>
                    <a:pt x="434394" y="420263"/>
                    <a:pt x="438575" y="428751"/>
                  </a:cubicBezTo>
                  <a:cubicBezTo>
                    <a:pt x="446429" y="444586"/>
                    <a:pt x="414125" y="460928"/>
                    <a:pt x="438448" y="469036"/>
                  </a:cubicBezTo>
                  <a:cubicBezTo>
                    <a:pt x="444909" y="471189"/>
                    <a:pt x="456310" y="473090"/>
                    <a:pt x="450610" y="481957"/>
                  </a:cubicBezTo>
                  <a:cubicBezTo>
                    <a:pt x="446176" y="488798"/>
                    <a:pt x="436421" y="492852"/>
                    <a:pt x="428694" y="493359"/>
                  </a:cubicBezTo>
                  <a:cubicBezTo>
                    <a:pt x="413618" y="494372"/>
                    <a:pt x="382328" y="493105"/>
                    <a:pt x="392462" y="517808"/>
                  </a:cubicBezTo>
                  <a:cubicBezTo>
                    <a:pt x="399557" y="535291"/>
                    <a:pt x="417799" y="543905"/>
                    <a:pt x="430214" y="556953"/>
                  </a:cubicBezTo>
                  <a:cubicBezTo>
                    <a:pt x="436295" y="563414"/>
                    <a:pt x="442882" y="571015"/>
                    <a:pt x="444909" y="579883"/>
                  </a:cubicBezTo>
                  <a:cubicBezTo>
                    <a:pt x="447063" y="589258"/>
                    <a:pt x="444022" y="599772"/>
                    <a:pt x="441742" y="608893"/>
                  </a:cubicBezTo>
                  <a:cubicBezTo>
                    <a:pt x="430340" y="604712"/>
                    <a:pt x="417926" y="606993"/>
                    <a:pt x="404751" y="611173"/>
                  </a:cubicBezTo>
                  <a:cubicBezTo>
                    <a:pt x="390562" y="615734"/>
                    <a:pt x="377767" y="619281"/>
                    <a:pt x="365479" y="627896"/>
                  </a:cubicBezTo>
                  <a:cubicBezTo>
                    <a:pt x="349517" y="639044"/>
                    <a:pt x="332668" y="645251"/>
                    <a:pt x="313159" y="646391"/>
                  </a:cubicBezTo>
                  <a:cubicBezTo>
                    <a:pt x="307712" y="646771"/>
                    <a:pt x="302138" y="646771"/>
                    <a:pt x="296691" y="646898"/>
                  </a:cubicBezTo>
                  <a:cubicBezTo>
                    <a:pt x="293650" y="630176"/>
                    <a:pt x="289976" y="612947"/>
                    <a:pt x="278828" y="600279"/>
                  </a:cubicBezTo>
                  <a:cubicBezTo>
                    <a:pt x="266287" y="585837"/>
                    <a:pt x="257546" y="570128"/>
                    <a:pt x="247411" y="554039"/>
                  </a:cubicBezTo>
                  <a:cubicBezTo>
                    <a:pt x="237783" y="538965"/>
                    <a:pt x="224481" y="522369"/>
                    <a:pt x="207379" y="515401"/>
                  </a:cubicBezTo>
                  <a:cubicBezTo>
                    <a:pt x="205352" y="514641"/>
                    <a:pt x="203325" y="514008"/>
                    <a:pt x="201299" y="513628"/>
                  </a:cubicBezTo>
                  <a:cubicBezTo>
                    <a:pt x="258686" y="477650"/>
                    <a:pt x="192177" y="393280"/>
                    <a:pt x="173682" y="367436"/>
                  </a:cubicBezTo>
                  <a:cubicBezTo>
                    <a:pt x="155186" y="341720"/>
                    <a:pt x="159873" y="284333"/>
                    <a:pt x="163167" y="257856"/>
                  </a:cubicBezTo>
                  <a:cubicBezTo>
                    <a:pt x="166461" y="231506"/>
                    <a:pt x="161140" y="230873"/>
                    <a:pt x="135424" y="173359"/>
                  </a:cubicBezTo>
                  <a:cubicBezTo>
                    <a:pt x="132003" y="165758"/>
                    <a:pt x="129090" y="157777"/>
                    <a:pt x="127823" y="149416"/>
                  </a:cubicBezTo>
                  <a:cubicBezTo>
                    <a:pt x="126429" y="139661"/>
                    <a:pt x="129850" y="134087"/>
                    <a:pt x="132383" y="125219"/>
                  </a:cubicBezTo>
                  <a:cubicBezTo>
                    <a:pt x="135550" y="114578"/>
                    <a:pt x="122755" y="114071"/>
                    <a:pt x="115408" y="111791"/>
                  </a:cubicBezTo>
                  <a:cubicBezTo>
                    <a:pt x="109074" y="109764"/>
                    <a:pt x="102740" y="107610"/>
                    <a:pt x="96532" y="105457"/>
                  </a:cubicBezTo>
                  <a:cubicBezTo>
                    <a:pt x="94885" y="105457"/>
                    <a:pt x="92858" y="105457"/>
                    <a:pt x="90831" y="105203"/>
                  </a:cubicBezTo>
                  <a:cubicBezTo>
                    <a:pt x="81077" y="104570"/>
                    <a:pt x="71449" y="103176"/>
                    <a:pt x="61694" y="102290"/>
                  </a:cubicBezTo>
                  <a:cubicBezTo>
                    <a:pt x="52827" y="101403"/>
                    <a:pt x="42439" y="105203"/>
                    <a:pt x="44339" y="93042"/>
                  </a:cubicBezTo>
                  <a:cubicBezTo>
                    <a:pt x="45859" y="83034"/>
                    <a:pt x="55614" y="78474"/>
                    <a:pt x="55360" y="66692"/>
                  </a:cubicBezTo>
                  <a:cubicBezTo>
                    <a:pt x="38005" y="59851"/>
                    <a:pt x="12035" y="72139"/>
                    <a:pt x="2534" y="50983"/>
                  </a:cubicBezTo>
                  <a:cubicBezTo>
                    <a:pt x="-1900" y="41229"/>
                    <a:pt x="1394" y="31094"/>
                    <a:pt x="0" y="21213"/>
                  </a:cubicBezTo>
                  <a:cubicBezTo>
                    <a:pt x="0" y="21213"/>
                    <a:pt x="11275" y="12979"/>
                    <a:pt x="21156" y="15006"/>
                  </a:cubicBezTo>
                  <a:cubicBezTo>
                    <a:pt x="31037" y="17033"/>
                    <a:pt x="44972" y="30208"/>
                    <a:pt x="54854" y="24887"/>
                  </a:cubicBezTo>
                  <a:cubicBezTo>
                    <a:pt x="64735" y="19566"/>
                    <a:pt x="73349" y="20580"/>
                    <a:pt x="81204" y="20453"/>
                  </a:cubicBezTo>
                  <a:cubicBezTo>
                    <a:pt x="89184" y="20326"/>
                    <a:pt x="114901" y="4998"/>
                    <a:pt x="118195" y="26154"/>
                  </a:cubicBezTo>
                  <a:cubicBezTo>
                    <a:pt x="120475" y="40849"/>
                    <a:pt x="114648" y="54024"/>
                    <a:pt x="118955" y="71253"/>
                  </a:cubicBezTo>
                  <a:cubicBezTo>
                    <a:pt x="119208" y="70873"/>
                    <a:pt x="119588" y="70493"/>
                    <a:pt x="119968" y="70113"/>
                  </a:cubicBezTo>
                  <a:cubicBezTo>
                    <a:pt x="126556" y="64158"/>
                    <a:pt x="140238" y="69859"/>
                    <a:pt x="147205" y="71886"/>
                  </a:cubicBezTo>
                  <a:cubicBezTo>
                    <a:pt x="151892" y="73153"/>
                    <a:pt x="156200" y="73153"/>
                    <a:pt x="158987" y="77714"/>
                  </a:cubicBezTo>
                  <a:cubicBezTo>
                    <a:pt x="161900" y="82654"/>
                    <a:pt x="162660" y="89115"/>
                    <a:pt x="163167" y="94689"/>
                  </a:cubicBezTo>
                  <a:cubicBezTo>
                    <a:pt x="164054" y="105583"/>
                    <a:pt x="162787" y="116605"/>
                    <a:pt x="163420" y="127500"/>
                  </a:cubicBezTo>
                  <a:cubicBezTo>
                    <a:pt x="164687" y="149036"/>
                    <a:pt x="177736" y="147515"/>
                    <a:pt x="194331" y="155370"/>
                  </a:cubicBezTo>
                  <a:cubicBezTo>
                    <a:pt x="206619" y="161197"/>
                    <a:pt x="215867" y="177159"/>
                    <a:pt x="230309" y="175006"/>
                  </a:cubicBezTo>
                  <a:cubicBezTo>
                    <a:pt x="249185" y="172219"/>
                    <a:pt x="264766" y="152329"/>
                    <a:pt x="282755" y="145742"/>
                  </a:cubicBezTo>
                  <a:cubicBezTo>
                    <a:pt x="297704" y="140295"/>
                    <a:pt x="313919" y="142195"/>
                    <a:pt x="328614" y="135734"/>
                  </a:cubicBezTo>
                  <a:cubicBezTo>
                    <a:pt x="343816" y="129020"/>
                    <a:pt x="410578" y="67959"/>
                    <a:pt x="381821" y="56177"/>
                  </a:cubicBezTo>
                  <a:cubicBezTo>
                    <a:pt x="369153" y="50983"/>
                    <a:pt x="346730" y="70239"/>
                    <a:pt x="337989" y="56177"/>
                  </a:cubicBezTo>
                  <a:cubicBezTo>
                    <a:pt x="333682" y="49210"/>
                    <a:pt x="334949" y="40469"/>
                    <a:pt x="336215" y="31348"/>
                  </a:cubicBezTo>
                  <a:cubicBezTo>
                    <a:pt x="336215" y="31348"/>
                    <a:pt x="365732" y="564"/>
                    <a:pt x="378021" y="2464"/>
                  </a:cubicBezTo>
                  <a:cubicBezTo>
                    <a:pt x="390436" y="4491"/>
                    <a:pt x="417546" y="11838"/>
                    <a:pt x="433001" y="20706"/>
                  </a:cubicBezTo>
                  <a:cubicBezTo>
                    <a:pt x="448329" y="29701"/>
                    <a:pt x="460238" y="44016"/>
                    <a:pt x="464671" y="26661"/>
                  </a:cubicBezTo>
                  <a:cubicBezTo>
                    <a:pt x="469105" y="9305"/>
                    <a:pt x="482534" y="-8431"/>
                    <a:pt x="490895" y="4364"/>
                  </a:cubicBezTo>
                  <a:cubicBezTo>
                    <a:pt x="499383" y="17286"/>
                    <a:pt x="497862" y="43889"/>
                    <a:pt x="506223" y="45916"/>
                  </a:cubicBezTo>
                  <a:cubicBezTo>
                    <a:pt x="514584" y="47943"/>
                    <a:pt x="553476" y="33501"/>
                    <a:pt x="560443" y="35022"/>
                  </a:cubicBezTo>
                  <a:cubicBezTo>
                    <a:pt x="556390" y="43382"/>
                    <a:pt x="558290" y="53897"/>
                    <a:pt x="559557" y="62638"/>
                  </a:cubicBezTo>
                  <a:cubicBezTo>
                    <a:pt x="560697" y="70239"/>
                    <a:pt x="562724" y="78600"/>
                    <a:pt x="556390" y="84428"/>
                  </a:cubicBezTo>
                  <a:cubicBezTo>
                    <a:pt x="551702" y="88735"/>
                    <a:pt x="543975" y="91395"/>
                    <a:pt x="544988" y="99249"/>
                  </a:cubicBezTo>
                  <a:cubicBezTo>
                    <a:pt x="546255" y="109891"/>
                    <a:pt x="561330" y="115845"/>
                    <a:pt x="569818" y="119139"/>
                  </a:cubicBezTo>
                  <a:cubicBezTo>
                    <a:pt x="573872" y="120659"/>
                    <a:pt x="593634" y="124206"/>
                    <a:pt x="594141" y="130160"/>
                  </a:cubicBezTo>
                  <a:cubicBezTo>
                    <a:pt x="595154" y="140548"/>
                    <a:pt x="556390" y="135227"/>
                    <a:pt x="550436" y="139028"/>
                  </a:cubicBezTo>
                  <a:cubicBezTo>
                    <a:pt x="543721" y="143208"/>
                    <a:pt x="545748" y="150809"/>
                    <a:pt x="551576" y="154736"/>
                  </a:cubicBezTo>
                  <a:cubicBezTo>
                    <a:pt x="559050" y="159804"/>
                    <a:pt x="567538" y="156890"/>
                    <a:pt x="575392" y="159550"/>
                  </a:cubicBezTo>
                  <a:cubicBezTo>
                    <a:pt x="581979" y="161831"/>
                    <a:pt x="576279" y="167405"/>
                    <a:pt x="572732" y="170318"/>
                  </a:cubicBezTo>
                  <a:cubicBezTo>
                    <a:pt x="563484" y="178046"/>
                    <a:pt x="550816" y="174499"/>
                    <a:pt x="542074" y="182607"/>
                  </a:cubicBezTo>
                  <a:cubicBezTo>
                    <a:pt x="536881" y="187421"/>
                    <a:pt x="531053" y="199962"/>
                    <a:pt x="534727" y="206296"/>
                  </a:cubicBezTo>
                  <a:cubicBezTo>
                    <a:pt x="538021" y="212123"/>
                    <a:pt x="545748" y="213644"/>
                    <a:pt x="548029" y="220105"/>
                  </a:cubicBezTo>
                  <a:cubicBezTo>
                    <a:pt x="550182" y="226059"/>
                    <a:pt x="547142" y="236953"/>
                    <a:pt x="553983" y="241134"/>
                  </a:cubicBezTo>
                  <a:cubicBezTo>
                    <a:pt x="561710" y="245948"/>
                    <a:pt x="558923" y="232140"/>
                    <a:pt x="559050" y="228212"/>
                  </a:cubicBezTo>
                  <a:cubicBezTo>
                    <a:pt x="565637" y="228592"/>
                    <a:pt x="567158" y="232140"/>
                    <a:pt x="571211" y="236447"/>
                  </a:cubicBezTo>
                  <a:cubicBezTo>
                    <a:pt x="576025" y="241641"/>
                    <a:pt x="580206" y="240881"/>
                    <a:pt x="586793" y="239107"/>
                  </a:cubicBezTo>
                  <a:cubicBezTo>
                    <a:pt x="593381" y="237207"/>
                    <a:pt x="597815" y="236193"/>
                    <a:pt x="603896" y="239994"/>
                  </a:cubicBezTo>
                  <a:cubicBezTo>
                    <a:pt x="609343" y="243414"/>
                    <a:pt x="616817" y="249875"/>
                    <a:pt x="618464" y="256336"/>
                  </a:cubicBezTo>
                  <a:cubicBezTo>
                    <a:pt x="623785" y="277999"/>
                    <a:pt x="570325" y="265837"/>
                    <a:pt x="560443" y="26609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5" name="Полилиния: фигура 424">
              <a:extLst>
                <a:ext uri="{FF2B5EF4-FFF2-40B4-BE49-F238E27FC236}">
                  <a16:creationId xmlns:a16="http://schemas.microsoft.com/office/drawing/2014/main" id="{12E53EB2-B3CA-4888-8679-160F2713AD70}"/>
                </a:ext>
              </a:extLst>
            </p:cNvPr>
            <p:cNvSpPr/>
            <p:nvPr/>
          </p:nvSpPr>
          <p:spPr>
            <a:xfrm>
              <a:off x="1207240" y="4136485"/>
              <a:ext cx="644226" cy="713420"/>
            </a:xfrm>
            <a:custGeom>
              <a:avLst/>
              <a:gdLst>
                <a:gd name="connsiteX0" fmla="*/ 644054 w 644226"/>
                <a:gd name="connsiteY0" fmla="*/ 141124 h 713420"/>
                <a:gd name="connsiteX1" fmla="*/ 618844 w 644226"/>
                <a:gd name="connsiteY1" fmla="*/ 183436 h 713420"/>
                <a:gd name="connsiteX2" fmla="*/ 582993 w 644226"/>
                <a:gd name="connsiteY2" fmla="*/ 205225 h 713420"/>
                <a:gd name="connsiteX3" fmla="*/ 558923 w 644226"/>
                <a:gd name="connsiteY3" fmla="*/ 277308 h 713420"/>
                <a:gd name="connsiteX4" fmla="*/ 528393 w 644226"/>
                <a:gd name="connsiteY4" fmla="*/ 317466 h 713420"/>
                <a:gd name="connsiteX5" fmla="*/ 479873 w 644226"/>
                <a:gd name="connsiteY5" fmla="*/ 320380 h 713420"/>
                <a:gd name="connsiteX6" fmla="*/ 419319 w 644226"/>
                <a:gd name="connsiteY6" fmla="*/ 372953 h 713420"/>
                <a:gd name="connsiteX7" fmla="*/ 432874 w 644226"/>
                <a:gd name="connsiteY7" fmla="*/ 418939 h 713420"/>
                <a:gd name="connsiteX8" fmla="*/ 412858 w 644226"/>
                <a:gd name="connsiteY8" fmla="*/ 468725 h 713420"/>
                <a:gd name="connsiteX9" fmla="*/ 407918 w 644226"/>
                <a:gd name="connsiteY9" fmla="*/ 512684 h 713420"/>
                <a:gd name="connsiteX10" fmla="*/ 441489 w 644226"/>
                <a:gd name="connsiteY10" fmla="*/ 542075 h 713420"/>
                <a:gd name="connsiteX11" fmla="*/ 444402 w 644226"/>
                <a:gd name="connsiteY11" fmla="*/ 569564 h 713420"/>
                <a:gd name="connsiteX12" fmla="*/ 446176 w 644226"/>
                <a:gd name="connsiteY12" fmla="*/ 594394 h 713420"/>
                <a:gd name="connsiteX13" fmla="*/ 490008 w 644226"/>
                <a:gd name="connsiteY13" fmla="*/ 594394 h 713420"/>
                <a:gd name="connsiteX14" fmla="*/ 436801 w 644226"/>
                <a:gd name="connsiteY14" fmla="*/ 673951 h 713420"/>
                <a:gd name="connsiteX15" fmla="*/ 390942 w 644226"/>
                <a:gd name="connsiteY15" fmla="*/ 683959 h 713420"/>
                <a:gd name="connsiteX16" fmla="*/ 338496 w 644226"/>
                <a:gd name="connsiteY16" fmla="*/ 713222 h 713420"/>
                <a:gd name="connsiteX17" fmla="*/ 302518 w 644226"/>
                <a:gd name="connsiteY17" fmla="*/ 693587 h 713420"/>
                <a:gd name="connsiteX18" fmla="*/ 271607 w 644226"/>
                <a:gd name="connsiteY18" fmla="*/ 665716 h 713420"/>
                <a:gd name="connsiteX19" fmla="*/ 271354 w 644226"/>
                <a:gd name="connsiteY19" fmla="*/ 632906 h 713420"/>
                <a:gd name="connsiteX20" fmla="*/ 267173 w 644226"/>
                <a:gd name="connsiteY20" fmla="*/ 615930 h 713420"/>
                <a:gd name="connsiteX21" fmla="*/ 255392 w 644226"/>
                <a:gd name="connsiteY21" fmla="*/ 610103 h 713420"/>
                <a:gd name="connsiteX22" fmla="*/ 228155 w 644226"/>
                <a:gd name="connsiteY22" fmla="*/ 608329 h 713420"/>
                <a:gd name="connsiteX23" fmla="*/ 227142 w 644226"/>
                <a:gd name="connsiteY23" fmla="*/ 609469 h 713420"/>
                <a:gd name="connsiteX24" fmla="*/ 226382 w 644226"/>
                <a:gd name="connsiteY24" fmla="*/ 564370 h 713420"/>
                <a:gd name="connsiteX25" fmla="*/ 189390 w 644226"/>
                <a:gd name="connsiteY25" fmla="*/ 558670 h 713420"/>
                <a:gd name="connsiteX26" fmla="*/ 163040 w 644226"/>
                <a:gd name="connsiteY26" fmla="*/ 563103 h 713420"/>
                <a:gd name="connsiteX27" fmla="*/ 129343 w 644226"/>
                <a:gd name="connsiteY27" fmla="*/ 553222 h 713420"/>
                <a:gd name="connsiteX28" fmla="*/ 108187 w 644226"/>
                <a:gd name="connsiteY28" fmla="*/ 559430 h 713420"/>
                <a:gd name="connsiteX29" fmla="*/ 107300 w 644226"/>
                <a:gd name="connsiteY29" fmla="*/ 555376 h 713420"/>
                <a:gd name="connsiteX30" fmla="*/ 86904 w 644226"/>
                <a:gd name="connsiteY30" fmla="*/ 536754 h 713420"/>
                <a:gd name="connsiteX31" fmla="*/ 67522 w 644226"/>
                <a:gd name="connsiteY31" fmla="*/ 516864 h 713420"/>
                <a:gd name="connsiteX32" fmla="*/ 63721 w 644226"/>
                <a:gd name="connsiteY32" fmla="*/ 511164 h 713420"/>
                <a:gd name="connsiteX33" fmla="*/ 74616 w 644226"/>
                <a:gd name="connsiteY33" fmla="*/ 486841 h 713420"/>
                <a:gd name="connsiteX34" fmla="*/ 84244 w 644226"/>
                <a:gd name="connsiteY34" fmla="*/ 455677 h 713420"/>
                <a:gd name="connsiteX35" fmla="*/ 41552 w 644226"/>
                <a:gd name="connsiteY35" fmla="*/ 411845 h 713420"/>
                <a:gd name="connsiteX36" fmla="*/ 56374 w 644226"/>
                <a:gd name="connsiteY36" fmla="*/ 356104 h 713420"/>
                <a:gd name="connsiteX37" fmla="*/ 69422 w 644226"/>
                <a:gd name="connsiteY37" fmla="*/ 299224 h 713420"/>
                <a:gd name="connsiteX38" fmla="*/ 33698 w 644226"/>
                <a:gd name="connsiteY38" fmla="*/ 257925 h 713420"/>
                <a:gd name="connsiteX39" fmla="*/ 4054 w 644226"/>
                <a:gd name="connsiteY39" fmla="*/ 220301 h 713420"/>
                <a:gd name="connsiteX40" fmla="*/ 0 w 644226"/>
                <a:gd name="connsiteY40" fmla="*/ 162280 h 713420"/>
                <a:gd name="connsiteX41" fmla="*/ 10515 w 644226"/>
                <a:gd name="connsiteY41" fmla="*/ 175329 h 713420"/>
                <a:gd name="connsiteX42" fmla="*/ 25590 w 644226"/>
                <a:gd name="connsiteY42" fmla="*/ 183690 h 713420"/>
                <a:gd name="connsiteX43" fmla="*/ 65115 w 644226"/>
                <a:gd name="connsiteY43" fmla="*/ 194838 h 713420"/>
                <a:gd name="connsiteX44" fmla="*/ 60428 w 644226"/>
                <a:gd name="connsiteY44" fmla="*/ 154552 h 713420"/>
                <a:gd name="connsiteX45" fmla="*/ 19256 w 644226"/>
                <a:gd name="connsiteY45" fmla="*/ 100586 h 713420"/>
                <a:gd name="connsiteX46" fmla="*/ 62581 w 644226"/>
                <a:gd name="connsiteY46" fmla="*/ 70942 h 713420"/>
                <a:gd name="connsiteX47" fmla="*/ 94759 w 644226"/>
                <a:gd name="connsiteY47" fmla="*/ 92858 h 713420"/>
                <a:gd name="connsiteX48" fmla="*/ 125289 w 644226"/>
                <a:gd name="connsiteY48" fmla="*/ 94759 h 713420"/>
                <a:gd name="connsiteX49" fmla="*/ 173808 w 644226"/>
                <a:gd name="connsiteY49" fmla="*/ 123135 h 713420"/>
                <a:gd name="connsiteX50" fmla="*/ 193318 w 644226"/>
                <a:gd name="connsiteY50" fmla="*/ 146698 h 713420"/>
                <a:gd name="connsiteX51" fmla="*/ 218147 w 644226"/>
                <a:gd name="connsiteY51" fmla="*/ 135677 h 713420"/>
                <a:gd name="connsiteX52" fmla="*/ 241584 w 644226"/>
                <a:gd name="connsiteY52" fmla="*/ 134030 h 713420"/>
                <a:gd name="connsiteX53" fmla="*/ 262739 w 644226"/>
                <a:gd name="connsiteY53" fmla="*/ 134284 h 713420"/>
                <a:gd name="connsiteX54" fmla="*/ 268060 w 644226"/>
                <a:gd name="connsiteY54" fmla="*/ 100206 h 713420"/>
                <a:gd name="connsiteX55" fmla="*/ 288963 w 644226"/>
                <a:gd name="connsiteY55" fmla="*/ 77150 h 713420"/>
                <a:gd name="connsiteX56" fmla="*/ 309612 w 644226"/>
                <a:gd name="connsiteY56" fmla="*/ 57260 h 713420"/>
                <a:gd name="connsiteX57" fmla="*/ 335962 w 644226"/>
                <a:gd name="connsiteY57" fmla="*/ 74489 h 713420"/>
                <a:gd name="connsiteX58" fmla="*/ 367633 w 644226"/>
                <a:gd name="connsiteY58" fmla="*/ 48139 h 713420"/>
                <a:gd name="connsiteX59" fmla="*/ 419826 w 644226"/>
                <a:gd name="connsiteY59" fmla="*/ 10261 h 713420"/>
                <a:gd name="connsiteX60" fmla="*/ 430847 w 644226"/>
                <a:gd name="connsiteY60" fmla="*/ 0 h 713420"/>
                <a:gd name="connsiteX61" fmla="*/ 469485 w 644226"/>
                <a:gd name="connsiteY61" fmla="*/ 23690 h 713420"/>
                <a:gd name="connsiteX62" fmla="*/ 511924 w 644226"/>
                <a:gd name="connsiteY62" fmla="*/ 49786 h 713420"/>
                <a:gd name="connsiteX63" fmla="*/ 636073 w 644226"/>
                <a:gd name="connsiteY63" fmla="*/ 29390 h 713420"/>
                <a:gd name="connsiteX64" fmla="*/ 644054 w 644226"/>
                <a:gd name="connsiteY64" fmla="*/ 141124 h 71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44226" h="713420">
                  <a:moveTo>
                    <a:pt x="644054" y="141124"/>
                  </a:moveTo>
                  <a:cubicBezTo>
                    <a:pt x="641520" y="157719"/>
                    <a:pt x="634553" y="175329"/>
                    <a:pt x="618844" y="183436"/>
                  </a:cubicBezTo>
                  <a:cubicBezTo>
                    <a:pt x="604782" y="190531"/>
                    <a:pt x="592747" y="190911"/>
                    <a:pt x="582993" y="205225"/>
                  </a:cubicBezTo>
                  <a:cubicBezTo>
                    <a:pt x="568424" y="226508"/>
                    <a:pt x="570578" y="254632"/>
                    <a:pt x="558923" y="277308"/>
                  </a:cubicBezTo>
                  <a:cubicBezTo>
                    <a:pt x="551829" y="291117"/>
                    <a:pt x="540934" y="307965"/>
                    <a:pt x="528393" y="317466"/>
                  </a:cubicBezTo>
                  <a:cubicBezTo>
                    <a:pt x="513191" y="328994"/>
                    <a:pt x="496976" y="323167"/>
                    <a:pt x="479873" y="320380"/>
                  </a:cubicBezTo>
                  <a:cubicBezTo>
                    <a:pt x="449850" y="315313"/>
                    <a:pt x="416152" y="339383"/>
                    <a:pt x="419319" y="372953"/>
                  </a:cubicBezTo>
                  <a:cubicBezTo>
                    <a:pt x="420839" y="389169"/>
                    <a:pt x="432241" y="402344"/>
                    <a:pt x="432874" y="418939"/>
                  </a:cubicBezTo>
                  <a:cubicBezTo>
                    <a:pt x="433634" y="438575"/>
                    <a:pt x="422613" y="453017"/>
                    <a:pt x="412858" y="468725"/>
                  </a:cubicBezTo>
                  <a:cubicBezTo>
                    <a:pt x="404244" y="482407"/>
                    <a:pt x="399937" y="497356"/>
                    <a:pt x="407918" y="512684"/>
                  </a:cubicBezTo>
                  <a:cubicBezTo>
                    <a:pt x="415519" y="527379"/>
                    <a:pt x="432747" y="529406"/>
                    <a:pt x="441489" y="542075"/>
                  </a:cubicBezTo>
                  <a:cubicBezTo>
                    <a:pt x="447063" y="550182"/>
                    <a:pt x="445796" y="560063"/>
                    <a:pt x="444402" y="569564"/>
                  </a:cubicBezTo>
                  <a:cubicBezTo>
                    <a:pt x="443135" y="578686"/>
                    <a:pt x="441869" y="587427"/>
                    <a:pt x="446176" y="594394"/>
                  </a:cubicBezTo>
                  <a:cubicBezTo>
                    <a:pt x="454917" y="608456"/>
                    <a:pt x="477340" y="589200"/>
                    <a:pt x="490008" y="594394"/>
                  </a:cubicBezTo>
                  <a:cubicBezTo>
                    <a:pt x="518638" y="606176"/>
                    <a:pt x="452003" y="667237"/>
                    <a:pt x="436801" y="673951"/>
                  </a:cubicBezTo>
                  <a:cubicBezTo>
                    <a:pt x="422106" y="680412"/>
                    <a:pt x="405891" y="678511"/>
                    <a:pt x="390942" y="683959"/>
                  </a:cubicBezTo>
                  <a:cubicBezTo>
                    <a:pt x="372953" y="690420"/>
                    <a:pt x="357498" y="710309"/>
                    <a:pt x="338496" y="713222"/>
                  </a:cubicBezTo>
                  <a:cubicBezTo>
                    <a:pt x="324054" y="715376"/>
                    <a:pt x="314806" y="699414"/>
                    <a:pt x="302518" y="693587"/>
                  </a:cubicBezTo>
                  <a:cubicBezTo>
                    <a:pt x="285922" y="685732"/>
                    <a:pt x="272874" y="687253"/>
                    <a:pt x="271607" y="665716"/>
                  </a:cubicBezTo>
                  <a:cubicBezTo>
                    <a:pt x="270974" y="654822"/>
                    <a:pt x="272241" y="643801"/>
                    <a:pt x="271354" y="632906"/>
                  </a:cubicBezTo>
                  <a:cubicBezTo>
                    <a:pt x="270847" y="627332"/>
                    <a:pt x="270087" y="620871"/>
                    <a:pt x="267173" y="615930"/>
                  </a:cubicBezTo>
                  <a:cubicBezTo>
                    <a:pt x="264386" y="611496"/>
                    <a:pt x="260079" y="611496"/>
                    <a:pt x="255392" y="610103"/>
                  </a:cubicBezTo>
                  <a:cubicBezTo>
                    <a:pt x="248424" y="608203"/>
                    <a:pt x="234869" y="602375"/>
                    <a:pt x="228155" y="608329"/>
                  </a:cubicBezTo>
                  <a:cubicBezTo>
                    <a:pt x="227775" y="608709"/>
                    <a:pt x="227395" y="609089"/>
                    <a:pt x="227142" y="609469"/>
                  </a:cubicBezTo>
                  <a:cubicBezTo>
                    <a:pt x="222835" y="592241"/>
                    <a:pt x="228662" y="579066"/>
                    <a:pt x="226382" y="564370"/>
                  </a:cubicBezTo>
                  <a:cubicBezTo>
                    <a:pt x="223088" y="543215"/>
                    <a:pt x="197371" y="558543"/>
                    <a:pt x="189390" y="558670"/>
                  </a:cubicBezTo>
                  <a:cubicBezTo>
                    <a:pt x="181536" y="558796"/>
                    <a:pt x="172922" y="557783"/>
                    <a:pt x="163040" y="563103"/>
                  </a:cubicBezTo>
                  <a:cubicBezTo>
                    <a:pt x="153159" y="568424"/>
                    <a:pt x="139224" y="555249"/>
                    <a:pt x="129343" y="553222"/>
                  </a:cubicBezTo>
                  <a:cubicBezTo>
                    <a:pt x="119462" y="551196"/>
                    <a:pt x="108187" y="559430"/>
                    <a:pt x="108187" y="559430"/>
                  </a:cubicBezTo>
                  <a:cubicBezTo>
                    <a:pt x="108060" y="558036"/>
                    <a:pt x="107807" y="556769"/>
                    <a:pt x="107300" y="555376"/>
                  </a:cubicBezTo>
                  <a:cubicBezTo>
                    <a:pt x="104260" y="545115"/>
                    <a:pt x="95265" y="542328"/>
                    <a:pt x="86904" y="536754"/>
                  </a:cubicBezTo>
                  <a:cubicBezTo>
                    <a:pt x="79810" y="532067"/>
                    <a:pt x="72969" y="524465"/>
                    <a:pt x="67522" y="516864"/>
                  </a:cubicBezTo>
                  <a:cubicBezTo>
                    <a:pt x="66128" y="514964"/>
                    <a:pt x="64861" y="513064"/>
                    <a:pt x="63721" y="511164"/>
                  </a:cubicBezTo>
                  <a:cubicBezTo>
                    <a:pt x="53967" y="495709"/>
                    <a:pt x="66888" y="497862"/>
                    <a:pt x="74616" y="486841"/>
                  </a:cubicBezTo>
                  <a:cubicBezTo>
                    <a:pt x="80063" y="479113"/>
                    <a:pt x="82977" y="464925"/>
                    <a:pt x="84244" y="455677"/>
                  </a:cubicBezTo>
                  <a:cubicBezTo>
                    <a:pt x="68029" y="444782"/>
                    <a:pt x="46873" y="432114"/>
                    <a:pt x="41552" y="411845"/>
                  </a:cubicBezTo>
                  <a:cubicBezTo>
                    <a:pt x="36358" y="392336"/>
                    <a:pt x="48139" y="372827"/>
                    <a:pt x="56374" y="356104"/>
                  </a:cubicBezTo>
                  <a:cubicBezTo>
                    <a:pt x="64861" y="338749"/>
                    <a:pt x="74743" y="318986"/>
                    <a:pt x="69422" y="299224"/>
                  </a:cubicBezTo>
                  <a:cubicBezTo>
                    <a:pt x="64355" y="280728"/>
                    <a:pt x="48013" y="269074"/>
                    <a:pt x="33698" y="257925"/>
                  </a:cubicBezTo>
                  <a:cubicBezTo>
                    <a:pt x="20523" y="247538"/>
                    <a:pt x="7981" y="237403"/>
                    <a:pt x="4054" y="220301"/>
                  </a:cubicBezTo>
                  <a:cubicBezTo>
                    <a:pt x="-253" y="201425"/>
                    <a:pt x="3420" y="181409"/>
                    <a:pt x="0" y="162280"/>
                  </a:cubicBezTo>
                  <a:cubicBezTo>
                    <a:pt x="4181" y="165827"/>
                    <a:pt x="7728" y="171528"/>
                    <a:pt x="10515" y="175329"/>
                  </a:cubicBezTo>
                  <a:cubicBezTo>
                    <a:pt x="15455" y="181663"/>
                    <a:pt x="18369" y="181283"/>
                    <a:pt x="25590" y="183690"/>
                  </a:cubicBezTo>
                  <a:cubicBezTo>
                    <a:pt x="40032" y="188630"/>
                    <a:pt x="49026" y="215487"/>
                    <a:pt x="65115" y="194838"/>
                  </a:cubicBezTo>
                  <a:cubicBezTo>
                    <a:pt x="74363" y="183056"/>
                    <a:pt x="69042" y="164940"/>
                    <a:pt x="60428" y="154552"/>
                  </a:cubicBezTo>
                  <a:cubicBezTo>
                    <a:pt x="46746" y="137957"/>
                    <a:pt x="19129" y="125289"/>
                    <a:pt x="19256" y="100586"/>
                  </a:cubicBezTo>
                  <a:cubicBezTo>
                    <a:pt x="19256" y="79557"/>
                    <a:pt x="43579" y="63468"/>
                    <a:pt x="62581" y="70942"/>
                  </a:cubicBezTo>
                  <a:cubicBezTo>
                    <a:pt x="74869" y="75756"/>
                    <a:pt x="82850" y="87538"/>
                    <a:pt x="94759" y="92858"/>
                  </a:cubicBezTo>
                  <a:cubicBezTo>
                    <a:pt x="104640" y="97292"/>
                    <a:pt x="114901" y="95392"/>
                    <a:pt x="125289" y="94759"/>
                  </a:cubicBezTo>
                  <a:cubicBezTo>
                    <a:pt x="151512" y="92985"/>
                    <a:pt x="158860" y="103119"/>
                    <a:pt x="173808" y="123135"/>
                  </a:cubicBezTo>
                  <a:cubicBezTo>
                    <a:pt x="179002" y="130103"/>
                    <a:pt x="185210" y="142518"/>
                    <a:pt x="193318" y="146698"/>
                  </a:cubicBezTo>
                  <a:cubicBezTo>
                    <a:pt x="204719" y="152399"/>
                    <a:pt x="210673" y="143025"/>
                    <a:pt x="218147" y="135677"/>
                  </a:cubicBezTo>
                  <a:cubicBezTo>
                    <a:pt x="227902" y="126049"/>
                    <a:pt x="230562" y="126556"/>
                    <a:pt x="241584" y="134030"/>
                  </a:cubicBezTo>
                  <a:cubicBezTo>
                    <a:pt x="250071" y="139731"/>
                    <a:pt x="257672" y="146572"/>
                    <a:pt x="262739" y="134284"/>
                  </a:cubicBezTo>
                  <a:cubicBezTo>
                    <a:pt x="267173" y="123515"/>
                    <a:pt x="261599" y="111227"/>
                    <a:pt x="268060" y="100206"/>
                  </a:cubicBezTo>
                  <a:cubicBezTo>
                    <a:pt x="273127" y="91338"/>
                    <a:pt x="282755" y="85384"/>
                    <a:pt x="288963" y="77150"/>
                  </a:cubicBezTo>
                  <a:cubicBezTo>
                    <a:pt x="294537" y="69802"/>
                    <a:pt x="298971" y="57894"/>
                    <a:pt x="309612" y="57260"/>
                  </a:cubicBezTo>
                  <a:cubicBezTo>
                    <a:pt x="321647" y="56500"/>
                    <a:pt x="326461" y="70309"/>
                    <a:pt x="335962" y="74489"/>
                  </a:cubicBezTo>
                  <a:cubicBezTo>
                    <a:pt x="353444" y="82217"/>
                    <a:pt x="357751" y="57260"/>
                    <a:pt x="367633" y="48139"/>
                  </a:cubicBezTo>
                  <a:cubicBezTo>
                    <a:pt x="383341" y="33571"/>
                    <a:pt x="402470" y="22676"/>
                    <a:pt x="419826" y="10261"/>
                  </a:cubicBezTo>
                  <a:cubicBezTo>
                    <a:pt x="424640" y="6841"/>
                    <a:pt x="428187" y="3420"/>
                    <a:pt x="430847" y="0"/>
                  </a:cubicBezTo>
                  <a:cubicBezTo>
                    <a:pt x="443009" y="8994"/>
                    <a:pt x="456564" y="15962"/>
                    <a:pt x="469485" y="23690"/>
                  </a:cubicBezTo>
                  <a:cubicBezTo>
                    <a:pt x="483547" y="32177"/>
                    <a:pt x="496722" y="43325"/>
                    <a:pt x="511924" y="49786"/>
                  </a:cubicBezTo>
                  <a:cubicBezTo>
                    <a:pt x="553603" y="67522"/>
                    <a:pt x="595028" y="35851"/>
                    <a:pt x="636073" y="29390"/>
                  </a:cubicBezTo>
                  <a:cubicBezTo>
                    <a:pt x="636580" y="29264"/>
                    <a:pt x="645574" y="131243"/>
                    <a:pt x="644054" y="14112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6" name="Полилиния: фигура 425">
              <a:extLst>
                <a:ext uri="{FF2B5EF4-FFF2-40B4-BE49-F238E27FC236}">
                  <a16:creationId xmlns:a16="http://schemas.microsoft.com/office/drawing/2014/main" id="{278A5FC9-3FB9-4A1C-A8DD-AE7EFC69FBF6}"/>
                </a:ext>
              </a:extLst>
            </p:cNvPr>
            <p:cNvSpPr/>
            <p:nvPr/>
          </p:nvSpPr>
          <p:spPr>
            <a:xfrm>
              <a:off x="901302" y="4807949"/>
              <a:ext cx="255966" cy="273333"/>
            </a:xfrm>
            <a:custGeom>
              <a:avLst/>
              <a:gdLst>
                <a:gd name="connsiteX0" fmla="*/ 214473 w 255966"/>
                <a:gd name="connsiteY0" fmla="*/ 190864 h 273333"/>
                <a:gd name="connsiteX1" fmla="*/ 204339 w 255966"/>
                <a:gd name="connsiteY1" fmla="*/ 223421 h 273333"/>
                <a:gd name="connsiteX2" fmla="*/ 193951 w 255966"/>
                <a:gd name="connsiteY2" fmla="*/ 230135 h 273333"/>
                <a:gd name="connsiteX3" fmla="*/ 173048 w 255966"/>
                <a:gd name="connsiteY3" fmla="*/ 231909 h 273333"/>
                <a:gd name="connsiteX4" fmla="*/ 132510 w 255966"/>
                <a:gd name="connsiteY4" fmla="*/ 244704 h 273333"/>
                <a:gd name="connsiteX5" fmla="*/ 101599 w 255966"/>
                <a:gd name="connsiteY5" fmla="*/ 273334 h 273333"/>
                <a:gd name="connsiteX6" fmla="*/ 91085 w 255966"/>
                <a:gd name="connsiteY6" fmla="*/ 260792 h 273333"/>
                <a:gd name="connsiteX7" fmla="*/ 67015 w 255966"/>
                <a:gd name="connsiteY7" fmla="*/ 227221 h 273333"/>
                <a:gd name="connsiteX8" fmla="*/ 47759 w 255966"/>
                <a:gd name="connsiteY8" fmla="*/ 202392 h 273333"/>
                <a:gd name="connsiteX9" fmla="*/ 35471 w 255966"/>
                <a:gd name="connsiteY9" fmla="*/ 184910 h 273333"/>
                <a:gd name="connsiteX10" fmla="*/ 19256 w 255966"/>
                <a:gd name="connsiteY10" fmla="*/ 142218 h 273333"/>
                <a:gd name="connsiteX11" fmla="*/ 2407 w 255966"/>
                <a:gd name="connsiteY11" fmla="*/ 74696 h 273333"/>
                <a:gd name="connsiteX12" fmla="*/ 0 w 255966"/>
                <a:gd name="connsiteY12" fmla="*/ 69248 h 273333"/>
                <a:gd name="connsiteX13" fmla="*/ 6081 w 255966"/>
                <a:gd name="connsiteY13" fmla="*/ 58227 h 273333"/>
                <a:gd name="connsiteX14" fmla="*/ 25590 w 255966"/>
                <a:gd name="connsiteY14" fmla="*/ 30864 h 273333"/>
                <a:gd name="connsiteX15" fmla="*/ 35598 w 255966"/>
                <a:gd name="connsiteY15" fmla="*/ 19462 h 273333"/>
                <a:gd name="connsiteX16" fmla="*/ 49279 w 255966"/>
                <a:gd name="connsiteY16" fmla="*/ 17055 h 273333"/>
                <a:gd name="connsiteX17" fmla="*/ 79683 w 255966"/>
                <a:gd name="connsiteY17" fmla="*/ 7680 h 273333"/>
                <a:gd name="connsiteX18" fmla="*/ 106033 w 255966"/>
                <a:gd name="connsiteY18" fmla="*/ 2740 h 273333"/>
                <a:gd name="connsiteX19" fmla="*/ 111987 w 255966"/>
                <a:gd name="connsiteY19" fmla="*/ 30610 h 273333"/>
                <a:gd name="connsiteX20" fmla="*/ 114394 w 255966"/>
                <a:gd name="connsiteY20" fmla="*/ 65955 h 273333"/>
                <a:gd name="connsiteX21" fmla="*/ 125542 w 255966"/>
                <a:gd name="connsiteY21" fmla="*/ 86351 h 273333"/>
                <a:gd name="connsiteX22" fmla="*/ 149105 w 255966"/>
                <a:gd name="connsiteY22" fmla="*/ 83184 h 273333"/>
                <a:gd name="connsiteX23" fmla="*/ 178242 w 255966"/>
                <a:gd name="connsiteY23" fmla="*/ 54680 h 273333"/>
                <a:gd name="connsiteX24" fmla="*/ 202312 w 255966"/>
                <a:gd name="connsiteY24" fmla="*/ 31497 h 273333"/>
                <a:gd name="connsiteX25" fmla="*/ 202439 w 255966"/>
                <a:gd name="connsiteY25" fmla="*/ 31497 h 273333"/>
                <a:gd name="connsiteX26" fmla="*/ 208646 w 255966"/>
                <a:gd name="connsiteY26" fmla="*/ 68868 h 273333"/>
                <a:gd name="connsiteX27" fmla="*/ 222581 w 255966"/>
                <a:gd name="connsiteY27" fmla="*/ 103199 h 273333"/>
                <a:gd name="connsiteX28" fmla="*/ 237023 w 255966"/>
                <a:gd name="connsiteY28" fmla="*/ 120681 h 273333"/>
                <a:gd name="connsiteX29" fmla="*/ 251718 w 255966"/>
                <a:gd name="connsiteY29" fmla="*/ 133730 h 273333"/>
                <a:gd name="connsiteX30" fmla="*/ 214473 w 255966"/>
                <a:gd name="connsiteY30" fmla="*/ 190864 h 27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5966" h="273333">
                  <a:moveTo>
                    <a:pt x="214473" y="190864"/>
                  </a:moveTo>
                  <a:cubicBezTo>
                    <a:pt x="209280" y="200871"/>
                    <a:pt x="211053" y="214426"/>
                    <a:pt x="204339" y="223421"/>
                  </a:cubicBezTo>
                  <a:cubicBezTo>
                    <a:pt x="201679" y="226841"/>
                    <a:pt x="198005" y="228868"/>
                    <a:pt x="193951" y="230135"/>
                  </a:cubicBezTo>
                  <a:cubicBezTo>
                    <a:pt x="187237" y="232035"/>
                    <a:pt x="179256" y="231909"/>
                    <a:pt x="173048" y="231909"/>
                  </a:cubicBezTo>
                  <a:cubicBezTo>
                    <a:pt x="157340" y="232162"/>
                    <a:pt x="145432" y="235456"/>
                    <a:pt x="132510" y="244704"/>
                  </a:cubicBezTo>
                  <a:cubicBezTo>
                    <a:pt x="121108" y="252938"/>
                    <a:pt x="110847" y="262692"/>
                    <a:pt x="101599" y="273334"/>
                  </a:cubicBezTo>
                  <a:cubicBezTo>
                    <a:pt x="98179" y="269027"/>
                    <a:pt x="94505" y="264846"/>
                    <a:pt x="91085" y="260792"/>
                  </a:cubicBezTo>
                  <a:cubicBezTo>
                    <a:pt x="82217" y="250404"/>
                    <a:pt x="74363" y="238623"/>
                    <a:pt x="67015" y="227221"/>
                  </a:cubicBezTo>
                  <a:cubicBezTo>
                    <a:pt x="61061" y="217974"/>
                    <a:pt x="55614" y="210246"/>
                    <a:pt x="47759" y="202392"/>
                  </a:cubicBezTo>
                  <a:cubicBezTo>
                    <a:pt x="42565" y="197198"/>
                    <a:pt x="39018" y="191244"/>
                    <a:pt x="35471" y="184910"/>
                  </a:cubicBezTo>
                  <a:cubicBezTo>
                    <a:pt x="28123" y="171481"/>
                    <a:pt x="22676" y="157292"/>
                    <a:pt x="19256" y="142218"/>
                  </a:cubicBezTo>
                  <a:cubicBezTo>
                    <a:pt x="14188" y="119541"/>
                    <a:pt x="11275" y="96232"/>
                    <a:pt x="2407" y="74696"/>
                  </a:cubicBezTo>
                  <a:cubicBezTo>
                    <a:pt x="1647" y="72922"/>
                    <a:pt x="887" y="71149"/>
                    <a:pt x="0" y="69248"/>
                  </a:cubicBezTo>
                  <a:cubicBezTo>
                    <a:pt x="3040" y="63674"/>
                    <a:pt x="5827" y="58734"/>
                    <a:pt x="6081" y="58227"/>
                  </a:cubicBezTo>
                  <a:cubicBezTo>
                    <a:pt x="11528" y="48472"/>
                    <a:pt x="19256" y="40111"/>
                    <a:pt x="25590" y="30864"/>
                  </a:cubicBezTo>
                  <a:cubicBezTo>
                    <a:pt x="28377" y="26810"/>
                    <a:pt x="31291" y="22122"/>
                    <a:pt x="35598" y="19462"/>
                  </a:cubicBezTo>
                  <a:cubicBezTo>
                    <a:pt x="39652" y="16928"/>
                    <a:pt x="44592" y="17055"/>
                    <a:pt x="49279" y="17055"/>
                  </a:cubicBezTo>
                  <a:cubicBezTo>
                    <a:pt x="61314" y="17055"/>
                    <a:pt x="69802" y="14648"/>
                    <a:pt x="79683" y="7680"/>
                  </a:cubicBezTo>
                  <a:cubicBezTo>
                    <a:pt x="86904" y="2613"/>
                    <a:pt x="97546" y="-3721"/>
                    <a:pt x="106033" y="2740"/>
                  </a:cubicBezTo>
                  <a:cubicBezTo>
                    <a:pt x="114014" y="8821"/>
                    <a:pt x="112114" y="21996"/>
                    <a:pt x="111987" y="30610"/>
                  </a:cubicBezTo>
                  <a:cubicBezTo>
                    <a:pt x="111734" y="42138"/>
                    <a:pt x="110847" y="54806"/>
                    <a:pt x="114394" y="65955"/>
                  </a:cubicBezTo>
                  <a:cubicBezTo>
                    <a:pt x="116675" y="73049"/>
                    <a:pt x="121615" y="80143"/>
                    <a:pt x="125542" y="86351"/>
                  </a:cubicBezTo>
                  <a:cubicBezTo>
                    <a:pt x="131623" y="95725"/>
                    <a:pt x="142138" y="87491"/>
                    <a:pt x="149105" y="83184"/>
                  </a:cubicBezTo>
                  <a:cubicBezTo>
                    <a:pt x="160380" y="76343"/>
                    <a:pt x="172795" y="66715"/>
                    <a:pt x="178242" y="54680"/>
                  </a:cubicBezTo>
                  <a:cubicBezTo>
                    <a:pt x="182549" y="45305"/>
                    <a:pt x="190277" y="31370"/>
                    <a:pt x="202312" y="31497"/>
                  </a:cubicBezTo>
                  <a:lnTo>
                    <a:pt x="202439" y="31497"/>
                  </a:lnTo>
                  <a:cubicBezTo>
                    <a:pt x="216627" y="31750"/>
                    <a:pt x="209026" y="60634"/>
                    <a:pt x="208646" y="68868"/>
                  </a:cubicBezTo>
                  <a:cubicBezTo>
                    <a:pt x="208013" y="82677"/>
                    <a:pt x="214980" y="92305"/>
                    <a:pt x="222581" y="103199"/>
                  </a:cubicBezTo>
                  <a:cubicBezTo>
                    <a:pt x="226888" y="109407"/>
                    <a:pt x="231576" y="115487"/>
                    <a:pt x="237023" y="120681"/>
                  </a:cubicBezTo>
                  <a:cubicBezTo>
                    <a:pt x="241710" y="125115"/>
                    <a:pt x="247791" y="128662"/>
                    <a:pt x="251718" y="133730"/>
                  </a:cubicBezTo>
                  <a:cubicBezTo>
                    <a:pt x="270214" y="157419"/>
                    <a:pt x="222835" y="174902"/>
                    <a:pt x="214473" y="19086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7" name="Полилиния: фигура 426">
              <a:extLst>
                <a:ext uri="{FF2B5EF4-FFF2-40B4-BE49-F238E27FC236}">
                  <a16:creationId xmlns:a16="http://schemas.microsoft.com/office/drawing/2014/main" id="{673B5F4D-BC22-4B40-966C-CE2A99A35636}"/>
                </a:ext>
              </a:extLst>
            </p:cNvPr>
            <p:cNvSpPr/>
            <p:nvPr/>
          </p:nvSpPr>
          <p:spPr>
            <a:xfrm>
              <a:off x="1002901" y="5035071"/>
              <a:ext cx="256405" cy="196933"/>
            </a:xfrm>
            <a:custGeom>
              <a:avLst/>
              <a:gdLst>
                <a:gd name="connsiteX0" fmla="*/ 256405 w 256405"/>
                <a:gd name="connsiteY0" fmla="*/ 128809 h 196933"/>
                <a:gd name="connsiteX1" fmla="*/ 244877 w 256405"/>
                <a:gd name="connsiteY1" fmla="*/ 143758 h 196933"/>
                <a:gd name="connsiteX2" fmla="*/ 229169 w 256405"/>
                <a:gd name="connsiteY2" fmla="*/ 165674 h 196933"/>
                <a:gd name="connsiteX3" fmla="*/ 200792 w 256405"/>
                <a:gd name="connsiteY3" fmla="*/ 191391 h 196933"/>
                <a:gd name="connsiteX4" fmla="*/ 173555 w 256405"/>
                <a:gd name="connsiteY4" fmla="*/ 193544 h 196933"/>
                <a:gd name="connsiteX5" fmla="*/ 131496 w 256405"/>
                <a:gd name="connsiteY5" fmla="*/ 173022 h 196933"/>
                <a:gd name="connsiteX6" fmla="*/ 101093 w 256405"/>
                <a:gd name="connsiteY6" fmla="*/ 178469 h 196933"/>
                <a:gd name="connsiteX7" fmla="*/ 70942 w 256405"/>
                <a:gd name="connsiteY7" fmla="*/ 181383 h 196933"/>
                <a:gd name="connsiteX8" fmla="*/ 36104 w 256405"/>
                <a:gd name="connsiteY8" fmla="*/ 179356 h 196933"/>
                <a:gd name="connsiteX9" fmla="*/ 32304 w 256405"/>
                <a:gd name="connsiteY9" fmla="*/ 179356 h 196933"/>
                <a:gd name="connsiteX10" fmla="*/ 31797 w 256405"/>
                <a:gd name="connsiteY10" fmla="*/ 177709 h 196933"/>
                <a:gd name="connsiteX11" fmla="*/ 27110 w 256405"/>
                <a:gd name="connsiteY11" fmla="*/ 142998 h 196933"/>
                <a:gd name="connsiteX12" fmla="*/ 22423 w 256405"/>
                <a:gd name="connsiteY12" fmla="*/ 119435 h 196933"/>
                <a:gd name="connsiteX13" fmla="*/ 23183 w 256405"/>
                <a:gd name="connsiteY13" fmla="*/ 103219 h 196933"/>
                <a:gd name="connsiteX14" fmla="*/ 13175 w 256405"/>
                <a:gd name="connsiteY14" fmla="*/ 65215 h 196933"/>
                <a:gd name="connsiteX15" fmla="*/ 0 w 256405"/>
                <a:gd name="connsiteY15" fmla="*/ 46592 h 196933"/>
                <a:gd name="connsiteX16" fmla="*/ 0 w 256405"/>
                <a:gd name="connsiteY16" fmla="*/ 46466 h 196933"/>
                <a:gd name="connsiteX17" fmla="*/ 30911 w 256405"/>
                <a:gd name="connsiteY17" fmla="*/ 17835 h 196933"/>
                <a:gd name="connsiteX18" fmla="*/ 71449 w 256405"/>
                <a:gd name="connsiteY18" fmla="*/ 5040 h 196933"/>
                <a:gd name="connsiteX19" fmla="*/ 92352 w 256405"/>
                <a:gd name="connsiteY19" fmla="*/ 3267 h 196933"/>
                <a:gd name="connsiteX20" fmla="*/ 105273 w 256405"/>
                <a:gd name="connsiteY20" fmla="*/ 8968 h 196933"/>
                <a:gd name="connsiteX21" fmla="*/ 150245 w 256405"/>
                <a:gd name="connsiteY21" fmla="*/ 9601 h 196933"/>
                <a:gd name="connsiteX22" fmla="*/ 150245 w 256405"/>
                <a:gd name="connsiteY22" fmla="*/ 67368 h 196933"/>
                <a:gd name="connsiteX23" fmla="*/ 201298 w 256405"/>
                <a:gd name="connsiteY23" fmla="*/ 103979 h 196933"/>
                <a:gd name="connsiteX24" fmla="*/ 256405 w 256405"/>
                <a:gd name="connsiteY24" fmla="*/ 128809 h 19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6405" h="196933">
                  <a:moveTo>
                    <a:pt x="256405" y="128809"/>
                  </a:moveTo>
                  <a:cubicBezTo>
                    <a:pt x="250451" y="127923"/>
                    <a:pt x="246524" y="139704"/>
                    <a:pt x="244877" y="143758"/>
                  </a:cubicBezTo>
                  <a:cubicBezTo>
                    <a:pt x="241457" y="152119"/>
                    <a:pt x="236643" y="160100"/>
                    <a:pt x="229169" y="165674"/>
                  </a:cubicBezTo>
                  <a:cubicBezTo>
                    <a:pt x="218907" y="173148"/>
                    <a:pt x="209913" y="182269"/>
                    <a:pt x="200792" y="191391"/>
                  </a:cubicBezTo>
                  <a:cubicBezTo>
                    <a:pt x="192684" y="199371"/>
                    <a:pt x="183690" y="197471"/>
                    <a:pt x="173555" y="193544"/>
                  </a:cubicBezTo>
                  <a:cubicBezTo>
                    <a:pt x="158860" y="187844"/>
                    <a:pt x="145812" y="179482"/>
                    <a:pt x="131496" y="173022"/>
                  </a:cubicBezTo>
                  <a:cubicBezTo>
                    <a:pt x="118828" y="167321"/>
                    <a:pt x="111354" y="170615"/>
                    <a:pt x="101093" y="178469"/>
                  </a:cubicBezTo>
                  <a:cubicBezTo>
                    <a:pt x="91338" y="185817"/>
                    <a:pt x="82217" y="184296"/>
                    <a:pt x="70942" y="181383"/>
                  </a:cubicBezTo>
                  <a:cubicBezTo>
                    <a:pt x="58527" y="178216"/>
                    <a:pt x="48646" y="178976"/>
                    <a:pt x="36104" y="179356"/>
                  </a:cubicBezTo>
                  <a:cubicBezTo>
                    <a:pt x="34838" y="179356"/>
                    <a:pt x="33571" y="179356"/>
                    <a:pt x="32304" y="179356"/>
                  </a:cubicBezTo>
                  <a:cubicBezTo>
                    <a:pt x="32177" y="178849"/>
                    <a:pt x="32051" y="178216"/>
                    <a:pt x="31797" y="177709"/>
                  </a:cubicBezTo>
                  <a:cubicBezTo>
                    <a:pt x="28250" y="166307"/>
                    <a:pt x="29390" y="154652"/>
                    <a:pt x="27110" y="142998"/>
                  </a:cubicBezTo>
                  <a:cubicBezTo>
                    <a:pt x="25590" y="135144"/>
                    <a:pt x="23183" y="127416"/>
                    <a:pt x="22423" y="119435"/>
                  </a:cubicBezTo>
                  <a:cubicBezTo>
                    <a:pt x="21916" y="113861"/>
                    <a:pt x="23310" y="108667"/>
                    <a:pt x="23183" y="103219"/>
                  </a:cubicBezTo>
                  <a:cubicBezTo>
                    <a:pt x="22803" y="91311"/>
                    <a:pt x="19002" y="75603"/>
                    <a:pt x="13175" y="65215"/>
                  </a:cubicBezTo>
                  <a:cubicBezTo>
                    <a:pt x="9501" y="58754"/>
                    <a:pt x="4814" y="52546"/>
                    <a:pt x="0" y="46592"/>
                  </a:cubicBezTo>
                  <a:lnTo>
                    <a:pt x="0" y="46466"/>
                  </a:lnTo>
                  <a:cubicBezTo>
                    <a:pt x="9248" y="35825"/>
                    <a:pt x="19509" y="26070"/>
                    <a:pt x="30911" y="17835"/>
                  </a:cubicBezTo>
                  <a:cubicBezTo>
                    <a:pt x="43832" y="8587"/>
                    <a:pt x="55867" y="5294"/>
                    <a:pt x="71449" y="5040"/>
                  </a:cubicBezTo>
                  <a:cubicBezTo>
                    <a:pt x="77656" y="4914"/>
                    <a:pt x="85637" y="5167"/>
                    <a:pt x="92352" y="3267"/>
                  </a:cubicBezTo>
                  <a:cubicBezTo>
                    <a:pt x="92352" y="3267"/>
                    <a:pt x="90958" y="12008"/>
                    <a:pt x="105273" y="8968"/>
                  </a:cubicBezTo>
                  <a:cubicBezTo>
                    <a:pt x="119588" y="6054"/>
                    <a:pt x="140364" y="-10035"/>
                    <a:pt x="150245" y="9601"/>
                  </a:cubicBezTo>
                  <a:cubicBezTo>
                    <a:pt x="160127" y="29237"/>
                    <a:pt x="142898" y="55080"/>
                    <a:pt x="150245" y="67368"/>
                  </a:cubicBezTo>
                  <a:cubicBezTo>
                    <a:pt x="157720" y="79783"/>
                    <a:pt x="176975" y="101953"/>
                    <a:pt x="201298" y="103979"/>
                  </a:cubicBezTo>
                  <a:cubicBezTo>
                    <a:pt x="225368" y="105753"/>
                    <a:pt x="255645" y="102713"/>
                    <a:pt x="256405" y="12880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8" name="Полилиния: фигура 427">
              <a:extLst>
                <a:ext uri="{FF2B5EF4-FFF2-40B4-BE49-F238E27FC236}">
                  <a16:creationId xmlns:a16="http://schemas.microsoft.com/office/drawing/2014/main" id="{C9F231E6-ADD9-4B26-89CF-A4AC518AC57B}"/>
                </a:ext>
              </a:extLst>
            </p:cNvPr>
            <p:cNvSpPr/>
            <p:nvPr/>
          </p:nvSpPr>
          <p:spPr>
            <a:xfrm>
              <a:off x="1034952" y="5163706"/>
              <a:ext cx="291590" cy="197823"/>
            </a:xfrm>
            <a:custGeom>
              <a:avLst/>
              <a:gdLst>
                <a:gd name="connsiteX0" fmla="*/ 287949 w 291590"/>
                <a:gd name="connsiteY0" fmla="*/ 98100 h 197823"/>
                <a:gd name="connsiteX1" fmla="*/ 287949 w 291590"/>
                <a:gd name="connsiteY1" fmla="*/ 98100 h 197823"/>
                <a:gd name="connsiteX2" fmla="*/ 263753 w 291590"/>
                <a:gd name="connsiteY2" fmla="*/ 110641 h 197823"/>
                <a:gd name="connsiteX3" fmla="*/ 240570 w 291590"/>
                <a:gd name="connsiteY3" fmla="*/ 109121 h 197823"/>
                <a:gd name="connsiteX4" fmla="*/ 240570 w 291590"/>
                <a:gd name="connsiteY4" fmla="*/ 109121 h 197823"/>
                <a:gd name="connsiteX5" fmla="*/ 227648 w 291590"/>
                <a:gd name="connsiteY5" fmla="*/ 101520 h 197823"/>
                <a:gd name="connsiteX6" fmla="*/ 186983 w 291590"/>
                <a:gd name="connsiteY6" fmla="*/ 82771 h 197823"/>
                <a:gd name="connsiteX7" fmla="*/ 171148 w 291590"/>
                <a:gd name="connsiteY7" fmla="*/ 121663 h 197823"/>
                <a:gd name="connsiteX8" fmla="*/ 171275 w 291590"/>
                <a:gd name="connsiteY8" fmla="*/ 170562 h 197823"/>
                <a:gd name="connsiteX9" fmla="*/ 141251 w 291590"/>
                <a:gd name="connsiteY9" fmla="*/ 197799 h 197823"/>
                <a:gd name="connsiteX10" fmla="*/ 111987 w 291590"/>
                <a:gd name="connsiteY10" fmla="*/ 194252 h 197823"/>
                <a:gd name="connsiteX11" fmla="*/ 104260 w 291590"/>
                <a:gd name="connsiteY11" fmla="*/ 179810 h 197823"/>
                <a:gd name="connsiteX12" fmla="*/ 87411 w 291590"/>
                <a:gd name="connsiteY12" fmla="*/ 173096 h 197823"/>
                <a:gd name="connsiteX13" fmla="*/ 67015 w 291590"/>
                <a:gd name="connsiteY13" fmla="*/ 167522 h 197823"/>
                <a:gd name="connsiteX14" fmla="*/ 29770 w 291590"/>
                <a:gd name="connsiteY14" fmla="*/ 145859 h 197823"/>
                <a:gd name="connsiteX15" fmla="*/ 8994 w 291590"/>
                <a:gd name="connsiteY15" fmla="*/ 98733 h 197823"/>
                <a:gd name="connsiteX16" fmla="*/ 0 w 291590"/>
                <a:gd name="connsiteY16" fmla="*/ 50594 h 197823"/>
                <a:gd name="connsiteX17" fmla="*/ 3800 w 291590"/>
                <a:gd name="connsiteY17" fmla="*/ 50594 h 197823"/>
                <a:gd name="connsiteX18" fmla="*/ 38638 w 291590"/>
                <a:gd name="connsiteY18" fmla="*/ 52621 h 197823"/>
                <a:gd name="connsiteX19" fmla="*/ 68789 w 291590"/>
                <a:gd name="connsiteY19" fmla="*/ 49707 h 197823"/>
                <a:gd name="connsiteX20" fmla="*/ 99192 w 291590"/>
                <a:gd name="connsiteY20" fmla="*/ 44260 h 197823"/>
                <a:gd name="connsiteX21" fmla="*/ 141251 w 291590"/>
                <a:gd name="connsiteY21" fmla="*/ 64782 h 197823"/>
                <a:gd name="connsiteX22" fmla="*/ 168488 w 291590"/>
                <a:gd name="connsiteY22" fmla="*/ 62629 h 197823"/>
                <a:gd name="connsiteX23" fmla="*/ 196865 w 291590"/>
                <a:gd name="connsiteY23" fmla="*/ 36912 h 197823"/>
                <a:gd name="connsiteX24" fmla="*/ 212573 w 291590"/>
                <a:gd name="connsiteY24" fmla="*/ 14996 h 197823"/>
                <a:gd name="connsiteX25" fmla="*/ 224101 w 291590"/>
                <a:gd name="connsiteY25" fmla="*/ 47 h 197823"/>
                <a:gd name="connsiteX26" fmla="*/ 231956 w 291590"/>
                <a:gd name="connsiteY26" fmla="*/ 18670 h 197823"/>
                <a:gd name="connsiteX27" fmla="*/ 252732 w 291590"/>
                <a:gd name="connsiteY27" fmla="*/ 61362 h 197823"/>
                <a:gd name="connsiteX28" fmla="*/ 273001 w 291590"/>
                <a:gd name="connsiteY28" fmla="*/ 76184 h 197823"/>
                <a:gd name="connsiteX29" fmla="*/ 290356 w 291590"/>
                <a:gd name="connsiteY29" fmla="*/ 85811 h 197823"/>
                <a:gd name="connsiteX30" fmla="*/ 287949 w 291590"/>
                <a:gd name="connsiteY30" fmla="*/ 98100 h 19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1590" h="197823">
                  <a:moveTo>
                    <a:pt x="287949" y="98100"/>
                  </a:moveTo>
                  <a:lnTo>
                    <a:pt x="287949" y="98100"/>
                  </a:lnTo>
                  <a:cubicBezTo>
                    <a:pt x="281742" y="104814"/>
                    <a:pt x="269200" y="109628"/>
                    <a:pt x="263753" y="110641"/>
                  </a:cubicBezTo>
                  <a:cubicBezTo>
                    <a:pt x="255899" y="112162"/>
                    <a:pt x="247918" y="111655"/>
                    <a:pt x="240570" y="109121"/>
                  </a:cubicBezTo>
                  <a:cubicBezTo>
                    <a:pt x="240570" y="109121"/>
                    <a:pt x="240570" y="109121"/>
                    <a:pt x="240570" y="109121"/>
                  </a:cubicBezTo>
                  <a:cubicBezTo>
                    <a:pt x="235883" y="107474"/>
                    <a:pt x="231576" y="104941"/>
                    <a:pt x="227648" y="101520"/>
                  </a:cubicBezTo>
                  <a:cubicBezTo>
                    <a:pt x="215360" y="90625"/>
                    <a:pt x="206112" y="74283"/>
                    <a:pt x="186983" y="82771"/>
                  </a:cubicBezTo>
                  <a:cubicBezTo>
                    <a:pt x="169755" y="90499"/>
                    <a:pt x="168234" y="105321"/>
                    <a:pt x="171148" y="121663"/>
                  </a:cubicBezTo>
                  <a:cubicBezTo>
                    <a:pt x="174062" y="137624"/>
                    <a:pt x="173808" y="154473"/>
                    <a:pt x="171275" y="170562"/>
                  </a:cubicBezTo>
                  <a:cubicBezTo>
                    <a:pt x="168741" y="187031"/>
                    <a:pt x="158860" y="198432"/>
                    <a:pt x="141251" y="197799"/>
                  </a:cubicBezTo>
                  <a:cubicBezTo>
                    <a:pt x="131370" y="197419"/>
                    <a:pt x="121869" y="193998"/>
                    <a:pt x="111987" y="194252"/>
                  </a:cubicBezTo>
                  <a:cubicBezTo>
                    <a:pt x="109834" y="188804"/>
                    <a:pt x="107427" y="183357"/>
                    <a:pt x="104260" y="179810"/>
                  </a:cubicBezTo>
                  <a:cubicBezTo>
                    <a:pt x="100333" y="175123"/>
                    <a:pt x="92858" y="175249"/>
                    <a:pt x="87411" y="173096"/>
                  </a:cubicBezTo>
                  <a:cubicBezTo>
                    <a:pt x="80443" y="170309"/>
                    <a:pt x="74363" y="169042"/>
                    <a:pt x="67015" y="167522"/>
                  </a:cubicBezTo>
                  <a:cubicBezTo>
                    <a:pt x="51560" y="164482"/>
                    <a:pt x="38892" y="159034"/>
                    <a:pt x="29770" y="145859"/>
                  </a:cubicBezTo>
                  <a:cubicBezTo>
                    <a:pt x="20143" y="131797"/>
                    <a:pt x="13808" y="115075"/>
                    <a:pt x="8994" y="98733"/>
                  </a:cubicBezTo>
                  <a:cubicBezTo>
                    <a:pt x="4307" y="83024"/>
                    <a:pt x="4561" y="66303"/>
                    <a:pt x="0" y="50594"/>
                  </a:cubicBezTo>
                  <a:cubicBezTo>
                    <a:pt x="1267" y="50594"/>
                    <a:pt x="2534" y="50594"/>
                    <a:pt x="3800" y="50594"/>
                  </a:cubicBezTo>
                  <a:cubicBezTo>
                    <a:pt x="16342" y="50214"/>
                    <a:pt x="26223" y="49327"/>
                    <a:pt x="38638" y="52621"/>
                  </a:cubicBezTo>
                  <a:cubicBezTo>
                    <a:pt x="49913" y="55661"/>
                    <a:pt x="59161" y="57181"/>
                    <a:pt x="68789" y="49707"/>
                  </a:cubicBezTo>
                  <a:cubicBezTo>
                    <a:pt x="79050" y="41979"/>
                    <a:pt x="86524" y="38559"/>
                    <a:pt x="99192" y="44260"/>
                  </a:cubicBezTo>
                  <a:cubicBezTo>
                    <a:pt x="113508" y="50720"/>
                    <a:pt x="126556" y="59082"/>
                    <a:pt x="141251" y="64782"/>
                  </a:cubicBezTo>
                  <a:cubicBezTo>
                    <a:pt x="151386" y="68710"/>
                    <a:pt x="160253" y="70610"/>
                    <a:pt x="168488" y="62629"/>
                  </a:cubicBezTo>
                  <a:cubicBezTo>
                    <a:pt x="177609" y="53634"/>
                    <a:pt x="186603" y="44386"/>
                    <a:pt x="196865" y="36912"/>
                  </a:cubicBezTo>
                  <a:cubicBezTo>
                    <a:pt x="204339" y="31338"/>
                    <a:pt x="209153" y="23357"/>
                    <a:pt x="212573" y="14996"/>
                  </a:cubicBezTo>
                  <a:cubicBezTo>
                    <a:pt x="214220" y="10942"/>
                    <a:pt x="218274" y="-839"/>
                    <a:pt x="224101" y="47"/>
                  </a:cubicBezTo>
                  <a:cubicBezTo>
                    <a:pt x="229422" y="808"/>
                    <a:pt x="230942" y="14870"/>
                    <a:pt x="231956" y="18670"/>
                  </a:cubicBezTo>
                  <a:cubicBezTo>
                    <a:pt x="235883" y="34758"/>
                    <a:pt x="241457" y="48947"/>
                    <a:pt x="252732" y="61362"/>
                  </a:cubicBezTo>
                  <a:cubicBezTo>
                    <a:pt x="258432" y="67696"/>
                    <a:pt x="265273" y="72510"/>
                    <a:pt x="273001" y="76184"/>
                  </a:cubicBezTo>
                  <a:cubicBezTo>
                    <a:pt x="278068" y="78464"/>
                    <a:pt x="287569" y="80364"/>
                    <a:pt x="290356" y="85811"/>
                  </a:cubicBezTo>
                  <a:cubicBezTo>
                    <a:pt x="292890" y="90245"/>
                    <a:pt x="291243" y="94426"/>
                    <a:pt x="287949" y="9810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29" name="Полилиния: фигура 428">
              <a:extLst>
                <a:ext uri="{FF2B5EF4-FFF2-40B4-BE49-F238E27FC236}">
                  <a16:creationId xmlns:a16="http://schemas.microsoft.com/office/drawing/2014/main" id="{3DE9143D-CAB7-4FB5-819C-628583303E80}"/>
                </a:ext>
              </a:extLst>
            </p:cNvPr>
            <p:cNvSpPr/>
            <p:nvPr/>
          </p:nvSpPr>
          <p:spPr>
            <a:xfrm>
              <a:off x="1147066" y="5243982"/>
              <a:ext cx="145005" cy="172250"/>
            </a:xfrm>
            <a:custGeom>
              <a:avLst/>
              <a:gdLst>
                <a:gd name="connsiteX0" fmla="*/ 24703 w 145005"/>
                <a:gd name="connsiteY0" fmla="*/ 172250 h 172250"/>
                <a:gd name="connsiteX1" fmla="*/ 14062 w 145005"/>
                <a:gd name="connsiteY1" fmla="*/ 155275 h 172250"/>
                <a:gd name="connsiteX2" fmla="*/ 4181 w 145005"/>
                <a:gd name="connsiteY2" fmla="*/ 125251 h 172250"/>
                <a:gd name="connsiteX3" fmla="*/ 0 w 145005"/>
                <a:gd name="connsiteY3" fmla="*/ 113850 h 172250"/>
                <a:gd name="connsiteX4" fmla="*/ 29264 w 145005"/>
                <a:gd name="connsiteY4" fmla="*/ 117397 h 172250"/>
                <a:gd name="connsiteX5" fmla="*/ 59287 w 145005"/>
                <a:gd name="connsiteY5" fmla="*/ 90160 h 172250"/>
                <a:gd name="connsiteX6" fmla="*/ 59161 w 145005"/>
                <a:gd name="connsiteY6" fmla="*/ 41261 h 172250"/>
                <a:gd name="connsiteX7" fmla="*/ 74996 w 145005"/>
                <a:gd name="connsiteY7" fmla="*/ 2369 h 172250"/>
                <a:gd name="connsiteX8" fmla="*/ 115661 w 145005"/>
                <a:gd name="connsiteY8" fmla="*/ 21118 h 172250"/>
                <a:gd name="connsiteX9" fmla="*/ 128583 w 145005"/>
                <a:gd name="connsiteY9" fmla="*/ 28719 h 172250"/>
                <a:gd name="connsiteX10" fmla="*/ 128583 w 145005"/>
                <a:gd name="connsiteY10" fmla="*/ 28719 h 172250"/>
                <a:gd name="connsiteX11" fmla="*/ 24703 w 145005"/>
                <a:gd name="connsiteY11" fmla="*/ 172250 h 17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005" h="172250">
                  <a:moveTo>
                    <a:pt x="24703" y="172250"/>
                  </a:moveTo>
                  <a:cubicBezTo>
                    <a:pt x="20903" y="166803"/>
                    <a:pt x="16975" y="161356"/>
                    <a:pt x="14062" y="155275"/>
                  </a:cubicBezTo>
                  <a:cubicBezTo>
                    <a:pt x="9501" y="145774"/>
                    <a:pt x="8108" y="135132"/>
                    <a:pt x="4181" y="125251"/>
                  </a:cubicBezTo>
                  <a:cubicBezTo>
                    <a:pt x="2914" y="121957"/>
                    <a:pt x="1520" y="117904"/>
                    <a:pt x="0" y="113850"/>
                  </a:cubicBezTo>
                  <a:cubicBezTo>
                    <a:pt x="9881" y="113596"/>
                    <a:pt x="19382" y="117017"/>
                    <a:pt x="29264" y="117397"/>
                  </a:cubicBezTo>
                  <a:cubicBezTo>
                    <a:pt x="46746" y="118030"/>
                    <a:pt x="56754" y="106629"/>
                    <a:pt x="59287" y="90160"/>
                  </a:cubicBezTo>
                  <a:cubicBezTo>
                    <a:pt x="61694" y="74198"/>
                    <a:pt x="62074" y="57223"/>
                    <a:pt x="59161" y="41261"/>
                  </a:cubicBezTo>
                  <a:cubicBezTo>
                    <a:pt x="56247" y="24918"/>
                    <a:pt x="57767" y="10097"/>
                    <a:pt x="74996" y="2369"/>
                  </a:cubicBezTo>
                  <a:cubicBezTo>
                    <a:pt x="93998" y="-6119"/>
                    <a:pt x="103246" y="10097"/>
                    <a:pt x="115661" y="21118"/>
                  </a:cubicBezTo>
                  <a:cubicBezTo>
                    <a:pt x="119462" y="24538"/>
                    <a:pt x="123896" y="27072"/>
                    <a:pt x="128583" y="28719"/>
                  </a:cubicBezTo>
                  <a:cubicBezTo>
                    <a:pt x="128583" y="28719"/>
                    <a:pt x="128583" y="28719"/>
                    <a:pt x="128583" y="28719"/>
                  </a:cubicBezTo>
                  <a:cubicBezTo>
                    <a:pt x="130610" y="30746"/>
                    <a:pt x="203579" y="99915"/>
                    <a:pt x="24703" y="17225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30" name="Полилиния: фигура 429">
              <a:extLst>
                <a:ext uri="{FF2B5EF4-FFF2-40B4-BE49-F238E27FC236}">
                  <a16:creationId xmlns:a16="http://schemas.microsoft.com/office/drawing/2014/main" id="{7DFAB01B-A3BC-412C-9658-0ED380428646}"/>
                </a:ext>
              </a:extLst>
            </p:cNvPr>
            <p:cNvSpPr/>
            <p:nvPr/>
          </p:nvSpPr>
          <p:spPr>
            <a:xfrm>
              <a:off x="1171769" y="5261806"/>
              <a:ext cx="288005" cy="240076"/>
            </a:xfrm>
            <a:custGeom>
              <a:avLst/>
              <a:gdLst>
                <a:gd name="connsiteX0" fmla="*/ 285162 w 288005"/>
                <a:gd name="connsiteY0" fmla="*/ 124022 h 240076"/>
                <a:gd name="connsiteX1" fmla="*/ 269074 w 288005"/>
                <a:gd name="connsiteY1" fmla="*/ 143785 h 240076"/>
                <a:gd name="connsiteX2" fmla="*/ 230182 w 288005"/>
                <a:gd name="connsiteY2" fmla="*/ 148345 h 240076"/>
                <a:gd name="connsiteX3" fmla="*/ 195344 w 288005"/>
                <a:gd name="connsiteY3" fmla="*/ 170261 h 240076"/>
                <a:gd name="connsiteX4" fmla="*/ 173048 w 288005"/>
                <a:gd name="connsiteY4" fmla="*/ 215107 h 240076"/>
                <a:gd name="connsiteX5" fmla="*/ 137197 w 288005"/>
                <a:gd name="connsiteY5" fmla="*/ 235376 h 240076"/>
                <a:gd name="connsiteX6" fmla="*/ 91718 w 288005"/>
                <a:gd name="connsiteY6" fmla="*/ 218021 h 240076"/>
                <a:gd name="connsiteX7" fmla="*/ 72082 w 288005"/>
                <a:gd name="connsiteY7" fmla="*/ 225241 h 240076"/>
                <a:gd name="connsiteX8" fmla="*/ 50673 w 288005"/>
                <a:gd name="connsiteY8" fmla="*/ 218021 h 240076"/>
                <a:gd name="connsiteX9" fmla="*/ 13048 w 288005"/>
                <a:gd name="connsiteY9" fmla="*/ 216247 h 240076"/>
                <a:gd name="connsiteX10" fmla="*/ 13428 w 288005"/>
                <a:gd name="connsiteY10" fmla="*/ 191164 h 240076"/>
                <a:gd name="connsiteX11" fmla="*/ 8234 w 288005"/>
                <a:gd name="connsiteY11" fmla="*/ 168108 h 240076"/>
                <a:gd name="connsiteX12" fmla="*/ 0 w 288005"/>
                <a:gd name="connsiteY12" fmla="*/ 154553 h 240076"/>
                <a:gd name="connsiteX13" fmla="*/ 103753 w 288005"/>
                <a:gd name="connsiteY13" fmla="*/ 11021 h 240076"/>
                <a:gd name="connsiteX14" fmla="*/ 126936 w 288005"/>
                <a:gd name="connsiteY14" fmla="*/ 12542 h 240076"/>
                <a:gd name="connsiteX15" fmla="*/ 151132 w 288005"/>
                <a:gd name="connsiteY15" fmla="*/ 0 h 240076"/>
                <a:gd name="connsiteX16" fmla="*/ 196105 w 288005"/>
                <a:gd name="connsiteY16" fmla="*/ 25463 h 240076"/>
                <a:gd name="connsiteX17" fmla="*/ 217641 w 288005"/>
                <a:gd name="connsiteY17" fmla="*/ 39018 h 240076"/>
                <a:gd name="connsiteX18" fmla="*/ 227142 w 288005"/>
                <a:gd name="connsiteY18" fmla="*/ 54220 h 240076"/>
                <a:gd name="connsiteX19" fmla="*/ 231576 w 288005"/>
                <a:gd name="connsiteY19" fmla="*/ 66382 h 240076"/>
                <a:gd name="connsiteX20" fmla="*/ 225748 w 288005"/>
                <a:gd name="connsiteY20" fmla="*/ 79557 h 240076"/>
                <a:gd name="connsiteX21" fmla="*/ 250831 w 288005"/>
                <a:gd name="connsiteY21" fmla="*/ 89818 h 240076"/>
                <a:gd name="connsiteX22" fmla="*/ 283135 w 288005"/>
                <a:gd name="connsiteY22" fmla="*/ 95772 h 240076"/>
                <a:gd name="connsiteX23" fmla="*/ 285162 w 288005"/>
                <a:gd name="connsiteY23" fmla="*/ 124022 h 24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8005" h="240076">
                  <a:moveTo>
                    <a:pt x="285162" y="124022"/>
                  </a:moveTo>
                  <a:cubicBezTo>
                    <a:pt x="283262" y="132890"/>
                    <a:pt x="278702" y="141631"/>
                    <a:pt x="269074" y="143785"/>
                  </a:cubicBezTo>
                  <a:cubicBezTo>
                    <a:pt x="255645" y="146699"/>
                    <a:pt x="243484" y="142518"/>
                    <a:pt x="230182" y="148345"/>
                  </a:cubicBezTo>
                  <a:cubicBezTo>
                    <a:pt x="218021" y="153666"/>
                    <a:pt x="204085" y="160000"/>
                    <a:pt x="195344" y="170261"/>
                  </a:cubicBezTo>
                  <a:cubicBezTo>
                    <a:pt x="184450" y="182930"/>
                    <a:pt x="180523" y="200539"/>
                    <a:pt x="173048" y="215107"/>
                  </a:cubicBezTo>
                  <a:cubicBezTo>
                    <a:pt x="165827" y="229169"/>
                    <a:pt x="154046" y="249311"/>
                    <a:pt x="137197" y="235376"/>
                  </a:cubicBezTo>
                  <a:cubicBezTo>
                    <a:pt x="122502" y="223215"/>
                    <a:pt x="112494" y="207760"/>
                    <a:pt x="91718" y="218021"/>
                  </a:cubicBezTo>
                  <a:cubicBezTo>
                    <a:pt x="85384" y="221061"/>
                    <a:pt x="79430" y="225622"/>
                    <a:pt x="72082" y="225241"/>
                  </a:cubicBezTo>
                  <a:cubicBezTo>
                    <a:pt x="64608" y="224861"/>
                    <a:pt x="57641" y="220174"/>
                    <a:pt x="50673" y="218021"/>
                  </a:cubicBezTo>
                  <a:cubicBezTo>
                    <a:pt x="38131" y="214094"/>
                    <a:pt x="25590" y="215614"/>
                    <a:pt x="13048" y="216247"/>
                  </a:cubicBezTo>
                  <a:cubicBezTo>
                    <a:pt x="14442" y="207760"/>
                    <a:pt x="14949" y="198765"/>
                    <a:pt x="13428" y="191164"/>
                  </a:cubicBezTo>
                  <a:cubicBezTo>
                    <a:pt x="12035" y="183690"/>
                    <a:pt x="11401" y="175075"/>
                    <a:pt x="8234" y="168108"/>
                  </a:cubicBezTo>
                  <a:cubicBezTo>
                    <a:pt x="5954" y="163294"/>
                    <a:pt x="3040" y="158860"/>
                    <a:pt x="0" y="154553"/>
                  </a:cubicBezTo>
                  <a:cubicBezTo>
                    <a:pt x="178876" y="82217"/>
                    <a:pt x="105780" y="13048"/>
                    <a:pt x="103753" y="11021"/>
                  </a:cubicBezTo>
                  <a:cubicBezTo>
                    <a:pt x="111101" y="13555"/>
                    <a:pt x="119082" y="14062"/>
                    <a:pt x="126936" y="12542"/>
                  </a:cubicBezTo>
                  <a:cubicBezTo>
                    <a:pt x="132510" y="11528"/>
                    <a:pt x="144925" y="6714"/>
                    <a:pt x="151132" y="0"/>
                  </a:cubicBezTo>
                  <a:cubicBezTo>
                    <a:pt x="151512" y="1394"/>
                    <a:pt x="158607" y="23310"/>
                    <a:pt x="196105" y="25463"/>
                  </a:cubicBezTo>
                  <a:cubicBezTo>
                    <a:pt x="201045" y="31671"/>
                    <a:pt x="212827" y="32684"/>
                    <a:pt x="217641" y="39018"/>
                  </a:cubicBezTo>
                  <a:cubicBezTo>
                    <a:pt x="221314" y="43832"/>
                    <a:pt x="223848" y="49280"/>
                    <a:pt x="227142" y="54220"/>
                  </a:cubicBezTo>
                  <a:cubicBezTo>
                    <a:pt x="230182" y="58781"/>
                    <a:pt x="233603" y="60301"/>
                    <a:pt x="231576" y="66382"/>
                  </a:cubicBezTo>
                  <a:cubicBezTo>
                    <a:pt x="229802" y="71576"/>
                    <a:pt x="226128" y="73856"/>
                    <a:pt x="225748" y="79557"/>
                  </a:cubicBezTo>
                  <a:cubicBezTo>
                    <a:pt x="224608" y="94885"/>
                    <a:pt x="240570" y="90071"/>
                    <a:pt x="250831" y="89818"/>
                  </a:cubicBezTo>
                  <a:cubicBezTo>
                    <a:pt x="261219" y="89565"/>
                    <a:pt x="274521" y="88678"/>
                    <a:pt x="283135" y="95772"/>
                  </a:cubicBezTo>
                  <a:cubicBezTo>
                    <a:pt x="291496" y="102360"/>
                    <a:pt x="286936" y="115154"/>
                    <a:pt x="285162" y="12402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31" name="Полилиния: фигура 430">
              <a:extLst>
                <a:ext uri="{FF2B5EF4-FFF2-40B4-BE49-F238E27FC236}">
                  <a16:creationId xmlns:a16="http://schemas.microsoft.com/office/drawing/2014/main" id="{DB517944-A860-4587-8228-396E7A0F2FCE}"/>
                </a:ext>
              </a:extLst>
            </p:cNvPr>
            <p:cNvSpPr/>
            <p:nvPr/>
          </p:nvSpPr>
          <p:spPr>
            <a:xfrm>
              <a:off x="1159563" y="5181139"/>
              <a:ext cx="452428" cy="671513"/>
            </a:xfrm>
            <a:custGeom>
              <a:avLst/>
              <a:gdLst>
                <a:gd name="connsiteX0" fmla="*/ 385413 w 452428"/>
                <a:gd name="connsiteY0" fmla="*/ 150342 h 671513"/>
                <a:gd name="connsiteX1" fmla="*/ 387820 w 452428"/>
                <a:gd name="connsiteY1" fmla="*/ 181126 h 671513"/>
                <a:gd name="connsiteX2" fmla="*/ 393014 w 452428"/>
                <a:gd name="connsiteY2" fmla="*/ 211150 h 671513"/>
                <a:gd name="connsiteX3" fmla="*/ 395928 w 452428"/>
                <a:gd name="connsiteY3" fmla="*/ 240033 h 671513"/>
                <a:gd name="connsiteX4" fmla="*/ 385920 w 452428"/>
                <a:gd name="connsiteY4" fmla="*/ 276518 h 671513"/>
                <a:gd name="connsiteX5" fmla="*/ 377052 w 452428"/>
                <a:gd name="connsiteY5" fmla="*/ 301854 h 671513"/>
                <a:gd name="connsiteX6" fmla="*/ 348675 w 452428"/>
                <a:gd name="connsiteY6" fmla="*/ 307682 h 671513"/>
                <a:gd name="connsiteX7" fmla="*/ 334107 w 452428"/>
                <a:gd name="connsiteY7" fmla="*/ 327444 h 671513"/>
                <a:gd name="connsiteX8" fmla="*/ 363117 w 452428"/>
                <a:gd name="connsiteY8" fmla="*/ 331878 h 671513"/>
                <a:gd name="connsiteX9" fmla="*/ 385540 w 452428"/>
                <a:gd name="connsiteY9" fmla="*/ 321870 h 671513"/>
                <a:gd name="connsiteX10" fmla="*/ 389467 w 452428"/>
                <a:gd name="connsiteY10" fmla="*/ 337705 h 671513"/>
                <a:gd name="connsiteX11" fmla="*/ 367171 w 452428"/>
                <a:gd name="connsiteY11" fmla="*/ 341126 h 671513"/>
                <a:gd name="connsiteX12" fmla="*/ 342214 w 452428"/>
                <a:gd name="connsiteY12" fmla="*/ 357341 h 671513"/>
                <a:gd name="connsiteX13" fmla="*/ 326886 w 452428"/>
                <a:gd name="connsiteY13" fmla="*/ 376597 h 671513"/>
                <a:gd name="connsiteX14" fmla="*/ 310037 w 452428"/>
                <a:gd name="connsiteY14" fmla="*/ 399273 h 671513"/>
                <a:gd name="connsiteX15" fmla="*/ 294962 w 452428"/>
                <a:gd name="connsiteY15" fmla="*/ 405354 h 671513"/>
                <a:gd name="connsiteX16" fmla="*/ 280393 w 452428"/>
                <a:gd name="connsiteY16" fmla="*/ 402947 h 671513"/>
                <a:gd name="connsiteX17" fmla="*/ 268358 w 452428"/>
                <a:gd name="connsiteY17" fmla="*/ 420429 h 671513"/>
                <a:gd name="connsiteX18" fmla="*/ 272286 w 452428"/>
                <a:gd name="connsiteY18" fmla="*/ 431957 h 671513"/>
                <a:gd name="connsiteX19" fmla="*/ 281153 w 452428"/>
                <a:gd name="connsiteY19" fmla="*/ 436011 h 671513"/>
                <a:gd name="connsiteX20" fmla="*/ 271779 w 452428"/>
                <a:gd name="connsiteY20" fmla="*/ 446652 h 671513"/>
                <a:gd name="connsiteX21" fmla="*/ 266585 w 452428"/>
                <a:gd name="connsiteY21" fmla="*/ 464768 h 671513"/>
                <a:gd name="connsiteX22" fmla="*/ 259744 w 452428"/>
                <a:gd name="connsiteY22" fmla="*/ 490991 h 671513"/>
                <a:gd name="connsiteX23" fmla="*/ 257084 w 452428"/>
                <a:gd name="connsiteY23" fmla="*/ 521648 h 671513"/>
                <a:gd name="connsiteX24" fmla="*/ 252650 w 452428"/>
                <a:gd name="connsiteY24" fmla="*/ 570168 h 671513"/>
                <a:gd name="connsiteX25" fmla="*/ 245049 w 452428"/>
                <a:gd name="connsiteY25" fmla="*/ 614887 h 671513"/>
                <a:gd name="connsiteX26" fmla="*/ 243782 w 452428"/>
                <a:gd name="connsiteY26" fmla="*/ 630089 h 671513"/>
                <a:gd name="connsiteX27" fmla="*/ 239601 w 452428"/>
                <a:gd name="connsiteY27" fmla="*/ 649725 h 671513"/>
                <a:gd name="connsiteX28" fmla="*/ 237701 w 452428"/>
                <a:gd name="connsiteY28" fmla="*/ 671514 h 671513"/>
                <a:gd name="connsiteX29" fmla="*/ 214138 w 452428"/>
                <a:gd name="connsiteY29" fmla="*/ 666953 h 671513"/>
                <a:gd name="connsiteX30" fmla="*/ 178921 w 452428"/>
                <a:gd name="connsiteY30" fmla="*/ 663406 h 671513"/>
                <a:gd name="connsiteX31" fmla="*/ 99364 w 452428"/>
                <a:gd name="connsiteY31" fmla="*/ 660239 h 671513"/>
                <a:gd name="connsiteX32" fmla="*/ 52111 w 452428"/>
                <a:gd name="connsiteY32" fmla="*/ 624135 h 671513"/>
                <a:gd name="connsiteX33" fmla="*/ 47677 w 452428"/>
                <a:gd name="connsiteY33" fmla="*/ 581696 h 671513"/>
                <a:gd name="connsiteX34" fmla="*/ 45270 w 452428"/>
                <a:gd name="connsiteY34" fmla="*/ 545592 h 671513"/>
                <a:gd name="connsiteX35" fmla="*/ 43244 w 452428"/>
                <a:gd name="connsiteY35" fmla="*/ 481743 h 671513"/>
                <a:gd name="connsiteX36" fmla="*/ 41850 w 452428"/>
                <a:gd name="connsiteY36" fmla="*/ 457041 h 671513"/>
                <a:gd name="connsiteX37" fmla="*/ 32729 w 452428"/>
                <a:gd name="connsiteY37" fmla="*/ 429043 h 671513"/>
                <a:gd name="connsiteX38" fmla="*/ 7139 w 452428"/>
                <a:gd name="connsiteY38" fmla="*/ 381031 h 671513"/>
                <a:gd name="connsiteX39" fmla="*/ 3212 w 452428"/>
                <a:gd name="connsiteY39" fmla="*/ 345053 h 671513"/>
                <a:gd name="connsiteX40" fmla="*/ 21581 w 452428"/>
                <a:gd name="connsiteY40" fmla="*/ 312369 h 671513"/>
                <a:gd name="connsiteX41" fmla="*/ 25001 w 452428"/>
                <a:gd name="connsiteY41" fmla="*/ 297167 h 671513"/>
                <a:gd name="connsiteX42" fmla="*/ 62626 w 452428"/>
                <a:gd name="connsiteY42" fmla="*/ 298941 h 671513"/>
                <a:gd name="connsiteX43" fmla="*/ 84035 w 452428"/>
                <a:gd name="connsiteY43" fmla="*/ 306162 h 671513"/>
                <a:gd name="connsiteX44" fmla="*/ 103671 w 452428"/>
                <a:gd name="connsiteY44" fmla="*/ 298941 h 671513"/>
                <a:gd name="connsiteX45" fmla="*/ 149150 w 452428"/>
                <a:gd name="connsiteY45" fmla="*/ 316296 h 671513"/>
                <a:gd name="connsiteX46" fmla="*/ 185001 w 452428"/>
                <a:gd name="connsiteY46" fmla="*/ 296027 h 671513"/>
                <a:gd name="connsiteX47" fmla="*/ 207297 w 452428"/>
                <a:gd name="connsiteY47" fmla="*/ 251181 h 671513"/>
                <a:gd name="connsiteX48" fmla="*/ 242135 w 452428"/>
                <a:gd name="connsiteY48" fmla="*/ 229265 h 671513"/>
                <a:gd name="connsiteX49" fmla="*/ 281027 w 452428"/>
                <a:gd name="connsiteY49" fmla="*/ 224705 h 671513"/>
                <a:gd name="connsiteX50" fmla="*/ 297115 w 452428"/>
                <a:gd name="connsiteY50" fmla="*/ 204942 h 671513"/>
                <a:gd name="connsiteX51" fmla="*/ 295088 w 452428"/>
                <a:gd name="connsiteY51" fmla="*/ 176565 h 671513"/>
                <a:gd name="connsiteX52" fmla="*/ 262784 w 452428"/>
                <a:gd name="connsiteY52" fmla="*/ 170611 h 671513"/>
                <a:gd name="connsiteX53" fmla="*/ 237701 w 452428"/>
                <a:gd name="connsiteY53" fmla="*/ 160350 h 671513"/>
                <a:gd name="connsiteX54" fmla="*/ 243529 w 452428"/>
                <a:gd name="connsiteY54" fmla="*/ 147175 h 671513"/>
                <a:gd name="connsiteX55" fmla="*/ 239095 w 452428"/>
                <a:gd name="connsiteY55" fmla="*/ 135013 h 671513"/>
                <a:gd name="connsiteX56" fmla="*/ 229594 w 452428"/>
                <a:gd name="connsiteY56" fmla="*/ 119811 h 671513"/>
                <a:gd name="connsiteX57" fmla="*/ 208058 w 452428"/>
                <a:gd name="connsiteY57" fmla="*/ 106257 h 671513"/>
                <a:gd name="connsiteX58" fmla="*/ 206537 w 452428"/>
                <a:gd name="connsiteY58" fmla="*/ 103723 h 671513"/>
                <a:gd name="connsiteX59" fmla="*/ 214645 w 452428"/>
                <a:gd name="connsiteY59" fmla="*/ 72812 h 671513"/>
                <a:gd name="connsiteX60" fmla="*/ 190575 w 452428"/>
                <a:gd name="connsiteY60" fmla="*/ 38608 h 671513"/>
                <a:gd name="connsiteX61" fmla="*/ 236688 w 452428"/>
                <a:gd name="connsiteY61" fmla="*/ 48870 h 671513"/>
                <a:gd name="connsiteX62" fmla="*/ 271906 w 452428"/>
                <a:gd name="connsiteY62" fmla="*/ 37468 h 671513"/>
                <a:gd name="connsiteX63" fmla="*/ 265698 w 452428"/>
                <a:gd name="connsiteY63" fmla="*/ 2884 h 671513"/>
                <a:gd name="connsiteX64" fmla="*/ 317891 w 452428"/>
                <a:gd name="connsiteY64" fmla="*/ 6684 h 671513"/>
                <a:gd name="connsiteX65" fmla="*/ 357036 w 452428"/>
                <a:gd name="connsiteY65" fmla="*/ 7191 h 671513"/>
                <a:gd name="connsiteX66" fmla="*/ 363117 w 452428"/>
                <a:gd name="connsiteY66" fmla="*/ 8964 h 671513"/>
                <a:gd name="connsiteX67" fmla="*/ 403149 w 452428"/>
                <a:gd name="connsiteY67" fmla="*/ 47603 h 671513"/>
                <a:gd name="connsiteX68" fmla="*/ 434566 w 452428"/>
                <a:gd name="connsiteY68" fmla="*/ 93842 h 671513"/>
                <a:gd name="connsiteX69" fmla="*/ 452428 w 452428"/>
                <a:gd name="connsiteY69" fmla="*/ 140461 h 671513"/>
                <a:gd name="connsiteX70" fmla="*/ 425318 w 452428"/>
                <a:gd name="connsiteY70" fmla="*/ 140968 h 671513"/>
                <a:gd name="connsiteX71" fmla="*/ 385413 w 452428"/>
                <a:gd name="connsiteY71" fmla="*/ 150342 h 6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52428" h="671513">
                  <a:moveTo>
                    <a:pt x="385413" y="150342"/>
                  </a:moveTo>
                  <a:cubicBezTo>
                    <a:pt x="376799" y="159717"/>
                    <a:pt x="383893" y="171498"/>
                    <a:pt x="387820" y="181126"/>
                  </a:cubicBezTo>
                  <a:cubicBezTo>
                    <a:pt x="391747" y="190627"/>
                    <a:pt x="392254" y="200889"/>
                    <a:pt x="393014" y="211150"/>
                  </a:cubicBezTo>
                  <a:cubicBezTo>
                    <a:pt x="393647" y="220777"/>
                    <a:pt x="396561" y="230405"/>
                    <a:pt x="395928" y="240033"/>
                  </a:cubicBezTo>
                  <a:cubicBezTo>
                    <a:pt x="395168" y="251942"/>
                    <a:pt x="389847" y="265370"/>
                    <a:pt x="385920" y="276518"/>
                  </a:cubicBezTo>
                  <a:cubicBezTo>
                    <a:pt x="383006" y="284752"/>
                    <a:pt x="381739" y="294380"/>
                    <a:pt x="377052" y="301854"/>
                  </a:cubicBezTo>
                  <a:cubicBezTo>
                    <a:pt x="370591" y="312116"/>
                    <a:pt x="358810" y="307048"/>
                    <a:pt x="348675" y="307682"/>
                  </a:cubicBezTo>
                  <a:cubicBezTo>
                    <a:pt x="341327" y="308189"/>
                    <a:pt x="326252" y="318703"/>
                    <a:pt x="334107" y="327444"/>
                  </a:cubicBezTo>
                  <a:cubicBezTo>
                    <a:pt x="338794" y="332638"/>
                    <a:pt x="356783" y="333525"/>
                    <a:pt x="363117" y="331878"/>
                  </a:cubicBezTo>
                  <a:cubicBezTo>
                    <a:pt x="370338" y="329978"/>
                    <a:pt x="377939" y="320857"/>
                    <a:pt x="385540" y="321870"/>
                  </a:cubicBezTo>
                  <a:cubicBezTo>
                    <a:pt x="393521" y="322757"/>
                    <a:pt x="395168" y="333272"/>
                    <a:pt x="389467" y="337705"/>
                  </a:cubicBezTo>
                  <a:cubicBezTo>
                    <a:pt x="383133" y="342646"/>
                    <a:pt x="374392" y="339352"/>
                    <a:pt x="367171" y="341126"/>
                  </a:cubicBezTo>
                  <a:cubicBezTo>
                    <a:pt x="358050" y="343406"/>
                    <a:pt x="349689" y="351641"/>
                    <a:pt x="342214" y="357341"/>
                  </a:cubicBezTo>
                  <a:cubicBezTo>
                    <a:pt x="335500" y="362409"/>
                    <a:pt x="331066" y="369503"/>
                    <a:pt x="326886" y="376597"/>
                  </a:cubicBezTo>
                  <a:cubicBezTo>
                    <a:pt x="321692" y="385338"/>
                    <a:pt x="318778" y="393192"/>
                    <a:pt x="310037" y="399273"/>
                  </a:cubicBezTo>
                  <a:cubicBezTo>
                    <a:pt x="305603" y="402440"/>
                    <a:pt x="300536" y="405354"/>
                    <a:pt x="294962" y="405354"/>
                  </a:cubicBezTo>
                  <a:cubicBezTo>
                    <a:pt x="290021" y="405354"/>
                    <a:pt x="285334" y="402820"/>
                    <a:pt x="280393" y="402947"/>
                  </a:cubicBezTo>
                  <a:cubicBezTo>
                    <a:pt x="269499" y="403074"/>
                    <a:pt x="268485" y="411308"/>
                    <a:pt x="268358" y="420429"/>
                  </a:cubicBezTo>
                  <a:cubicBezTo>
                    <a:pt x="268358" y="424863"/>
                    <a:pt x="268485" y="429170"/>
                    <a:pt x="272286" y="431957"/>
                  </a:cubicBezTo>
                  <a:cubicBezTo>
                    <a:pt x="274312" y="433477"/>
                    <a:pt x="280267" y="433604"/>
                    <a:pt x="281153" y="436011"/>
                  </a:cubicBezTo>
                  <a:cubicBezTo>
                    <a:pt x="282674" y="439685"/>
                    <a:pt x="273932" y="444119"/>
                    <a:pt x="271779" y="446652"/>
                  </a:cubicBezTo>
                  <a:cubicBezTo>
                    <a:pt x="266838" y="452733"/>
                    <a:pt x="266331" y="457167"/>
                    <a:pt x="266585" y="464768"/>
                  </a:cubicBezTo>
                  <a:cubicBezTo>
                    <a:pt x="266965" y="475156"/>
                    <a:pt x="262658" y="481363"/>
                    <a:pt x="259744" y="490991"/>
                  </a:cubicBezTo>
                  <a:cubicBezTo>
                    <a:pt x="256704" y="500746"/>
                    <a:pt x="257210" y="511514"/>
                    <a:pt x="257084" y="521648"/>
                  </a:cubicBezTo>
                  <a:cubicBezTo>
                    <a:pt x="256957" y="537864"/>
                    <a:pt x="256197" y="554206"/>
                    <a:pt x="252650" y="570168"/>
                  </a:cubicBezTo>
                  <a:cubicBezTo>
                    <a:pt x="249483" y="584863"/>
                    <a:pt x="248849" y="599938"/>
                    <a:pt x="245049" y="614887"/>
                  </a:cubicBezTo>
                  <a:cubicBezTo>
                    <a:pt x="243782" y="620081"/>
                    <a:pt x="244542" y="624895"/>
                    <a:pt x="243782" y="630089"/>
                  </a:cubicBezTo>
                  <a:cubicBezTo>
                    <a:pt x="242895" y="636549"/>
                    <a:pt x="240742" y="643137"/>
                    <a:pt x="239601" y="649725"/>
                  </a:cubicBezTo>
                  <a:cubicBezTo>
                    <a:pt x="238461" y="656819"/>
                    <a:pt x="238715" y="664293"/>
                    <a:pt x="237701" y="671514"/>
                  </a:cubicBezTo>
                  <a:cubicBezTo>
                    <a:pt x="229467" y="671260"/>
                    <a:pt x="222119" y="668347"/>
                    <a:pt x="214138" y="666953"/>
                  </a:cubicBezTo>
                  <a:cubicBezTo>
                    <a:pt x="202483" y="664926"/>
                    <a:pt x="190575" y="664926"/>
                    <a:pt x="178921" y="663406"/>
                  </a:cubicBezTo>
                  <a:cubicBezTo>
                    <a:pt x="152444" y="659859"/>
                    <a:pt x="125714" y="662393"/>
                    <a:pt x="99364" y="660239"/>
                  </a:cubicBezTo>
                  <a:cubicBezTo>
                    <a:pt x="77955" y="658592"/>
                    <a:pt x="58952" y="644277"/>
                    <a:pt x="52111" y="624135"/>
                  </a:cubicBezTo>
                  <a:cubicBezTo>
                    <a:pt x="47424" y="610200"/>
                    <a:pt x="49071" y="596011"/>
                    <a:pt x="47677" y="581696"/>
                  </a:cubicBezTo>
                  <a:cubicBezTo>
                    <a:pt x="46537" y="569408"/>
                    <a:pt x="44637" y="557880"/>
                    <a:pt x="45270" y="545592"/>
                  </a:cubicBezTo>
                  <a:cubicBezTo>
                    <a:pt x="46284" y="524309"/>
                    <a:pt x="45524" y="502900"/>
                    <a:pt x="43244" y="481743"/>
                  </a:cubicBezTo>
                  <a:cubicBezTo>
                    <a:pt x="42357" y="473509"/>
                    <a:pt x="43497" y="465148"/>
                    <a:pt x="41850" y="457041"/>
                  </a:cubicBezTo>
                  <a:cubicBezTo>
                    <a:pt x="39823" y="447413"/>
                    <a:pt x="36403" y="438165"/>
                    <a:pt x="32729" y="429043"/>
                  </a:cubicBezTo>
                  <a:cubicBezTo>
                    <a:pt x="26015" y="412068"/>
                    <a:pt x="20947" y="393446"/>
                    <a:pt x="7139" y="381031"/>
                  </a:cubicBezTo>
                  <a:cubicBezTo>
                    <a:pt x="-2362" y="372543"/>
                    <a:pt x="-969" y="356075"/>
                    <a:pt x="3212" y="345053"/>
                  </a:cubicBezTo>
                  <a:cubicBezTo>
                    <a:pt x="7899" y="332765"/>
                    <a:pt x="18034" y="325037"/>
                    <a:pt x="21581" y="312369"/>
                  </a:cubicBezTo>
                  <a:cubicBezTo>
                    <a:pt x="22974" y="307682"/>
                    <a:pt x="24114" y="302488"/>
                    <a:pt x="25001" y="297167"/>
                  </a:cubicBezTo>
                  <a:cubicBezTo>
                    <a:pt x="37543" y="296534"/>
                    <a:pt x="50084" y="295014"/>
                    <a:pt x="62626" y="298941"/>
                  </a:cubicBezTo>
                  <a:cubicBezTo>
                    <a:pt x="69593" y="301094"/>
                    <a:pt x="76561" y="305782"/>
                    <a:pt x="84035" y="306162"/>
                  </a:cubicBezTo>
                  <a:cubicBezTo>
                    <a:pt x="91383" y="306542"/>
                    <a:pt x="97337" y="302108"/>
                    <a:pt x="103671" y="298941"/>
                  </a:cubicBezTo>
                  <a:cubicBezTo>
                    <a:pt x="124320" y="288806"/>
                    <a:pt x="134455" y="304135"/>
                    <a:pt x="149150" y="316296"/>
                  </a:cubicBezTo>
                  <a:cubicBezTo>
                    <a:pt x="165999" y="330231"/>
                    <a:pt x="177780" y="310089"/>
                    <a:pt x="185001" y="296027"/>
                  </a:cubicBezTo>
                  <a:cubicBezTo>
                    <a:pt x="192602" y="281458"/>
                    <a:pt x="196403" y="263723"/>
                    <a:pt x="207297" y="251181"/>
                  </a:cubicBezTo>
                  <a:cubicBezTo>
                    <a:pt x="216038" y="240920"/>
                    <a:pt x="229974" y="234586"/>
                    <a:pt x="242135" y="229265"/>
                  </a:cubicBezTo>
                  <a:cubicBezTo>
                    <a:pt x="255437" y="223311"/>
                    <a:pt x="267598" y="227618"/>
                    <a:pt x="281027" y="224705"/>
                  </a:cubicBezTo>
                  <a:cubicBezTo>
                    <a:pt x="290654" y="222551"/>
                    <a:pt x="295215" y="213810"/>
                    <a:pt x="297115" y="204942"/>
                  </a:cubicBezTo>
                  <a:cubicBezTo>
                    <a:pt x="299016" y="196201"/>
                    <a:pt x="303449" y="183406"/>
                    <a:pt x="295088" y="176565"/>
                  </a:cubicBezTo>
                  <a:cubicBezTo>
                    <a:pt x="286474" y="169471"/>
                    <a:pt x="273172" y="170358"/>
                    <a:pt x="262784" y="170611"/>
                  </a:cubicBezTo>
                  <a:cubicBezTo>
                    <a:pt x="252523" y="170864"/>
                    <a:pt x="236561" y="175678"/>
                    <a:pt x="237701" y="160350"/>
                  </a:cubicBezTo>
                  <a:cubicBezTo>
                    <a:pt x="238081" y="154649"/>
                    <a:pt x="241755" y="152369"/>
                    <a:pt x="243529" y="147175"/>
                  </a:cubicBezTo>
                  <a:cubicBezTo>
                    <a:pt x="245556" y="141094"/>
                    <a:pt x="242135" y="139574"/>
                    <a:pt x="239095" y="135013"/>
                  </a:cubicBezTo>
                  <a:cubicBezTo>
                    <a:pt x="235801" y="130073"/>
                    <a:pt x="233267" y="124752"/>
                    <a:pt x="229594" y="119811"/>
                  </a:cubicBezTo>
                  <a:cubicBezTo>
                    <a:pt x="224780" y="113477"/>
                    <a:pt x="212998" y="112464"/>
                    <a:pt x="208058" y="106257"/>
                  </a:cubicBezTo>
                  <a:cubicBezTo>
                    <a:pt x="207424" y="105497"/>
                    <a:pt x="206917" y="104610"/>
                    <a:pt x="206537" y="103723"/>
                  </a:cubicBezTo>
                  <a:cubicBezTo>
                    <a:pt x="202737" y="94095"/>
                    <a:pt x="218319" y="84214"/>
                    <a:pt x="214645" y="72812"/>
                  </a:cubicBezTo>
                  <a:cubicBezTo>
                    <a:pt x="210971" y="61158"/>
                    <a:pt x="183354" y="53810"/>
                    <a:pt x="190575" y="38608"/>
                  </a:cubicBezTo>
                  <a:cubicBezTo>
                    <a:pt x="199443" y="19859"/>
                    <a:pt x="227187" y="43549"/>
                    <a:pt x="236688" y="48870"/>
                  </a:cubicBezTo>
                  <a:cubicBezTo>
                    <a:pt x="247582" y="55077"/>
                    <a:pt x="278366" y="59511"/>
                    <a:pt x="271906" y="37468"/>
                  </a:cubicBezTo>
                  <a:cubicBezTo>
                    <a:pt x="268865" y="26953"/>
                    <a:pt x="248469" y="10991"/>
                    <a:pt x="265698" y="2884"/>
                  </a:cubicBezTo>
                  <a:cubicBezTo>
                    <a:pt x="281787" y="-4717"/>
                    <a:pt x="301549" y="4911"/>
                    <a:pt x="317891" y="6684"/>
                  </a:cubicBezTo>
                  <a:cubicBezTo>
                    <a:pt x="330813" y="8078"/>
                    <a:pt x="344368" y="4531"/>
                    <a:pt x="357036" y="7191"/>
                  </a:cubicBezTo>
                  <a:cubicBezTo>
                    <a:pt x="359063" y="7571"/>
                    <a:pt x="361217" y="8204"/>
                    <a:pt x="363117" y="8964"/>
                  </a:cubicBezTo>
                  <a:cubicBezTo>
                    <a:pt x="380219" y="15932"/>
                    <a:pt x="393521" y="32527"/>
                    <a:pt x="403149" y="47603"/>
                  </a:cubicBezTo>
                  <a:cubicBezTo>
                    <a:pt x="413410" y="63565"/>
                    <a:pt x="422024" y="79400"/>
                    <a:pt x="434566" y="93842"/>
                  </a:cubicBezTo>
                  <a:cubicBezTo>
                    <a:pt x="445714" y="106510"/>
                    <a:pt x="449261" y="123739"/>
                    <a:pt x="452428" y="140461"/>
                  </a:cubicBezTo>
                  <a:cubicBezTo>
                    <a:pt x="443434" y="140461"/>
                    <a:pt x="434312" y="140461"/>
                    <a:pt x="425318" y="140968"/>
                  </a:cubicBezTo>
                  <a:cubicBezTo>
                    <a:pt x="413790" y="141601"/>
                    <a:pt x="394281" y="140714"/>
                    <a:pt x="385413" y="15034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432" name="Рисунок 388">
              <a:extLst>
                <a:ext uri="{FF2B5EF4-FFF2-40B4-BE49-F238E27FC236}">
                  <a16:creationId xmlns:a16="http://schemas.microsoft.com/office/drawing/2014/main" id="{1DA397FD-DC6E-439E-BB40-D0F80476817D}"/>
                </a:ext>
              </a:extLst>
            </p:cNvPr>
            <p:cNvGrpSpPr/>
            <p:nvPr/>
          </p:nvGrpSpPr>
          <p:grpSpPr>
            <a:xfrm>
              <a:off x="10418844" y="3594587"/>
              <a:ext cx="1604928" cy="2910987"/>
              <a:chOff x="10418844" y="3594587"/>
              <a:chExt cx="1604928" cy="2910987"/>
            </a:xfrm>
            <a:solidFill>
              <a:srgbClr val="E3E8EC"/>
            </a:solidFill>
          </p:grpSpPr>
          <p:sp>
            <p:nvSpPr>
              <p:cNvPr id="433" name="Полилиния: фигура 432">
                <a:extLst>
                  <a:ext uri="{FF2B5EF4-FFF2-40B4-BE49-F238E27FC236}">
                    <a16:creationId xmlns:a16="http://schemas.microsoft.com/office/drawing/2014/main" id="{B0671FAB-EC31-48C0-B778-9266BF5C8EF1}"/>
                  </a:ext>
                </a:extLst>
              </p:cNvPr>
              <p:cNvSpPr/>
              <p:nvPr/>
            </p:nvSpPr>
            <p:spPr>
              <a:xfrm>
                <a:off x="10418844" y="3594587"/>
                <a:ext cx="1604928" cy="2910987"/>
              </a:xfrm>
              <a:custGeom>
                <a:avLst/>
                <a:gdLst>
                  <a:gd name="connsiteX0" fmla="*/ 1604928 w 1604928"/>
                  <a:gd name="connsiteY0" fmla="*/ 2462785 h 2910987"/>
                  <a:gd name="connsiteX1" fmla="*/ 1603281 w 1604928"/>
                  <a:gd name="connsiteY1" fmla="*/ 2464938 h 2910987"/>
                  <a:gd name="connsiteX2" fmla="*/ 1566671 w 1604928"/>
                  <a:gd name="connsiteY2" fmla="*/ 2484321 h 2910987"/>
                  <a:gd name="connsiteX3" fmla="*/ 1540321 w 1604928"/>
                  <a:gd name="connsiteY3" fmla="*/ 2500916 h 2910987"/>
                  <a:gd name="connsiteX4" fmla="*/ 1517137 w 1604928"/>
                  <a:gd name="connsiteY4" fmla="*/ 2471272 h 2910987"/>
                  <a:gd name="connsiteX5" fmla="*/ 1501809 w 1604928"/>
                  <a:gd name="connsiteY5" fmla="*/ 2432254 h 2910987"/>
                  <a:gd name="connsiteX6" fmla="*/ 1480020 w 1604928"/>
                  <a:gd name="connsiteY6" fmla="*/ 2406411 h 2910987"/>
                  <a:gd name="connsiteX7" fmla="*/ 1456457 w 1604928"/>
                  <a:gd name="connsiteY7" fmla="*/ 2380441 h 2910987"/>
                  <a:gd name="connsiteX8" fmla="*/ 1419845 w 1604928"/>
                  <a:gd name="connsiteY8" fmla="*/ 2373854 h 2910987"/>
                  <a:gd name="connsiteX9" fmla="*/ 1399069 w 1604928"/>
                  <a:gd name="connsiteY9" fmla="*/ 2397163 h 2910987"/>
                  <a:gd name="connsiteX10" fmla="*/ 1389188 w 1604928"/>
                  <a:gd name="connsiteY10" fmla="*/ 2426680 h 2910987"/>
                  <a:gd name="connsiteX11" fmla="*/ 1361825 w 1604928"/>
                  <a:gd name="connsiteY11" fmla="*/ 2448597 h 2910987"/>
                  <a:gd name="connsiteX12" fmla="*/ 1362332 w 1604928"/>
                  <a:gd name="connsiteY12" fmla="*/ 2475706 h 2910987"/>
                  <a:gd name="connsiteX13" fmla="*/ 1380700 w 1604928"/>
                  <a:gd name="connsiteY13" fmla="*/ 2508391 h 2910987"/>
                  <a:gd name="connsiteX14" fmla="*/ 1402996 w 1604928"/>
                  <a:gd name="connsiteY14" fmla="*/ 2522452 h 2910987"/>
                  <a:gd name="connsiteX15" fmla="*/ 1431627 w 1604928"/>
                  <a:gd name="connsiteY15" fmla="*/ 2506744 h 2910987"/>
                  <a:gd name="connsiteX16" fmla="*/ 1445942 w 1604928"/>
                  <a:gd name="connsiteY16" fmla="*/ 2547789 h 2910987"/>
                  <a:gd name="connsiteX17" fmla="*/ 1431247 w 1604928"/>
                  <a:gd name="connsiteY17" fmla="*/ 2587440 h 2910987"/>
                  <a:gd name="connsiteX18" fmla="*/ 1395396 w 1604928"/>
                  <a:gd name="connsiteY18" fmla="*/ 2613917 h 2910987"/>
                  <a:gd name="connsiteX19" fmla="*/ 1373480 w 1604928"/>
                  <a:gd name="connsiteY19" fmla="*/ 2630132 h 2910987"/>
                  <a:gd name="connsiteX20" fmla="*/ 1388808 w 1604928"/>
                  <a:gd name="connsiteY20" fmla="*/ 2652175 h 2910987"/>
                  <a:gd name="connsiteX21" fmla="*/ 1403123 w 1604928"/>
                  <a:gd name="connsiteY21" fmla="*/ 2663196 h 2910987"/>
                  <a:gd name="connsiteX22" fmla="*/ 1411358 w 1604928"/>
                  <a:gd name="connsiteY22" fmla="*/ 2678145 h 2910987"/>
                  <a:gd name="connsiteX23" fmla="*/ 1388555 w 1604928"/>
                  <a:gd name="connsiteY23" fmla="*/ 2713363 h 2910987"/>
                  <a:gd name="connsiteX24" fmla="*/ 1373226 w 1604928"/>
                  <a:gd name="connsiteY24" fmla="*/ 2728945 h 2910987"/>
                  <a:gd name="connsiteX25" fmla="*/ 1362332 w 1604928"/>
                  <a:gd name="connsiteY25" fmla="*/ 2732492 h 2910987"/>
                  <a:gd name="connsiteX26" fmla="*/ 1354604 w 1604928"/>
                  <a:gd name="connsiteY26" fmla="*/ 2736546 h 2910987"/>
                  <a:gd name="connsiteX27" fmla="*/ 1343329 w 1604928"/>
                  <a:gd name="connsiteY27" fmla="*/ 2738066 h 2910987"/>
                  <a:gd name="connsiteX28" fmla="*/ 1326860 w 1604928"/>
                  <a:gd name="connsiteY28" fmla="*/ 2735912 h 2910987"/>
                  <a:gd name="connsiteX29" fmla="*/ 1319513 w 1604928"/>
                  <a:gd name="connsiteY29" fmla="*/ 2754788 h 2910987"/>
                  <a:gd name="connsiteX30" fmla="*/ 1311405 w 1604928"/>
                  <a:gd name="connsiteY30" fmla="*/ 2766063 h 2910987"/>
                  <a:gd name="connsiteX31" fmla="*/ 1287462 w 1604928"/>
                  <a:gd name="connsiteY31" fmla="*/ 2761375 h 2910987"/>
                  <a:gd name="connsiteX32" fmla="*/ 1267320 w 1604928"/>
                  <a:gd name="connsiteY32" fmla="*/ 2765303 h 2910987"/>
                  <a:gd name="connsiteX33" fmla="*/ 1254271 w 1604928"/>
                  <a:gd name="connsiteY33" fmla="*/ 2782151 h 2910987"/>
                  <a:gd name="connsiteX34" fmla="*/ 1232229 w 1604928"/>
                  <a:gd name="connsiteY34" fmla="*/ 2754661 h 2910987"/>
                  <a:gd name="connsiteX35" fmla="*/ 1194604 w 1604928"/>
                  <a:gd name="connsiteY35" fmla="*/ 2753901 h 2910987"/>
                  <a:gd name="connsiteX36" fmla="*/ 1188777 w 1604928"/>
                  <a:gd name="connsiteY36" fmla="*/ 2771637 h 2910987"/>
                  <a:gd name="connsiteX37" fmla="*/ 1177502 w 1604928"/>
                  <a:gd name="connsiteY37" fmla="*/ 2785192 h 2910987"/>
                  <a:gd name="connsiteX38" fmla="*/ 1160653 w 1604928"/>
                  <a:gd name="connsiteY38" fmla="*/ 2825223 h 2910987"/>
                  <a:gd name="connsiteX39" fmla="*/ 1171674 w 1604928"/>
                  <a:gd name="connsiteY39" fmla="*/ 2840679 h 2910987"/>
                  <a:gd name="connsiteX40" fmla="*/ 1179782 w 1604928"/>
                  <a:gd name="connsiteY40" fmla="*/ 2862595 h 2910987"/>
                  <a:gd name="connsiteX41" fmla="*/ 1163060 w 1604928"/>
                  <a:gd name="connsiteY41" fmla="*/ 2897179 h 2910987"/>
                  <a:gd name="connsiteX42" fmla="*/ 1143678 w 1604928"/>
                  <a:gd name="connsiteY42" fmla="*/ 2910988 h 2910987"/>
                  <a:gd name="connsiteX43" fmla="*/ 1143297 w 1604928"/>
                  <a:gd name="connsiteY43" fmla="*/ 2909847 h 2910987"/>
                  <a:gd name="connsiteX44" fmla="*/ 1133290 w 1604928"/>
                  <a:gd name="connsiteY44" fmla="*/ 2854867 h 2910987"/>
                  <a:gd name="connsiteX45" fmla="*/ 1110360 w 1604928"/>
                  <a:gd name="connsiteY45" fmla="*/ 2805461 h 2910987"/>
                  <a:gd name="connsiteX46" fmla="*/ 1130123 w 1604928"/>
                  <a:gd name="connsiteY46" fmla="*/ 2741740 h 2910987"/>
                  <a:gd name="connsiteX47" fmla="*/ 1110107 w 1604928"/>
                  <a:gd name="connsiteY47" fmla="*/ 2690180 h 2910987"/>
                  <a:gd name="connsiteX48" fmla="*/ 1083377 w 1604928"/>
                  <a:gd name="connsiteY48" fmla="*/ 2617971 h 2910987"/>
                  <a:gd name="connsiteX49" fmla="*/ 1085403 w 1604928"/>
                  <a:gd name="connsiteY49" fmla="*/ 2587567 h 2910987"/>
                  <a:gd name="connsiteX50" fmla="*/ 1097692 w 1604928"/>
                  <a:gd name="connsiteY50" fmla="*/ 2562611 h 2910987"/>
                  <a:gd name="connsiteX51" fmla="*/ 1109473 w 1604928"/>
                  <a:gd name="connsiteY51" fmla="*/ 2528026 h 2910987"/>
                  <a:gd name="connsiteX52" fmla="*/ 1092245 w 1604928"/>
                  <a:gd name="connsiteY52" fmla="*/ 2520932 h 2910987"/>
                  <a:gd name="connsiteX53" fmla="*/ 1052339 w 1604928"/>
                  <a:gd name="connsiteY53" fmla="*/ 2536007 h 2910987"/>
                  <a:gd name="connsiteX54" fmla="*/ 1012054 w 1604928"/>
                  <a:gd name="connsiteY54" fmla="*/ 2557923 h 2910987"/>
                  <a:gd name="connsiteX55" fmla="*/ 988238 w 1604928"/>
                  <a:gd name="connsiteY55" fmla="*/ 2596182 h 2910987"/>
                  <a:gd name="connsiteX56" fmla="*/ 936045 w 1604928"/>
                  <a:gd name="connsiteY56" fmla="*/ 2606570 h 2910987"/>
                  <a:gd name="connsiteX57" fmla="*/ 863709 w 1604928"/>
                  <a:gd name="connsiteY57" fmla="*/ 2572872 h 2910987"/>
                  <a:gd name="connsiteX58" fmla="*/ 832672 w 1604928"/>
                  <a:gd name="connsiteY58" fmla="*/ 2566918 h 2910987"/>
                  <a:gd name="connsiteX59" fmla="*/ 799988 w 1604928"/>
                  <a:gd name="connsiteY59" fmla="*/ 2588707 h 2910987"/>
                  <a:gd name="connsiteX60" fmla="*/ 767684 w 1604928"/>
                  <a:gd name="connsiteY60" fmla="*/ 2582246 h 2910987"/>
                  <a:gd name="connsiteX61" fmla="*/ 741967 w 1604928"/>
                  <a:gd name="connsiteY61" fmla="*/ 2579713 h 2910987"/>
                  <a:gd name="connsiteX62" fmla="*/ 707383 w 1604928"/>
                  <a:gd name="connsiteY62" fmla="*/ 2626078 h 2910987"/>
                  <a:gd name="connsiteX63" fmla="*/ 677359 w 1604928"/>
                  <a:gd name="connsiteY63" fmla="*/ 2623038 h 2910987"/>
                  <a:gd name="connsiteX64" fmla="*/ 661904 w 1604928"/>
                  <a:gd name="connsiteY64" fmla="*/ 2619364 h 2910987"/>
                  <a:gd name="connsiteX65" fmla="*/ 628333 w 1604928"/>
                  <a:gd name="connsiteY65" fmla="*/ 2529673 h 2910987"/>
                  <a:gd name="connsiteX66" fmla="*/ 556124 w 1604928"/>
                  <a:gd name="connsiteY66" fmla="*/ 2489135 h 2910987"/>
                  <a:gd name="connsiteX67" fmla="*/ 512545 w 1604928"/>
                  <a:gd name="connsiteY67" fmla="*/ 2472286 h 2910987"/>
                  <a:gd name="connsiteX68" fmla="*/ 463519 w 1604928"/>
                  <a:gd name="connsiteY68" fmla="*/ 2446570 h 2910987"/>
                  <a:gd name="connsiteX69" fmla="*/ 501144 w 1604928"/>
                  <a:gd name="connsiteY69" fmla="*/ 2331795 h 2910987"/>
                  <a:gd name="connsiteX70" fmla="*/ 469473 w 1604928"/>
                  <a:gd name="connsiteY70" fmla="*/ 2270354 h 2910987"/>
                  <a:gd name="connsiteX71" fmla="*/ 531801 w 1604928"/>
                  <a:gd name="connsiteY71" fmla="*/ 2236657 h 2910987"/>
                  <a:gd name="connsiteX72" fmla="*/ 549157 w 1604928"/>
                  <a:gd name="connsiteY72" fmla="*/ 2181676 h 2910987"/>
                  <a:gd name="connsiteX73" fmla="*/ 617438 w 1604928"/>
                  <a:gd name="connsiteY73" fmla="*/ 2095152 h 2910987"/>
                  <a:gd name="connsiteX74" fmla="*/ 581840 w 1604928"/>
                  <a:gd name="connsiteY74" fmla="*/ 2058541 h 2910987"/>
                  <a:gd name="connsiteX75" fmla="*/ 566005 w 1604928"/>
                  <a:gd name="connsiteY75" fmla="*/ 2025350 h 2910987"/>
                  <a:gd name="connsiteX76" fmla="*/ 620479 w 1604928"/>
                  <a:gd name="connsiteY76" fmla="*/ 2011542 h 2910987"/>
                  <a:gd name="connsiteX77" fmla="*/ 662537 w 1604928"/>
                  <a:gd name="connsiteY77" fmla="*/ 1996213 h 2910987"/>
                  <a:gd name="connsiteX78" fmla="*/ 708016 w 1604928"/>
                  <a:gd name="connsiteY78" fmla="*/ 1968976 h 2910987"/>
                  <a:gd name="connsiteX79" fmla="*/ 674952 w 1604928"/>
                  <a:gd name="connsiteY79" fmla="*/ 1922864 h 2910987"/>
                  <a:gd name="connsiteX80" fmla="*/ 661144 w 1604928"/>
                  <a:gd name="connsiteY80" fmla="*/ 1866490 h 2910987"/>
                  <a:gd name="connsiteX81" fmla="*/ 617058 w 1604928"/>
                  <a:gd name="connsiteY81" fmla="*/ 1815437 h 2910987"/>
                  <a:gd name="connsiteX82" fmla="*/ 566132 w 1604928"/>
                  <a:gd name="connsiteY82" fmla="*/ 1867884 h 2910987"/>
                  <a:gd name="connsiteX83" fmla="*/ 516599 w 1604928"/>
                  <a:gd name="connsiteY83" fmla="*/ 1867884 h 2910987"/>
                  <a:gd name="connsiteX84" fmla="*/ 474034 w 1604928"/>
                  <a:gd name="connsiteY84" fmla="*/ 1948581 h 2910987"/>
                  <a:gd name="connsiteX85" fmla="*/ 425515 w 1604928"/>
                  <a:gd name="connsiteY85" fmla="*/ 1969356 h 2910987"/>
                  <a:gd name="connsiteX86" fmla="*/ 403725 w 1604928"/>
                  <a:gd name="connsiteY86" fmla="*/ 2016862 h 2910987"/>
                  <a:gd name="connsiteX87" fmla="*/ 364200 w 1604928"/>
                  <a:gd name="connsiteY87" fmla="*/ 2038652 h 2910987"/>
                  <a:gd name="connsiteX88" fmla="*/ 344945 w 1604928"/>
                  <a:gd name="connsiteY88" fmla="*/ 1972777 h 2910987"/>
                  <a:gd name="connsiteX89" fmla="*/ 238025 w 1604928"/>
                  <a:gd name="connsiteY89" fmla="*/ 1953521 h 2910987"/>
                  <a:gd name="connsiteX90" fmla="*/ 198373 w 1604928"/>
                  <a:gd name="connsiteY90" fmla="*/ 1934772 h 2910987"/>
                  <a:gd name="connsiteX91" fmla="*/ 226623 w 1604928"/>
                  <a:gd name="connsiteY91" fmla="*/ 1878398 h 2910987"/>
                  <a:gd name="connsiteX92" fmla="*/ 227636 w 1604928"/>
                  <a:gd name="connsiteY92" fmla="*/ 1799602 h 2910987"/>
                  <a:gd name="connsiteX93" fmla="*/ 257787 w 1604928"/>
                  <a:gd name="connsiteY93" fmla="*/ 1756530 h 2910987"/>
                  <a:gd name="connsiteX94" fmla="*/ 276029 w 1604928"/>
                  <a:gd name="connsiteY94" fmla="*/ 1708517 h 2910987"/>
                  <a:gd name="connsiteX95" fmla="*/ 305293 w 1604928"/>
                  <a:gd name="connsiteY95" fmla="*/ 1678874 h 2910987"/>
                  <a:gd name="connsiteX96" fmla="*/ 306306 w 1604928"/>
                  <a:gd name="connsiteY96" fmla="*/ 1654170 h 2910987"/>
                  <a:gd name="connsiteX97" fmla="*/ 314160 w 1604928"/>
                  <a:gd name="connsiteY97" fmla="*/ 1631748 h 2910987"/>
                  <a:gd name="connsiteX98" fmla="*/ 273622 w 1604928"/>
                  <a:gd name="connsiteY98" fmla="*/ 1606664 h 2910987"/>
                  <a:gd name="connsiteX99" fmla="*/ 181524 w 1604928"/>
                  <a:gd name="connsiteY99" fmla="*/ 1641756 h 2910987"/>
                  <a:gd name="connsiteX100" fmla="*/ 128950 w 1604928"/>
                  <a:gd name="connsiteY100" fmla="*/ 1657337 h 2910987"/>
                  <a:gd name="connsiteX101" fmla="*/ 132498 w 1604928"/>
                  <a:gd name="connsiteY101" fmla="*/ 1643783 h 2910987"/>
                  <a:gd name="connsiteX102" fmla="*/ 118183 w 1604928"/>
                  <a:gd name="connsiteY102" fmla="*/ 1594756 h 2910987"/>
                  <a:gd name="connsiteX103" fmla="*/ 91959 w 1604928"/>
                  <a:gd name="connsiteY103" fmla="*/ 1550671 h 2910987"/>
                  <a:gd name="connsiteX104" fmla="*/ 113242 w 1604928"/>
                  <a:gd name="connsiteY104" fmla="*/ 1510512 h 2910987"/>
                  <a:gd name="connsiteX105" fmla="*/ 109315 w 1604928"/>
                  <a:gd name="connsiteY105" fmla="*/ 1494170 h 2910987"/>
                  <a:gd name="connsiteX106" fmla="*/ 103867 w 1604928"/>
                  <a:gd name="connsiteY106" fmla="*/ 1454139 h 2910987"/>
                  <a:gd name="connsiteX107" fmla="*/ 70170 w 1604928"/>
                  <a:gd name="connsiteY107" fmla="*/ 1440330 h 2910987"/>
                  <a:gd name="connsiteX108" fmla="*/ 51928 w 1604928"/>
                  <a:gd name="connsiteY108" fmla="*/ 1414614 h 2910987"/>
                  <a:gd name="connsiteX109" fmla="*/ 73717 w 1604928"/>
                  <a:gd name="connsiteY109" fmla="*/ 1370022 h 2910987"/>
                  <a:gd name="connsiteX110" fmla="*/ 44074 w 1604928"/>
                  <a:gd name="connsiteY110" fmla="*/ 1322516 h 2910987"/>
                  <a:gd name="connsiteX111" fmla="*/ 54461 w 1604928"/>
                  <a:gd name="connsiteY111" fmla="*/ 1281977 h 2910987"/>
                  <a:gd name="connsiteX112" fmla="*/ 2521 w 1604928"/>
                  <a:gd name="connsiteY112" fmla="*/ 1248786 h 2910987"/>
                  <a:gd name="connsiteX113" fmla="*/ 9869 w 1604928"/>
                  <a:gd name="connsiteY113" fmla="*/ 1231431 h 2910987"/>
                  <a:gd name="connsiteX114" fmla="*/ 37613 w 1604928"/>
                  <a:gd name="connsiteY114" fmla="*/ 1228517 h 2910987"/>
                  <a:gd name="connsiteX115" fmla="*/ 25197 w 1604928"/>
                  <a:gd name="connsiteY115" fmla="*/ 1204194 h 2910987"/>
                  <a:gd name="connsiteX116" fmla="*/ 8856 w 1604928"/>
                  <a:gd name="connsiteY116" fmla="*/ 1189372 h 2910987"/>
                  <a:gd name="connsiteX117" fmla="*/ 13796 w 1604928"/>
                  <a:gd name="connsiteY117" fmla="*/ 1149340 h 2910987"/>
                  <a:gd name="connsiteX118" fmla="*/ 8856 w 1604928"/>
                  <a:gd name="connsiteY118" fmla="*/ 1094360 h 2910987"/>
                  <a:gd name="connsiteX119" fmla="*/ 31152 w 1604928"/>
                  <a:gd name="connsiteY119" fmla="*/ 1065604 h 2910987"/>
                  <a:gd name="connsiteX120" fmla="*/ 9362 w 1604928"/>
                  <a:gd name="connsiteY120" fmla="*/ 1042294 h 2910987"/>
                  <a:gd name="connsiteX121" fmla="*/ 33052 w 1604928"/>
                  <a:gd name="connsiteY121" fmla="*/ 1002135 h 2910987"/>
                  <a:gd name="connsiteX122" fmla="*/ 65736 w 1604928"/>
                  <a:gd name="connsiteY122" fmla="*/ 1008090 h 2910987"/>
                  <a:gd name="connsiteX123" fmla="*/ 89552 w 1604928"/>
                  <a:gd name="connsiteY123" fmla="*/ 978953 h 2910987"/>
                  <a:gd name="connsiteX124" fmla="*/ 126670 w 1604928"/>
                  <a:gd name="connsiteY124" fmla="*/ 976419 h 2910987"/>
                  <a:gd name="connsiteX125" fmla="*/ 151880 w 1604928"/>
                  <a:gd name="connsiteY125" fmla="*/ 949309 h 2910987"/>
                  <a:gd name="connsiteX126" fmla="*/ 190519 w 1604928"/>
                  <a:gd name="connsiteY126" fmla="*/ 962611 h 2910987"/>
                  <a:gd name="connsiteX127" fmla="*/ 208761 w 1604928"/>
                  <a:gd name="connsiteY127" fmla="*/ 947155 h 2910987"/>
                  <a:gd name="connsiteX128" fmla="*/ 205340 w 1604928"/>
                  <a:gd name="connsiteY128" fmla="*/ 902690 h 2910987"/>
                  <a:gd name="connsiteX129" fmla="*/ 217248 w 1604928"/>
                  <a:gd name="connsiteY129" fmla="*/ 879000 h 2910987"/>
                  <a:gd name="connsiteX130" fmla="*/ 300352 w 1604928"/>
                  <a:gd name="connsiteY130" fmla="*/ 833395 h 2910987"/>
                  <a:gd name="connsiteX131" fmla="*/ 318214 w 1604928"/>
                  <a:gd name="connsiteY131" fmla="*/ 780948 h 2910987"/>
                  <a:gd name="connsiteX132" fmla="*/ 332023 w 1604928"/>
                  <a:gd name="connsiteY132" fmla="*/ 747757 h 2910987"/>
                  <a:gd name="connsiteX133" fmla="*/ 369647 w 1604928"/>
                  <a:gd name="connsiteY133" fmla="*/ 707725 h 2910987"/>
                  <a:gd name="connsiteX134" fmla="*/ 305420 w 1604928"/>
                  <a:gd name="connsiteY134" fmla="*/ 620061 h 2910987"/>
                  <a:gd name="connsiteX135" fmla="*/ 286543 w 1604928"/>
                  <a:gd name="connsiteY135" fmla="*/ 562674 h 2910987"/>
                  <a:gd name="connsiteX136" fmla="*/ 250439 w 1604928"/>
                  <a:gd name="connsiteY136" fmla="*/ 531003 h 2910987"/>
                  <a:gd name="connsiteX137" fmla="*/ 251959 w 1604928"/>
                  <a:gd name="connsiteY137" fmla="*/ 471083 h 2910987"/>
                  <a:gd name="connsiteX138" fmla="*/ 267795 w 1604928"/>
                  <a:gd name="connsiteY138" fmla="*/ 430544 h 2910987"/>
                  <a:gd name="connsiteX139" fmla="*/ 271722 w 1604928"/>
                  <a:gd name="connsiteY139" fmla="*/ 397353 h 2910987"/>
                  <a:gd name="connsiteX140" fmla="*/ 286037 w 1604928"/>
                  <a:gd name="connsiteY140" fmla="*/ 373157 h 2910987"/>
                  <a:gd name="connsiteX141" fmla="*/ 282110 w 1604928"/>
                  <a:gd name="connsiteY141" fmla="*/ 263703 h 2910987"/>
                  <a:gd name="connsiteX142" fmla="*/ 277676 w 1604928"/>
                  <a:gd name="connsiteY142" fmla="*/ 185540 h 2910987"/>
                  <a:gd name="connsiteX143" fmla="*/ 363693 w 1604928"/>
                  <a:gd name="connsiteY143" fmla="*/ 185540 h 2910987"/>
                  <a:gd name="connsiteX144" fmla="*/ 459212 w 1604928"/>
                  <a:gd name="connsiteY144" fmla="*/ 175152 h 2910987"/>
                  <a:gd name="connsiteX145" fmla="*/ 473020 w 1604928"/>
                  <a:gd name="connsiteY145" fmla="*/ 111304 h 2910987"/>
                  <a:gd name="connsiteX146" fmla="*/ 521540 w 1604928"/>
                  <a:gd name="connsiteY146" fmla="*/ 108771 h 2910987"/>
                  <a:gd name="connsiteX147" fmla="*/ 530407 w 1604928"/>
                  <a:gd name="connsiteY147" fmla="*/ 98383 h 2910987"/>
                  <a:gd name="connsiteX148" fmla="*/ 569046 w 1604928"/>
                  <a:gd name="connsiteY148" fmla="*/ 126126 h 2910987"/>
                  <a:gd name="connsiteX149" fmla="*/ 574493 w 1604928"/>
                  <a:gd name="connsiteY149" fmla="*/ 83561 h 2910987"/>
                  <a:gd name="connsiteX150" fmla="*/ 554350 w 1604928"/>
                  <a:gd name="connsiteY150" fmla="*/ 61138 h 2910987"/>
                  <a:gd name="connsiteX151" fmla="*/ 595269 w 1604928"/>
                  <a:gd name="connsiteY151" fmla="*/ 45176 h 2910987"/>
                  <a:gd name="connsiteX152" fmla="*/ 611864 w 1604928"/>
                  <a:gd name="connsiteY152" fmla="*/ 20853 h 2910987"/>
                  <a:gd name="connsiteX153" fmla="*/ 650503 w 1604928"/>
                  <a:gd name="connsiteY153" fmla="*/ 204 h 2910987"/>
                  <a:gd name="connsiteX154" fmla="*/ 708650 w 1604928"/>
                  <a:gd name="connsiteY154" fmla="*/ 8565 h 2910987"/>
                  <a:gd name="connsiteX155" fmla="*/ 793907 w 1604928"/>
                  <a:gd name="connsiteY155" fmla="*/ 64305 h 2910987"/>
                  <a:gd name="connsiteX156" fmla="*/ 806955 w 1604928"/>
                  <a:gd name="connsiteY156" fmla="*/ 107630 h 2910987"/>
                  <a:gd name="connsiteX157" fmla="*/ 812656 w 1604928"/>
                  <a:gd name="connsiteY157" fmla="*/ 154630 h 2910987"/>
                  <a:gd name="connsiteX158" fmla="*/ 804169 w 1604928"/>
                  <a:gd name="connsiteY158" fmla="*/ 208216 h 2910987"/>
                  <a:gd name="connsiteX159" fmla="*/ 823424 w 1604928"/>
                  <a:gd name="connsiteY159" fmla="*/ 257623 h 2910987"/>
                  <a:gd name="connsiteX160" fmla="*/ 848254 w 1604928"/>
                  <a:gd name="connsiteY160" fmla="*/ 248755 h 2910987"/>
                  <a:gd name="connsiteX161" fmla="*/ 876377 w 1604928"/>
                  <a:gd name="connsiteY161" fmla="*/ 239633 h 2910987"/>
                  <a:gd name="connsiteX162" fmla="*/ 920336 w 1604928"/>
                  <a:gd name="connsiteY162" fmla="*/ 236720 h 2910987"/>
                  <a:gd name="connsiteX163" fmla="*/ 989125 w 1604928"/>
                  <a:gd name="connsiteY163" fmla="*/ 263070 h 2910987"/>
                  <a:gd name="connsiteX164" fmla="*/ 1006734 w 1604928"/>
                  <a:gd name="connsiteY164" fmla="*/ 304242 h 2910987"/>
                  <a:gd name="connsiteX165" fmla="*/ 1010788 w 1604928"/>
                  <a:gd name="connsiteY165" fmla="*/ 311083 h 2910987"/>
                  <a:gd name="connsiteX166" fmla="*/ 982791 w 1604928"/>
                  <a:gd name="connsiteY166" fmla="*/ 339459 h 2910987"/>
                  <a:gd name="connsiteX167" fmla="*/ 998753 w 1604928"/>
                  <a:gd name="connsiteY167" fmla="*/ 377464 h 2910987"/>
                  <a:gd name="connsiteX168" fmla="*/ 974936 w 1604928"/>
                  <a:gd name="connsiteY168" fmla="*/ 406981 h 2910987"/>
                  <a:gd name="connsiteX169" fmla="*/ 952894 w 1604928"/>
                  <a:gd name="connsiteY169" fmla="*/ 369863 h 2910987"/>
                  <a:gd name="connsiteX170" fmla="*/ 911215 w 1604928"/>
                  <a:gd name="connsiteY170" fmla="*/ 384052 h 2910987"/>
                  <a:gd name="connsiteX171" fmla="*/ 875744 w 1604928"/>
                  <a:gd name="connsiteY171" fmla="*/ 423197 h 2910987"/>
                  <a:gd name="connsiteX172" fmla="*/ 835079 w 1604928"/>
                  <a:gd name="connsiteY172" fmla="*/ 450687 h 2910987"/>
                  <a:gd name="connsiteX173" fmla="*/ 790993 w 1604928"/>
                  <a:gd name="connsiteY173" fmla="*/ 498446 h 2910987"/>
                  <a:gd name="connsiteX174" fmla="*/ 771484 w 1604928"/>
                  <a:gd name="connsiteY174" fmla="*/ 521122 h 2910987"/>
                  <a:gd name="connsiteX175" fmla="*/ 754002 w 1604928"/>
                  <a:gd name="connsiteY175" fmla="*/ 547472 h 2910987"/>
                  <a:gd name="connsiteX176" fmla="*/ 740447 w 1604928"/>
                  <a:gd name="connsiteY176" fmla="*/ 576609 h 2910987"/>
                  <a:gd name="connsiteX177" fmla="*/ 726132 w 1604928"/>
                  <a:gd name="connsiteY177" fmla="*/ 605619 h 2910987"/>
                  <a:gd name="connsiteX178" fmla="*/ 733099 w 1604928"/>
                  <a:gd name="connsiteY178" fmla="*/ 746997 h 2910987"/>
                  <a:gd name="connsiteX179" fmla="*/ 710550 w 1604928"/>
                  <a:gd name="connsiteY179" fmla="*/ 773094 h 2910987"/>
                  <a:gd name="connsiteX180" fmla="*/ 708776 w 1604928"/>
                  <a:gd name="connsiteY180" fmla="*/ 802610 h 2910987"/>
                  <a:gd name="connsiteX181" fmla="*/ 716377 w 1604928"/>
                  <a:gd name="connsiteY181" fmla="*/ 868232 h 2910987"/>
                  <a:gd name="connsiteX182" fmla="*/ 716251 w 1604928"/>
                  <a:gd name="connsiteY182" fmla="*/ 896102 h 2910987"/>
                  <a:gd name="connsiteX183" fmla="*/ 703583 w 1604928"/>
                  <a:gd name="connsiteY183" fmla="*/ 918652 h 2910987"/>
                  <a:gd name="connsiteX184" fmla="*/ 703583 w 1604928"/>
                  <a:gd name="connsiteY184" fmla="*/ 948169 h 2910987"/>
                  <a:gd name="connsiteX185" fmla="*/ 690407 w 1604928"/>
                  <a:gd name="connsiteY185" fmla="*/ 985667 h 2910987"/>
                  <a:gd name="connsiteX186" fmla="*/ 684580 w 1604928"/>
                  <a:gd name="connsiteY186" fmla="*/ 1021138 h 2910987"/>
                  <a:gd name="connsiteX187" fmla="*/ 673305 w 1604928"/>
                  <a:gd name="connsiteY187" fmla="*/ 1047994 h 2910987"/>
                  <a:gd name="connsiteX188" fmla="*/ 668491 w 1604928"/>
                  <a:gd name="connsiteY188" fmla="*/ 1087773 h 2910987"/>
                  <a:gd name="connsiteX189" fmla="*/ 671912 w 1604928"/>
                  <a:gd name="connsiteY189" fmla="*/ 1120964 h 2910987"/>
                  <a:gd name="connsiteX190" fmla="*/ 663424 w 1604928"/>
                  <a:gd name="connsiteY190" fmla="*/ 1150481 h 2910987"/>
                  <a:gd name="connsiteX191" fmla="*/ 663298 w 1604928"/>
                  <a:gd name="connsiteY191" fmla="*/ 1192666 h 2910987"/>
                  <a:gd name="connsiteX192" fmla="*/ 673052 w 1604928"/>
                  <a:gd name="connsiteY192" fmla="*/ 1230291 h 2910987"/>
                  <a:gd name="connsiteX193" fmla="*/ 667225 w 1604928"/>
                  <a:gd name="connsiteY193" fmla="*/ 1265002 h 2910987"/>
                  <a:gd name="connsiteX194" fmla="*/ 666718 w 1604928"/>
                  <a:gd name="connsiteY194" fmla="*/ 1292365 h 2910987"/>
                  <a:gd name="connsiteX195" fmla="*/ 658103 w 1604928"/>
                  <a:gd name="connsiteY195" fmla="*/ 1311747 h 2910987"/>
                  <a:gd name="connsiteX196" fmla="*/ 636440 w 1604928"/>
                  <a:gd name="connsiteY196" fmla="*/ 1359507 h 2910987"/>
                  <a:gd name="connsiteX197" fmla="*/ 633273 w 1604928"/>
                  <a:gd name="connsiteY197" fmla="*/ 1390291 h 2910987"/>
                  <a:gd name="connsiteX198" fmla="*/ 617312 w 1604928"/>
                  <a:gd name="connsiteY198" fmla="*/ 1413347 h 2910987"/>
                  <a:gd name="connsiteX199" fmla="*/ 619972 w 1604928"/>
                  <a:gd name="connsiteY199" fmla="*/ 1491130 h 2910987"/>
                  <a:gd name="connsiteX200" fmla="*/ 572593 w 1604928"/>
                  <a:gd name="connsiteY200" fmla="*/ 1552444 h 2910987"/>
                  <a:gd name="connsiteX201" fmla="*/ 586275 w 1604928"/>
                  <a:gd name="connsiteY201" fmla="*/ 1613885 h 2910987"/>
                  <a:gd name="connsiteX202" fmla="*/ 618959 w 1604928"/>
                  <a:gd name="connsiteY202" fmla="*/ 1602737 h 2910987"/>
                  <a:gd name="connsiteX203" fmla="*/ 632260 w 1604928"/>
                  <a:gd name="connsiteY203" fmla="*/ 1612492 h 2910987"/>
                  <a:gd name="connsiteX204" fmla="*/ 677612 w 1604928"/>
                  <a:gd name="connsiteY204" fmla="*/ 1586902 h 2910987"/>
                  <a:gd name="connsiteX205" fmla="*/ 703329 w 1604928"/>
                  <a:gd name="connsiteY205" fmla="*/ 1579048 h 2910987"/>
                  <a:gd name="connsiteX206" fmla="*/ 725118 w 1604928"/>
                  <a:gd name="connsiteY206" fmla="*/ 1561059 h 2910987"/>
                  <a:gd name="connsiteX207" fmla="*/ 749948 w 1604928"/>
                  <a:gd name="connsiteY207" fmla="*/ 1596403 h 2910987"/>
                  <a:gd name="connsiteX208" fmla="*/ 770978 w 1604928"/>
                  <a:gd name="connsiteY208" fmla="*/ 1617686 h 2910987"/>
                  <a:gd name="connsiteX209" fmla="*/ 785419 w 1604928"/>
                  <a:gd name="connsiteY209" fmla="*/ 1647963 h 2910987"/>
                  <a:gd name="connsiteX210" fmla="*/ 795428 w 1604928"/>
                  <a:gd name="connsiteY210" fmla="*/ 1664812 h 2910987"/>
                  <a:gd name="connsiteX211" fmla="*/ 822664 w 1604928"/>
                  <a:gd name="connsiteY211" fmla="*/ 1656704 h 2910987"/>
                  <a:gd name="connsiteX212" fmla="*/ 803409 w 1604928"/>
                  <a:gd name="connsiteY212" fmla="*/ 1614519 h 2910987"/>
                  <a:gd name="connsiteX213" fmla="*/ 814683 w 1604928"/>
                  <a:gd name="connsiteY213" fmla="*/ 1562705 h 2910987"/>
                  <a:gd name="connsiteX214" fmla="*/ 839640 w 1604928"/>
                  <a:gd name="connsiteY214" fmla="*/ 1561185 h 2910987"/>
                  <a:gd name="connsiteX215" fmla="*/ 834319 w 1604928"/>
                  <a:gd name="connsiteY215" fmla="*/ 1586522 h 2910987"/>
                  <a:gd name="connsiteX216" fmla="*/ 834826 w 1604928"/>
                  <a:gd name="connsiteY216" fmla="*/ 1608184 h 2910987"/>
                  <a:gd name="connsiteX217" fmla="*/ 861555 w 1604928"/>
                  <a:gd name="connsiteY217" fmla="*/ 1599697 h 2910987"/>
                  <a:gd name="connsiteX218" fmla="*/ 873590 w 1604928"/>
                  <a:gd name="connsiteY218" fmla="*/ 1631621 h 2910987"/>
                  <a:gd name="connsiteX219" fmla="*/ 877518 w 1604928"/>
                  <a:gd name="connsiteY219" fmla="*/ 1654677 h 2910987"/>
                  <a:gd name="connsiteX220" fmla="*/ 865863 w 1604928"/>
                  <a:gd name="connsiteY220" fmla="*/ 1681281 h 2910987"/>
                  <a:gd name="connsiteX221" fmla="*/ 892972 w 1604928"/>
                  <a:gd name="connsiteY221" fmla="*/ 1668865 h 2910987"/>
                  <a:gd name="connsiteX222" fmla="*/ 921476 w 1604928"/>
                  <a:gd name="connsiteY222" fmla="*/ 1654677 h 2910987"/>
                  <a:gd name="connsiteX223" fmla="*/ 925784 w 1604928"/>
                  <a:gd name="connsiteY223" fmla="*/ 1627187 h 2910987"/>
                  <a:gd name="connsiteX224" fmla="*/ 937945 w 1604928"/>
                  <a:gd name="connsiteY224" fmla="*/ 1605144 h 2910987"/>
                  <a:gd name="connsiteX225" fmla="*/ 950360 w 1604928"/>
                  <a:gd name="connsiteY225" fmla="*/ 1582722 h 2910987"/>
                  <a:gd name="connsiteX226" fmla="*/ 960115 w 1604928"/>
                  <a:gd name="connsiteY226" fmla="*/ 1604637 h 2910987"/>
                  <a:gd name="connsiteX227" fmla="*/ 978864 w 1604928"/>
                  <a:gd name="connsiteY227" fmla="*/ 1576134 h 2910987"/>
                  <a:gd name="connsiteX228" fmla="*/ 945926 w 1604928"/>
                  <a:gd name="connsiteY228" fmla="*/ 1531795 h 2910987"/>
                  <a:gd name="connsiteX229" fmla="*/ 937311 w 1604928"/>
                  <a:gd name="connsiteY229" fmla="*/ 1486443 h 2910987"/>
                  <a:gd name="connsiteX230" fmla="*/ 990899 w 1604928"/>
                  <a:gd name="connsiteY230" fmla="*/ 1474788 h 2910987"/>
                  <a:gd name="connsiteX231" fmla="*/ 1038405 w 1604928"/>
                  <a:gd name="connsiteY231" fmla="*/ 1454519 h 2910987"/>
                  <a:gd name="connsiteX232" fmla="*/ 1066401 w 1604928"/>
                  <a:gd name="connsiteY232" fmla="*/ 1455659 h 2910987"/>
                  <a:gd name="connsiteX233" fmla="*/ 1086923 w 1604928"/>
                  <a:gd name="connsiteY233" fmla="*/ 1465920 h 2910987"/>
                  <a:gd name="connsiteX234" fmla="*/ 1112260 w 1604928"/>
                  <a:gd name="connsiteY234" fmla="*/ 1464907 h 2910987"/>
                  <a:gd name="connsiteX235" fmla="*/ 1124168 w 1604928"/>
                  <a:gd name="connsiteY235" fmla="*/ 1476308 h 2910987"/>
                  <a:gd name="connsiteX236" fmla="*/ 1148492 w 1604928"/>
                  <a:gd name="connsiteY236" fmla="*/ 1496324 h 2910987"/>
                  <a:gd name="connsiteX237" fmla="*/ 1167747 w 1604928"/>
                  <a:gd name="connsiteY237" fmla="*/ 1494804 h 2910987"/>
                  <a:gd name="connsiteX238" fmla="*/ 1216140 w 1604928"/>
                  <a:gd name="connsiteY238" fmla="*/ 1501518 h 2910987"/>
                  <a:gd name="connsiteX239" fmla="*/ 1253892 w 1604928"/>
                  <a:gd name="connsiteY239" fmla="*/ 1516973 h 2910987"/>
                  <a:gd name="connsiteX240" fmla="*/ 1272767 w 1604928"/>
                  <a:gd name="connsiteY240" fmla="*/ 1551811 h 2910987"/>
                  <a:gd name="connsiteX241" fmla="*/ 1307985 w 1604928"/>
                  <a:gd name="connsiteY241" fmla="*/ 1625413 h 2910987"/>
                  <a:gd name="connsiteX242" fmla="*/ 1346749 w 1604928"/>
                  <a:gd name="connsiteY242" fmla="*/ 1634788 h 2910987"/>
                  <a:gd name="connsiteX243" fmla="*/ 1365752 w 1604928"/>
                  <a:gd name="connsiteY243" fmla="*/ 1665065 h 2910987"/>
                  <a:gd name="connsiteX244" fmla="*/ 1379054 w 1604928"/>
                  <a:gd name="connsiteY244" fmla="*/ 1676720 h 2910987"/>
                  <a:gd name="connsiteX245" fmla="*/ 1374240 w 1604928"/>
                  <a:gd name="connsiteY245" fmla="*/ 1691922 h 2910987"/>
                  <a:gd name="connsiteX246" fmla="*/ 1378800 w 1604928"/>
                  <a:gd name="connsiteY246" fmla="*/ 1710671 h 2910987"/>
                  <a:gd name="connsiteX247" fmla="*/ 1378927 w 1604928"/>
                  <a:gd name="connsiteY247" fmla="*/ 1754123 h 2910987"/>
                  <a:gd name="connsiteX248" fmla="*/ 1369426 w 1604928"/>
                  <a:gd name="connsiteY248" fmla="*/ 1787947 h 2910987"/>
                  <a:gd name="connsiteX249" fmla="*/ 1389695 w 1604928"/>
                  <a:gd name="connsiteY249" fmla="*/ 1802009 h 2910987"/>
                  <a:gd name="connsiteX250" fmla="*/ 1384121 w 1604928"/>
                  <a:gd name="connsiteY250" fmla="*/ 1823925 h 2910987"/>
                  <a:gd name="connsiteX251" fmla="*/ 1395015 w 1604928"/>
                  <a:gd name="connsiteY251" fmla="*/ 1875485 h 2910987"/>
                  <a:gd name="connsiteX252" fmla="*/ 1420605 w 1604928"/>
                  <a:gd name="connsiteY252" fmla="*/ 1918303 h 2910987"/>
                  <a:gd name="connsiteX253" fmla="*/ 1446322 w 1604928"/>
                  <a:gd name="connsiteY253" fmla="*/ 1967329 h 2910987"/>
                  <a:gd name="connsiteX254" fmla="*/ 1471278 w 1604928"/>
                  <a:gd name="connsiteY254" fmla="*/ 1991906 h 2910987"/>
                  <a:gd name="connsiteX255" fmla="*/ 1490281 w 1604928"/>
                  <a:gd name="connsiteY255" fmla="*/ 2009008 h 2910987"/>
                  <a:gd name="connsiteX256" fmla="*/ 1500923 w 1604928"/>
                  <a:gd name="connsiteY256" fmla="*/ 2043339 h 2910987"/>
                  <a:gd name="connsiteX257" fmla="*/ 1513210 w 1604928"/>
                  <a:gd name="connsiteY257" fmla="*/ 2071969 h 2910987"/>
                  <a:gd name="connsiteX258" fmla="*/ 1538167 w 1604928"/>
                  <a:gd name="connsiteY258" fmla="*/ 2094392 h 2910987"/>
                  <a:gd name="connsiteX259" fmla="*/ 1547921 w 1604928"/>
                  <a:gd name="connsiteY259" fmla="*/ 2127456 h 2910987"/>
                  <a:gd name="connsiteX260" fmla="*/ 1572878 w 1604928"/>
                  <a:gd name="connsiteY260" fmla="*/ 2162547 h 2910987"/>
                  <a:gd name="connsiteX261" fmla="*/ 1580985 w 1604928"/>
                  <a:gd name="connsiteY261" fmla="*/ 2199792 h 2910987"/>
                  <a:gd name="connsiteX262" fmla="*/ 1591627 w 1604928"/>
                  <a:gd name="connsiteY262" fmla="*/ 2226902 h 2910987"/>
                  <a:gd name="connsiteX263" fmla="*/ 1594921 w 1604928"/>
                  <a:gd name="connsiteY263" fmla="*/ 2309246 h 2910987"/>
                  <a:gd name="connsiteX264" fmla="*/ 1589220 w 1604928"/>
                  <a:gd name="connsiteY264" fmla="*/ 2358652 h 2910987"/>
                  <a:gd name="connsiteX265" fmla="*/ 1586940 w 1604928"/>
                  <a:gd name="connsiteY265" fmla="*/ 2417052 h 2910987"/>
                  <a:gd name="connsiteX266" fmla="*/ 1600368 w 1604928"/>
                  <a:gd name="connsiteY266" fmla="*/ 2448343 h 2910987"/>
                  <a:gd name="connsiteX267" fmla="*/ 1604928 w 1604928"/>
                  <a:gd name="connsiteY267" fmla="*/ 2462785 h 291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604928" h="2910987">
                    <a:moveTo>
                      <a:pt x="1604928" y="2462785"/>
                    </a:moveTo>
                    <a:cubicBezTo>
                      <a:pt x="1604422" y="2463545"/>
                      <a:pt x="1603789" y="2464178"/>
                      <a:pt x="1603281" y="2464938"/>
                    </a:cubicBezTo>
                    <a:cubicBezTo>
                      <a:pt x="1593147" y="2476466"/>
                      <a:pt x="1580225" y="2478873"/>
                      <a:pt x="1566671" y="2484321"/>
                    </a:cubicBezTo>
                    <a:cubicBezTo>
                      <a:pt x="1556916" y="2488248"/>
                      <a:pt x="1550709" y="2498383"/>
                      <a:pt x="1540321" y="2500916"/>
                    </a:cubicBezTo>
                    <a:cubicBezTo>
                      <a:pt x="1523218" y="2505224"/>
                      <a:pt x="1518658" y="2483434"/>
                      <a:pt x="1517137" y="2471272"/>
                    </a:cubicBezTo>
                    <a:cubicBezTo>
                      <a:pt x="1515238" y="2456324"/>
                      <a:pt x="1515871" y="2440869"/>
                      <a:pt x="1501809" y="2432254"/>
                    </a:cubicBezTo>
                    <a:cubicBezTo>
                      <a:pt x="1490281" y="2425033"/>
                      <a:pt x="1483693" y="2420093"/>
                      <a:pt x="1480020" y="2406411"/>
                    </a:cubicBezTo>
                    <a:cubicBezTo>
                      <a:pt x="1476346" y="2392603"/>
                      <a:pt x="1470392" y="2385128"/>
                      <a:pt x="1456457" y="2380441"/>
                    </a:cubicBezTo>
                    <a:cubicBezTo>
                      <a:pt x="1446069" y="2377021"/>
                      <a:pt x="1430994" y="2371447"/>
                      <a:pt x="1419845" y="2373854"/>
                    </a:cubicBezTo>
                    <a:cubicBezTo>
                      <a:pt x="1409331" y="2376134"/>
                      <a:pt x="1402870" y="2388042"/>
                      <a:pt x="1399069" y="2397163"/>
                    </a:cubicBezTo>
                    <a:cubicBezTo>
                      <a:pt x="1395269" y="2406664"/>
                      <a:pt x="1395269" y="2418319"/>
                      <a:pt x="1389188" y="2426680"/>
                    </a:cubicBezTo>
                    <a:cubicBezTo>
                      <a:pt x="1382094" y="2436435"/>
                      <a:pt x="1369806" y="2440109"/>
                      <a:pt x="1361825" y="2448597"/>
                    </a:cubicBezTo>
                    <a:cubicBezTo>
                      <a:pt x="1353844" y="2457084"/>
                      <a:pt x="1357391" y="2466712"/>
                      <a:pt x="1362332" y="2475706"/>
                    </a:cubicBezTo>
                    <a:cubicBezTo>
                      <a:pt x="1368159" y="2486728"/>
                      <a:pt x="1374366" y="2497623"/>
                      <a:pt x="1380700" y="2508391"/>
                    </a:cubicBezTo>
                    <a:cubicBezTo>
                      <a:pt x="1385388" y="2516245"/>
                      <a:pt x="1392356" y="2528913"/>
                      <a:pt x="1402996" y="2522452"/>
                    </a:cubicBezTo>
                    <a:cubicBezTo>
                      <a:pt x="1411231" y="2517511"/>
                      <a:pt x="1420226" y="2501423"/>
                      <a:pt x="1431627" y="2506744"/>
                    </a:cubicBezTo>
                    <a:cubicBezTo>
                      <a:pt x="1444422" y="2512698"/>
                      <a:pt x="1446322" y="2535881"/>
                      <a:pt x="1445942" y="2547789"/>
                    </a:cubicBezTo>
                    <a:cubicBezTo>
                      <a:pt x="1445436" y="2562357"/>
                      <a:pt x="1439228" y="2575532"/>
                      <a:pt x="1431247" y="2587440"/>
                    </a:cubicBezTo>
                    <a:cubicBezTo>
                      <a:pt x="1422506" y="2600362"/>
                      <a:pt x="1411231" y="2611130"/>
                      <a:pt x="1395396" y="2613917"/>
                    </a:cubicBezTo>
                    <a:cubicBezTo>
                      <a:pt x="1384248" y="2615817"/>
                      <a:pt x="1374620" y="2616577"/>
                      <a:pt x="1373480" y="2630132"/>
                    </a:cubicBezTo>
                    <a:cubicBezTo>
                      <a:pt x="1372593" y="2641534"/>
                      <a:pt x="1377787" y="2649642"/>
                      <a:pt x="1388808" y="2652175"/>
                    </a:cubicBezTo>
                    <a:cubicBezTo>
                      <a:pt x="1395775" y="2653695"/>
                      <a:pt x="1399450" y="2657243"/>
                      <a:pt x="1403123" y="2663196"/>
                    </a:cubicBezTo>
                    <a:cubicBezTo>
                      <a:pt x="1405911" y="2667630"/>
                      <a:pt x="1410851" y="2672824"/>
                      <a:pt x="1411358" y="2678145"/>
                    </a:cubicBezTo>
                    <a:cubicBezTo>
                      <a:pt x="1412498" y="2691447"/>
                      <a:pt x="1397170" y="2705129"/>
                      <a:pt x="1388555" y="2713363"/>
                    </a:cubicBezTo>
                    <a:cubicBezTo>
                      <a:pt x="1383234" y="2718430"/>
                      <a:pt x="1379560" y="2725017"/>
                      <a:pt x="1373226" y="2728945"/>
                    </a:cubicBezTo>
                    <a:cubicBezTo>
                      <a:pt x="1369679" y="2731098"/>
                      <a:pt x="1366005" y="2730845"/>
                      <a:pt x="1362332" y="2732492"/>
                    </a:cubicBezTo>
                    <a:cubicBezTo>
                      <a:pt x="1359418" y="2733759"/>
                      <a:pt x="1357645" y="2735786"/>
                      <a:pt x="1354604" y="2736546"/>
                    </a:cubicBezTo>
                    <a:cubicBezTo>
                      <a:pt x="1351311" y="2737432"/>
                      <a:pt x="1346749" y="2738066"/>
                      <a:pt x="1343329" y="2738066"/>
                    </a:cubicBezTo>
                    <a:cubicBezTo>
                      <a:pt x="1338262" y="2738066"/>
                      <a:pt x="1331548" y="2733505"/>
                      <a:pt x="1326860" y="2735912"/>
                    </a:cubicBezTo>
                    <a:cubicBezTo>
                      <a:pt x="1321033" y="2738826"/>
                      <a:pt x="1320400" y="2749341"/>
                      <a:pt x="1319513" y="2754788"/>
                    </a:cubicBezTo>
                    <a:cubicBezTo>
                      <a:pt x="1318626" y="2760362"/>
                      <a:pt x="1317739" y="2764796"/>
                      <a:pt x="1311405" y="2766063"/>
                    </a:cubicBezTo>
                    <a:cubicBezTo>
                      <a:pt x="1303297" y="2767583"/>
                      <a:pt x="1294937" y="2763909"/>
                      <a:pt x="1287462" y="2761375"/>
                    </a:cubicBezTo>
                    <a:cubicBezTo>
                      <a:pt x="1279481" y="2758715"/>
                      <a:pt x="1272767" y="2757828"/>
                      <a:pt x="1267320" y="2765303"/>
                    </a:cubicBezTo>
                    <a:cubicBezTo>
                      <a:pt x="1263646" y="2770370"/>
                      <a:pt x="1261239" y="2780631"/>
                      <a:pt x="1254271" y="2782151"/>
                    </a:cubicBezTo>
                    <a:cubicBezTo>
                      <a:pt x="1239323" y="2785318"/>
                      <a:pt x="1238816" y="2761756"/>
                      <a:pt x="1232229" y="2754661"/>
                    </a:cubicBezTo>
                    <a:cubicBezTo>
                      <a:pt x="1224121" y="2745794"/>
                      <a:pt x="1202332" y="2743133"/>
                      <a:pt x="1194604" y="2753901"/>
                    </a:cubicBezTo>
                    <a:cubicBezTo>
                      <a:pt x="1190930" y="2759095"/>
                      <a:pt x="1190676" y="2765683"/>
                      <a:pt x="1188777" y="2771637"/>
                    </a:cubicBezTo>
                    <a:cubicBezTo>
                      <a:pt x="1186749" y="2777844"/>
                      <a:pt x="1182316" y="2781138"/>
                      <a:pt x="1177502" y="2785192"/>
                    </a:cubicBezTo>
                    <a:cubicBezTo>
                      <a:pt x="1166987" y="2794313"/>
                      <a:pt x="1155713" y="2810528"/>
                      <a:pt x="1160653" y="2825223"/>
                    </a:cubicBezTo>
                    <a:cubicBezTo>
                      <a:pt x="1162680" y="2831431"/>
                      <a:pt x="1168001" y="2835485"/>
                      <a:pt x="1171674" y="2840679"/>
                    </a:cubicBezTo>
                    <a:cubicBezTo>
                      <a:pt x="1176362" y="2847140"/>
                      <a:pt x="1178515" y="2854867"/>
                      <a:pt x="1179782" y="2862595"/>
                    </a:cubicBezTo>
                    <a:cubicBezTo>
                      <a:pt x="1182316" y="2878810"/>
                      <a:pt x="1174841" y="2887044"/>
                      <a:pt x="1163060" y="2897179"/>
                    </a:cubicBezTo>
                    <a:cubicBezTo>
                      <a:pt x="1157106" y="2902373"/>
                      <a:pt x="1150265" y="2906427"/>
                      <a:pt x="1143678" y="2910988"/>
                    </a:cubicBezTo>
                    <a:cubicBezTo>
                      <a:pt x="1143551" y="2910608"/>
                      <a:pt x="1143424" y="2910227"/>
                      <a:pt x="1143297" y="2909847"/>
                    </a:cubicBezTo>
                    <a:cubicBezTo>
                      <a:pt x="1138610" y="2891732"/>
                      <a:pt x="1140511" y="2872222"/>
                      <a:pt x="1133290" y="2854867"/>
                    </a:cubicBezTo>
                    <a:cubicBezTo>
                      <a:pt x="1126195" y="2837765"/>
                      <a:pt x="1112007" y="2824590"/>
                      <a:pt x="1110360" y="2805461"/>
                    </a:cubicBezTo>
                    <a:cubicBezTo>
                      <a:pt x="1108207" y="2782025"/>
                      <a:pt x="1123408" y="2763022"/>
                      <a:pt x="1130123" y="2741740"/>
                    </a:cubicBezTo>
                    <a:cubicBezTo>
                      <a:pt x="1137344" y="2718937"/>
                      <a:pt x="1124295" y="2706269"/>
                      <a:pt x="1110107" y="2690180"/>
                    </a:cubicBezTo>
                    <a:cubicBezTo>
                      <a:pt x="1091485" y="2668897"/>
                      <a:pt x="1082490" y="2646348"/>
                      <a:pt x="1083377" y="2617971"/>
                    </a:cubicBezTo>
                    <a:cubicBezTo>
                      <a:pt x="1083630" y="2611130"/>
                      <a:pt x="1086544" y="2597575"/>
                      <a:pt x="1085403" y="2587567"/>
                    </a:cubicBezTo>
                    <a:cubicBezTo>
                      <a:pt x="1089711" y="2579333"/>
                      <a:pt x="1093892" y="2571098"/>
                      <a:pt x="1097692" y="2562611"/>
                    </a:cubicBezTo>
                    <a:cubicBezTo>
                      <a:pt x="1102633" y="2551843"/>
                      <a:pt x="1108333" y="2539935"/>
                      <a:pt x="1109473" y="2528026"/>
                    </a:cubicBezTo>
                    <a:cubicBezTo>
                      <a:pt x="1110740" y="2514598"/>
                      <a:pt x="1101619" y="2516625"/>
                      <a:pt x="1092245" y="2520932"/>
                    </a:cubicBezTo>
                    <a:cubicBezTo>
                      <a:pt x="1079069" y="2527139"/>
                      <a:pt x="1066781" y="2533094"/>
                      <a:pt x="1052339" y="2536007"/>
                    </a:cubicBezTo>
                    <a:cubicBezTo>
                      <a:pt x="1035364" y="2539301"/>
                      <a:pt x="1024976" y="2547282"/>
                      <a:pt x="1012054" y="2557923"/>
                    </a:cubicBezTo>
                    <a:cubicBezTo>
                      <a:pt x="1000019" y="2567678"/>
                      <a:pt x="995459" y="2583006"/>
                      <a:pt x="988238" y="2596182"/>
                    </a:cubicBezTo>
                    <a:cubicBezTo>
                      <a:pt x="977090" y="2616577"/>
                      <a:pt x="954794" y="2615184"/>
                      <a:pt x="936045" y="2606570"/>
                    </a:cubicBezTo>
                    <a:cubicBezTo>
                      <a:pt x="911975" y="2595422"/>
                      <a:pt x="887398" y="2584780"/>
                      <a:pt x="863709" y="2572872"/>
                    </a:cubicBezTo>
                    <a:cubicBezTo>
                      <a:pt x="853828" y="2567931"/>
                      <a:pt x="843567" y="2561850"/>
                      <a:pt x="832672" y="2566918"/>
                    </a:cubicBezTo>
                    <a:cubicBezTo>
                      <a:pt x="820637" y="2572365"/>
                      <a:pt x="812276" y="2583640"/>
                      <a:pt x="799988" y="2588707"/>
                    </a:cubicBezTo>
                    <a:cubicBezTo>
                      <a:pt x="787573" y="2593775"/>
                      <a:pt x="778072" y="2589087"/>
                      <a:pt x="767684" y="2582246"/>
                    </a:cubicBezTo>
                    <a:cubicBezTo>
                      <a:pt x="759196" y="2576672"/>
                      <a:pt x="750835" y="2572238"/>
                      <a:pt x="741967" y="2579713"/>
                    </a:cubicBezTo>
                    <a:cubicBezTo>
                      <a:pt x="726385" y="2592761"/>
                      <a:pt x="729045" y="2619364"/>
                      <a:pt x="707383" y="2626078"/>
                    </a:cubicBezTo>
                    <a:cubicBezTo>
                      <a:pt x="697249" y="2629246"/>
                      <a:pt x="686861" y="2627219"/>
                      <a:pt x="677359" y="2623038"/>
                    </a:cubicBezTo>
                    <a:cubicBezTo>
                      <a:pt x="671785" y="2620631"/>
                      <a:pt x="666845" y="2617844"/>
                      <a:pt x="661904" y="2619364"/>
                    </a:cubicBezTo>
                    <a:cubicBezTo>
                      <a:pt x="623646" y="2582753"/>
                      <a:pt x="631374" y="2571352"/>
                      <a:pt x="628333" y="2529673"/>
                    </a:cubicBezTo>
                    <a:cubicBezTo>
                      <a:pt x="625419" y="2488121"/>
                      <a:pt x="573353" y="2494962"/>
                      <a:pt x="556124" y="2489135"/>
                    </a:cubicBezTo>
                    <a:cubicBezTo>
                      <a:pt x="538769" y="2483181"/>
                      <a:pt x="522426" y="2480774"/>
                      <a:pt x="512545" y="2472286"/>
                    </a:cubicBezTo>
                    <a:cubicBezTo>
                      <a:pt x="502664" y="2463925"/>
                      <a:pt x="492276" y="2476213"/>
                      <a:pt x="463519" y="2446570"/>
                    </a:cubicBezTo>
                    <a:cubicBezTo>
                      <a:pt x="434762" y="2416799"/>
                      <a:pt x="490249" y="2342057"/>
                      <a:pt x="501144" y="2331795"/>
                    </a:cubicBezTo>
                    <a:cubicBezTo>
                      <a:pt x="512039" y="2321407"/>
                      <a:pt x="467446" y="2281249"/>
                      <a:pt x="469473" y="2270354"/>
                    </a:cubicBezTo>
                    <a:cubicBezTo>
                      <a:pt x="471500" y="2259459"/>
                      <a:pt x="517486" y="2241597"/>
                      <a:pt x="531801" y="2236657"/>
                    </a:cubicBezTo>
                    <a:cubicBezTo>
                      <a:pt x="546117" y="2231716"/>
                      <a:pt x="547637" y="2198525"/>
                      <a:pt x="549157" y="2181676"/>
                    </a:cubicBezTo>
                    <a:cubicBezTo>
                      <a:pt x="550677" y="2164827"/>
                      <a:pt x="604137" y="2105540"/>
                      <a:pt x="617438" y="2095152"/>
                    </a:cubicBezTo>
                    <a:cubicBezTo>
                      <a:pt x="630740" y="2084764"/>
                      <a:pt x="592228" y="2062975"/>
                      <a:pt x="581840" y="2058541"/>
                    </a:cubicBezTo>
                    <a:cubicBezTo>
                      <a:pt x="571453" y="2054107"/>
                      <a:pt x="561065" y="2040299"/>
                      <a:pt x="566005" y="2025350"/>
                    </a:cubicBezTo>
                    <a:cubicBezTo>
                      <a:pt x="570946" y="2010528"/>
                      <a:pt x="606164" y="2012555"/>
                      <a:pt x="620479" y="2011542"/>
                    </a:cubicBezTo>
                    <a:cubicBezTo>
                      <a:pt x="634794" y="2010528"/>
                      <a:pt x="641254" y="1996720"/>
                      <a:pt x="662537" y="1996213"/>
                    </a:cubicBezTo>
                    <a:cubicBezTo>
                      <a:pt x="683820" y="1995707"/>
                      <a:pt x="701176" y="1991653"/>
                      <a:pt x="708016" y="1968976"/>
                    </a:cubicBezTo>
                    <a:cubicBezTo>
                      <a:pt x="714984" y="1946174"/>
                      <a:pt x="690661" y="1930338"/>
                      <a:pt x="674952" y="1922864"/>
                    </a:cubicBezTo>
                    <a:cubicBezTo>
                      <a:pt x="659117" y="1915516"/>
                      <a:pt x="666084" y="1899554"/>
                      <a:pt x="661144" y="1866490"/>
                    </a:cubicBezTo>
                    <a:cubicBezTo>
                      <a:pt x="656203" y="1833300"/>
                      <a:pt x="634920" y="1817464"/>
                      <a:pt x="617058" y="1815437"/>
                    </a:cubicBezTo>
                    <a:cubicBezTo>
                      <a:pt x="599196" y="1813410"/>
                      <a:pt x="573986" y="1853569"/>
                      <a:pt x="566132" y="1867884"/>
                    </a:cubicBezTo>
                    <a:cubicBezTo>
                      <a:pt x="558151" y="1882199"/>
                      <a:pt x="539908" y="1870291"/>
                      <a:pt x="516599" y="1867884"/>
                    </a:cubicBezTo>
                    <a:cubicBezTo>
                      <a:pt x="493416" y="1865350"/>
                      <a:pt x="485942" y="1923371"/>
                      <a:pt x="474034" y="1948581"/>
                    </a:cubicBezTo>
                    <a:cubicBezTo>
                      <a:pt x="462126" y="1973790"/>
                      <a:pt x="444390" y="1969356"/>
                      <a:pt x="425515" y="1969356"/>
                    </a:cubicBezTo>
                    <a:cubicBezTo>
                      <a:pt x="406766" y="1969356"/>
                      <a:pt x="403725" y="1996593"/>
                      <a:pt x="403725" y="2016862"/>
                    </a:cubicBezTo>
                    <a:cubicBezTo>
                      <a:pt x="403725" y="2037132"/>
                      <a:pt x="385863" y="2031684"/>
                      <a:pt x="364200" y="2038652"/>
                    </a:cubicBezTo>
                    <a:cubicBezTo>
                      <a:pt x="342411" y="2045619"/>
                      <a:pt x="344945" y="2018382"/>
                      <a:pt x="344945" y="1972777"/>
                    </a:cubicBezTo>
                    <a:cubicBezTo>
                      <a:pt x="344945" y="1927298"/>
                      <a:pt x="258800" y="1947567"/>
                      <a:pt x="238025" y="1953521"/>
                    </a:cubicBezTo>
                    <a:cubicBezTo>
                      <a:pt x="217248" y="1959475"/>
                      <a:pt x="211801" y="1952001"/>
                      <a:pt x="198373" y="1934772"/>
                    </a:cubicBezTo>
                    <a:cubicBezTo>
                      <a:pt x="184945" y="1917543"/>
                      <a:pt x="215602" y="1885239"/>
                      <a:pt x="226623" y="1878398"/>
                    </a:cubicBezTo>
                    <a:cubicBezTo>
                      <a:pt x="237517" y="1871431"/>
                      <a:pt x="229536" y="1815944"/>
                      <a:pt x="227636" y="1799602"/>
                    </a:cubicBezTo>
                    <a:cubicBezTo>
                      <a:pt x="225609" y="1783260"/>
                      <a:pt x="246385" y="1763497"/>
                      <a:pt x="257787" y="1756530"/>
                    </a:cubicBezTo>
                    <a:cubicBezTo>
                      <a:pt x="269188" y="1749562"/>
                      <a:pt x="270582" y="1727393"/>
                      <a:pt x="276029" y="1708517"/>
                    </a:cubicBezTo>
                    <a:cubicBezTo>
                      <a:pt x="281477" y="1689768"/>
                      <a:pt x="291357" y="1683814"/>
                      <a:pt x="305293" y="1678874"/>
                    </a:cubicBezTo>
                    <a:cubicBezTo>
                      <a:pt x="319101" y="1673933"/>
                      <a:pt x="309220" y="1665065"/>
                      <a:pt x="306306" y="1654170"/>
                    </a:cubicBezTo>
                    <a:cubicBezTo>
                      <a:pt x="303392" y="1643276"/>
                      <a:pt x="306813" y="1637322"/>
                      <a:pt x="314160" y="1631748"/>
                    </a:cubicBezTo>
                    <a:cubicBezTo>
                      <a:pt x="321635" y="1626174"/>
                      <a:pt x="300352" y="1611478"/>
                      <a:pt x="273622" y="1606664"/>
                    </a:cubicBezTo>
                    <a:cubicBezTo>
                      <a:pt x="246892" y="1601724"/>
                      <a:pt x="190898" y="1633268"/>
                      <a:pt x="181524" y="1641756"/>
                    </a:cubicBezTo>
                    <a:cubicBezTo>
                      <a:pt x="172150" y="1650117"/>
                      <a:pt x="128950" y="1657337"/>
                      <a:pt x="128950" y="1657337"/>
                    </a:cubicBezTo>
                    <a:cubicBezTo>
                      <a:pt x="131104" y="1654297"/>
                      <a:pt x="132371" y="1649863"/>
                      <a:pt x="132498" y="1643783"/>
                    </a:cubicBezTo>
                    <a:cubicBezTo>
                      <a:pt x="133004" y="1618573"/>
                      <a:pt x="129964" y="1604131"/>
                      <a:pt x="118183" y="1594756"/>
                    </a:cubicBezTo>
                    <a:cubicBezTo>
                      <a:pt x="106274" y="1585382"/>
                      <a:pt x="90439" y="1569926"/>
                      <a:pt x="91959" y="1550671"/>
                    </a:cubicBezTo>
                    <a:cubicBezTo>
                      <a:pt x="93479" y="1531415"/>
                      <a:pt x="117676" y="1516973"/>
                      <a:pt x="113242" y="1510512"/>
                    </a:cubicBezTo>
                    <a:cubicBezTo>
                      <a:pt x="108808" y="1504051"/>
                      <a:pt x="103867" y="1504051"/>
                      <a:pt x="109315" y="1494170"/>
                    </a:cubicBezTo>
                    <a:cubicBezTo>
                      <a:pt x="114762" y="1484289"/>
                      <a:pt x="122616" y="1460979"/>
                      <a:pt x="103867" y="1454139"/>
                    </a:cubicBezTo>
                    <a:cubicBezTo>
                      <a:pt x="85119" y="1447171"/>
                      <a:pt x="82585" y="1441217"/>
                      <a:pt x="70170" y="1440330"/>
                    </a:cubicBezTo>
                    <a:cubicBezTo>
                      <a:pt x="57882" y="1439317"/>
                      <a:pt x="36979" y="1433870"/>
                      <a:pt x="51928" y="1414614"/>
                    </a:cubicBezTo>
                    <a:cubicBezTo>
                      <a:pt x="66750" y="1395358"/>
                      <a:pt x="92973" y="1395358"/>
                      <a:pt x="73717" y="1370022"/>
                    </a:cubicBezTo>
                    <a:cubicBezTo>
                      <a:pt x="54335" y="1344812"/>
                      <a:pt x="31658" y="1333917"/>
                      <a:pt x="44074" y="1322516"/>
                    </a:cubicBezTo>
                    <a:cubicBezTo>
                      <a:pt x="56488" y="1311114"/>
                      <a:pt x="71817" y="1290845"/>
                      <a:pt x="54461" y="1281977"/>
                    </a:cubicBezTo>
                    <a:cubicBezTo>
                      <a:pt x="37106" y="1272983"/>
                      <a:pt x="5942" y="1259681"/>
                      <a:pt x="2521" y="1248786"/>
                    </a:cubicBezTo>
                    <a:cubicBezTo>
                      <a:pt x="-1025" y="1237892"/>
                      <a:pt x="-2546" y="1229024"/>
                      <a:pt x="9869" y="1231431"/>
                    </a:cubicBezTo>
                    <a:cubicBezTo>
                      <a:pt x="22284" y="1233965"/>
                      <a:pt x="42554" y="1240805"/>
                      <a:pt x="37613" y="1228517"/>
                    </a:cubicBezTo>
                    <a:cubicBezTo>
                      <a:pt x="32672" y="1216102"/>
                      <a:pt x="34699" y="1206728"/>
                      <a:pt x="25197" y="1204194"/>
                    </a:cubicBezTo>
                    <a:cubicBezTo>
                      <a:pt x="15823" y="1201660"/>
                      <a:pt x="7335" y="1208121"/>
                      <a:pt x="8856" y="1189372"/>
                    </a:cubicBezTo>
                    <a:cubicBezTo>
                      <a:pt x="10376" y="1170623"/>
                      <a:pt x="17217" y="1168596"/>
                      <a:pt x="13796" y="1149340"/>
                    </a:cubicBezTo>
                    <a:cubicBezTo>
                      <a:pt x="10376" y="1129958"/>
                      <a:pt x="-2039" y="1108675"/>
                      <a:pt x="8856" y="1094360"/>
                    </a:cubicBezTo>
                    <a:cubicBezTo>
                      <a:pt x="19750" y="1080045"/>
                      <a:pt x="41540" y="1071051"/>
                      <a:pt x="31152" y="1065604"/>
                    </a:cubicBezTo>
                    <a:cubicBezTo>
                      <a:pt x="20764" y="1060156"/>
                      <a:pt x="8856" y="1056736"/>
                      <a:pt x="9362" y="1042294"/>
                    </a:cubicBezTo>
                    <a:cubicBezTo>
                      <a:pt x="9869" y="1027979"/>
                      <a:pt x="25705" y="1000235"/>
                      <a:pt x="33052" y="1002135"/>
                    </a:cubicBezTo>
                    <a:cubicBezTo>
                      <a:pt x="40526" y="1004162"/>
                      <a:pt x="64216" y="1021898"/>
                      <a:pt x="65736" y="1008090"/>
                    </a:cubicBezTo>
                    <a:cubicBezTo>
                      <a:pt x="67256" y="994281"/>
                      <a:pt x="79545" y="977939"/>
                      <a:pt x="89552" y="978953"/>
                    </a:cubicBezTo>
                    <a:cubicBezTo>
                      <a:pt x="99434" y="979840"/>
                      <a:pt x="116789" y="993268"/>
                      <a:pt x="126670" y="976419"/>
                    </a:cubicBezTo>
                    <a:cubicBezTo>
                      <a:pt x="136552" y="959697"/>
                      <a:pt x="138072" y="940821"/>
                      <a:pt x="151880" y="949309"/>
                    </a:cubicBezTo>
                    <a:cubicBezTo>
                      <a:pt x="165689" y="957670"/>
                      <a:pt x="184058" y="968565"/>
                      <a:pt x="190519" y="962611"/>
                    </a:cubicBezTo>
                    <a:cubicBezTo>
                      <a:pt x="196979" y="956656"/>
                      <a:pt x="207874" y="966918"/>
                      <a:pt x="208761" y="947155"/>
                    </a:cubicBezTo>
                    <a:cubicBezTo>
                      <a:pt x="209774" y="927520"/>
                      <a:pt x="207747" y="912064"/>
                      <a:pt x="205340" y="902690"/>
                    </a:cubicBezTo>
                    <a:cubicBezTo>
                      <a:pt x="202933" y="893315"/>
                      <a:pt x="199386" y="881407"/>
                      <a:pt x="217248" y="879000"/>
                    </a:cubicBezTo>
                    <a:cubicBezTo>
                      <a:pt x="235110" y="876467"/>
                      <a:pt x="279070" y="868612"/>
                      <a:pt x="300352" y="833395"/>
                    </a:cubicBezTo>
                    <a:cubicBezTo>
                      <a:pt x="321635" y="798303"/>
                      <a:pt x="316187" y="791336"/>
                      <a:pt x="318214" y="780948"/>
                    </a:cubicBezTo>
                    <a:cubicBezTo>
                      <a:pt x="320241" y="770560"/>
                      <a:pt x="316187" y="751811"/>
                      <a:pt x="332023" y="747757"/>
                    </a:cubicBezTo>
                    <a:cubicBezTo>
                      <a:pt x="347858" y="743830"/>
                      <a:pt x="384596" y="726981"/>
                      <a:pt x="369647" y="707725"/>
                    </a:cubicBezTo>
                    <a:cubicBezTo>
                      <a:pt x="354825" y="688470"/>
                      <a:pt x="309347" y="638937"/>
                      <a:pt x="305420" y="620061"/>
                    </a:cubicBezTo>
                    <a:cubicBezTo>
                      <a:pt x="301492" y="601312"/>
                      <a:pt x="306433" y="571542"/>
                      <a:pt x="286543" y="562674"/>
                    </a:cubicBezTo>
                    <a:cubicBezTo>
                      <a:pt x="266781" y="553806"/>
                      <a:pt x="250946" y="545825"/>
                      <a:pt x="250439" y="531003"/>
                    </a:cubicBezTo>
                    <a:cubicBezTo>
                      <a:pt x="249933" y="516182"/>
                      <a:pt x="243472" y="483497"/>
                      <a:pt x="251959" y="471083"/>
                    </a:cubicBezTo>
                    <a:cubicBezTo>
                      <a:pt x="260320" y="458794"/>
                      <a:pt x="268301" y="441439"/>
                      <a:pt x="267795" y="430544"/>
                    </a:cubicBezTo>
                    <a:cubicBezTo>
                      <a:pt x="267288" y="419650"/>
                      <a:pt x="265768" y="402294"/>
                      <a:pt x="271722" y="397353"/>
                    </a:cubicBezTo>
                    <a:cubicBezTo>
                      <a:pt x="277676" y="392412"/>
                      <a:pt x="283630" y="387979"/>
                      <a:pt x="286037" y="373157"/>
                    </a:cubicBezTo>
                    <a:cubicBezTo>
                      <a:pt x="288444" y="358208"/>
                      <a:pt x="287557" y="289546"/>
                      <a:pt x="282110" y="263703"/>
                    </a:cubicBezTo>
                    <a:cubicBezTo>
                      <a:pt x="276663" y="237987"/>
                      <a:pt x="258800" y="190481"/>
                      <a:pt x="277676" y="185540"/>
                    </a:cubicBezTo>
                    <a:cubicBezTo>
                      <a:pt x="296425" y="180600"/>
                      <a:pt x="350392" y="182120"/>
                      <a:pt x="363693" y="185540"/>
                    </a:cubicBezTo>
                    <a:cubicBezTo>
                      <a:pt x="377122" y="189087"/>
                      <a:pt x="461239" y="203782"/>
                      <a:pt x="459212" y="175152"/>
                    </a:cubicBezTo>
                    <a:cubicBezTo>
                      <a:pt x="457185" y="146395"/>
                      <a:pt x="453258" y="110798"/>
                      <a:pt x="473020" y="111304"/>
                    </a:cubicBezTo>
                    <a:cubicBezTo>
                      <a:pt x="492783" y="111811"/>
                      <a:pt x="524454" y="115232"/>
                      <a:pt x="521540" y="108771"/>
                    </a:cubicBezTo>
                    <a:cubicBezTo>
                      <a:pt x="518626" y="102310"/>
                      <a:pt x="521540" y="88501"/>
                      <a:pt x="530407" y="98383"/>
                    </a:cubicBezTo>
                    <a:cubicBezTo>
                      <a:pt x="539275" y="108264"/>
                      <a:pt x="552197" y="130560"/>
                      <a:pt x="569046" y="126126"/>
                    </a:cubicBezTo>
                    <a:cubicBezTo>
                      <a:pt x="585894" y="121692"/>
                      <a:pt x="588301" y="95469"/>
                      <a:pt x="574493" y="83561"/>
                    </a:cubicBezTo>
                    <a:cubicBezTo>
                      <a:pt x="560685" y="71653"/>
                      <a:pt x="557771" y="70259"/>
                      <a:pt x="554350" y="61138"/>
                    </a:cubicBezTo>
                    <a:cubicBezTo>
                      <a:pt x="563725" y="66712"/>
                      <a:pt x="588428" y="51637"/>
                      <a:pt x="595269" y="45176"/>
                    </a:cubicBezTo>
                    <a:cubicBezTo>
                      <a:pt x="603757" y="37195"/>
                      <a:pt x="609584" y="32634"/>
                      <a:pt x="611864" y="20853"/>
                    </a:cubicBezTo>
                    <a:cubicBezTo>
                      <a:pt x="616172" y="-937"/>
                      <a:pt x="630233" y="-430"/>
                      <a:pt x="650503" y="204"/>
                    </a:cubicBezTo>
                    <a:cubicBezTo>
                      <a:pt x="669885" y="710"/>
                      <a:pt x="689647" y="5651"/>
                      <a:pt x="708650" y="8565"/>
                    </a:cubicBezTo>
                    <a:cubicBezTo>
                      <a:pt x="740067" y="13379"/>
                      <a:pt x="775285" y="38842"/>
                      <a:pt x="793907" y="64305"/>
                    </a:cubicBezTo>
                    <a:cubicBezTo>
                      <a:pt x="802268" y="75706"/>
                      <a:pt x="804675" y="94075"/>
                      <a:pt x="806955" y="107630"/>
                    </a:cubicBezTo>
                    <a:cubicBezTo>
                      <a:pt x="809743" y="123593"/>
                      <a:pt x="814430" y="138287"/>
                      <a:pt x="812656" y="154630"/>
                    </a:cubicBezTo>
                    <a:cubicBezTo>
                      <a:pt x="810756" y="172745"/>
                      <a:pt x="802522" y="189594"/>
                      <a:pt x="804169" y="208216"/>
                    </a:cubicBezTo>
                    <a:cubicBezTo>
                      <a:pt x="805562" y="223165"/>
                      <a:pt x="806829" y="251035"/>
                      <a:pt x="823424" y="257623"/>
                    </a:cubicBezTo>
                    <a:cubicBezTo>
                      <a:pt x="833812" y="261676"/>
                      <a:pt x="840527" y="254329"/>
                      <a:pt x="848254" y="248755"/>
                    </a:cubicBezTo>
                    <a:cubicBezTo>
                      <a:pt x="857502" y="242040"/>
                      <a:pt x="864976" y="240520"/>
                      <a:pt x="876377" y="239633"/>
                    </a:cubicBezTo>
                    <a:cubicBezTo>
                      <a:pt x="891073" y="238620"/>
                      <a:pt x="905515" y="236973"/>
                      <a:pt x="920336" y="236720"/>
                    </a:cubicBezTo>
                    <a:cubicBezTo>
                      <a:pt x="946939" y="236466"/>
                      <a:pt x="974303" y="238240"/>
                      <a:pt x="989125" y="263070"/>
                    </a:cubicBezTo>
                    <a:cubicBezTo>
                      <a:pt x="997106" y="276245"/>
                      <a:pt x="1000146" y="290560"/>
                      <a:pt x="1006734" y="304242"/>
                    </a:cubicBezTo>
                    <a:cubicBezTo>
                      <a:pt x="1008000" y="306775"/>
                      <a:pt x="1009268" y="309056"/>
                      <a:pt x="1010788" y="311083"/>
                    </a:cubicBezTo>
                    <a:cubicBezTo>
                      <a:pt x="999006" y="315770"/>
                      <a:pt x="985577" y="327678"/>
                      <a:pt x="982791" y="339459"/>
                    </a:cubicBezTo>
                    <a:cubicBezTo>
                      <a:pt x="979877" y="351367"/>
                      <a:pt x="995713" y="365429"/>
                      <a:pt x="998753" y="377464"/>
                    </a:cubicBezTo>
                    <a:cubicBezTo>
                      <a:pt x="1002680" y="392793"/>
                      <a:pt x="995965" y="416482"/>
                      <a:pt x="974936" y="406981"/>
                    </a:cubicBezTo>
                    <a:cubicBezTo>
                      <a:pt x="961508" y="400900"/>
                      <a:pt x="961128" y="380758"/>
                      <a:pt x="952894" y="369863"/>
                    </a:cubicBezTo>
                    <a:cubicBezTo>
                      <a:pt x="939085" y="351621"/>
                      <a:pt x="923123" y="374931"/>
                      <a:pt x="911215" y="384052"/>
                    </a:cubicBezTo>
                    <a:cubicBezTo>
                      <a:pt x="896900" y="395073"/>
                      <a:pt x="887525" y="409895"/>
                      <a:pt x="875744" y="423197"/>
                    </a:cubicBezTo>
                    <a:cubicBezTo>
                      <a:pt x="864596" y="435738"/>
                      <a:pt x="849268" y="442452"/>
                      <a:pt x="835079" y="450687"/>
                    </a:cubicBezTo>
                    <a:cubicBezTo>
                      <a:pt x="814810" y="462595"/>
                      <a:pt x="800748" y="476910"/>
                      <a:pt x="790993" y="498446"/>
                    </a:cubicBezTo>
                    <a:cubicBezTo>
                      <a:pt x="786306" y="508581"/>
                      <a:pt x="778832" y="513395"/>
                      <a:pt x="771484" y="521122"/>
                    </a:cubicBezTo>
                    <a:cubicBezTo>
                      <a:pt x="764390" y="528723"/>
                      <a:pt x="759830" y="538731"/>
                      <a:pt x="754002" y="547472"/>
                    </a:cubicBezTo>
                    <a:cubicBezTo>
                      <a:pt x="747668" y="556973"/>
                      <a:pt x="744501" y="565968"/>
                      <a:pt x="740447" y="576609"/>
                    </a:cubicBezTo>
                    <a:cubicBezTo>
                      <a:pt x="736647" y="586744"/>
                      <a:pt x="729553" y="595358"/>
                      <a:pt x="726132" y="605619"/>
                    </a:cubicBezTo>
                    <a:cubicBezTo>
                      <a:pt x="711310" y="651478"/>
                      <a:pt x="757802" y="704685"/>
                      <a:pt x="733099" y="746997"/>
                    </a:cubicBezTo>
                    <a:cubicBezTo>
                      <a:pt x="727146" y="757258"/>
                      <a:pt x="716884" y="763592"/>
                      <a:pt x="710550" y="773094"/>
                    </a:cubicBezTo>
                    <a:cubicBezTo>
                      <a:pt x="704216" y="782595"/>
                      <a:pt x="706496" y="792223"/>
                      <a:pt x="708776" y="802610"/>
                    </a:cubicBezTo>
                    <a:cubicBezTo>
                      <a:pt x="713464" y="824147"/>
                      <a:pt x="712957" y="846443"/>
                      <a:pt x="716377" y="868232"/>
                    </a:cubicBezTo>
                    <a:cubicBezTo>
                      <a:pt x="718024" y="878240"/>
                      <a:pt x="720685" y="886601"/>
                      <a:pt x="716251" y="896102"/>
                    </a:cubicBezTo>
                    <a:cubicBezTo>
                      <a:pt x="712577" y="904210"/>
                      <a:pt x="705736" y="909784"/>
                      <a:pt x="703583" y="918652"/>
                    </a:cubicBezTo>
                    <a:cubicBezTo>
                      <a:pt x="701303" y="928280"/>
                      <a:pt x="703202" y="938541"/>
                      <a:pt x="703583" y="948169"/>
                    </a:cubicBezTo>
                    <a:cubicBezTo>
                      <a:pt x="703962" y="962611"/>
                      <a:pt x="696108" y="973379"/>
                      <a:pt x="690407" y="985667"/>
                    </a:cubicBezTo>
                    <a:cubicBezTo>
                      <a:pt x="685214" y="996941"/>
                      <a:pt x="689647" y="1009610"/>
                      <a:pt x="684580" y="1021138"/>
                    </a:cubicBezTo>
                    <a:cubicBezTo>
                      <a:pt x="680146" y="1031273"/>
                      <a:pt x="673812" y="1036213"/>
                      <a:pt x="673305" y="1047994"/>
                    </a:cubicBezTo>
                    <a:cubicBezTo>
                      <a:pt x="672799" y="1062816"/>
                      <a:pt x="675459" y="1073965"/>
                      <a:pt x="668491" y="1087773"/>
                    </a:cubicBezTo>
                    <a:cubicBezTo>
                      <a:pt x="661017" y="1102595"/>
                      <a:pt x="666591" y="1106142"/>
                      <a:pt x="671912" y="1120964"/>
                    </a:cubicBezTo>
                    <a:cubicBezTo>
                      <a:pt x="677233" y="1135659"/>
                      <a:pt x="667478" y="1138066"/>
                      <a:pt x="663424" y="1150481"/>
                    </a:cubicBezTo>
                    <a:cubicBezTo>
                      <a:pt x="659877" y="1161629"/>
                      <a:pt x="661777" y="1181138"/>
                      <a:pt x="663298" y="1192666"/>
                    </a:cubicBezTo>
                    <a:cubicBezTo>
                      <a:pt x="664944" y="1205841"/>
                      <a:pt x="674699" y="1216609"/>
                      <a:pt x="673052" y="1230291"/>
                    </a:cubicBezTo>
                    <a:cubicBezTo>
                      <a:pt x="671659" y="1241946"/>
                      <a:pt x="668365" y="1253347"/>
                      <a:pt x="667225" y="1265002"/>
                    </a:cubicBezTo>
                    <a:cubicBezTo>
                      <a:pt x="666338" y="1274123"/>
                      <a:pt x="668998" y="1283371"/>
                      <a:pt x="666718" y="1292365"/>
                    </a:cubicBezTo>
                    <a:cubicBezTo>
                      <a:pt x="665071" y="1298826"/>
                      <a:pt x="660637" y="1305287"/>
                      <a:pt x="658103" y="1311747"/>
                    </a:cubicBezTo>
                    <a:cubicBezTo>
                      <a:pt x="649489" y="1326316"/>
                      <a:pt x="637200" y="1342025"/>
                      <a:pt x="636440" y="1359507"/>
                    </a:cubicBezTo>
                    <a:cubicBezTo>
                      <a:pt x="636061" y="1369895"/>
                      <a:pt x="637581" y="1380536"/>
                      <a:pt x="633273" y="1390291"/>
                    </a:cubicBezTo>
                    <a:cubicBezTo>
                      <a:pt x="628967" y="1400045"/>
                      <a:pt x="619465" y="1401819"/>
                      <a:pt x="617312" y="1413347"/>
                    </a:cubicBezTo>
                    <a:cubicBezTo>
                      <a:pt x="612751" y="1438937"/>
                      <a:pt x="635174" y="1466427"/>
                      <a:pt x="619972" y="1491130"/>
                    </a:cubicBezTo>
                    <a:cubicBezTo>
                      <a:pt x="604263" y="1516593"/>
                      <a:pt x="574620" y="1517480"/>
                      <a:pt x="572593" y="1552444"/>
                    </a:cubicBezTo>
                    <a:cubicBezTo>
                      <a:pt x="571453" y="1572714"/>
                      <a:pt x="554984" y="1608691"/>
                      <a:pt x="586275" y="1613885"/>
                    </a:cubicBezTo>
                    <a:cubicBezTo>
                      <a:pt x="598943" y="1616039"/>
                      <a:pt x="607684" y="1599950"/>
                      <a:pt x="618959" y="1602737"/>
                    </a:cubicBezTo>
                    <a:cubicBezTo>
                      <a:pt x="624153" y="1604004"/>
                      <a:pt x="626686" y="1610845"/>
                      <a:pt x="632260" y="1612492"/>
                    </a:cubicBezTo>
                    <a:cubicBezTo>
                      <a:pt x="653163" y="1618446"/>
                      <a:pt x="663677" y="1595643"/>
                      <a:pt x="677612" y="1586902"/>
                    </a:cubicBezTo>
                    <a:cubicBezTo>
                      <a:pt x="685467" y="1581961"/>
                      <a:pt x="694968" y="1582595"/>
                      <a:pt x="703329" y="1579048"/>
                    </a:cubicBezTo>
                    <a:cubicBezTo>
                      <a:pt x="712830" y="1575121"/>
                      <a:pt x="716884" y="1566253"/>
                      <a:pt x="725118" y="1561059"/>
                    </a:cubicBezTo>
                    <a:cubicBezTo>
                      <a:pt x="747795" y="1547124"/>
                      <a:pt x="746021" y="1584368"/>
                      <a:pt x="749948" y="1596403"/>
                    </a:cubicBezTo>
                    <a:cubicBezTo>
                      <a:pt x="753496" y="1607298"/>
                      <a:pt x="762490" y="1611098"/>
                      <a:pt x="770978" y="1617686"/>
                    </a:cubicBezTo>
                    <a:cubicBezTo>
                      <a:pt x="781746" y="1626174"/>
                      <a:pt x="784659" y="1634661"/>
                      <a:pt x="785419" y="1647963"/>
                    </a:cubicBezTo>
                    <a:cubicBezTo>
                      <a:pt x="785926" y="1657591"/>
                      <a:pt x="784913" y="1662911"/>
                      <a:pt x="795428" y="1664812"/>
                    </a:cubicBezTo>
                    <a:cubicBezTo>
                      <a:pt x="803282" y="1666205"/>
                      <a:pt x="817343" y="1662911"/>
                      <a:pt x="822664" y="1656704"/>
                    </a:cubicBezTo>
                    <a:cubicBezTo>
                      <a:pt x="835459" y="1641882"/>
                      <a:pt x="808983" y="1627187"/>
                      <a:pt x="803409" y="1614519"/>
                    </a:cubicBezTo>
                    <a:cubicBezTo>
                      <a:pt x="795174" y="1595643"/>
                      <a:pt x="796567" y="1575501"/>
                      <a:pt x="814683" y="1562705"/>
                    </a:cubicBezTo>
                    <a:cubicBezTo>
                      <a:pt x="821397" y="1558018"/>
                      <a:pt x="832925" y="1554091"/>
                      <a:pt x="839640" y="1561185"/>
                    </a:cubicBezTo>
                    <a:cubicBezTo>
                      <a:pt x="847494" y="1569546"/>
                      <a:pt x="838753" y="1579174"/>
                      <a:pt x="834319" y="1586522"/>
                    </a:cubicBezTo>
                    <a:cubicBezTo>
                      <a:pt x="830012" y="1593743"/>
                      <a:pt x="825324" y="1602611"/>
                      <a:pt x="834826" y="1608184"/>
                    </a:cubicBezTo>
                    <a:cubicBezTo>
                      <a:pt x="844327" y="1613759"/>
                      <a:pt x="853828" y="1603877"/>
                      <a:pt x="861555" y="1599697"/>
                    </a:cubicBezTo>
                    <a:cubicBezTo>
                      <a:pt x="888919" y="1584875"/>
                      <a:pt x="867256" y="1619586"/>
                      <a:pt x="873590" y="1631621"/>
                    </a:cubicBezTo>
                    <a:cubicBezTo>
                      <a:pt x="879038" y="1641756"/>
                      <a:pt x="885372" y="1643149"/>
                      <a:pt x="877518" y="1654677"/>
                    </a:cubicBezTo>
                    <a:cubicBezTo>
                      <a:pt x="873464" y="1660504"/>
                      <a:pt x="856995" y="1673426"/>
                      <a:pt x="865863" y="1681281"/>
                    </a:cubicBezTo>
                    <a:cubicBezTo>
                      <a:pt x="874224" y="1688755"/>
                      <a:pt x="887398" y="1673173"/>
                      <a:pt x="892972" y="1668865"/>
                    </a:cubicBezTo>
                    <a:cubicBezTo>
                      <a:pt x="900954" y="1662658"/>
                      <a:pt x="915016" y="1661518"/>
                      <a:pt x="921476" y="1654677"/>
                    </a:cubicBezTo>
                    <a:cubicBezTo>
                      <a:pt x="928444" y="1647456"/>
                      <a:pt x="923630" y="1636055"/>
                      <a:pt x="925784" y="1627187"/>
                    </a:cubicBezTo>
                    <a:cubicBezTo>
                      <a:pt x="927810" y="1618826"/>
                      <a:pt x="934398" y="1612872"/>
                      <a:pt x="937945" y="1605144"/>
                    </a:cubicBezTo>
                    <a:cubicBezTo>
                      <a:pt x="940099" y="1600710"/>
                      <a:pt x="943393" y="1582342"/>
                      <a:pt x="950360" y="1582722"/>
                    </a:cubicBezTo>
                    <a:cubicBezTo>
                      <a:pt x="957581" y="1583102"/>
                      <a:pt x="957201" y="1600077"/>
                      <a:pt x="960115" y="1604637"/>
                    </a:cubicBezTo>
                    <a:cubicBezTo>
                      <a:pt x="973416" y="1625287"/>
                      <a:pt x="982031" y="1587282"/>
                      <a:pt x="978864" y="1576134"/>
                    </a:cubicBezTo>
                    <a:cubicBezTo>
                      <a:pt x="973290" y="1556371"/>
                      <a:pt x="960368" y="1545097"/>
                      <a:pt x="945926" y="1531795"/>
                    </a:cubicBezTo>
                    <a:cubicBezTo>
                      <a:pt x="934652" y="1521534"/>
                      <a:pt x="913242" y="1494804"/>
                      <a:pt x="937311" y="1486443"/>
                    </a:cubicBezTo>
                    <a:cubicBezTo>
                      <a:pt x="956567" y="1479729"/>
                      <a:pt x="973923" y="1491130"/>
                      <a:pt x="990899" y="1474788"/>
                    </a:cubicBezTo>
                    <a:cubicBezTo>
                      <a:pt x="1006101" y="1460093"/>
                      <a:pt x="1015728" y="1451098"/>
                      <a:pt x="1038405" y="1454519"/>
                    </a:cubicBezTo>
                    <a:cubicBezTo>
                      <a:pt x="1047652" y="1455912"/>
                      <a:pt x="1057407" y="1454139"/>
                      <a:pt x="1066401" y="1455659"/>
                    </a:cubicBezTo>
                    <a:cubicBezTo>
                      <a:pt x="1074636" y="1457052"/>
                      <a:pt x="1079069" y="1463513"/>
                      <a:pt x="1086923" y="1465920"/>
                    </a:cubicBezTo>
                    <a:cubicBezTo>
                      <a:pt x="1095412" y="1468580"/>
                      <a:pt x="1104786" y="1462500"/>
                      <a:pt x="1112260" y="1464907"/>
                    </a:cubicBezTo>
                    <a:cubicBezTo>
                      <a:pt x="1116441" y="1466300"/>
                      <a:pt x="1121001" y="1473394"/>
                      <a:pt x="1124168" y="1476308"/>
                    </a:cubicBezTo>
                    <a:cubicBezTo>
                      <a:pt x="1131136" y="1482769"/>
                      <a:pt x="1139877" y="1492017"/>
                      <a:pt x="1148492" y="1496324"/>
                    </a:cubicBezTo>
                    <a:cubicBezTo>
                      <a:pt x="1156852" y="1500378"/>
                      <a:pt x="1159133" y="1497084"/>
                      <a:pt x="1167747" y="1494804"/>
                    </a:cubicBezTo>
                    <a:cubicBezTo>
                      <a:pt x="1185356" y="1490117"/>
                      <a:pt x="1199165" y="1500884"/>
                      <a:pt x="1216140" y="1501518"/>
                    </a:cubicBezTo>
                    <a:cubicBezTo>
                      <a:pt x="1230328" y="1502025"/>
                      <a:pt x="1246671" y="1500758"/>
                      <a:pt x="1253892" y="1516973"/>
                    </a:cubicBezTo>
                    <a:cubicBezTo>
                      <a:pt x="1261746" y="1534329"/>
                      <a:pt x="1247937" y="1547630"/>
                      <a:pt x="1272767" y="1551811"/>
                    </a:cubicBezTo>
                    <a:cubicBezTo>
                      <a:pt x="1315206" y="1559032"/>
                      <a:pt x="1277581" y="1607678"/>
                      <a:pt x="1307985" y="1625413"/>
                    </a:cubicBezTo>
                    <a:cubicBezTo>
                      <a:pt x="1319259" y="1632001"/>
                      <a:pt x="1334841" y="1628074"/>
                      <a:pt x="1346749" y="1634788"/>
                    </a:cubicBezTo>
                    <a:cubicBezTo>
                      <a:pt x="1360685" y="1642642"/>
                      <a:pt x="1351563" y="1657971"/>
                      <a:pt x="1365752" y="1665065"/>
                    </a:cubicBezTo>
                    <a:cubicBezTo>
                      <a:pt x="1373353" y="1668865"/>
                      <a:pt x="1378040" y="1666078"/>
                      <a:pt x="1379054" y="1676720"/>
                    </a:cubicBezTo>
                    <a:cubicBezTo>
                      <a:pt x="1379560" y="1682927"/>
                      <a:pt x="1375633" y="1686601"/>
                      <a:pt x="1374240" y="1691922"/>
                    </a:cubicBezTo>
                    <a:cubicBezTo>
                      <a:pt x="1371579" y="1701296"/>
                      <a:pt x="1375000" y="1703323"/>
                      <a:pt x="1378800" y="1710671"/>
                    </a:cubicBezTo>
                    <a:cubicBezTo>
                      <a:pt x="1384881" y="1722452"/>
                      <a:pt x="1382347" y="1741835"/>
                      <a:pt x="1378927" y="1754123"/>
                    </a:cubicBezTo>
                    <a:cubicBezTo>
                      <a:pt x="1376013" y="1764384"/>
                      <a:pt x="1362332" y="1776292"/>
                      <a:pt x="1369426" y="1787947"/>
                    </a:cubicBezTo>
                    <a:cubicBezTo>
                      <a:pt x="1373986" y="1795548"/>
                      <a:pt x="1385641" y="1793521"/>
                      <a:pt x="1389695" y="1802009"/>
                    </a:cubicBezTo>
                    <a:cubicBezTo>
                      <a:pt x="1393876" y="1810750"/>
                      <a:pt x="1386908" y="1817464"/>
                      <a:pt x="1384121" y="1823925"/>
                    </a:cubicBezTo>
                    <a:cubicBezTo>
                      <a:pt x="1376900" y="1841281"/>
                      <a:pt x="1384121" y="1861296"/>
                      <a:pt x="1395015" y="1875485"/>
                    </a:cubicBezTo>
                    <a:cubicBezTo>
                      <a:pt x="1405277" y="1888913"/>
                      <a:pt x="1411611" y="1903862"/>
                      <a:pt x="1420605" y="1918303"/>
                    </a:cubicBezTo>
                    <a:cubicBezTo>
                      <a:pt x="1430360" y="1933759"/>
                      <a:pt x="1433020" y="1954281"/>
                      <a:pt x="1446322" y="1967329"/>
                    </a:cubicBezTo>
                    <a:cubicBezTo>
                      <a:pt x="1454810" y="1975691"/>
                      <a:pt x="1460764" y="1985825"/>
                      <a:pt x="1471278" y="1991906"/>
                    </a:cubicBezTo>
                    <a:cubicBezTo>
                      <a:pt x="1480526" y="1997227"/>
                      <a:pt x="1486607" y="1998113"/>
                      <a:pt x="1490281" y="2009008"/>
                    </a:cubicBezTo>
                    <a:cubicBezTo>
                      <a:pt x="1494081" y="2020283"/>
                      <a:pt x="1496869" y="2031938"/>
                      <a:pt x="1500923" y="2043339"/>
                    </a:cubicBezTo>
                    <a:cubicBezTo>
                      <a:pt x="1504469" y="2053347"/>
                      <a:pt x="1505229" y="2064368"/>
                      <a:pt x="1513210" y="2071969"/>
                    </a:cubicBezTo>
                    <a:cubicBezTo>
                      <a:pt x="1521951" y="2080204"/>
                      <a:pt x="1532593" y="2082737"/>
                      <a:pt x="1538167" y="2094392"/>
                    </a:cubicBezTo>
                    <a:cubicBezTo>
                      <a:pt x="1543234" y="2104780"/>
                      <a:pt x="1542728" y="2117068"/>
                      <a:pt x="1547921" y="2127456"/>
                    </a:cubicBezTo>
                    <a:cubicBezTo>
                      <a:pt x="1554382" y="2140378"/>
                      <a:pt x="1566164" y="2149752"/>
                      <a:pt x="1572878" y="2162547"/>
                    </a:cubicBezTo>
                    <a:cubicBezTo>
                      <a:pt x="1579339" y="2174835"/>
                      <a:pt x="1578705" y="2186617"/>
                      <a:pt x="1580985" y="2199792"/>
                    </a:cubicBezTo>
                    <a:cubicBezTo>
                      <a:pt x="1582632" y="2209800"/>
                      <a:pt x="1587827" y="2217654"/>
                      <a:pt x="1591627" y="2226902"/>
                    </a:cubicBezTo>
                    <a:cubicBezTo>
                      <a:pt x="1601508" y="2249958"/>
                      <a:pt x="1598088" y="2284796"/>
                      <a:pt x="1594921" y="2309246"/>
                    </a:cubicBezTo>
                    <a:cubicBezTo>
                      <a:pt x="1592767" y="2325714"/>
                      <a:pt x="1592007" y="2342057"/>
                      <a:pt x="1589220" y="2358652"/>
                    </a:cubicBezTo>
                    <a:cubicBezTo>
                      <a:pt x="1586053" y="2378034"/>
                      <a:pt x="1582126" y="2397670"/>
                      <a:pt x="1586940" y="2417052"/>
                    </a:cubicBezTo>
                    <a:cubicBezTo>
                      <a:pt x="1589726" y="2428454"/>
                      <a:pt x="1596314" y="2437575"/>
                      <a:pt x="1600368" y="2448343"/>
                    </a:cubicBezTo>
                    <a:cubicBezTo>
                      <a:pt x="1602521" y="2452904"/>
                      <a:pt x="1603915" y="2457844"/>
                      <a:pt x="1604928" y="246278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34" name="Полилиния: фигура 433">
                <a:extLst>
                  <a:ext uri="{FF2B5EF4-FFF2-40B4-BE49-F238E27FC236}">
                    <a16:creationId xmlns:a16="http://schemas.microsoft.com/office/drawing/2014/main" id="{618CB166-AC06-43A0-8909-69441A78C9E0}"/>
                  </a:ext>
                </a:extLst>
              </p:cNvPr>
              <p:cNvSpPr/>
              <p:nvPr/>
            </p:nvSpPr>
            <p:spPr>
              <a:xfrm>
                <a:off x="11105100" y="5063833"/>
                <a:ext cx="43473" cy="57883"/>
              </a:xfrm>
              <a:custGeom>
                <a:avLst/>
                <a:gdLst>
                  <a:gd name="connsiteX0" fmla="*/ 9852 w 43473"/>
                  <a:gd name="connsiteY0" fmla="*/ 57356 h 57883"/>
                  <a:gd name="connsiteX1" fmla="*/ 1491 w 43473"/>
                  <a:gd name="connsiteY1" fmla="*/ 37213 h 57883"/>
                  <a:gd name="connsiteX2" fmla="*/ 13019 w 43473"/>
                  <a:gd name="connsiteY2" fmla="*/ 11116 h 57883"/>
                  <a:gd name="connsiteX3" fmla="*/ 35569 w 43473"/>
                  <a:gd name="connsiteY3" fmla="*/ 1362 h 57883"/>
                  <a:gd name="connsiteX4" fmla="*/ 43423 w 43473"/>
                  <a:gd name="connsiteY4" fmla="*/ 18211 h 57883"/>
                  <a:gd name="connsiteX5" fmla="*/ 35569 w 43473"/>
                  <a:gd name="connsiteY5" fmla="*/ 36960 h 57883"/>
                  <a:gd name="connsiteX6" fmla="*/ 21760 w 43473"/>
                  <a:gd name="connsiteY6" fmla="*/ 44561 h 57883"/>
                  <a:gd name="connsiteX7" fmla="*/ 9852 w 43473"/>
                  <a:gd name="connsiteY7" fmla="*/ 57356 h 57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73" h="57883">
                    <a:moveTo>
                      <a:pt x="9852" y="57356"/>
                    </a:moveTo>
                    <a:cubicBezTo>
                      <a:pt x="-3450" y="61029"/>
                      <a:pt x="97" y="44561"/>
                      <a:pt x="1491" y="37213"/>
                    </a:cubicBezTo>
                    <a:cubicBezTo>
                      <a:pt x="3391" y="26952"/>
                      <a:pt x="6938" y="19604"/>
                      <a:pt x="13019" y="11116"/>
                    </a:cubicBezTo>
                    <a:cubicBezTo>
                      <a:pt x="18086" y="4149"/>
                      <a:pt x="26193" y="-3072"/>
                      <a:pt x="35569" y="1362"/>
                    </a:cubicBezTo>
                    <a:cubicBezTo>
                      <a:pt x="42155" y="4402"/>
                      <a:pt x="43802" y="11497"/>
                      <a:pt x="43423" y="18211"/>
                    </a:cubicBezTo>
                    <a:cubicBezTo>
                      <a:pt x="43042" y="24165"/>
                      <a:pt x="41143" y="33793"/>
                      <a:pt x="35569" y="36960"/>
                    </a:cubicBezTo>
                    <a:cubicBezTo>
                      <a:pt x="31134" y="39494"/>
                      <a:pt x="25307" y="40760"/>
                      <a:pt x="21760" y="44561"/>
                    </a:cubicBezTo>
                    <a:cubicBezTo>
                      <a:pt x="17706" y="48995"/>
                      <a:pt x="16439" y="55455"/>
                      <a:pt x="9852" y="5735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35" name="Полилиния: фигура 434">
                <a:extLst>
                  <a:ext uri="{FF2B5EF4-FFF2-40B4-BE49-F238E27FC236}">
                    <a16:creationId xmlns:a16="http://schemas.microsoft.com/office/drawing/2014/main" id="{172BDC5A-CDE4-4978-A37A-8867E08F3E10}"/>
                  </a:ext>
                </a:extLst>
              </p:cNvPr>
              <p:cNvSpPr/>
              <p:nvPr/>
            </p:nvSpPr>
            <p:spPr>
              <a:xfrm>
                <a:off x="11164078" y="5015074"/>
                <a:ext cx="71899" cy="89715"/>
              </a:xfrm>
              <a:custGeom>
                <a:avLst/>
                <a:gdLst>
                  <a:gd name="connsiteX0" fmla="*/ 12821 w 71899"/>
                  <a:gd name="connsiteY0" fmla="*/ 71530 h 89715"/>
                  <a:gd name="connsiteX1" fmla="*/ 1673 w 71899"/>
                  <a:gd name="connsiteY1" fmla="*/ 74950 h 89715"/>
                  <a:gd name="connsiteX2" fmla="*/ 913 w 71899"/>
                  <a:gd name="connsiteY2" fmla="*/ 67729 h 89715"/>
                  <a:gd name="connsiteX3" fmla="*/ 6994 w 71899"/>
                  <a:gd name="connsiteY3" fmla="*/ 39353 h 89715"/>
                  <a:gd name="connsiteX4" fmla="*/ 12188 w 71899"/>
                  <a:gd name="connsiteY4" fmla="*/ 7936 h 89715"/>
                  <a:gd name="connsiteX5" fmla="*/ 33344 w 71899"/>
                  <a:gd name="connsiteY5" fmla="*/ 14016 h 89715"/>
                  <a:gd name="connsiteX6" fmla="*/ 51840 w 71899"/>
                  <a:gd name="connsiteY6" fmla="*/ 2488 h 89715"/>
                  <a:gd name="connsiteX7" fmla="*/ 71728 w 71899"/>
                  <a:gd name="connsiteY7" fmla="*/ 15916 h 89715"/>
                  <a:gd name="connsiteX8" fmla="*/ 58934 w 71899"/>
                  <a:gd name="connsiteY8" fmla="*/ 45307 h 89715"/>
                  <a:gd name="connsiteX9" fmla="*/ 68182 w 71899"/>
                  <a:gd name="connsiteY9" fmla="*/ 72417 h 89715"/>
                  <a:gd name="connsiteX10" fmla="*/ 64634 w 71899"/>
                  <a:gd name="connsiteY10" fmla="*/ 84958 h 89715"/>
                  <a:gd name="connsiteX11" fmla="*/ 57034 w 71899"/>
                  <a:gd name="connsiteY11" fmla="*/ 88379 h 89715"/>
                  <a:gd name="connsiteX12" fmla="*/ 49179 w 71899"/>
                  <a:gd name="connsiteY12" fmla="*/ 88632 h 89715"/>
                  <a:gd name="connsiteX13" fmla="*/ 44492 w 71899"/>
                  <a:gd name="connsiteY13" fmla="*/ 82678 h 89715"/>
                  <a:gd name="connsiteX14" fmla="*/ 32584 w 71899"/>
                  <a:gd name="connsiteY14" fmla="*/ 70896 h 89715"/>
                  <a:gd name="connsiteX15" fmla="*/ 12821 w 71899"/>
                  <a:gd name="connsiteY15" fmla="*/ 71530 h 8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9" h="89715">
                    <a:moveTo>
                      <a:pt x="12821" y="71530"/>
                    </a:moveTo>
                    <a:cubicBezTo>
                      <a:pt x="10288" y="72543"/>
                      <a:pt x="4587" y="76090"/>
                      <a:pt x="1673" y="74950"/>
                    </a:cubicBezTo>
                    <a:cubicBezTo>
                      <a:pt x="-1114" y="73810"/>
                      <a:pt x="280" y="70010"/>
                      <a:pt x="913" y="67729"/>
                    </a:cubicBezTo>
                    <a:cubicBezTo>
                      <a:pt x="3574" y="58102"/>
                      <a:pt x="6361" y="49234"/>
                      <a:pt x="6994" y="39353"/>
                    </a:cubicBezTo>
                    <a:cubicBezTo>
                      <a:pt x="7627" y="29091"/>
                      <a:pt x="7881" y="17437"/>
                      <a:pt x="12188" y="7936"/>
                    </a:cubicBezTo>
                    <a:cubicBezTo>
                      <a:pt x="17382" y="-3593"/>
                      <a:pt x="27516" y="9836"/>
                      <a:pt x="33344" y="14016"/>
                    </a:cubicBezTo>
                    <a:cubicBezTo>
                      <a:pt x="43605" y="21364"/>
                      <a:pt x="45252" y="7682"/>
                      <a:pt x="51840" y="2488"/>
                    </a:cubicBezTo>
                    <a:cubicBezTo>
                      <a:pt x="61087" y="-4860"/>
                      <a:pt x="73502" y="5402"/>
                      <a:pt x="71728" y="15916"/>
                    </a:cubicBezTo>
                    <a:cubicBezTo>
                      <a:pt x="69829" y="26811"/>
                      <a:pt x="57540" y="33398"/>
                      <a:pt x="58934" y="45307"/>
                    </a:cubicBezTo>
                    <a:cubicBezTo>
                      <a:pt x="60074" y="55061"/>
                      <a:pt x="67928" y="62156"/>
                      <a:pt x="68182" y="72417"/>
                    </a:cubicBezTo>
                    <a:cubicBezTo>
                      <a:pt x="68308" y="76470"/>
                      <a:pt x="67928" y="82044"/>
                      <a:pt x="64634" y="84958"/>
                    </a:cubicBezTo>
                    <a:cubicBezTo>
                      <a:pt x="62608" y="86858"/>
                      <a:pt x="59441" y="87112"/>
                      <a:pt x="57034" y="88379"/>
                    </a:cubicBezTo>
                    <a:cubicBezTo>
                      <a:pt x="54627" y="89772"/>
                      <a:pt x="51840" y="90406"/>
                      <a:pt x="49179" y="88632"/>
                    </a:cubicBezTo>
                    <a:cubicBezTo>
                      <a:pt x="47279" y="87365"/>
                      <a:pt x="45885" y="84578"/>
                      <a:pt x="44492" y="82678"/>
                    </a:cubicBezTo>
                    <a:cubicBezTo>
                      <a:pt x="41198" y="78244"/>
                      <a:pt x="37904" y="72923"/>
                      <a:pt x="32584" y="70896"/>
                    </a:cubicBezTo>
                    <a:cubicBezTo>
                      <a:pt x="25617" y="68363"/>
                      <a:pt x="19789" y="68870"/>
                      <a:pt x="12821" y="7153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36" name="Полилиния: фигура 435">
                <a:extLst>
                  <a:ext uri="{FF2B5EF4-FFF2-40B4-BE49-F238E27FC236}">
                    <a16:creationId xmlns:a16="http://schemas.microsoft.com/office/drawing/2014/main" id="{E0D43E14-7240-4E8E-B9D2-0C999F771569}"/>
                  </a:ext>
                </a:extLst>
              </p:cNvPr>
              <p:cNvSpPr/>
              <p:nvPr/>
            </p:nvSpPr>
            <p:spPr>
              <a:xfrm>
                <a:off x="11220290" y="5124523"/>
                <a:ext cx="13965" cy="17343"/>
              </a:xfrm>
              <a:custGeom>
                <a:avLst/>
                <a:gdLst>
                  <a:gd name="connsiteX0" fmla="*/ 3356 w 13965"/>
                  <a:gd name="connsiteY0" fmla="*/ 16428 h 17343"/>
                  <a:gd name="connsiteX1" fmla="*/ 62 w 13965"/>
                  <a:gd name="connsiteY1" fmla="*/ 6419 h 17343"/>
                  <a:gd name="connsiteX2" fmla="*/ 12350 w 13965"/>
                  <a:gd name="connsiteY2" fmla="*/ 2239 h 17343"/>
                  <a:gd name="connsiteX3" fmla="*/ 13237 w 13965"/>
                  <a:gd name="connsiteY3" fmla="*/ 12374 h 17343"/>
                  <a:gd name="connsiteX4" fmla="*/ 3356 w 13965"/>
                  <a:gd name="connsiteY4" fmla="*/ 16428 h 17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65" h="17343">
                    <a:moveTo>
                      <a:pt x="3356" y="16428"/>
                    </a:moveTo>
                    <a:cubicBezTo>
                      <a:pt x="1076" y="14781"/>
                      <a:pt x="-318" y="9207"/>
                      <a:pt x="62" y="6419"/>
                    </a:cubicBezTo>
                    <a:cubicBezTo>
                      <a:pt x="822" y="1099"/>
                      <a:pt x="8803" y="-2575"/>
                      <a:pt x="12350" y="2239"/>
                    </a:cubicBezTo>
                    <a:cubicBezTo>
                      <a:pt x="14251" y="4899"/>
                      <a:pt x="14377" y="9460"/>
                      <a:pt x="13237" y="12374"/>
                    </a:cubicBezTo>
                    <a:cubicBezTo>
                      <a:pt x="12097" y="15794"/>
                      <a:pt x="6650" y="18961"/>
                      <a:pt x="3356" y="1642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37" name="Полилиния: фигура 436">
                <a:extLst>
                  <a:ext uri="{FF2B5EF4-FFF2-40B4-BE49-F238E27FC236}">
                    <a16:creationId xmlns:a16="http://schemas.microsoft.com/office/drawing/2014/main" id="{A1AC3E9D-D271-4068-B445-7C7646C5144E}"/>
                  </a:ext>
                </a:extLst>
              </p:cNvPr>
              <p:cNvSpPr/>
              <p:nvPr/>
            </p:nvSpPr>
            <p:spPr>
              <a:xfrm>
                <a:off x="11247402" y="5120274"/>
                <a:ext cx="18168" cy="10816"/>
              </a:xfrm>
              <a:custGeom>
                <a:avLst/>
                <a:gdLst>
                  <a:gd name="connsiteX0" fmla="*/ 440 w 18168"/>
                  <a:gd name="connsiteY0" fmla="*/ 7502 h 10816"/>
                  <a:gd name="connsiteX1" fmla="*/ 3101 w 18168"/>
                  <a:gd name="connsiteY1" fmla="*/ 661 h 10816"/>
                  <a:gd name="connsiteX2" fmla="*/ 17416 w 18168"/>
                  <a:gd name="connsiteY2" fmla="*/ 3701 h 10816"/>
                  <a:gd name="connsiteX3" fmla="*/ 440 w 18168"/>
                  <a:gd name="connsiteY3" fmla="*/ 7502 h 10816"/>
                </a:gdLst>
                <a:ahLst/>
                <a:cxnLst>
                  <a:cxn ang="0">
                    <a:pos x="connsiteX0" y="connsiteY0"/>
                  </a:cxn>
                  <a:cxn ang="0">
                    <a:pos x="connsiteX1" y="connsiteY1"/>
                  </a:cxn>
                  <a:cxn ang="0">
                    <a:pos x="connsiteX2" y="connsiteY2"/>
                  </a:cxn>
                  <a:cxn ang="0">
                    <a:pos x="connsiteX3" y="connsiteY3"/>
                  </a:cxn>
                </a:cxnLst>
                <a:rect l="l" t="t" r="r" b="b"/>
                <a:pathLst>
                  <a:path w="18168" h="10816">
                    <a:moveTo>
                      <a:pt x="440" y="7502"/>
                    </a:moveTo>
                    <a:cubicBezTo>
                      <a:pt x="-827" y="5095"/>
                      <a:pt x="820" y="1674"/>
                      <a:pt x="3101" y="661"/>
                    </a:cubicBezTo>
                    <a:cubicBezTo>
                      <a:pt x="6521" y="-859"/>
                      <a:pt x="15388" y="281"/>
                      <a:pt x="17416" y="3701"/>
                    </a:cubicBezTo>
                    <a:cubicBezTo>
                      <a:pt x="22103" y="11682"/>
                      <a:pt x="3480" y="12949"/>
                      <a:pt x="440" y="750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38" name="Полилиния: фигура 437">
                <a:extLst>
                  <a:ext uri="{FF2B5EF4-FFF2-40B4-BE49-F238E27FC236}">
                    <a16:creationId xmlns:a16="http://schemas.microsoft.com/office/drawing/2014/main" id="{2740B743-9A40-4F5A-B318-37C25D791F28}"/>
                  </a:ext>
                </a:extLst>
              </p:cNvPr>
              <p:cNvSpPr/>
              <p:nvPr/>
            </p:nvSpPr>
            <p:spPr>
              <a:xfrm>
                <a:off x="11235047" y="4984955"/>
                <a:ext cx="14956" cy="18636"/>
              </a:xfrm>
              <a:custGeom>
                <a:avLst/>
                <a:gdLst>
                  <a:gd name="connsiteX0" fmla="*/ 5321 w 14956"/>
                  <a:gd name="connsiteY0" fmla="*/ 17785 h 18636"/>
                  <a:gd name="connsiteX1" fmla="*/ 0 w 14956"/>
                  <a:gd name="connsiteY1" fmla="*/ 9551 h 18636"/>
                  <a:gd name="connsiteX2" fmla="*/ 10261 w 14956"/>
                  <a:gd name="connsiteY2" fmla="*/ 430 h 18636"/>
                  <a:gd name="connsiteX3" fmla="*/ 5321 w 14956"/>
                  <a:gd name="connsiteY3" fmla="*/ 17785 h 18636"/>
                </a:gdLst>
                <a:ahLst/>
                <a:cxnLst>
                  <a:cxn ang="0">
                    <a:pos x="connsiteX0" y="connsiteY0"/>
                  </a:cxn>
                  <a:cxn ang="0">
                    <a:pos x="connsiteX1" y="connsiteY1"/>
                  </a:cxn>
                  <a:cxn ang="0">
                    <a:pos x="connsiteX2" y="connsiteY2"/>
                  </a:cxn>
                  <a:cxn ang="0">
                    <a:pos x="connsiteX3" y="connsiteY3"/>
                  </a:cxn>
                </a:cxnLst>
                <a:rect l="l" t="t" r="r" b="b"/>
                <a:pathLst>
                  <a:path w="14956" h="18636">
                    <a:moveTo>
                      <a:pt x="5321" y="17785"/>
                    </a:moveTo>
                    <a:cubicBezTo>
                      <a:pt x="2407" y="16265"/>
                      <a:pt x="0" y="12844"/>
                      <a:pt x="0" y="9551"/>
                    </a:cubicBezTo>
                    <a:cubicBezTo>
                      <a:pt x="127" y="5497"/>
                      <a:pt x="5828" y="-1851"/>
                      <a:pt x="10261" y="430"/>
                    </a:cubicBezTo>
                    <a:cubicBezTo>
                      <a:pt x="18876" y="4737"/>
                      <a:pt x="14696" y="22726"/>
                      <a:pt x="5321" y="1778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nvGrpSpPr>
            <p:cNvPr id="439" name="Рисунок 388">
              <a:extLst>
                <a:ext uri="{FF2B5EF4-FFF2-40B4-BE49-F238E27FC236}">
                  <a16:creationId xmlns:a16="http://schemas.microsoft.com/office/drawing/2014/main" id="{1DA397FD-DC6E-439E-BB40-D0F80476817D}"/>
                </a:ext>
              </a:extLst>
            </p:cNvPr>
            <p:cNvGrpSpPr/>
            <p:nvPr/>
          </p:nvGrpSpPr>
          <p:grpSpPr>
            <a:xfrm>
              <a:off x="11633677" y="4345737"/>
              <a:ext cx="1654444" cy="1793566"/>
              <a:chOff x="11633677" y="4345737"/>
              <a:chExt cx="1654444" cy="1793566"/>
            </a:xfrm>
            <a:solidFill>
              <a:srgbClr val="E3E8EC"/>
            </a:solidFill>
          </p:grpSpPr>
          <p:sp>
            <p:nvSpPr>
              <p:cNvPr id="440" name="Полилиния: фигура 439">
                <a:extLst>
                  <a:ext uri="{FF2B5EF4-FFF2-40B4-BE49-F238E27FC236}">
                    <a16:creationId xmlns:a16="http://schemas.microsoft.com/office/drawing/2014/main" id="{4547FCFE-24C9-4243-AAC0-636A19538FD8}"/>
                  </a:ext>
                </a:extLst>
              </p:cNvPr>
              <p:cNvSpPr/>
              <p:nvPr/>
            </p:nvSpPr>
            <p:spPr>
              <a:xfrm>
                <a:off x="11633677" y="4856196"/>
                <a:ext cx="936287" cy="1240081"/>
              </a:xfrm>
              <a:custGeom>
                <a:avLst/>
                <a:gdLst>
                  <a:gd name="connsiteX0" fmla="*/ 442669 w 936287"/>
                  <a:gd name="connsiteY0" fmla="*/ 692799 h 1240081"/>
                  <a:gd name="connsiteX1" fmla="*/ 421006 w 936287"/>
                  <a:gd name="connsiteY1" fmla="*/ 662142 h 1240081"/>
                  <a:gd name="connsiteX2" fmla="*/ 396050 w 936287"/>
                  <a:gd name="connsiteY2" fmla="*/ 633132 h 1240081"/>
                  <a:gd name="connsiteX3" fmla="*/ 371726 w 936287"/>
                  <a:gd name="connsiteY3" fmla="*/ 598294 h 1240081"/>
                  <a:gd name="connsiteX4" fmla="*/ 352724 w 936287"/>
                  <a:gd name="connsiteY4" fmla="*/ 569410 h 1240081"/>
                  <a:gd name="connsiteX5" fmla="*/ 337523 w 936287"/>
                  <a:gd name="connsiteY5" fmla="*/ 540146 h 1240081"/>
                  <a:gd name="connsiteX6" fmla="*/ 322574 w 936287"/>
                  <a:gd name="connsiteY6" fmla="*/ 513797 h 1240081"/>
                  <a:gd name="connsiteX7" fmla="*/ 310286 w 936287"/>
                  <a:gd name="connsiteY7" fmla="*/ 485040 h 1240081"/>
                  <a:gd name="connsiteX8" fmla="*/ 244791 w 936287"/>
                  <a:gd name="connsiteY8" fmla="*/ 466544 h 1240081"/>
                  <a:gd name="connsiteX9" fmla="*/ 219328 w 936287"/>
                  <a:gd name="connsiteY9" fmla="*/ 454256 h 1240081"/>
                  <a:gd name="connsiteX10" fmla="*/ 216921 w 936287"/>
                  <a:gd name="connsiteY10" fmla="*/ 426006 h 1240081"/>
                  <a:gd name="connsiteX11" fmla="*/ 188037 w 936287"/>
                  <a:gd name="connsiteY11" fmla="*/ 420432 h 1240081"/>
                  <a:gd name="connsiteX12" fmla="*/ 174862 w 936287"/>
                  <a:gd name="connsiteY12" fmla="*/ 394462 h 1240081"/>
                  <a:gd name="connsiteX13" fmla="*/ 161054 w 936287"/>
                  <a:gd name="connsiteY13" fmla="*/ 374446 h 1240081"/>
                  <a:gd name="connsiteX14" fmla="*/ 148259 w 936287"/>
                  <a:gd name="connsiteY14" fmla="*/ 350376 h 1240081"/>
                  <a:gd name="connsiteX15" fmla="*/ 122288 w 936287"/>
                  <a:gd name="connsiteY15" fmla="*/ 287288 h 1240081"/>
                  <a:gd name="connsiteX16" fmla="*/ 94038 w 936287"/>
                  <a:gd name="connsiteY16" fmla="*/ 240289 h 1240081"/>
                  <a:gd name="connsiteX17" fmla="*/ 71869 w 936287"/>
                  <a:gd name="connsiteY17" fmla="*/ 225594 h 1240081"/>
                  <a:gd name="connsiteX18" fmla="*/ 59074 w 936287"/>
                  <a:gd name="connsiteY18" fmla="*/ 203044 h 1240081"/>
                  <a:gd name="connsiteX19" fmla="*/ 48053 w 936287"/>
                  <a:gd name="connsiteY19" fmla="*/ 182649 h 1240081"/>
                  <a:gd name="connsiteX20" fmla="*/ 59454 w 936287"/>
                  <a:gd name="connsiteY20" fmla="*/ 152118 h 1240081"/>
                  <a:gd name="connsiteX21" fmla="*/ 71363 w 936287"/>
                  <a:gd name="connsiteY21" fmla="*/ 160733 h 1240081"/>
                  <a:gd name="connsiteX22" fmla="*/ 96826 w 936287"/>
                  <a:gd name="connsiteY22" fmla="*/ 149711 h 1240081"/>
                  <a:gd name="connsiteX23" fmla="*/ 86817 w 936287"/>
                  <a:gd name="connsiteY23" fmla="*/ 106006 h 1240081"/>
                  <a:gd name="connsiteX24" fmla="*/ 71742 w 936287"/>
                  <a:gd name="connsiteY24" fmla="*/ 74208 h 1240081"/>
                  <a:gd name="connsiteX25" fmla="*/ 38172 w 936287"/>
                  <a:gd name="connsiteY25" fmla="*/ 57233 h 1240081"/>
                  <a:gd name="connsiteX26" fmla="*/ 1560 w 936287"/>
                  <a:gd name="connsiteY26" fmla="*/ 24422 h 1240081"/>
                  <a:gd name="connsiteX27" fmla="*/ 27784 w 936287"/>
                  <a:gd name="connsiteY27" fmla="*/ 26702 h 1240081"/>
                  <a:gd name="connsiteX28" fmla="*/ 31457 w 936287"/>
                  <a:gd name="connsiteY28" fmla="*/ 3773 h 1240081"/>
                  <a:gd name="connsiteX29" fmla="*/ 74403 w 936287"/>
                  <a:gd name="connsiteY29" fmla="*/ 13908 h 1240081"/>
                  <a:gd name="connsiteX30" fmla="*/ 91885 w 936287"/>
                  <a:gd name="connsiteY30" fmla="*/ 51025 h 1240081"/>
                  <a:gd name="connsiteX31" fmla="*/ 129636 w 936287"/>
                  <a:gd name="connsiteY31" fmla="*/ 84850 h 1240081"/>
                  <a:gd name="connsiteX32" fmla="*/ 170555 w 936287"/>
                  <a:gd name="connsiteY32" fmla="*/ 105372 h 1240081"/>
                  <a:gd name="connsiteX33" fmla="*/ 186137 w 936287"/>
                  <a:gd name="connsiteY33" fmla="*/ 123615 h 1240081"/>
                  <a:gd name="connsiteX34" fmla="*/ 173215 w 936287"/>
                  <a:gd name="connsiteY34" fmla="*/ 150725 h 1240081"/>
                  <a:gd name="connsiteX35" fmla="*/ 211473 w 936287"/>
                  <a:gd name="connsiteY35" fmla="*/ 168587 h 1240081"/>
                  <a:gd name="connsiteX36" fmla="*/ 270380 w 936287"/>
                  <a:gd name="connsiteY36" fmla="*/ 194430 h 1240081"/>
                  <a:gd name="connsiteX37" fmla="*/ 278235 w 936287"/>
                  <a:gd name="connsiteY37" fmla="*/ 213813 h 1240081"/>
                  <a:gd name="connsiteX38" fmla="*/ 285203 w 936287"/>
                  <a:gd name="connsiteY38" fmla="*/ 235348 h 1240081"/>
                  <a:gd name="connsiteX39" fmla="*/ 262146 w 936287"/>
                  <a:gd name="connsiteY39" fmla="*/ 234208 h 1240081"/>
                  <a:gd name="connsiteX40" fmla="*/ 259739 w 936287"/>
                  <a:gd name="connsiteY40" fmla="*/ 256758 h 1240081"/>
                  <a:gd name="connsiteX41" fmla="*/ 282415 w 936287"/>
                  <a:gd name="connsiteY41" fmla="*/ 271327 h 1240081"/>
                  <a:gd name="connsiteX42" fmla="*/ 296097 w 936287"/>
                  <a:gd name="connsiteY42" fmla="*/ 292862 h 1240081"/>
                  <a:gd name="connsiteX43" fmla="*/ 305852 w 936287"/>
                  <a:gd name="connsiteY43" fmla="*/ 316299 h 1240081"/>
                  <a:gd name="connsiteX44" fmla="*/ 334482 w 936287"/>
                  <a:gd name="connsiteY44" fmla="*/ 326560 h 1240081"/>
                  <a:gd name="connsiteX45" fmla="*/ 383382 w 936287"/>
                  <a:gd name="connsiteY45" fmla="*/ 352783 h 1240081"/>
                  <a:gd name="connsiteX46" fmla="*/ 399217 w 936287"/>
                  <a:gd name="connsiteY46" fmla="*/ 393955 h 1240081"/>
                  <a:gd name="connsiteX47" fmla="*/ 426834 w 936287"/>
                  <a:gd name="connsiteY47" fmla="*/ 382427 h 1240081"/>
                  <a:gd name="connsiteX48" fmla="*/ 452930 w 936287"/>
                  <a:gd name="connsiteY48" fmla="*/ 411311 h 1240081"/>
                  <a:gd name="connsiteX49" fmla="*/ 482321 w 936287"/>
                  <a:gd name="connsiteY49" fmla="*/ 438547 h 1240081"/>
                  <a:gd name="connsiteX50" fmla="*/ 511077 w 936287"/>
                  <a:gd name="connsiteY50" fmla="*/ 468698 h 1240081"/>
                  <a:gd name="connsiteX51" fmla="*/ 549082 w 936287"/>
                  <a:gd name="connsiteY51" fmla="*/ 499861 h 1240081"/>
                  <a:gd name="connsiteX52" fmla="*/ 571378 w 936287"/>
                  <a:gd name="connsiteY52" fmla="*/ 510883 h 1240081"/>
                  <a:gd name="connsiteX53" fmla="*/ 588100 w 936287"/>
                  <a:gd name="connsiteY53" fmla="*/ 525832 h 1240081"/>
                  <a:gd name="connsiteX54" fmla="*/ 615717 w 936287"/>
                  <a:gd name="connsiteY54" fmla="*/ 551548 h 1240081"/>
                  <a:gd name="connsiteX55" fmla="*/ 630919 w 936287"/>
                  <a:gd name="connsiteY55" fmla="*/ 582585 h 1240081"/>
                  <a:gd name="connsiteX56" fmla="*/ 649288 w 936287"/>
                  <a:gd name="connsiteY56" fmla="*/ 585879 h 1240081"/>
                  <a:gd name="connsiteX57" fmla="*/ 670571 w 936287"/>
                  <a:gd name="connsiteY57" fmla="*/ 593100 h 1240081"/>
                  <a:gd name="connsiteX58" fmla="*/ 706042 w 936287"/>
                  <a:gd name="connsiteY58" fmla="*/ 618817 h 1240081"/>
                  <a:gd name="connsiteX59" fmla="*/ 749620 w 936287"/>
                  <a:gd name="connsiteY59" fmla="*/ 623884 h 1240081"/>
                  <a:gd name="connsiteX60" fmla="*/ 772677 w 936287"/>
                  <a:gd name="connsiteY60" fmla="*/ 657581 h 1240081"/>
                  <a:gd name="connsiteX61" fmla="*/ 723270 w 936287"/>
                  <a:gd name="connsiteY61" fmla="*/ 657835 h 1240081"/>
                  <a:gd name="connsiteX62" fmla="*/ 674878 w 936287"/>
                  <a:gd name="connsiteY62" fmla="*/ 651374 h 1240081"/>
                  <a:gd name="connsiteX63" fmla="*/ 603556 w 936287"/>
                  <a:gd name="connsiteY63" fmla="*/ 686465 h 1240081"/>
                  <a:gd name="connsiteX64" fmla="*/ 611663 w 936287"/>
                  <a:gd name="connsiteY64" fmla="*/ 736631 h 1240081"/>
                  <a:gd name="connsiteX65" fmla="*/ 629779 w 936287"/>
                  <a:gd name="connsiteY65" fmla="*/ 799846 h 1240081"/>
                  <a:gd name="connsiteX66" fmla="*/ 640927 w 936287"/>
                  <a:gd name="connsiteY66" fmla="*/ 837090 h 1240081"/>
                  <a:gd name="connsiteX67" fmla="*/ 661450 w 936287"/>
                  <a:gd name="connsiteY67" fmla="*/ 873575 h 1240081"/>
                  <a:gd name="connsiteX68" fmla="*/ 699834 w 936287"/>
                  <a:gd name="connsiteY68" fmla="*/ 950851 h 1240081"/>
                  <a:gd name="connsiteX69" fmla="*/ 785725 w 936287"/>
                  <a:gd name="connsiteY69" fmla="*/ 993290 h 1240081"/>
                  <a:gd name="connsiteX70" fmla="*/ 862241 w 936287"/>
                  <a:gd name="connsiteY70" fmla="*/ 1043076 h 1240081"/>
                  <a:gd name="connsiteX71" fmla="*/ 863635 w 936287"/>
                  <a:gd name="connsiteY71" fmla="*/ 1000004 h 1240081"/>
                  <a:gd name="connsiteX72" fmla="*/ 898093 w 936287"/>
                  <a:gd name="connsiteY72" fmla="*/ 1028254 h 1240081"/>
                  <a:gd name="connsiteX73" fmla="*/ 925202 w 936287"/>
                  <a:gd name="connsiteY73" fmla="*/ 1063472 h 1240081"/>
                  <a:gd name="connsiteX74" fmla="*/ 936097 w 936287"/>
                  <a:gd name="connsiteY74" fmla="*/ 1103630 h 1240081"/>
                  <a:gd name="connsiteX75" fmla="*/ 913421 w 936287"/>
                  <a:gd name="connsiteY75" fmla="*/ 1096156 h 1240081"/>
                  <a:gd name="connsiteX76" fmla="*/ 874403 w 936287"/>
                  <a:gd name="connsiteY76" fmla="*/ 1078294 h 1240081"/>
                  <a:gd name="connsiteX77" fmla="*/ 834371 w 936287"/>
                  <a:gd name="connsiteY77" fmla="*/ 1095649 h 1240081"/>
                  <a:gd name="connsiteX78" fmla="*/ 806248 w 936287"/>
                  <a:gd name="connsiteY78" fmla="*/ 1109964 h 1240081"/>
                  <a:gd name="connsiteX79" fmla="*/ 814102 w 936287"/>
                  <a:gd name="connsiteY79" fmla="*/ 1170392 h 1240081"/>
                  <a:gd name="connsiteX80" fmla="*/ 835638 w 936287"/>
                  <a:gd name="connsiteY80" fmla="*/ 1228286 h 1240081"/>
                  <a:gd name="connsiteX81" fmla="*/ 803587 w 936287"/>
                  <a:gd name="connsiteY81" fmla="*/ 1226639 h 1240081"/>
                  <a:gd name="connsiteX82" fmla="*/ 749620 w 936287"/>
                  <a:gd name="connsiteY82" fmla="*/ 1185974 h 1240081"/>
                  <a:gd name="connsiteX83" fmla="*/ 735686 w 936287"/>
                  <a:gd name="connsiteY83" fmla="*/ 1158230 h 1240081"/>
                  <a:gd name="connsiteX84" fmla="*/ 724664 w 936287"/>
                  <a:gd name="connsiteY84" fmla="*/ 1102743 h 1240081"/>
                  <a:gd name="connsiteX85" fmla="*/ 711489 w 936287"/>
                  <a:gd name="connsiteY85" fmla="*/ 1066639 h 1240081"/>
                  <a:gd name="connsiteX86" fmla="*/ 671584 w 936287"/>
                  <a:gd name="connsiteY86" fmla="*/ 1019640 h 1240081"/>
                  <a:gd name="connsiteX87" fmla="*/ 643334 w 936287"/>
                  <a:gd name="connsiteY87" fmla="*/ 974668 h 1240081"/>
                  <a:gd name="connsiteX88" fmla="*/ 633072 w 936287"/>
                  <a:gd name="connsiteY88" fmla="*/ 947051 h 1240081"/>
                  <a:gd name="connsiteX89" fmla="*/ 615084 w 936287"/>
                  <a:gd name="connsiteY89" fmla="*/ 919687 h 1240081"/>
                  <a:gd name="connsiteX90" fmla="*/ 575305 w 936287"/>
                  <a:gd name="connsiteY90" fmla="*/ 876869 h 1240081"/>
                  <a:gd name="connsiteX91" fmla="*/ 537554 w 936287"/>
                  <a:gd name="connsiteY91" fmla="*/ 848745 h 1240081"/>
                  <a:gd name="connsiteX92" fmla="*/ 510571 w 936287"/>
                  <a:gd name="connsiteY92" fmla="*/ 813781 h 1240081"/>
                  <a:gd name="connsiteX93" fmla="*/ 493342 w 936287"/>
                  <a:gd name="connsiteY93" fmla="*/ 770962 h 1240081"/>
                  <a:gd name="connsiteX94" fmla="*/ 468259 w 936287"/>
                  <a:gd name="connsiteY94" fmla="*/ 725483 h 1240081"/>
                  <a:gd name="connsiteX95" fmla="*/ 442669 w 936287"/>
                  <a:gd name="connsiteY95" fmla="*/ 692799 h 12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36287" h="1240081">
                    <a:moveTo>
                      <a:pt x="442669" y="692799"/>
                    </a:moveTo>
                    <a:cubicBezTo>
                      <a:pt x="436588" y="680764"/>
                      <a:pt x="430254" y="671643"/>
                      <a:pt x="421006" y="662142"/>
                    </a:cubicBezTo>
                    <a:cubicBezTo>
                      <a:pt x="412265" y="653021"/>
                      <a:pt x="402764" y="644026"/>
                      <a:pt x="396050" y="633132"/>
                    </a:cubicBezTo>
                    <a:cubicBezTo>
                      <a:pt x="388448" y="620970"/>
                      <a:pt x="379834" y="610075"/>
                      <a:pt x="371726" y="598294"/>
                    </a:cubicBezTo>
                    <a:cubicBezTo>
                      <a:pt x="365266" y="588919"/>
                      <a:pt x="358298" y="579418"/>
                      <a:pt x="352724" y="569410"/>
                    </a:cubicBezTo>
                    <a:cubicBezTo>
                      <a:pt x="347277" y="559402"/>
                      <a:pt x="344490" y="549268"/>
                      <a:pt x="337523" y="540146"/>
                    </a:cubicBezTo>
                    <a:cubicBezTo>
                      <a:pt x="331062" y="531659"/>
                      <a:pt x="324980" y="524438"/>
                      <a:pt x="322574" y="513797"/>
                    </a:cubicBezTo>
                    <a:cubicBezTo>
                      <a:pt x="320167" y="503029"/>
                      <a:pt x="316620" y="494287"/>
                      <a:pt x="310286" y="485040"/>
                    </a:cubicBezTo>
                    <a:cubicBezTo>
                      <a:pt x="295717" y="464011"/>
                      <a:pt x="267340" y="471485"/>
                      <a:pt x="244791" y="466544"/>
                    </a:cubicBezTo>
                    <a:cubicBezTo>
                      <a:pt x="236429" y="464644"/>
                      <a:pt x="224775" y="461984"/>
                      <a:pt x="219328" y="454256"/>
                    </a:cubicBezTo>
                    <a:cubicBezTo>
                      <a:pt x="214640" y="447668"/>
                      <a:pt x="216667" y="433987"/>
                      <a:pt x="216921" y="426006"/>
                    </a:cubicBezTo>
                    <a:cubicBezTo>
                      <a:pt x="205012" y="424992"/>
                      <a:pt x="197412" y="429046"/>
                      <a:pt x="188037" y="420432"/>
                    </a:cubicBezTo>
                    <a:cubicBezTo>
                      <a:pt x="179930" y="412831"/>
                      <a:pt x="177523" y="404976"/>
                      <a:pt x="174862" y="394462"/>
                    </a:cubicBezTo>
                    <a:cubicBezTo>
                      <a:pt x="172201" y="384074"/>
                      <a:pt x="168655" y="381540"/>
                      <a:pt x="161054" y="374446"/>
                    </a:cubicBezTo>
                    <a:cubicBezTo>
                      <a:pt x="153833" y="367605"/>
                      <a:pt x="150919" y="359877"/>
                      <a:pt x="148259" y="350376"/>
                    </a:cubicBezTo>
                    <a:cubicBezTo>
                      <a:pt x="142178" y="328460"/>
                      <a:pt x="128496" y="309204"/>
                      <a:pt x="122288" y="287288"/>
                    </a:cubicBezTo>
                    <a:cubicBezTo>
                      <a:pt x="116968" y="268413"/>
                      <a:pt x="113674" y="249537"/>
                      <a:pt x="94038" y="240289"/>
                    </a:cubicBezTo>
                    <a:cubicBezTo>
                      <a:pt x="85931" y="236489"/>
                      <a:pt x="77570" y="232815"/>
                      <a:pt x="71869" y="225594"/>
                    </a:cubicBezTo>
                    <a:cubicBezTo>
                      <a:pt x="66422" y="218753"/>
                      <a:pt x="64142" y="210012"/>
                      <a:pt x="59074" y="203044"/>
                    </a:cubicBezTo>
                    <a:cubicBezTo>
                      <a:pt x="54260" y="196330"/>
                      <a:pt x="49953" y="191390"/>
                      <a:pt x="48053" y="182649"/>
                    </a:cubicBezTo>
                    <a:cubicBezTo>
                      <a:pt x="46026" y="173528"/>
                      <a:pt x="48433" y="155412"/>
                      <a:pt x="59454" y="152118"/>
                    </a:cubicBezTo>
                    <a:cubicBezTo>
                      <a:pt x="65662" y="150218"/>
                      <a:pt x="67942" y="156805"/>
                      <a:pt x="71363" y="160733"/>
                    </a:cubicBezTo>
                    <a:cubicBezTo>
                      <a:pt x="80991" y="171881"/>
                      <a:pt x="94925" y="160733"/>
                      <a:pt x="96826" y="149711"/>
                    </a:cubicBezTo>
                    <a:cubicBezTo>
                      <a:pt x="99359" y="134636"/>
                      <a:pt x="90871" y="119941"/>
                      <a:pt x="86817" y="106006"/>
                    </a:cubicBezTo>
                    <a:cubicBezTo>
                      <a:pt x="83524" y="94731"/>
                      <a:pt x="80991" y="82316"/>
                      <a:pt x="71742" y="74208"/>
                    </a:cubicBezTo>
                    <a:cubicBezTo>
                      <a:pt x="62368" y="66101"/>
                      <a:pt x="49193" y="62554"/>
                      <a:pt x="38172" y="57233"/>
                    </a:cubicBezTo>
                    <a:cubicBezTo>
                      <a:pt x="31711" y="54193"/>
                      <a:pt x="-8321" y="35443"/>
                      <a:pt x="1560" y="24422"/>
                    </a:cubicBezTo>
                    <a:cubicBezTo>
                      <a:pt x="7641" y="17708"/>
                      <a:pt x="20436" y="28096"/>
                      <a:pt x="27784" y="26702"/>
                    </a:cubicBezTo>
                    <a:cubicBezTo>
                      <a:pt x="28797" y="19102"/>
                      <a:pt x="24743" y="8967"/>
                      <a:pt x="31457" y="3773"/>
                    </a:cubicBezTo>
                    <a:cubicBezTo>
                      <a:pt x="42479" y="-4968"/>
                      <a:pt x="67435" y="2759"/>
                      <a:pt x="74403" y="13908"/>
                    </a:cubicBezTo>
                    <a:cubicBezTo>
                      <a:pt x="82257" y="26702"/>
                      <a:pt x="80610" y="40511"/>
                      <a:pt x="91885" y="51025"/>
                    </a:cubicBezTo>
                    <a:cubicBezTo>
                      <a:pt x="104426" y="62807"/>
                      <a:pt x="114815" y="75729"/>
                      <a:pt x="129636" y="84850"/>
                    </a:cubicBezTo>
                    <a:cubicBezTo>
                      <a:pt x="142685" y="92957"/>
                      <a:pt x="156620" y="99038"/>
                      <a:pt x="170555" y="105372"/>
                    </a:cubicBezTo>
                    <a:cubicBezTo>
                      <a:pt x="179043" y="109426"/>
                      <a:pt x="191078" y="112847"/>
                      <a:pt x="186137" y="123615"/>
                    </a:cubicBezTo>
                    <a:cubicBezTo>
                      <a:pt x="181956" y="132736"/>
                      <a:pt x="169034" y="138816"/>
                      <a:pt x="173215" y="150725"/>
                    </a:cubicBezTo>
                    <a:cubicBezTo>
                      <a:pt x="177902" y="164026"/>
                      <a:pt x="199819" y="166687"/>
                      <a:pt x="211473" y="168587"/>
                    </a:cubicBezTo>
                    <a:cubicBezTo>
                      <a:pt x="232123" y="172007"/>
                      <a:pt x="259233" y="172641"/>
                      <a:pt x="270380" y="194430"/>
                    </a:cubicBezTo>
                    <a:cubicBezTo>
                      <a:pt x="273547" y="200637"/>
                      <a:pt x="275068" y="207605"/>
                      <a:pt x="278235" y="213813"/>
                    </a:cubicBezTo>
                    <a:cubicBezTo>
                      <a:pt x="281655" y="220527"/>
                      <a:pt x="286469" y="227368"/>
                      <a:pt x="285203" y="235348"/>
                    </a:cubicBezTo>
                    <a:cubicBezTo>
                      <a:pt x="278742" y="235475"/>
                      <a:pt x="267973" y="231168"/>
                      <a:pt x="262146" y="234208"/>
                    </a:cubicBezTo>
                    <a:cubicBezTo>
                      <a:pt x="254672" y="238135"/>
                      <a:pt x="255939" y="250804"/>
                      <a:pt x="259739" y="256758"/>
                    </a:cubicBezTo>
                    <a:cubicBezTo>
                      <a:pt x="264806" y="264866"/>
                      <a:pt x="274815" y="266513"/>
                      <a:pt x="282415" y="271327"/>
                    </a:cubicBezTo>
                    <a:cubicBezTo>
                      <a:pt x="290650" y="276520"/>
                      <a:pt x="294323" y="283488"/>
                      <a:pt x="296097" y="292862"/>
                    </a:cubicBezTo>
                    <a:cubicBezTo>
                      <a:pt x="297998" y="301983"/>
                      <a:pt x="297364" y="310471"/>
                      <a:pt x="305852" y="316299"/>
                    </a:cubicBezTo>
                    <a:cubicBezTo>
                      <a:pt x="313959" y="321746"/>
                      <a:pt x="325361" y="323013"/>
                      <a:pt x="334482" y="326560"/>
                    </a:cubicBezTo>
                    <a:cubicBezTo>
                      <a:pt x="348671" y="332134"/>
                      <a:pt x="374514" y="339735"/>
                      <a:pt x="383382" y="352783"/>
                    </a:cubicBezTo>
                    <a:cubicBezTo>
                      <a:pt x="390855" y="363551"/>
                      <a:pt x="389082" y="386101"/>
                      <a:pt x="399217" y="393955"/>
                    </a:cubicBezTo>
                    <a:cubicBezTo>
                      <a:pt x="409858" y="402189"/>
                      <a:pt x="417206" y="384580"/>
                      <a:pt x="426834" y="382427"/>
                    </a:cubicBezTo>
                    <a:cubicBezTo>
                      <a:pt x="441402" y="379260"/>
                      <a:pt x="447229" y="401429"/>
                      <a:pt x="452930" y="411311"/>
                    </a:cubicBezTo>
                    <a:cubicBezTo>
                      <a:pt x="460658" y="424612"/>
                      <a:pt x="471046" y="428793"/>
                      <a:pt x="482321" y="438547"/>
                    </a:cubicBezTo>
                    <a:cubicBezTo>
                      <a:pt x="492961" y="447795"/>
                      <a:pt x="500816" y="459197"/>
                      <a:pt x="511077" y="468698"/>
                    </a:cubicBezTo>
                    <a:cubicBezTo>
                      <a:pt x="522225" y="479212"/>
                      <a:pt x="535780" y="492387"/>
                      <a:pt x="549082" y="499861"/>
                    </a:cubicBezTo>
                    <a:cubicBezTo>
                      <a:pt x="556303" y="503789"/>
                      <a:pt x="564537" y="506196"/>
                      <a:pt x="571378" y="510883"/>
                    </a:cubicBezTo>
                    <a:cubicBezTo>
                      <a:pt x="577459" y="515190"/>
                      <a:pt x="582273" y="521144"/>
                      <a:pt x="588100" y="525832"/>
                    </a:cubicBezTo>
                    <a:cubicBezTo>
                      <a:pt x="597601" y="533432"/>
                      <a:pt x="607863" y="542047"/>
                      <a:pt x="615717" y="551548"/>
                    </a:cubicBezTo>
                    <a:cubicBezTo>
                      <a:pt x="622558" y="559656"/>
                      <a:pt x="622684" y="576631"/>
                      <a:pt x="630919" y="582585"/>
                    </a:cubicBezTo>
                    <a:cubicBezTo>
                      <a:pt x="635226" y="585626"/>
                      <a:pt x="644220" y="584866"/>
                      <a:pt x="649288" y="585879"/>
                    </a:cubicBezTo>
                    <a:cubicBezTo>
                      <a:pt x="656636" y="587399"/>
                      <a:pt x="663856" y="589426"/>
                      <a:pt x="670571" y="593100"/>
                    </a:cubicBezTo>
                    <a:cubicBezTo>
                      <a:pt x="683492" y="600321"/>
                      <a:pt x="691980" y="613496"/>
                      <a:pt x="706042" y="618817"/>
                    </a:cubicBezTo>
                    <a:cubicBezTo>
                      <a:pt x="720103" y="624137"/>
                      <a:pt x="735812" y="618437"/>
                      <a:pt x="749620" y="623884"/>
                    </a:cubicBezTo>
                    <a:cubicBezTo>
                      <a:pt x="759122" y="627684"/>
                      <a:pt x="776857" y="645800"/>
                      <a:pt x="772677" y="657581"/>
                    </a:cubicBezTo>
                    <a:cubicBezTo>
                      <a:pt x="767609" y="671897"/>
                      <a:pt x="733025" y="659988"/>
                      <a:pt x="723270" y="657835"/>
                    </a:cubicBezTo>
                    <a:cubicBezTo>
                      <a:pt x="707309" y="654541"/>
                      <a:pt x="691347" y="650867"/>
                      <a:pt x="674878" y="651374"/>
                    </a:cubicBezTo>
                    <a:cubicBezTo>
                      <a:pt x="645867" y="652261"/>
                      <a:pt x="620911" y="662522"/>
                      <a:pt x="603556" y="686465"/>
                    </a:cubicBezTo>
                    <a:cubicBezTo>
                      <a:pt x="590761" y="704200"/>
                      <a:pt x="604189" y="719656"/>
                      <a:pt x="611663" y="736631"/>
                    </a:cubicBezTo>
                    <a:cubicBezTo>
                      <a:pt x="620404" y="756647"/>
                      <a:pt x="628512" y="777803"/>
                      <a:pt x="629779" y="799846"/>
                    </a:cubicBezTo>
                    <a:cubicBezTo>
                      <a:pt x="630665" y="815428"/>
                      <a:pt x="630919" y="824676"/>
                      <a:pt x="640927" y="837090"/>
                    </a:cubicBezTo>
                    <a:cubicBezTo>
                      <a:pt x="650175" y="848492"/>
                      <a:pt x="656255" y="859893"/>
                      <a:pt x="661450" y="873575"/>
                    </a:cubicBezTo>
                    <a:cubicBezTo>
                      <a:pt x="672218" y="901952"/>
                      <a:pt x="673357" y="931976"/>
                      <a:pt x="699834" y="950851"/>
                    </a:cubicBezTo>
                    <a:cubicBezTo>
                      <a:pt x="725677" y="969220"/>
                      <a:pt x="758742" y="976695"/>
                      <a:pt x="785725" y="993290"/>
                    </a:cubicBezTo>
                    <a:cubicBezTo>
                      <a:pt x="810048" y="1008365"/>
                      <a:pt x="831964" y="1042443"/>
                      <a:pt x="862241" y="1043076"/>
                    </a:cubicBezTo>
                    <a:cubicBezTo>
                      <a:pt x="863508" y="1033448"/>
                      <a:pt x="856034" y="1006591"/>
                      <a:pt x="863635" y="1000004"/>
                    </a:cubicBezTo>
                    <a:cubicBezTo>
                      <a:pt x="874783" y="990503"/>
                      <a:pt x="893405" y="1021540"/>
                      <a:pt x="898093" y="1028254"/>
                    </a:cubicBezTo>
                    <a:cubicBezTo>
                      <a:pt x="906453" y="1040289"/>
                      <a:pt x="918235" y="1050424"/>
                      <a:pt x="925202" y="1063472"/>
                    </a:cubicBezTo>
                    <a:cubicBezTo>
                      <a:pt x="931283" y="1074874"/>
                      <a:pt x="934957" y="1090835"/>
                      <a:pt x="936097" y="1103630"/>
                    </a:cubicBezTo>
                    <a:cubicBezTo>
                      <a:pt x="938378" y="1130361"/>
                      <a:pt x="919502" y="1105531"/>
                      <a:pt x="913421" y="1096156"/>
                    </a:cubicBezTo>
                    <a:cubicBezTo>
                      <a:pt x="902780" y="1079688"/>
                      <a:pt x="894418" y="1069680"/>
                      <a:pt x="874403" y="1078294"/>
                    </a:cubicBezTo>
                    <a:cubicBezTo>
                      <a:pt x="860594" y="1084248"/>
                      <a:pt x="849319" y="1092356"/>
                      <a:pt x="834371" y="1095649"/>
                    </a:cubicBezTo>
                    <a:cubicBezTo>
                      <a:pt x="824997" y="1097676"/>
                      <a:pt x="810302" y="1099830"/>
                      <a:pt x="806248" y="1109964"/>
                    </a:cubicBezTo>
                    <a:cubicBezTo>
                      <a:pt x="798013" y="1130741"/>
                      <a:pt x="812075" y="1150249"/>
                      <a:pt x="814102" y="1170392"/>
                    </a:cubicBezTo>
                    <a:cubicBezTo>
                      <a:pt x="816129" y="1191041"/>
                      <a:pt x="834625" y="1207510"/>
                      <a:pt x="835638" y="1228286"/>
                    </a:cubicBezTo>
                    <a:cubicBezTo>
                      <a:pt x="836651" y="1251975"/>
                      <a:pt x="812328" y="1233860"/>
                      <a:pt x="803587" y="1226639"/>
                    </a:cubicBezTo>
                    <a:cubicBezTo>
                      <a:pt x="786611" y="1212324"/>
                      <a:pt x="764949" y="1202063"/>
                      <a:pt x="749620" y="1185974"/>
                    </a:cubicBezTo>
                    <a:cubicBezTo>
                      <a:pt x="742399" y="1178500"/>
                      <a:pt x="738219" y="1168112"/>
                      <a:pt x="735686" y="1158230"/>
                    </a:cubicBezTo>
                    <a:cubicBezTo>
                      <a:pt x="730872" y="1139608"/>
                      <a:pt x="727197" y="1121746"/>
                      <a:pt x="724664" y="1102743"/>
                    </a:cubicBezTo>
                    <a:cubicBezTo>
                      <a:pt x="722891" y="1089569"/>
                      <a:pt x="720737" y="1077027"/>
                      <a:pt x="711489" y="1066639"/>
                    </a:cubicBezTo>
                    <a:cubicBezTo>
                      <a:pt x="698061" y="1051564"/>
                      <a:pt x="686026" y="1033702"/>
                      <a:pt x="671584" y="1019640"/>
                    </a:cubicBezTo>
                    <a:cubicBezTo>
                      <a:pt x="657522" y="1005958"/>
                      <a:pt x="649034" y="993923"/>
                      <a:pt x="643334" y="974668"/>
                    </a:cubicBezTo>
                    <a:cubicBezTo>
                      <a:pt x="640420" y="964913"/>
                      <a:pt x="638140" y="956045"/>
                      <a:pt x="633072" y="947051"/>
                    </a:cubicBezTo>
                    <a:cubicBezTo>
                      <a:pt x="627625" y="937423"/>
                      <a:pt x="620151" y="929569"/>
                      <a:pt x="615084" y="919687"/>
                    </a:cubicBezTo>
                    <a:cubicBezTo>
                      <a:pt x="605203" y="900178"/>
                      <a:pt x="594055" y="888397"/>
                      <a:pt x="575305" y="876869"/>
                    </a:cubicBezTo>
                    <a:cubicBezTo>
                      <a:pt x="561117" y="868128"/>
                      <a:pt x="548196" y="863187"/>
                      <a:pt x="537554" y="848745"/>
                    </a:cubicBezTo>
                    <a:cubicBezTo>
                      <a:pt x="528813" y="836964"/>
                      <a:pt x="519692" y="825309"/>
                      <a:pt x="510571" y="813781"/>
                    </a:cubicBezTo>
                    <a:cubicBezTo>
                      <a:pt x="499803" y="800226"/>
                      <a:pt x="497902" y="786924"/>
                      <a:pt x="493342" y="770962"/>
                    </a:cubicBezTo>
                    <a:cubicBezTo>
                      <a:pt x="488147" y="752593"/>
                      <a:pt x="481180" y="740052"/>
                      <a:pt x="468259" y="725483"/>
                    </a:cubicBezTo>
                    <a:cubicBezTo>
                      <a:pt x="458631" y="714588"/>
                      <a:pt x="449509" y="706354"/>
                      <a:pt x="442669" y="69279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441" name="Рисунок 388">
                <a:extLst>
                  <a:ext uri="{FF2B5EF4-FFF2-40B4-BE49-F238E27FC236}">
                    <a16:creationId xmlns:a16="http://schemas.microsoft.com/office/drawing/2014/main" id="{1DA397FD-DC6E-439E-BB40-D0F80476817D}"/>
                  </a:ext>
                </a:extLst>
              </p:cNvPr>
              <p:cNvGrpSpPr/>
              <p:nvPr/>
            </p:nvGrpSpPr>
            <p:grpSpPr>
              <a:xfrm>
                <a:off x="13018483" y="4345737"/>
                <a:ext cx="269637" cy="1793566"/>
                <a:chOff x="13018483" y="4345737"/>
                <a:chExt cx="269637" cy="1793566"/>
              </a:xfrm>
              <a:solidFill>
                <a:srgbClr val="E3E8EC"/>
              </a:solidFill>
            </p:grpSpPr>
            <p:sp>
              <p:nvSpPr>
                <p:cNvPr id="442" name="Полилиния: фигура 441">
                  <a:extLst>
                    <a:ext uri="{FF2B5EF4-FFF2-40B4-BE49-F238E27FC236}">
                      <a16:creationId xmlns:a16="http://schemas.microsoft.com/office/drawing/2014/main" id="{D20A8EBF-CE02-4CFB-82AF-813F963EB0B2}"/>
                    </a:ext>
                  </a:extLst>
                </p:cNvPr>
                <p:cNvSpPr/>
                <p:nvPr/>
              </p:nvSpPr>
              <p:spPr>
                <a:xfrm>
                  <a:off x="13018483" y="5966689"/>
                  <a:ext cx="51512" cy="172614"/>
                </a:xfrm>
                <a:custGeom>
                  <a:avLst/>
                  <a:gdLst>
                    <a:gd name="connsiteX0" fmla="*/ 3167 w 51512"/>
                    <a:gd name="connsiteY0" fmla="*/ 119820 h 172614"/>
                    <a:gd name="connsiteX1" fmla="*/ 3040 w 51512"/>
                    <a:gd name="connsiteY1" fmla="*/ 116653 h 172614"/>
                    <a:gd name="connsiteX2" fmla="*/ 9121 w 51512"/>
                    <a:gd name="connsiteY2" fmla="*/ 80548 h 172614"/>
                    <a:gd name="connsiteX3" fmla="*/ 2913 w 51512"/>
                    <a:gd name="connsiteY3" fmla="*/ 38617 h 172614"/>
                    <a:gd name="connsiteX4" fmla="*/ 6967 w 51512"/>
                    <a:gd name="connsiteY4" fmla="*/ 9987 h 172614"/>
                    <a:gd name="connsiteX5" fmla="*/ 42819 w 51512"/>
                    <a:gd name="connsiteY5" fmla="*/ 612 h 172614"/>
                    <a:gd name="connsiteX6" fmla="*/ 46873 w 51512"/>
                    <a:gd name="connsiteY6" fmla="*/ 25695 h 172614"/>
                    <a:gd name="connsiteX7" fmla="*/ 30150 w 51512"/>
                    <a:gd name="connsiteY7" fmla="*/ 77128 h 172614"/>
                    <a:gd name="connsiteX8" fmla="*/ 27997 w 51512"/>
                    <a:gd name="connsiteY8" fmla="*/ 113866 h 172614"/>
                    <a:gd name="connsiteX9" fmla="*/ 24450 w 51512"/>
                    <a:gd name="connsiteY9" fmla="*/ 147817 h 172614"/>
                    <a:gd name="connsiteX10" fmla="*/ 3294 w 51512"/>
                    <a:gd name="connsiteY10" fmla="*/ 171507 h 172614"/>
                    <a:gd name="connsiteX11" fmla="*/ 0 w 51512"/>
                    <a:gd name="connsiteY11" fmla="*/ 154658 h 172614"/>
                    <a:gd name="connsiteX12" fmla="*/ 3167 w 51512"/>
                    <a:gd name="connsiteY12" fmla="*/ 119820 h 17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12" h="172614">
                      <a:moveTo>
                        <a:pt x="3167" y="119820"/>
                      </a:moveTo>
                      <a:cubicBezTo>
                        <a:pt x="3167" y="118807"/>
                        <a:pt x="3167" y="117667"/>
                        <a:pt x="3040" y="116653"/>
                      </a:cubicBezTo>
                      <a:cubicBezTo>
                        <a:pt x="2153" y="104112"/>
                        <a:pt x="8235" y="92963"/>
                        <a:pt x="9121" y="80548"/>
                      </a:cubicBezTo>
                      <a:cubicBezTo>
                        <a:pt x="10134" y="66107"/>
                        <a:pt x="6461" y="52425"/>
                        <a:pt x="2913" y="38617"/>
                      </a:cubicBezTo>
                      <a:cubicBezTo>
                        <a:pt x="254" y="28355"/>
                        <a:pt x="-2153" y="17714"/>
                        <a:pt x="6967" y="9987"/>
                      </a:cubicBezTo>
                      <a:cubicBezTo>
                        <a:pt x="15709" y="2639"/>
                        <a:pt x="31544" y="-1668"/>
                        <a:pt x="42819" y="612"/>
                      </a:cubicBezTo>
                      <a:cubicBezTo>
                        <a:pt x="56627" y="3272"/>
                        <a:pt x="50800" y="16574"/>
                        <a:pt x="46873" y="25695"/>
                      </a:cubicBezTo>
                      <a:cubicBezTo>
                        <a:pt x="39778" y="42544"/>
                        <a:pt x="32557" y="58886"/>
                        <a:pt x="30150" y="77128"/>
                      </a:cubicBezTo>
                      <a:cubicBezTo>
                        <a:pt x="28504" y="89290"/>
                        <a:pt x="29390" y="101705"/>
                        <a:pt x="27997" y="113866"/>
                      </a:cubicBezTo>
                      <a:cubicBezTo>
                        <a:pt x="26857" y="125141"/>
                        <a:pt x="27490" y="136669"/>
                        <a:pt x="24450" y="147817"/>
                      </a:cubicBezTo>
                      <a:cubicBezTo>
                        <a:pt x="22930" y="153391"/>
                        <a:pt x="11908" y="178094"/>
                        <a:pt x="3294" y="171507"/>
                      </a:cubicBezTo>
                      <a:cubicBezTo>
                        <a:pt x="0" y="168973"/>
                        <a:pt x="0" y="158332"/>
                        <a:pt x="0" y="154658"/>
                      </a:cubicBezTo>
                      <a:cubicBezTo>
                        <a:pt x="127" y="142876"/>
                        <a:pt x="3294" y="131728"/>
                        <a:pt x="3167" y="11982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43" name="Полилиния: фигура 442">
                  <a:extLst>
                    <a:ext uri="{FF2B5EF4-FFF2-40B4-BE49-F238E27FC236}">
                      <a16:creationId xmlns:a16="http://schemas.microsoft.com/office/drawing/2014/main" id="{BFA56E74-4165-4502-9B86-0D77B2F04B13}"/>
                    </a:ext>
                  </a:extLst>
                </p:cNvPr>
                <p:cNvSpPr/>
                <p:nvPr/>
              </p:nvSpPr>
              <p:spPr>
                <a:xfrm>
                  <a:off x="13076377" y="5631124"/>
                  <a:ext cx="99866" cy="285938"/>
                </a:xfrm>
                <a:custGeom>
                  <a:avLst/>
                  <a:gdLst>
                    <a:gd name="connsiteX0" fmla="*/ 7348 w 99866"/>
                    <a:gd name="connsiteY0" fmla="*/ 199106 h 285938"/>
                    <a:gd name="connsiteX1" fmla="*/ 0 w 99866"/>
                    <a:gd name="connsiteY1" fmla="*/ 167563 h 285938"/>
                    <a:gd name="connsiteX2" fmla="*/ 19636 w 99866"/>
                    <a:gd name="connsiteY2" fmla="*/ 104728 h 285938"/>
                    <a:gd name="connsiteX3" fmla="*/ 11781 w 99866"/>
                    <a:gd name="connsiteY3" fmla="*/ 79772 h 285938"/>
                    <a:gd name="connsiteX4" fmla="*/ 33697 w 99866"/>
                    <a:gd name="connsiteY4" fmla="*/ 64950 h 285938"/>
                    <a:gd name="connsiteX5" fmla="*/ 62834 w 99866"/>
                    <a:gd name="connsiteY5" fmla="*/ 45061 h 285938"/>
                    <a:gd name="connsiteX6" fmla="*/ 69295 w 99866"/>
                    <a:gd name="connsiteY6" fmla="*/ 13897 h 285938"/>
                    <a:gd name="connsiteX7" fmla="*/ 99699 w 99866"/>
                    <a:gd name="connsiteY7" fmla="*/ 22511 h 285938"/>
                    <a:gd name="connsiteX8" fmla="*/ 67015 w 99866"/>
                    <a:gd name="connsiteY8" fmla="*/ 84079 h 285938"/>
                    <a:gd name="connsiteX9" fmla="*/ 67142 w 99866"/>
                    <a:gd name="connsiteY9" fmla="*/ 112836 h 285938"/>
                    <a:gd name="connsiteX10" fmla="*/ 53207 w 99866"/>
                    <a:gd name="connsiteY10" fmla="*/ 139819 h 285938"/>
                    <a:gd name="connsiteX11" fmla="*/ 37118 w 99866"/>
                    <a:gd name="connsiteY11" fmla="*/ 165662 h 285938"/>
                    <a:gd name="connsiteX12" fmla="*/ 38258 w 99866"/>
                    <a:gd name="connsiteY12" fmla="*/ 198853 h 285938"/>
                    <a:gd name="connsiteX13" fmla="*/ 45605 w 99866"/>
                    <a:gd name="connsiteY13" fmla="*/ 253960 h 285938"/>
                    <a:gd name="connsiteX14" fmla="*/ 23563 w 99866"/>
                    <a:gd name="connsiteY14" fmla="*/ 283731 h 285938"/>
                    <a:gd name="connsiteX15" fmla="*/ 8994 w 99866"/>
                    <a:gd name="connsiteY15" fmla="*/ 246486 h 285938"/>
                    <a:gd name="connsiteX16" fmla="*/ 7348 w 99866"/>
                    <a:gd name="connsiteY16" fmla="*/ 199106 h 285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866" h="285938">
                      <a:moveTo>
                        <a:pt x="7348" y="199106"/>
                      </a:moveTo>
                      <a:cubicBezTo>
                        <a:pt x="5701" y="188592"/>
                        <a:pt x="0" y="178331"/>
                        <a:pt x="0" y="167563"/>
                      </a:cubicBezTo>
                      <a:cubicBezTo>
                        <a:pt x="0" y="144506"/>
                        <a:pt x="24703" y="129558"/>
                        <a:pt x="19636" y="104728"/>
                      </a:cubicBezTo>
                      <a:cubicBezTo>
                        <a:pt x="17989" y="97127"/>
                        <a:pt x="10515" y="87753"/>
                        <a:pt x="11781" y="79772"/>
                      </a:cubicBezTo>
                      <a:cubicBezTo>
                        <a:pt x="13175" y="70904"/>
                        <a:pt x="26857" y="67737"/>
                        <a:pt x="33697" y="64950"/>
                      </a:cubicBezTo>
                      <a:cubicBezTo>
                        <a:pt x="44592" y="60516"/>
                        <a:pt x="56754" y="55702"/>
                        <a:pt x="62834" y="45061"/>
                      </a:cubicBezTo>
                      <a:cubicBezTo>
                        <a:pt x="68155" y="35433"/>
                        <a:pt x="66761" y="24285"/>
                        <a:pt x="69295" y="13897"/>
                      </a:cubicBezTo>
                      <a:cubicBezTo>
                        <a:pt x="75249" y="-10426"/>
                        <a:pt x="102233" y="215"/>
                        <a:pt x="99699" y="22511"/>
                      </a:cubicBezTo>
                      <a:cubicBezTo>
                        <a:pt x="96912" y="47087"/>
                        <a:pt x="69168" y="59882"/>
                        <a:pt x="67015" y="84079"/>
                      </a:cubicBezTo>
                      <a:cubicBezTo>
                        <a:pt x="66128" y="93707"/>
                        <a:pt x="68662" y="103208"/>
                        <a:pt x="67142" y="112836"/>
                      </a:cubicBezTo>
                      <a:cubicBezTo>
                        <a:pt x="65495" y="123350"/>
                        <a:pt x="59794" y="131712"/>
                        <a:pt x="53207" y="139819"/>
                      </a:cubicBezTo>
                      <a:cubicBezTo>
                        <a:pt x="46619" y="147800"/>
                        <a:pt x="39778" y="155401"/>
                        <a:pt x="37118" y="165662"/>
                      </a:cubicBezTo>
                      <a:cubicBezTo>
                        <a:pt x="34330" y="176430"/>
                        <a:pt x="35851" y="188085"/>
                        <a:pt x="38258" y="198853"/>
                      </a:cubicBezTo>
                      <a:cubicBezTo>
                        <a:pt x="42565" y="218109"/>
                        <a:pt x="48772" y="233944"/>
                        <a:pt x="45605" y="253960"/>
                      </a:cubicBezTo>
                      <a:cubicBezTo>
                        <a:pt x="43958" y="264348"/>
                        <a:pt x="39778" y="294245"/>
                        <a:pt x="23563" y="283731"/>
                      </a:cubicBezTo>
                      <a:cubicBezTo>
                        <a:pt x="11401" y="275876"/>
                        <a:pt x="9374" y="259914"/>
                        <a:pt x="8994" y="246486"/>
                      </a:cubicBezTo>
                      <a:cubicBezTo>
                        <a:pt x="8488" y="230904"/>
                        <a:pt x="9881" y="214435"/>
                        <a:pt x="7348" y="19910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44" name="Полилиния: фигура 443">
                  <a:extLst>
                    <a:ext uri="{FF2B5EF4-FFF2-40B4-BE49-F238E27FC236}">
                      <a16:creationId xmlns:a16="http://schemas.microsoft.com/office/drawing/2014/main" id="{3AE148B4-0312-4884-BBD5-475965399105}"/>
                    </a:ext>
                  </a:extLst>
                </p:cNvPr>
                <p:cNvSpPr/>
                <p:nvPr/>
              </p:nvSpPr>
              <p:spPr>
                <a:xfrm>
                  <a:off x="13192013" y="5410912"/>
                  <a:ext cx="47728" cy="148141"/>
                </a:xfrm>
                <a:custGeom>
                  <a:avLst/>
                  <a:gdLst>
                    <a:gd name="connsiteX0" fmla="*/ 9020 w 47728"/>
                    <a:gd name="connsiteY0" fmla="*/ 147838 h 148141"/>
                    <a:gd name="connsiteX1" fmla="*/ 786 w 47728"/>
                    <a:gd name="connsiteY1" fmla="*/ 121361 h 148141"/>
                    <a:gd name="connsiteX2" fmla="*/ 16748 w 47728"/>
                    <a:gd name="connsiteY2" fmla="*/ 89437 h 148141"/>
                    <a:gd name="connsiteX3" fmla="*/ 17508 w 47728"/>
                    <a:gd name="connsiteY3" fmla="*/ 58780 h 148141"/>
                    <a:gd name="connsiteX4" fmla="*/ 23715 w 47728"/>
                    <a:gd name="connsiteY4" fmla="*/ 32684 h 148141"/>
                    <a:gd name="connsiteX5" fmla="*/ 31316 w 47728"/>
                    <a:gd name="connsiteY5" fmla="*/ 2787 h 148141"/>
                    <a:gd name="connsiteX6" fmla="*/ 46391 w 47728"/>
                    <a:gd name="connsiteY6" fmla="*/ 12668 h 148141"/>
                    <a:gd name="connsiteX7" fmla="*/ 38537 w 47728"/>
                    <a:gd name="connsiteY7" fmla="*/ 63847 h 148141"/>
                    <a:gd name="connsiteX8" fmla="*/ 32203 w 47728"/>
                    <a:gd name="connsiteY8" fmla="*/ 88171 h 148141"/>
                    <a:gd name="connsiteX9" fmla="*/ 30683 w 47728"/>
                    <a:gd name="connsiteY9" fmla="*/ 109327 h 148141"/>
                    <a:gd name="connsiteX10" fmla="*/ 27769 w 47728"/>
                    <a:gd name="connsiteY10" fmla="*/ 127822 h 148141"/>
                    <a:gd name="connsiteX11" fmla="*/ 10667 w 47728"/>
                    <a:gd name="connsiteY11" fmla="*/ 148092 h 148141"/>
                    <a:gd name="connsiteX12" fmla="*/ 9020 w 47728"/>
                    <a:gd name="connsiteY12" fmla="*/ 147838 h 14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28" h="148141">
                      <a:moveTo>
                        <a:pt x="9020" y="147838"/>
                      </a:moveTo>
                      <a:cubicBezTo>
                        <a:pt x="-355" y="145304"/>
                        <a:pt x="-988" y="128836"/>
                        <a:pt x="786" y="121361"/>
                      </a:cubicBezTo>
                      <a:cubicBezTo>
                        <a:pt x="3699" y="109327"/>
                        <a:pt x="12567" y="100712"/>
                        <a:pt x="16748" y="89437"/>
                      </a:cubicBezTo>
                      <a:cubicBezTo>
                        <a:pt x="20421" y="79556"/>
                        <a:pt x="17254" y="68915"/>
                        <a:pt x="17508" y="58780"/>
                      </a:cubicBezTo>
                      <a:cubicBezTo>
                        <a:pt x="17634" y="49406"/>
                        <a:pt x="21435" y="41551"/>
                        <a:pt x="23715" y="32684"/>
                      </a:cubicBezTo>
                      <a:cubicBezTo>
                        <a:pt x="25995" y="23942"/>
                        <a:pt x="25235" y="10007"/>
                        <a:pt x="31316" y="2787"/>
                      </a:cubicBezTo>
                      <a:cubicBezTo>
                        <a:pt x="38157" y="-5321"/>
                        <a:pt x="44871" y="6207"/>
                        <a:pt x="46391" y="12668"/>
                      </a:cubicBezTo>
                      <a:cubicBezTo>
                        <a:pt x="50572" y="29897"/>
                        <a:pt x="44111" y="47632"/>
                        <a:pt x="38537" y="63847"/>
                      </a:cubicBezTo>
                      <a:cubicBezTo>
                        <a:pt x="36003" y="71448"/>
                        <a:pt x="31949" y="80063"/>
                        <a:pt x="32203" y="88171"/>
                      </a:cubicBezTo>
                      <a:cubicBezTo>
                        <a:pt x="32456" y="95898"/>
                        <a:pt x="31949" y="101472"/>
                        <a:pt x="30683" y="109327"/>
                      </a:cubicBezTo>
                      <a:cubicBezTo>
                        <a:pt x="29669" y="115407"/>
                        <a:pt x="29162" y="121868"/>
                        <a:pt x="27769" y="127822"/>
                      </a:cubicBezTo>
                      <a:cubicBezTo>
                        <a:pt x="25995" y="135170"/>
                        <a:pt x="20041" y="148978"/>
                        <a:pt x="10667" y="148092"/>
                      </a:cubicBezTo>
                      <a:cubicBezTo>
                        <a:pt x="10160" y="148218"/>
                        <a:pt x="9654" y="148092"/>
                        <a:pt x="9020" y="14783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45" name="Полилиния: фигура 444">
                  <a:extLst>
                    <a:ext uri="{FF2B5EF4-FFF2-40B4-BE49-F238E27FC236}">
                      <a16:creationId xmlns:a16="http://schemas.microsoft.com/office/drawing/2014/main" id="{E08AFD2A-2C35-4E88-B3EA-B1C606ABCDDB}"/>
                    </a:ext>
                  </a:extLst>
                </p:cNvPr>
                <p:cNvSpPr/>
                <p:nvPr/>
              </p:nvSpPr>
              <p:spPr>
                <a:xfrm>
                  <a:off x="13259103" y="5146977"/>
                  <a:ext cx="29018" cy="72023"/>
                </a:xfrm>
                <a:custGeom>
                  <a:avLst/>
                  <a:gdLst>
                    <a:gd name="connsiteX0" fmla="*/ 4511 w 29018"/>
                    <a:gd name="connsiteY0" fmla="*/ 16397 h 72023"/>
                    <a:gd name="connsiteX1" fmla="*/ 16419 w 29018"/>
                    <a:gd name="connsiteY1" fmla="*/ 54 h 72023"/>
                    <a:gd name="connsiteX2" fmla="*/ 26047 w 29018"/>
                    <a:gd name="connsiteY2" fmla="*/ 38946 h 72023"/>
                    <a:gd name="connsiteX3" fmla="*/ 20980 w 29018"/>
                    <a:gd name="connsiteY3" fmla="*/ 53768 h 72023"/>
                    <a:gd name="connsiteX4" fmla="*/ 3751 w 29018"/>
                    <a:gd name="connsiteY4" fmla="*/ 68843 h 72023"/>
                    <a:gd name="connsiteX5" fmla="*/ 837 w 29018"/>
                    <a:gd name="connsiteY5" fmla="*/ 46420 h 72023"/>
                    <a:gd name="connsiteX6" fmla="*/ 4511 w 29018"/>
                    <a:gd name="connsiteY6" fmla="*/ 16397 h 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8" h="72023">
                      <a:moveTo>
                        <a:pt x="4511" y="16397"/>
                      </a:moveTo>
                      <a:cubicBezTo>
                        <a:pt x="5271" y="9302"/>
                        <a:pt x="7045" y="-832"/>
                        <a:pt x="16419" y="54"/>
                      </a:cubicBezTo>
                      <a:cubicBezTo>
                        <a:pt x="34155" y="1955"/>
                        <a:pt x="28835" y="27925"/>
                        <a:pt x="26047" y="38946"/>
                      </a:cubicBezTo>
                      <a:cubicBezTo>
                        <a:pt x="24781" y="44140"/>
                        <a:pt x="22374" y="48701"/>
                        <a:pt x="20980" y="53768"/>
                      </a:cubicBezTo>
                      <a:cubicBezTo>
                        <a:pt x="19333" y="60102"/>
                        <a:pt x="12112" y="79611"/>
                        <a:pt x="3751" y="68843"/>
                      </a:cubicBezTo>
                      <a:cubicBezTo>
                        <a:pt x="-809" y="62889"/>
                        <a:pt x="-429" y="53388"/>
                        <a:pt x="837" y="46420"/>
                      </a:cubicBezTo>
                      <a:cubicBezTo>
                        <a:pt x="2738" y="36412"/>
                        <a:pt x="3498" y="26531"/>
                        <a:pt x="4511" y="1639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46" name="Полилиния: фигура 445">
                  <a:extLst>
                    <a:ext uri="{FF2B5EF4-FFF2-40B4-BE49-F238E27FC236}">
                      <a16:creationId xmlns:a16="http://schemas.microsoft.com/office/drawing/2014/main" id="{D89F45DA-D9BA-4F25-BCFF-595170905DEB}"/>
                    </a:ext>
                  </a:extLst>
                </p:cNvPr>
                <p:cNvSpPr/>
                <p:nvPr/>
              </p:nvSpPr>
              <p:spPr>
                <a:xfrm>
                  <a:off x="13221555" y="5309945"/>
                  <a:ext cx="9121" cy="14441"/>
                </a:xfrm>
                <a:custGeom>
                  <a:avLst/>
                  <a:gdLst>
                    <a:gd name="connsiteX0" fmla="*/ 9122 w 9121"/>
                    <a:gd name="connsiteY0" fmla="*/ 7221 h 14441"/>
                    <a:gd name="connsiteX1" fmla="*/ 4561 w 9121"/>
                    <a:gd name="connsiteY1" fmla="*/ 14442 h 14441"/>
                    <a:gd name="connsiteX2" fmla="*/ 0 w 9121"/>
                    <a:gd name="connsiteY2" fmla="*/ 7221 h 14441"/>
                    <a:gd name="connsiteX3" fmla="*/ 4561 w 9121"/>
                    <a:gd name="connsiteY3" fmla="*/ 0 h 14441"/>
                    <a:gd name="connsiteX4" fmla="*/ 9122 w 912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4441">
                      <a:moveTo>
                        <a:pt x="9122" y="7221"/>
                      </a:moveTo>
                      <a:cubicBezTo>
                        <a:pt x="9122" y="11275"/>
                        <a:pt x="7094" y="14442"/>
                        <a:pt x="4561" y="14442"/>
                      </a:cubicBezTo>
                      <a:cubicBezTo>
                        <a:pt x="2027" y="14442"/>
                        <a:pt x="0" y="11148"/>
                        <a:pt x="0" y="7221"/>
                      </a:cubicBezTo>
                      <a:cubicBezTo>
                        <a:pt x="0" y="3167"/>
                        <a:pt x="2027" y="0"/>
                        <a:pt x="4561" y="0"/>
                      </a:cubicBezTo>
                      <a:cubicBezTo>
                        <a:pt x="6968" y="0"/>
                        <a:pt x="9122" y="3293"/>
                        <a:pt x="9122" y="72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47" name="Полилиния: фигура 446">
                  <a:extLst>
                    <a:ext uri="{FF2B5EF4-FFF2-40B4-BE49-F238E27FC236}">
                      <a16:creationId xmlns:a16="http://schemas.microsoft.com/office/drawing/2014/main" id="{64B0E7B9-7AFD-4A20-B33C-CD8BF5887F82}"/>
                    </a:ext>
                  </a:extLst>
                </p:cNvPr>
                <p:cNvSpPr/>
                <p:nvPr/>
              </p:nvSpPr>
              <p:spPr>
                <a:xfrm>
                  <a:off x="13185831" y="5309945"/>
                  <a:ext cx="11147" cy="7347"/>
                </a:xfrm>
                <a:custGeom>
                  <a:avLst/>
                  <a:gdLst>
                    <a:gd name="connsiteX0" fmla="*/ 11147 w 11147"/>
                    <a:gd name="connsiteY0" fmla="*/ 3674 h 7347"/>
                    <a:gd name="connsiteX1" fmla="*/ 5574 w 11147"/>
                    <a:gd name="connsiteY1" fmla="*/ 7347 h 7347"/>
                    <a:gd name="connsiteX2" fmla="*/ 0 w 11147"/>
                    <a:gd name="connsiteY2" fmla="*/ 3674 h 7347"/>
                    <a:gd name="connsiteX3" fmla="*/ 5574 w 11147"/>
                    <a:gd name="connsiteY3" fmla="*/ 0 h 7347"/>
                    <a:gd name="connsiteX4" fmla="*/ 11147 w 1114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 h="7347">
                      <a:moveTo>
                        <a:pt x="11147" y="3674"/>
                      </a:moveTo>
                      <a:cubicBezTo>
                        <a:pt x="11147" y="5700"/>
                        <a:pt x="8614" y="7347"/>
                        <a:pt x="5574" y="7347"/>
                      </a:cubicBezTo>
                      <a:cubicBezTo>
                        <a:pt x="2533" y="7347"/>
                        <a:pt x="0" y="5700"/>
                        <a:pt x="0" y="3674"/>
                      </a:cubicBezTo>
                      <a:cubicBezTo>
                        <a:pt x="0" y="1647"/>
                        <a:pt x="2533" y="0"/>
                        <a:pt x="5574" y="0"/>
                      </a:cubicBezTo>
                      <a:cubicBezTo>
                        <a:pt x="8614" y="0"/>
                        <a:pt x="11147" y="1647"/>
                        <a:pt x="11147" y="36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48" name="Полилиния: фигура 447">
                  <a:extLst>
                    <a:ext uri="{FF2B5EF4-FFF2-40B4-BE49-F238E27FC236}">
                      <a16:creationId xmlns:a16="http://schemas.microsoft.com/office/drawing/2014/main" id="{B0266489-F236-4ABA-9461-7E8652EFBC5B}"/>
                    </a:ext>
                  </a:extLst>
                </p:cNvPr>
                <p:cNvSpPr/>
                <p:nvPr/>
              </p:nvSpPr>
              <p:spPr>
                <a:xfrm>
                  <a:off x="13255760" y="5088251"/>
                  <a:ext cx="17735" cy="21789"/>
                </a:xfrm>
                <a:custGeom>
                  <a:avLst/>
                  <a:gdLst>
                    <a:gd name="connsiteX0" fmla="*/ 17736 w 17735"/>
                    <a:gd name="connsiteY0" fmla="*/ 10895 h 21789"/>
                    <a:gd name="connsiteX1" fmla="*/ 8868 w 17735"/>
                    <a:gd name="connsiteY1" fmla="*/ 21789 h 21789"/>
                    <a:gd name="connsiteX2" fmla="*/ 0 w 17735"/>
                    <a:gd name="connsiteY2" fmla="*/ 10895 h 21789"/>
                    <a:gd name="connsiteX3" fmla="*/ 8868 w 17735"/>
                    <a:gd name="connsiteY3" fmla="*/ 0 h 21789"/>
                    <a:gd name="connsiteX4" fmla="*/ 17736 w 17735"/>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1789">
                      <a:moveTo>
                        <a:pt x="17736" y="10895"/>
                      </a:moveTo>
                      <a:cubicBezTo>
                        <a:pt x="17736" y="16849"/>
                        <a:pt x="13809" y="21789"/>
                        <a:pt x="8868" y="21789"/>
                      </a:cubicBezTo>
                      <a:cubicBezTo>
                        <a:pt x="3927" y="21789"/>
                        <a:pt x="0" y="16975"/>
                        <a:pt x="0" y="10895"/>
                      </a:cubicBezTo>
                      <a:cubicBezTo>
                        <a:pt x="0" y="4940"/>
                        <a:pt x="4054" y="0"/>
                        <a:pt x="8868" y="0"/>
                      </a:cubicBezTo>
                      <a:cubicBezTo>
                        <a:pt x="13809" y="0"/>
                        <a:pt x="17736" y="4814"/>
                        <a:pt x="17736" y="1089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49" name="Полилиния: фигура 448">
                  <a:extLst>
                    <a:ext uri="{FF2B5EF4-FFF2-40B4-BE49-F238E27FC236}">
                      <a16:creationId xmlns:a16="http://schemas.microsoft.com/office/drawing/2014/main" id="{9882E0C8-203F-4CDE-900A-0339A1C176E6}"/>
                    </a:ext>
                  </a:extLst>
                </p:cNvPr>
                <p:cNvSpPr/>
                <p:nvPr/>
              </p:nvSpPr>
              <p:spPr>
                <a:xfrm>
                  <a:off x="13253226" y="4997166"/>
                  <a:ext cx="24323" cy="24322"/>
                </a:xfrm>
                <a:custGeom>
                  <a:avLst/>
                  <a:gdLst>
                    <a:gd name="connsiteX0" fmla="*/ 24324 w 24323"/>
                    <a:gd name="connsiteY0" fmla="*/ 12161 h 24322"/>
                    <a:gd name="connsiteX1" fmla="*/ 12162 w 24323"/>
                    <a:gd name="connsiteY1" fmla="*/ 24323 h 24322"/>
                    <a:gd name="connsiteX2" fmla="*/ 0 w 24323"/>
                    <a:gd name="connsiteY2" fmla="*/ 12161 h 24322"/>
                    <a:gd name="connsiteX3" fmla="*/ 12162 w 24323"/>
                    <a:gd name="connsiteY3" fmla="*/ 0 h 24322"/>
                    <a:gd name="connsiteX4" fmla="*/ 24324 w 24323"/>
                    <a:gd name="connsiteY4" fmla="*/ 12161 h 24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23" h="24322">
                      <a:moveTo>
                        <a:pt x="24324" y="12161"/>
                      </a:moveTo>
                      <a:cubicBezTo>
                        <a:pt x="24324" y="18876"/>
                        <a:pt x="18876" y="24323"/>
                        <a:pt x="12162" y="24323"/>
                      </a:cubicBezTo>
                      <a:cubicBezTo>
                        <a:pt x="5448" y="24323"/>
                        <a:pt x="0" y="18876"/>
                        <a:pt x="0" y="12161"/>
                      </a:cubicBezTo>
                      <a:cubicBezTo>
                        <a:pt x="0" y="5447"/>
                        <a:pt x="5448" y="0"/>
                        <a:pt x="12162" y="0"/>
                      </a:cubicBezTo>
                      <a:cubicBezTo>
                        <a:pt x="18750" y="0"/>
                        <a:pt x="24324" y="5447"/>
                        <a:pt x="24324" y="1216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50" name="Полилиния: фигура 449">
                  <a:extLst>
                    <a:ext uri="{FF2B5EF4-FFF2-40B4-BE49-F238E27FC236}">
                      <a16:creationId xmlns:a16="http://schemas.microsoft.com/office/drawing/2014/main" id="{9137BE44-A1CA-41AD-80A0-50D4C00F6769}"/>
                    </a:ext>
                  </a:extLst>
                </p:cNvPr>
                <p:cNvSpPr/>
                <p:nvPr/>
              </p:nvSpPr>
              <p:spPr>
                <a:xfrm>
                  <a:off x="13225989" y="4935852"/>
                  <a:ext cx="21789" cy="19762"/>
                </a:xfrm>
                <a:custGeom>
                  <a:avLst/>
                  <a:gdLst>
                    <a:gd name="connsiteX0" fmla="*/ 21789 w 21789"/>
                    <a:gd name="connsiteY0" fmla="*/ 9881 h 19762"/>
                    <a:gd name="connsiteX1" fmla="*/ 10895 w 21789"/>
                    <a:gd name="connsiteY1" fmla="*/ 19762 h 19762"/>
                    <a:gd name="connsiteX2" fmla="*/ 0 w 21789"/>
                    <a:gd name="connsiteY2" fmla="*/ 9881 h 19762"/>
                    <a:gd name="connsiteX3" fmla="*/ 10895 w 21789"/>
                    <a:gd name="connsiteY3" fmla="*/ 0 h 19762"/>
                    <a:gd name="connsiteX4" fmla="*/ 21789 w 21789"/>
                    <a:gd name="connsiteY4" fmla="*/ 9881 h 19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9762">
                      <a:moveTo>
                        <a:pt x="21789" y="9881"/>
                      </a:moveTo>
                      <a:cubicBezTo>
                        <a:pt x="21789" y="15328"/>
                        <a:pt x="16849" y="19762"/>
                        <a:pt x="10895" y="19762"/>
                      </a:cubicBezTo>
                      <a:cubicBezTo>
                        <a:pt x="4814" y="19762"/>
                        <a:pt x="0" y="15328"/>
                        <a:pt x="0" y="9881"/>
                      </a:cubicBezTo>
                      <a:cubicBezTo>
                        <a:pt x="0" y="4434"/>
                        <a:pt x="4814" y="0"/>
                        <a:pt x="10895" y="0"/>
                      </a:cubicBezTo>
                      <a:cubicBezTo>
                        <a:pt x="16975" y="0"/>
                        <a:pt x="21789" y="4434"/>
                        <a:pt x="21789" y="98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51" name="Полилиния: фигура 450">
                  <a:extLst>
                    <a:ext uri="{FF2B5EF4-FFF2-40B4-BE49-F238E27FC236}">
                      <a16:creationId xmlns:a16="http://schemas.microsoft.com/office/drawing/2014/main" id="{D141898C-68E8-4263-9BC3-0C0761FD6755}"/>
                    </a:ext>
                  </a:extLst>
                </p:cNvPr>
                <p:cNvSpPr/>
                <p:nvPr/>
              </p:nvSpPr>
              <p:spPr>
                <a:xfrm>
                  <a:off x="13215728" y="4762677"/>
                  <a:ext cx="12414" cy="34584"/>
                </a:xfrm>
                <a:custGeom>
                  <a:avLst/>
                  <a:gdLst>
                    <a:gd name="connsiteX0" fmla="*/ 12415 w 12414"/>
                    <a:gd name="connsiteY0" fmla="*/ 17355 h 34584"/>
                    <a:gd name="connsiteX1" fmla="*/ 6207 w 12414"/>
                    <a:gd name="connsiteY1" fmla="*/ 34584 h 34584"/>
                    <a:gd name="connsiteX2" fmla="*/ 0 w 12414"/>
                    <a:gd name="connsiteY2" fmla="*/ 17355 h 34584"/>
                    <a:gd name="connsiteX3" fmla="*/ 6207 w 12414"/>
                    <a:gd name="connsiteY3" fmla="*/ 0 h 34584"/>
                    <a:gd name="connsiteX4" fmla="*/ 12415 w 12414"/>
                    <a:gd name="connsiteY4" fmla="*/ 17355 h 34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34584">
                      <a:moveTo>
                        <a:pt x="12415" y="17355"/>
                      </a:moveTo>
                      <a:cubicBezTo>
                        <a:pt x="12415" y="26857"/>
                        <a:pt x="9628" y="34584"/>
                        <a:pt x="6207" y="34584"/>
                      </a:cubicBezTo>
                      <a:cubicBezTo>
                        <a:pt x="2787" y="34584"/>
                        <a:pt x="0" y="26857"/>
                        <a:pt x="0" y="17355"/>
                      </a:cubicBezTo>
                      <a:cubicBezTo>
                        <a:pt x="0" y="7728"/>
                        <a:pt x="2787" y="0"/>
                        <a:pt x="6207" y="0"/>
                      </a:cubicBezTo>
                      <a:cubicBezTo>
                        <a:pt x="9628" y="127"/>
                        <a:pt x="12415" y="7854"/>
                        <a:pt x="12415" y="1735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52" name="Полилиния: фигура 451">
                  <a:extLst>
                    <a:ext uri="{FF2B5EF4-FFF2-40B4-BE49-F238E27FC236}">
                      <a16:creationId xmlns:a16="http://schemas.microsoft.com/office/drawing/2014/main" id="{BEB923BA-1C94-4AEE-896A-8BE0D1824D81}"/>
                    </a:ext>
                  </a:extLst>
                </p:cNvPr>
                <p:cNvSpPr/>
                <p:nvPr/>
              </p:nvSpPr>
              <p:spPr>
                <a:xfrm>
                  <a:off x="13184691" y="4768631"/>
                  <a:ext cx="8360" cy="11401"/>
                </a:xfrm>
                <a:custGeom>
                  <a:avLst/>
                  <a:gdLst>
                    <a:gd name="connsiteX0" fmla="*/ 8361 w 8360"/>
                    <a:gd name="connsiteY0" fmla="*/ 5701 h 11401"/>
                    <a:gd name="connsiteX1" fmla="*/ 4181 w 8360"/>
                    <a:gd name="connsiteY1" fmla="*/ 11401 h 11401"/>
                    <a:gd name="connsiteX2" fmla="*/ 0 w 8360"/>
                    <a:gd name="connsiteY2" fmla="*/ 5701 h 11401"/>
                    <a:gd name="connsiteX3" fmla="*/ 4181 w 8360"/>
                    <a:gd name="connsiteY3" fmla="*/ 0 h 11401"/>
                    <a:gd name="connsiteX4" fmla="*/ 8361 w 8360"/>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1401">
                      <a:moveTo>
                        <a:pt x="8361" y="5701"/>
                      </a:moveTo>
                      <a:cubicBezTo>
                        <a:pt x="8361" y="8868"/>
                        <a:pt x="6461" y="11401"/>
                        <a:pt x="4181" y="11401"/>
                      </a:cubicBezTo>
                      <a:cubicBezTo>
                        <a:pt x="1901" y="11401"/>
                        <a:pt x="0" y="8868"/>
                        <a:pt x="0" y="5701"/>
                      </a:cubicBezTo>
                      <a:cubicBezTo>
                        <a:pt x="0" y="2534"/>
                        <a:pt x="1901" y="0"/>
                        <a:pt x="4181" y="0"/>
                      </a:cubicBezTo>
                      <a:cubicBezTo>
                        <a:pt x="6461" y="0"/>
                        <a:pt x="8361" y="2660"/>
                        <a:pt x="8361" y="57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53" name="Полилиния: фигура 452">
                  <a:extLst>
                    <a:ext uri="{FF2B5EF4-FFF2-40B4-BE49-F238E27FC236}">
                      <a16:creationId xmlns:a16="http://schemas.microsoft.com/office/drawing/2014/main" id="{D3FD4E48-68C8-42CC-95FD-208711968E1C}"/>
                    </a:ext>
                  </a:extLst>
                </p:cNvPr>
                <p:cNvSpPr/>
                <p:nvPr/>
              </p:nvSpPr>
              <p:spPr>
                <a:xfrm>
                  <a:off x="13197866" y="4703263"/>
                  <a:ext cx="13935" cy="15835"/>
                </a:xfrm>
                <a:custGeom>
                  <a:avLst/>
                  <a:gdLst>
                    <a:gd name="connsiteX0" fmla="*/ 13936 w 13935"/>
                    <a:gd name="connsiteY0" fmla="*/ 7981 h 15835"/>
                    <a:gd name="connsiteX1" fmla="*/ 6968 w 13935"/>
                    <a:gd name="connsiteY1" fmla="*/ 15835 h 15835"/>
                    <a:gd name="connsiteX2" fmla="*/ 0 w 13935"/>
                    <a:gd name="connsiteY2" fmla="*/ 7981 h 15835"/>
                    <a:gd name="connsiteX3" fmla="*/ 6968 w 13935"/>
                    <a:gd name="connsiteY3" fmla="*/ 0 h 15835"/>
                    <a:gd name="connsiteX4" fmla="*/ 13936 w 13935"/>
                    <a:gd name="connsiteY4" fmla="*/ 7981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5835">
                      <a:moveTo>
                        <a:pt x="13936" y="7981"/>
                      </a:moveTo>
                      <a:cubicBezTo>
                        <a:pt x="13936" y="12288"/>
                        <a:pt x="10768" y="15835"/>
                        <a:pt x="6968" y="15835"/>
                      </a:cubicBezTo>
                      <a:cubicBezTo>
                        <a:pt x="3167" y="15835"/>
                        <a:pt x="0" y="12288"/>
                        <a:pt x="0" y="7981"/>
                      </a:cubicBezTo>
                      <a:cubicBezTo>
                        <a:pt x="0" y="3547"/>
                        <a:pt x="3167" y="0"/>
                        <a:pt x="6968" y="0"/>
                      </a:cubicBezTo>
                      <a:cubicBezTo>
                        <a:pt x="10895" y="127"/>
                        <a:pt x="13936" y="3674"/>
                        <a:pt x="13936" y="79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54" name="Полилиния: фигура 453">
                  <a:extLst>
                    <a:ext uri="{FF2B5EF4-FFF2-40B4-BE49-F238E27FC236}">
                      <a16:creationId xmlns:a16="http://schemas.microsoft.com/office/drawing/2014/main" id="{FE0D5465-1689-4395-B3AF-1BE66F11AC6F}"/>
                    </a:ext>
                  </a:extLst>
                </p:cNvPr>
                <p:cNvSpPr/>
                <p:nvPr/>
              </p:nvSpPr>
              <p:spPr>
                <a:xfrm>
                  <a:off x="13172271" y="4626617"/>
                  <a:ext cx="29170" cy="50632"/>
                </a:xfrm>
                <a:custGeom>
                  <a:avLst/>
                  <a:gdLst>
                    <a:gd name="connsiteX0" fmla="*/ 3299 w 29170"/>
                    <a:gd name="connsiteY0" fmla="*/ 22426 h 50632"/>
                    <a:gd name="connsiteX1" fmla="*/ 5 w 29170"/>
                    <a:gd name="connsiteY1" fmla="*/ 10517 h 50632"/>
                    <a:gd name="connsiteX2" fmla="*/ 3172 w 29170"/>
                    <a:gd name="connsiteY2" fmla="*/ 383 h 50632"/>
                    <a:gd name="connsiteX3" fmla="*/ 12293 w 29170"/>
                    <a:gd name="connsiteY3" fmla="*/ 6844 h 50632"/>
                    <a:gd name="connsiteX4" fmla="*/ 22301 w 29170"/>
                    <a:gd name="connsiteY4" fmla="*/ 8871 h 50632"/>
                    <a:gd name="connsiteX5" fmla="*/ 27874 w 29170"/>
                    <a:gd name="connsiteY5" fmla="*/ 16978 h 50632"/>
                    <a:gd name="connsiteX6" fmla="*/ 28255 w 29170"/>
                    <a:gd name="connsiteY6" fmla="*/ 38134 h 50632"/>
                    <a:gd name="connsiteX7" fmla="*/ 11786 w 29170"/>
                    <a:gd name="connsiteY7" fmla="*/ 49029 h 50632"/>
                    <a:gd name="connsiteX8" fmla="*/ 3299 w 29170"/>
                    <a:gd name="connsiteY8" fmla="*/ 22426 h 50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70" h="50632">
                      <a:moveTo>
                        <a:pt x="3299" y="22426"/>
                      </a:moveTo>
                      <a:cubicBezTo>
                        <a:pt x="2285" y="18499"/>
                        <a:pt x="-122" y="14698"/>
                        <a:pt x="5" y="10517"/>
                      </a:cubicBezTo>
                      <a:cubicBezTo>
                        <a:pt x="5" y="8237"/>
                        <a:pt x="892" y="1523"/>
                        <a:pt x="3172" y="383"/>
                      </a:cubicBezTo>
                      <a:cubicBezTo>
                        <a:pt x="6972" y="-1644"/>
                        <a:pt x="10012" y="4943"/>
                        <a:pt x="12293" y="6844"/>
                      </a:cubicBezTo>
                      <a:cubicBezTo>
                        <a:pt x="15713" y="9631"/>
                        <a:pt x="18373" y="7604"/>
                        <a:pt x="22301" y="8871"/>
                      </a:cubicBezTo>
                      <a:cubicBezTo>
                        <a:pt x="25975" y="10137"/>
                        <a:pt x="27114" y="13431"/>
                        <a:pt x="27874" y="16978"/>
                      </a:cubicBezTo>
                      <a:cubicBezTo>
                        <a:pt x="29395" y="23313"/>
                        <a:pt x="29648" y="31800"/>
                        <a:pt x="28255" y="38134"/>
                      </a:cubicBezTo>
                      <a:cubicBezTo>
                        <a:pt x="26608" y="46242"/>
                        <a:pt x="20274" y="54096"/>
                        <a:pt x="11786" y="49029"/>
                      </a:cubicBezTo>
                      <a:cubicBezTo>
                        <a:pt x="1652" y="42695"/>
                        <a:pt x="5705" y="31927"/>
                        <a:pt x="3299" y="2242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55" name="Полилиния: фигура 454">
                  <a:extLst>
                    <a:ext uri="{FF2B5EF4-FFF2-40B4-BE49-F238E27FC236}">
                      <a16:creationId xmlns:a16="http://schemas.microsoft.com/office/drawing/2014/main" id="{8FFEEADB-8B59-445B-8FF1-C81FBBF47FF1}"/>
                    </a:ext>
                  </a:extLst>
                </p:cNvPr>
                <p:cNvSpPr/>
                <p:nvPr/>
              </p:nvSpPr>
              <p:spPr>
                <a:xfrm>
                  <a:off x="13112778" y="4378368"/>
                  <a:ext cx="64907" cy="152999"/>
                </a:xfrm>
                <a:custGeom>
                  <a:avLst/>
                  <a:gdLst>
                    <a:gd name="connsiteX0" fmla="*/ 19592 w 64907"/>
                    <a:gd name="connsiteY0" fmla="*/ 62915 h 152999"/>
                    <a:gd name="connsiteX1" fmla="*/ 1983 w 64907"/>
                    <a:gd name="connsiteY1" fmla="*/ 28838 h 152999"/>
                    <a:gd name="connsiteX2" fmla="*/ 6924 w 64907"/>
                    <a:gd name="connsiteY2" fmla="*/ 1221 h 152999"/>
                    <a:gd name="connsiteX3" fmla="*/ 27827 w 64907"/>
                    <a:gd name="connsiteY3" fmla="*/ 16043 h 152999"/>
                    <a:gd name="connsiteX4" fmla="*/ 50757 w 64907"/>
                    <a:gd name="connsiteY4" fmla="*/ 42013 h 152999"/>
                    <a:gd name="connsiteX5" fmla="*/ 64818 w 64907"/>
                    <a:gd name="connsiteY5" fmla="*/ 69756 h 152999"/>
                    <a:gd name="connsiteX6" fmla="*/ 53037 w 64907"/>
                    <a:gd name="connsiteY6" fmla="*/ 100920 h 152999"/>
                    <a:gd name="connsiteX7" fmla="*/ 46956 w 64907"/>
                    <a:gd name="connsiteY7" fmla="*/ 141205 h 152999"/>
                    <a:gd name="connsiteX8" fmla="*/ 19846 w 64907"/>
                    <a:gd name="connsiteY8" fmla="*/ 142725 h 152999"/>
                    <a:gd name="connsiteX9" fmla="*/ 14905 w 64907"/>
                    <a:gd name="connsiteY9" fmla="*/ 123596 h 152999"/>
                    <a:gd name="connsiteX10" fmla="*/ 20606 w 64907"/>
                    <a:gd name="connsiteY10" fmla="*/ 108014 h 152999"/>
                    <a:gd name="connsiteX11" fmla="*/ 19592 w 64907"/>
                    <a:gd name="connsiteY11" fmla="*/ 62915 h 15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907" h="152999">
                      <a:moveTo>
                        <a:pt x="19592" y="62915"/>
                      </a:moveTo>
                      <a:cubicBezTo>
                        <a:pt x="15032" y="50880"/>
                        <a:pt x="6164" y="40999"/>
                        <a:pt x="1983" y="28838"/>
                      </a:cubicBezTo>
                      <a:cubicBezTo>
                        <a:pt x="-803" y="20730"/>
                        <a:pt x="-1817" y="6415"/>
                        <a:pt x="6924" y="1221"/>
                      </a:cubicBezTo>
                      <a:cubicBezTo>
                        <a:pt x="16172" y="-4226"/>
                        <a:pt x="23900" y="9962"/>
                        <a:pt x="27827" y="16043"/>
                      </a:cubicBezTo>
                      <a:cubicBezTo>
                        <a:pt x="34414" y="26304"/>
                        <a:pt x="41255" y="34412"/>
                        <a:pt x="50757" y="42013"/>
                      </a:cubicBezTo>
                      <a:cubicBezTo>
                        <a:pt x="59877" y="49234"/>
                        <a:pt x="65705" y="57595"/>
                        <a:pt x="64818" y="69756"/>
                      </a:cubicBezTo>
                      <a:cubicBezTo>
                        <a:pt x="63931" y="81411"/>
                        <a:pt x="57344" y="90532"/>
                        <a:pt x="53037" y="100920"/>
                      </a:cubicBezTo>
                      <a:cubicBezTo>
                        <a:pt x="47842" y="113588"/>
                        <a:pt x="51390" y="128410"/>
                        <a:pt x="46956" y="141205"/>
                      </a:cubicBezTo>
                      <a:cubicBezTo>
                        <a:pt x="41762" y="156407"/>
                        <a:pt x="26813" y="156914"/>
                        <a:pt x="19846" y="142725"/>
                      </a:cubicBezTo>
                      <a:cubicBezTo>
                        <a:pt x="17185" y="137405"/>
                        <a:pt x="13639" y="129677"/>
                        <a:pt x="14905" y="123596"/>
                      </a:cubicBezTo>
                      <a:cubicBezTo>
                        <a:pt x="16046" y="118276"/>
                        <a:pt x="19339" y="113462"/>
                        <a:pt x="20606" y="108014"/>
                      </a:cubicBezTo>
                      <a:cubicBezTo>
                        <a:pt x="24406" y="93192"/>
                        <a:pt x="25166" y="77484"/>
                        <a:pt x="19592" y="6291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56" name="Полилиния: фигура 455">
                  <a:extLst>
                    <a:ext uri="{FF2B5EF4-FFF2-40B4-BE49-F238E27FC236}">
                      <a16:creationId xmlns:a16="http://schemas.microsoft.com/office/drawing/2014/main" id="{3D200374-CFC3-4852-96CA-B424B8C7AD95}"/>
                    </a:ext>
                  </a:extLst>
                </p:cNvPr>
                <p:cNvSpPr/>
                <p:nvPr/>
              </p:nvSpPr>
              <p:spPr>
                <a:xfrm>
                  <a:off x="13056288" y="4405939"/>
                  <a:ext cx="27517" cy="16595"/>
                </a:xfrm>
                <a:custGeom>
                  <a:avLst/>
                  <a:gdLst>
                    <a:gd name="connsiteX0" fmla="*/ 579 w 27517"/>
                    <a:gd name="connsiteY0" fmla="*/ 11275 h 16595"/>
                    <a:gd name="connsiteX1" fmla="*/ 19835 w 27517"/>
                    <a:gd name="connsiteY1" fmla="*/ 0 h 16595"/>
                    <a:gd name="connsiteX2" fmla="*/ 26550 w 27517"/>
                    <a:gd name="connsiteY2" fmla="*/ 3041 h 16595"/>
                    <a:gd name="connsiteX3" fmla="*/ 24270 w 27517"/>
                    <a:gd name="connsiteY3" fmla="*/ 9755 h 16595"/>
                    <a:gd name="connsiteX4" fmla="*/ 8814 w 27517"/>
                    <a:gd name="connsiteY4" fmla="*/ 16595 h 16595"/>
                    <a:gd name="connsiteX5" fmla="*/ 579 w 27517"/>
                    <a:gd name="connsiteY5" fmla="*/ 11275 h 1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17" h="16595">
                      <a:moveTo>
                        <a:pt x="579" y="11275"/>
                      </a:moveTo>
                      <a:cubicBezTo>
                        <a:pt x="-3348" y="1394"/>
                        <a:pt x="13755" y="127"/>
                        <a:pt x="19835" y="0"/>
                      </a:cubicBezTo>
                      <a:cubicBezTo>
                        <a:pt x="21989" y="0"/>
                        <a:pt x="25156" y="1394"/>
                        <a:pt x="26550" y="3041"/>
                      </a:cubicBezTo>
                      <a:cubicBezTo>
                        <a:pt x="28830" y="5701"/>
                        <a:pt x="26676" y="7981"/>
                        <a:pt x="24270" y="9755"/>
                      </a:cubicBezTo>
                      <a:cubicBezTo>
                        <a:pt x="19835" y="12795"/>
                        <a:pt x="14261" y="16469"/>
                        <a:pt x="8814" y="16595"/>
                      </a:cubicBezTo>
                      <a:cubicBezTo>
                        <a:pt x="5014" y="16595"/>
                        <a:pt x="1973" y="14695"/>
                        <a:pt x="579" y="1127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57" name="Полилиния: фигура 456">
                  <a:extLst>
                    <a:ext uri="{FF2B5EF4-FFF2-40B4-BE49-F238E27FC236}">
                      <a16:creationId xmlns:a16="http://schemas.microsoft.com/office/drawing/2014/main" id="{29D4D6CB-9641-491A-8DC7-BDF990DAC672}"/>
                    </a:ext>
                  </a:extLst>
                </p:cNvPr>
                <p:cNvSpPr/>
                <p:nvPr/>
              </p:nvSpPr>
              <p:spPr>
                <a:xfrm>
                  <a:off x="13142648" y="4345737"/>
                  <a:ext cx="28854" cy="28442"/>
                </a:xfrm>
                <a:custGeom>
                  <a:avLst/>
                  <a:gdLst>
                    <a:gd name="connsiteX0" fmla="*/ 2012 w 28854"/>
                    <a:gd name="connsiteY0" fmla="*/ 1041 h 28442"/>
                    <a:gd name="connsiteX1" fmla="*/ 14933 w 28854"/>
                    <a:gd name="connsiteY1" fmla="*/ 7249 h 28442"/>
                    <a:gd name="connsiteX2" fmla="*/ 25448 w 28854"/>
                    <a:gd name="connsiteY2" fmla="*/ 18270 h 28442"/>
                    <a:gd name="connsiteX3" fmla="*/ 28361 w 28854"/>
                    <a:gd name="connsiteY3" fmla="*/ 26124 h 28442"/>
                    <a:gd name="connsiteX4" fmla="*/ 22660 w 28854"/>
                    <a:gd name="connsiteY4" fmla="*/ 28151 h 28442"/>
                    <a:gd name="connsiteX5" fmla="*/ 14046 w 28854"/>
                    <a:gd name="connsiteY5" fmla="*/ 24731 h 28442"/>
                    <a:gd name="connsiteX6" fmla="*/ 9359 w 28854"/>
                    <a:gd name="connsiteY6" fmla="*/ 17510 h 28442"/>
                    <a:gd name="connsiteX7" fmla="*/ 4672 w 28854"/>
                    <a:gd name="connsiteY7" fmla="*/ 11303 h 28442"/>
                    <a:gd name="connsiteX8" fmla="*/ 2012 w 28854"/>
                    <a:gd name="connsiteY8" fmla="*/ 1041 h 2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4" h="28442">
                      <a:moveTo>
                        <a:pt x="2012" y="1041"/>
                      </a:moveTo>
                      <a:cubicBezTo>
                        <a:pt x="7839" y="-2253"/>
                        <a:pt x="12273" y="2942"/>
                        <a:pt x="14933" y="7249"/>
                      </a:cubicBezTo>
                      <a:cubicBezTo>
                        <a:pt x="17593" y="11556"/>
                        <a:pt x="21900" y="14723"/>
                        <a:pt x="25448" y="18270"/>
                      </a:cubicBezTo>
                      <a:cubicBezTo>
                        <a:pt x="27601" y="20550"/>
                        <a:pt x="29881" y="22704"/>
                        <a:pt x="28361" y="26124"/>
                      </a:cubicBezTo>
                      <a:cubicBezTo>
                        <a:pt x="27221" y="28785"/>
                        <a:pt x="25194" y="28658"/>
                        <a:pt x="22660" y="28151"/>
                      </a:cubicBezTo>
                      <a:cubicBezTo>
                        <a:pt x="19747" y="27518"/>
                        <a:pt x="16326" y="26884"/>
                        <a:pt x="14046" y="24731"/>
                      </a:cubicBezTo>
                      <a:cubicBezTo>
                        <a:pt x="11893" y="22704"/>
                        <a:pt x="11133" y="19790"/>
                        <a:pt x="9359" y="17510"/>
                      </a:cubicBezTo>
                      <a:cubicBezTo>
                        <a:pt x="7712" y="15483"/>
                        <a:pt x="6319" y="13330"/>
                        <a:pt x="4672" y="11303"/>
                      </a:cubicBezTo>
                      <a:cubicBezTo>
                        <a:pt x="2518" y="8896"/>
                        <a:pt x="-2929" y="3828"/>
                        <a:pt x="2012" y="10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grpSp>
          <p:nvGrpSpPr>
            <p:cNvPr id="458" name="Рисунок 388">
              <a:extLst>
                <a:ext uri="{FF2B5EF4-FFF2-40B4-BE49-F238E27FC236}">
                  <a16:creationId xmlns:a16="http://schemas.microsoft.com/office/drawing/2014/main" id="{1DA397FD-DC6E-439E-BB40-D0F80476817D}"/>
                </a:ext>
              </a:extLst>
            </p:cNvPr>
            <p:cNvGrpSpPr/>
            <p:nvPr/>
          </p:nvGrpSpPr>
          <p:grpSpPr>
            <a:xfrm>
              <a:off x="12441191" y="2983468"/>
              <a:ext cx="917473" cy="1320071"/>
              <a:chOff x="12441191" y="2983468"/>
              <a:chExt cx="917473" cy="1320071"/>
            </a:xfrm>
            <a:solidFill>
              <a:srgbClr val="E3E8EC"/>
            </a:solidFill>
          </p:grpSpPr>
          <p:sp>
            <p:nvSpPr>
              <p:cNvPr id="459" name="Полилиния: фигура 458">
                <a:extLst>
                  <a:ext uri="{FF2B5EF4-FFF2-40B4-BE49-F238E27FC236}">
                    <a16:creationId xmlns:a16="http://schemas.microsoft.com/office/drawing/2014/main" id="{F6DCD1F3-4F9B-435F-9827-E31C990A3FCC}"/>
                  </a:ext>
                </a:extLst>
              </p:cNvPr>
              <p:cNvSpPr/>
              <p:nvPr/>
            </p:nvSpPr>
            <p:spPr>
              <a:xfrm>
                <a:off x="12441191" y="3111117"/>
                <a:ext cx="712822" cy="1192422"/>
              </a:xfrm>
              <a:custGeom>
                <a:avLst/>
                <a:gdLst>
                  <a:gd name="connsiteX0" fmla="*/ 661410 w 712822"/>
                  <a:gd name="connsiteY0" fmla="*/ 1183088 h 1192422"/>
                  <a:gd name="connsiteX1" fmla="*/ 623278 w 712822"/>
                  <a:gd name="connsiteY1" fmla="*/ 1165479 h 1192422"/>
                  <a:gd name="connsiteX2" fmla="*/ 590721 w 712822"/>
                  <a:gd name="connsiteY2" fmla="*/ 1147997 h 1192422"/>
                  <a:gd name="connsiteX3" fmla="*/ 576786 w 712822"/>
                  <a:gd name="connsiteY3" fmla="*/ 1124307 h 1192422"/>
                  <a:gd name="connsiteX4" fmla="*/ 553222 w 712822"/>
                  <a:gd name="connsiteY4" fmla="*/ 1096944 h 1192422"/>
                  <a:gd name="connsiteX5" fmla="*/ 527126 w 712822"/>
                  <a:gd name="connsiteY5" fmla="*/ 1081235 h 1192422"/>
                  <a:gd name="connsiteX6" fmla="*/ 498876 w 712822"/>
                  <a:gd name="connsiteY6" fmla="*/ 1069960 h 1192422"/>
                  <a:gd name="connsiteX7" fmla="*/ 483547 w 712822"/>
                  <a:gd name="connsiteY7" fmla="*/ 1046904 h 1192422"/>
                  <a:gd name="connsiteX8" fmla="*/ 456057 w 712822"/>
                  <a:gd name="connsiteY8" fmla="*/ 1029929 h 1192422"/>
                  <a:gd name="connsiteX9" fmla="*/ 425907 w 712822"/>
                  <a:gd name="connsiteY9" fmla="*/ 1023341 h 1192422"/>
                  <a:gd name="connsiteX10" fmla="*/ 390815 w 712822"/>
                  <a:gd name="connsiteY10" fmla="*/ 998638 h 1192422"/>
                  <a:gd name="connsiteX11" fmla="*/ 352937 w 712822"/>
                  <a:gd name="connsiteY11" fmla="*/ 971148 h 1192422"/>
                  <a:gd name="connsiteX12" fmla="*/ 311513 w 712822"/>
                  <a:gd name="connsiteY12" fmla="*/ 948599 h 1192422"/>
                  <a:gd name="connsiteX13" fmla="*/ 289343 w 712822"/>
                  <a:gd name="connsiteY13" fmla="*/ 927949 h 1192422"/>
                  <a:gd name="connsiteX14" fmla="*/ 266414 w 712822"/>
                  <a:gd name="connsiteY14" fmla="*/ 913761 h 1192422"/>
                  <a:gd name="connsiteX15" fmla="*/ 239177 w 712822"/>
                  <a:gd name="connsiteY15" fmla="*/ 881837 h 1192422"/>
                  <a:gd name="connsiteX16" fmla="*/ 207126 w 712822"/>
                  <a:gd name="connsiteY16" fmla="*/ 859414 h 1192422"/>
                  <a:gd name="connsiteX17" fmla="*/ 155819 w 712822"/>
                  <a:gd name="connsiteY17" fmla="*/ 840538 h 1192422"/>
                  <a:gd name="connsiteX18" fmla="*/ 132257 w 712822"/>
                  <a:gd name="connsiteY18" fmla="*/ 825210 h 1192422"/>
                  <a:gd name="connsiteX19" fmla="*/ 94758 w 712822"/>
                  <a:gd name="connsiteY19" fmla="*/ 784291 h 1192422"/>
                  <a:gd name="connsiteX20" fmla="*/ 32684 w 712822"/>
                  <a:gd name="connsiteY20" fmla="*/ 720950 h 1192422"/>
                  <a:gd name="connsiteX21" fmla="*/ 0 w 712822"/>
                  <a:gd name="connsiteY21" fmla="*/ 703088 h 1192422"/>
                  <a:gd name="connsiteX22" fmla="*/ 3547 w 712822"/>
                  <a:gd name="connsiteY22" fmla="*/ 701568 h 1192422"/>
                  <a:gd name="connsiteX23" fmla="*/ 32304 w 712822"/>
                  <a:gd name="connsiteY23" fmla="*/ 698274 h 1192422"/>
                  <a:gd name="connsiteX24" fmla="*/ 62962 w 712822"/>
                  <a:gd name="connsiteY24" fmla="*/ 684719 h 1192422"/>
                  <a:gd name="connsiteX25" fmla="*/ 78163 w 712822"/>
                  <a:gd name="connsiteY25" fmla="*/ 645954 h 1192422"/>
                  <a:gd name="connsiteX26" fmla="*/ 94885 w 712822"/>
                  <a:gd name="connsiteY26" fmla="*/ 610230 h 1192422"/>
                  <a:gd name="connsiteX27" fmla="*/ 112241 w 712822"/>
                  <a:gd name="connsiteY27" fmla="*/ 588440 h 1192422"/>
                  <a:gd name="connsiteX28" fmla="*/ 145052 w 712822"/>
                  <a:gd name="connsiteY28" fmla="*/ 580333 h 1192422"/>
                  <a:gd name="connsiteX29" fmla="*/ 140364 w 712822"/>
                  <a:gd name="connsiteY29" fmla="*/ 548408 h 1192422"/>
                  <a:gd name="connsiteX30" fmla="*/ 150245 w 712822"/>
                  <a:gd name="connsiteY30" fmla="*/ 504576 h 1192422"/>
                  <a:gd name="connsiteX31" fmla="*/ 132130 w 712822"/>
                  <a:gd name="connsiteY31" fmla="*/ 471385 h 1192422"/>
                  <a:gd name="connsiteX32" fmla="*/ 91972 w 712822"/>
                  <a:gd name="connsiteY32" fmla="*/ 481140 h 1192422"/>
                  <a:gd name="connsiteX33" fmla="*/ 52574 w 712822"/>
                  <a:gd name="connsiteY33" fmla="*/ 481267 h 1192422"/>
                  <a:gd name="connsiteX34" fmla="*/ 32811 w 712822"/>
                  <a:gd name="connsiteY34" fmla="*/ 416152 h 1192422"/>
                  <a:gd name="connsiteX35" fmla="*/ 72842 w 712822"/>
                  <a:gd name="connsiteY35" fmla="*/ 385115 h 1192422"/>
                  <a:gd name="connsiteX36" fmla="*/ 106920 w 712822"/>
                  <a:gd name="connsiteY36" fmla="*/ 380808 h 1192422"/>
                  <a:gd name="connsiteX37" fmla="*/ 122502 w 712822"/>
                  <a:gd name="connsiteY37" fmla="*/ 357371 h 1192422"/>
                  <a:gd name="connsiteX38" fmla="*/ 133397 w 712822"/>
                  <a:gd name="connsiteY38" fmla="*/ 324307 h 1192422"/>
                  <a:gd name="connsiteX39" fmla="*/ 132637 w 712822"/>
                  <a:gd name="connsiteY39" fmla="*/ 269580 h 1192422"/>
                  <a:gd name="connsiteX40" fmla="*/ 124149 w 712822"/>
                  <a:gd name="connsiteY40" fmla="*/ 232716 h 1192422"/>
                  <a:gd name="connsiteX41" fmla="*/ 114141 w 712822"/>
                  <a:gd name="connsiteY41" fmla="*/ 199525 h 1192422"/>
                  <a:gd name="connsiteX42" fmla="*/ 110341 w 712822"/>
                  <a:gd name="connsiteY42" fmla="*/ 177356 h 1192422"/>
                  <a:gd name="connsiteX43" fmla="*/ 92858 w 712822"/>
                  <a:gd name="connsiteY43" fmla="*/ 149485 h 1192422"/>
                  <a:gd name="connsiteX44" fmla="*/ 93998 w 712822"/>
                  <a:gd name="connsiteY44" fmla="*/ 109580 h 1192422"/>
                  <a:gd name="connsiteX45" fmla="*/ 148345 w 712822"/>
                  <a:gd name="connsiteY45" fmla="*/ 93618 h 1192422"/>
                  <a:gd name="connsiteX46" fmla="*/ 170642 w 712822"/>
                  <a:gd name="connsiteY46" fmla="*/ 62708 h 1192422"/>
                  <a:gd name="connsiteX47" fmla="*/ 189770 w 712822"/>
                  <a:gd name="connsiteY47" fmla="*/ 31924 h 1192422"/>
                  <a:gd name="connsiteX48" fmla="*/ 221821 w 712822"/>
                  <a:gd name="connsiteY48" fmla="*/ 1647 h 1192422"/>
                  <a:gd name="connsiteX49" fmla="*/ 224482 w 712822"/>
                  <a:gd name="connsiteY49" fmla="*/ 0 h 1192422"/>
                  <a:gd name="connsiteX50" fmla="*/ 255392 w 712822"/>
                  <a:gd name="connsiteY50" fmla="*/ 34458 h 1192422"/>
                  <a:gd name="connsiteX51" fmla="*/ 277435 w 712822"/>
                  <a:gd name="connsiteY51" fmla="*/ 39145 h 1192422"/>
                  <a:gd name="connsiteX52" fmla="*/ 302391 w 712822"/>
                  <a:gd name="connsiteY52" fmla="*/ 59794 h 1192422"/>
                  <a:gd name="connsiteX53" fmla="*/ 325828 w 712822"/>
                  <a:gd name="connsiteY53" fmla="*/ 45732 h 1192422"/>
                  <a:gd name="connsiteX54" fmla="*/ 387522 w 712822"/>
                  <a:gd name="connsiteY54" fmla="*/ 56754 h 1192422"/>
                  <a:gd name="connsiteX55" fmla="*/ 426287 w 712822"/>
                  <a:gd name="connsiteY55" fmla="*/ 119968 h 1192422"/>
                  <a:gd name="connsiteX56" fmla="*/ 366746 w 712822"/>
                  <a:gd name="connsiteY56" fmla="*/ 148472 h 1192422"/>
                  <a:gd name="connsiteX57" fmla="*/ 384481 w 712822"/>
                  <a:gd name="connsiteY57" fmla="*/ 218654 h 1192422"/>
                  <a:gd name="connsiteX58" fmla="*/ 421346 w 712822"/>
                  <a:gd name="connsiteY58" fmla="*/ 286556 h 1192422"/>
                  <a:gd name="connsiteX59" fmla="*/ 491782 w 712822"/>
                  <a:gd name="connsiteY59" fmla="*/ 318606 h 1192422"/>
                  <a:gd name="connsiteX60" fmla="*/ 548535 w 712822"/>
                  <a:gd name="connsiteY60" fmla="*/ 352811 h 1192422"/>
                  <a:gd name="connsiteX61" fmla="*/ 534854 w 712822"/>
                  <a:gd name="connsiteY61" fmla="*/ 423119 h 1192422"/>
                  <a:gd name="connsiteX62" fmla="*/ 500269 w 712822"/>
                  <a:gd name="connsiteY62" fmla="*/ 455677 h 1192422"/>
                  <a:gd name="connsiteX63" fmla="*/ 505083 w 712822"/>
                  <a:gd name="connsiteY63" fmla="*/ 508884 h 1192422"/>
                  <a:gd name="connsiteX64" fmla="*/ 519271 w 712822"/>
                  <a:gd name="connsiteY64" fmla="*/ 535994 h 1192422"/>
                  <a:gd name="connsiteX65" fmla="*/ 519905 w 712822"/>
                  <a:gd name="connsiteY65" fmla="*/ 557150 h 1192422"/>
                  <a:gd name="connsiteX66" fmla="*/ 531053 w 712822"/>
                  <a:gd name="connsiteY66" fmla="*/ 598955 h 1192422"/>
                  <a:gd name="connsiteX67" fmla="*/ 561963 w 712822"/>
                  <a:gd name="connsiteY67" fmla="*/ 626445 h 1192422"/>
                  <a:gd name="connsiteX68" fmla="*/ 602122 w 712822"/>
                  <a:gd name="connsiteY68" fmla="*/ 658622 h 1192422"/>
                  <a:gd name="connsiteX69" fmla="*/ 640000 w 712822"/>
                  <a:gd name="connsiteY69" fmla="*/ 677625 h 1192422"/>
                  <a:gd name="connsiteX70" fmla="*/ 605289 w 712822"/>
                  <a:gd name="connsiteY70" fmla="*/ 703975 h 1192422"/>
                  <a:gd name="connsiteX71" fmla="*/ 579066 w 712822"/>
                  <a:gd name="connsiteY71" fmla="*/ 789105 h 1192422"/>
                  <a:gd name="connsiteX72" fmla="*/ 550182 w 712822"/>
                  <a:gd name="connsiteY72" fmla="*/ 811275 h 1192422"/>
                  <a:gd name="connsiteX73" fmla="*/ 588440 w 712822"/>
                  <a:gd name="connsiteY73" fmla="*/ 819636 h 1192422"/>
                  <a:gd name="connsiteX74" fmla="*/ 604276 w 712822"/>
                  <a:gd name="connsiteY74" fmla="*/ 853460 h 1192422"/>
                  <a:gd name="connsiteX75" fmla="*/ 631132 w 712822"/>
                  <a:gd name="connsiteY75" fmla="*/ 884751 h 1192422"/>
                  <a:gd name="connsiteX76" fmla="*/ 654315 w 712822"/>
                  <a:gd name="connsiteY76" fmla="*/ 912874 h 1192422"/>
                  <a:gd name="connsiteX77" fmla="*/ 680792 w 712822"/>
                  <a:gd name="connsiteY77" fmla="*/ 985843 h 1192422"/>
                  <a:gd name="connsiteX78" fmla="*/ 695613 w 712822"/>
                  <a:gd name="connsiteY78" fmla="*/ 1023468 h 1192422"/>
                  <a:gd name="connsiteX79" fmla="*/ 691433 w 712822"/>
                  <a:gd name="connsiteY79" fmla="*/ 1062359 h 1192422"/>
                  <a:gd name="connsiteX80" fmla="*/ 699667 w 712822"/>
                  <a:gd name="connsiteY80" fmla="*/ 1097071 h 1192422"/>
                  <a:gd name="connsiteX81" fmla="*/ 699794 w 712822"/>
                  <a:gd name="connsiteY81" fmla="*/ 1129121 h 1192422"/>
                  <a:gd name="connsiteX82" fmla="*/ 711829 w 712822"/>
                  <a:gd name="connsiteY82" fmla="*/ 1169406 h 1192422"/>
                  <a:gd name="connsiteX83" fmla="*/ 661410 w 712822"/>
                  <a:gd name="connsiteY83" fmla="*/ 1183088 h 119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12822" h="1192422">
                    <a:moveTo>
                      <a:pt x="661410" y="1183088"/>
                    </a:moveTo>
                    <a:cubicBezTo>
                      <a:pt x="647981" y="1179034"/>
                      <a:pt x="635566" y="1172193"/>
                      <a:pt x="623278" y="1165479"/>
                    </a:cubicBezTo>
                    <a:cubicBezTo>
                      <a:pt x="613270" y="1160032"/>
                      <a:pt x="598828" y="1155851"/>
                      <a:pt x="590721" y="1147997"/>
                    </a:cubicBezTo>
                    <a:cubicBezTo>
                      <a:pt x="584386" y="1142043"/>
                      <a:pt x="581473" y="1131655"/>
                      <a:pt x="576786" y="1124307"/>
                    </a:cubicBezTo>
                    <a:cubicBezTo>
                      <a:pt x="570325" y="1114046"/>
                      <a:pt x="563104" y="1104292"/>
                      <a:pt x="553222" y="1096944"/>
                    </a:cubicBezTo>
                    <a:cubicBezTo>
                      <a:pt x="545368" y="1091116"/>
                      <a:pt x="536500" y="1084022"/>
                      <a:pt x="527126" y="1081235"/>
                    </a:cubicBezTo>
                    <a:cubicBezTo>
                      <a:pt x="516864" y="1078195"/>
                      <a:pt x="507363" y="1077561"/>
                      <a:pt x="498876" y="1069960"/>
                    </a:cubicBezTo>
                    <a:cubicBezTo>
                      <a:pt x="491655" y="1063500"/>
                      <a:pt x="489121" y="1054252"/>
                      <a:pt x="483547" y="1046904"/>
                    </a:cubicBezTo>
                    <a:cubicBezTo>
                      <a:pt x="476960" y="1038290"/>
                      <a:pt x="466572" y="1032842"/>
                      <a:pt x="456057" y="1029929"/>
                    </a:cubicBezTo>
                    <a:cubicBezTo>
                      <a:pt x="446176" y="1027142"/>
                      <a:pt x="435661" y="1026508"/>
                      <a:pt x="425907" y="1023341"/>
                    </a:cubicBezTo>
                    <a:cubicBezTo>
                      <a:pt x="413745" y="1019287"/>
                      <a:pt x="400316" y="1006999"/>
                      <a:pt x="390815" y="998638"/>
                    </a:cubicBezTo>
                    <a:cubicBezTo>
                      <a:pt x="379668" y="988884"/>
                      <a:pt x="365606" y="977989"/>
                      <a:pt x="352937" y="971148"/>
                    </a:cubicBezTo>
                    <a:cubicBezTo>
                      <a:pt x="338749" y="963420"/>
                      <a:pt x="325321" y="957340"/>
                      <a:pt x="311513" y="948599"/>
                    </a:cubicBezTo>
                    <a:cubicBezTo>
                      <a:pt x="303024" y="943278"/>
                      <a:pt x="296817" y="934537"/>
                      <a:pt x="289343" y="927949"/>
                    </a:cubicBezTo>
                    <a:cubicBezTo>
                      <a:pt x="281995" y="921488"/>
                      <a:pt x="273127" y="919335"/>
                      <a:pt x="266414" y="913761"/>
                    </a:cubicBezTo>
                    <a:cubicBezTo>
                      <a:pt x="256152" y="905273"/>
                      <a:pt x="248931" y="891338"/>
                      <a:pt x="239177" y="881837"/>
                    </a:cubicBezTo>
                    <a:cubicBezTo>
                      <a:pt x="229802" y="872589"/>
                      <a:pt x="219034" y="864608"/>
                      <a:pt x="207126" y="859414"/>
                    </a:cubicBezTo>
                    <a:cubicBezTo>
                      <a:pt x="190277" y="852193"/>
                      <a:pt x="172415" y="848900"/>
                      <a:pt x="155819" y="840538"/>
                    </a:cubicBezTo>
                    <a:cubicBezTo>
                      <a:pt x="147459" y="836358"/>
                      <a:pt x="139351" y="831417"/>
                      <a:pt x="132257" y="825210"/>
                    </a:cubicBezTo>
                    <a:cubicBezTo>
                      <a:pt x="118575" y="813302"/>
                      <a:pt x="108061" y="796960"/>
                      <a:pt x="94758" y="784291"/>
                    </a:cubicBezTo>
                    <a:cubicBezTo>
                      <a:pt x="73223" y="763895"/>
                      <a:pt x="59034" y="736152"/>
                      <a:pt x="32684" y="720950"/>
                    </a:cubicBezTo>
                    <a:cubicBezTo>
                      <a:pt x="22043" y="714743"/>
                      <a:pt x="9628" y="710815"/>
                      <a:pt x="0" y="703088"/>
                    </a:cubicBezTo>
                    <a:cubicBezTo>
                      <a:pt x="1140" y="702581"/>
                      <a:pt x="2407" y="702075"/>
                      <a:pt x="3547" y="701568"/>
                    </a:cubicBezTo>
                    <a:cubicBezTo>
                      <a:pt x="12795" y="697767"/>
                      <a:pt x="22550" y="699414"/>
                      <a:pt x="32304" y="698274"/>
                    </a:cubicBezTo>
                    <a:cubicBezTo>
                      <a:pt x="43452" y="697007"/>
                      <a:pt x="54727" y="692320"/>
                      <a:pt x="62962" y="684719"/>
                    </a:cubicBezTo>
                    <a:cubicBezTo>
                      <a:pt x="73983" y="674584"/>
                      <a:pt x="75376" y="659889"/>
                      <a:pt x="78163" y="645954"/>
                    </a:cubicBezTo>
                    <a:cubicBezTo>
                      <a:pt x="81077" y="631892"/>
                      <a:pt x="86777" y="621884"/>
                      <a:pt x="94885" y="610230"/>
                    </a:cubicBezTo>
                    <a:cubicBezTo>
                      <a:pt x="100332" y="602629"/>
                      <a:pt x="102866" y="592494"/>
                      <a:pt x="112241" y="588440"/>
                    </a:cubicBezTo>
                    <a:cubicBezTo>
                      <a:pt x="120602" y="584766"/>
                      <a:pt x="139857" y="588820"/>
                      <a:pt x="145052" y="580333"/>
                    </a:cubicBezTo>
                    <a:cubicBezTo>
                      <a:pt x="149866" y="572478"/>
                      <a:pt x="139857" y="557276"/>
                      <a:pt x="140364" y="548408"/>
                    </a:cubicBezTo>
                    <a:cubicBezTo>
                      <a:pt x="141125" y="533460"/>
                      <a:pt x="149866" y="520032"/>
                      <a:pt x="150245" y="504576"/>
                    </a:cubicBezTo>
                    <a:cubicBezTo>
                      <a:pt x="150626" y="491908"/>
                      <a:pt x="147459" y="473412"/>
                      <a:pt x="132130" y="471385"/>
                    </a:cubicBezTo>
                    <a:cubicBezTo>
                      <a:pt x="118828" y="469612"/>
                      <a:pt x="104513" y="477846"/>
                      <a:pt x="91972" y="481140"/>
                    </a:cubicBezTo>
                    <a:cubicBezTo>
                      <a:pt x="78923" y="484561"/>
                      <a:pt x="65621" y="485194"/>
                      <a:pt x="52574" y="481267"/>
                    </a:cubicBezTo>
                    <a:cubicBezTo>
                      <a:pt x="24450" y="472652"/>
                      <a:pt x="18749" y="439842"/>
                      <a:pt x="32811" y="416152"/>
                    </a:cubicBezTo>
                    <a:cubicBezTo>
                      <a:pt x="41425" y="401583"/>
                      <a:pt x="57388" y="391196"/>
                      <a:pt x="72842" y="385115"/>
                    </a:cubicBezTo>
                    <a:cubicBezTo>
                      <a:pt x="84624" y="380428"/>
                      <a:pt x="95139" y="382708"/>
                      <a:pt x="106920" y="380808"/>
                    </a:cubicBezTo>
                    <a:cubicBezTo>
                      <a:pt x="118955" y="378781"/>
                      <a:pt x="120982" y="367759"/>
                      <a:pt x="122502" y="357371"/>
                    </a:cubicBezTo>
                    <a:cubicBezTo>
                      <a:pt x="124276" y="344956"/>
                      <a:pt x="129090" y="335835"/>
                      <a:pt x="133397" y="324307"/>
                    </a:cubicBezTo>
                    <a:cubicBezTo>
                      <a:pt x="139984" y="306698"/>
                      <a:pt x="136564" y="287443"/>
                      <a:pt x="132637" y="269580"/>
                    </a:cubicBezTo>
                    <a:cubicBezTo>
                      <a:pt x="129976" y="257292"/>
                      <a:pt x="127443" y="244877"/>
                      <a:pt x="124149" y="232716"/>
                    </a:cubicBezTo>
                    <a:cubicBezTo>
                      <a:pt x="121235" y="221694"/>
                      <a:pt x="115661" y="210800"/>
                      <a:pt x="114141" y="199525"/>
                    </a:cubicBezTo>
                    <a:cubicBezTo>
                      <a:pt x="113001" y="191671"/>
                      <a:pt x="114141" y="184830"/>
                      <a:pt x="110341" y="177356"/>
                    </a:cubicBezTo>
                    <a:cubicBezTo>
                      <a:pt x="105400" y="167474"/>
                      <a:pt x="96278" y="160127"/>
                      <a:pt x="92858" y="149485"/>
                    </a:cubicBezTo>
                    <a:cubicBezTo>
                      <a:pt x="88678" y="136437"/>
                      <a:pt x="82090" y="120348"/>
                      <a:pt x="93998" y="109580"/>
                    </a:cubicBezTo>
                    <a:cubicBezTo>
                      <a:pt x="108821" y="96405"/>
                      <a:pt x="131750" y="103880"/>
                      <a:pt x="148345" y="93618"/>
                    </a:cubicBezTo>
                    <a:cubicBezTo>
                      <a:pt x="159873" y="86397"/>
                      <a:pt x="164687" y="74236"/>
                      <a:pt x="170642" y="62708"/>
                    </a:cubicBezTo>
                    <a:cubicBezTo>
                      <a:pt x="176215" y="52067"/>
                      <a:pt x="183310" y="42312"/>
                      <a:pt x="189770" y="31924"/>
                    </a:cubicBezTo>
                    <a:cubicBezTo>
                      <a:pt x="198511" y="17735"/>
                      <a:pt x="207760" y="10388"/>
                      <a:pt x="221821" y="1647"/>
                    </a:cubicBezTo>
                    <a:cubicBezTo>
                      <a:pt x="222708" y="1140"/>
                      <a:pt x="223595" y="507"/>
                      <a:pt x="224482" y="0"/>
                    </a:cubicBezTo>
                    <a:cubicBezTo>
                      <a:pt x="226635" y="17609"/>
                      <a:pt x="231829" y="30150"/>
                      <a:pt x="255392" y="34458"/>
                    </a:cubicBezTo>
                    <a:cubicBezTo>
                      <a:pt x="263247" y="35851"/>
                      <a:pt x="270214" y="34838"/>
                      <a:pt x="277435" y="39145"/>
                    </a:cubicBezTo>
                    <a:cubicBezTo>
                      <a:pt x="286302" y="44465"/>
                      <a:pt x="291497" y="57641"/>
                      <a:pt x="302391" y="59794"/>
                    </a:cubicBezTo>
                    <a:cubicBezTo>
                      <a:pt x="312019" y="61694"/>
                      <a:pt x="319240" y="51053"/>
                      <a:pt x="325828" y="45732"/>
                    </a:cubicBezTo>
                    <a:cubicBezTo>
                      <a:pt x="349517" y="26730"/>
                      <a:pt x="364845" y="47253"/>
                      <a:pt x="387522" y="56754"/>
                    </a:cubicBezTo>
                    <a:cubicBezTo>
                      <a:pt x="413365" y="67522"/>
                      <a:pt x="442502" y="86524"/>
                      <a:pt x="426287" y="119968"/>
                    </a:cubicBezTo>
                    <a:cubicBezTo>
                      <a:pt x="413872" y="145558"/>
                      <a:pt x="381694" y="127189"/>
                      <a:pt x="366746" y="148472"/>
                    </a:cubicBezTo>
                    <a:cubicBezTo>
                      <a:pt x="349137" y="173428"/>
                      <a:pt x="372953" y="197878"/>
                      <a:pt x="384481" y="218654"/>
                    </a:cubicBezTo>
                    <a:cubicBezTo>
                      <a:pt x="397403" y="241837"/>
                      <a:pt x="399050" y="269200"/>
                      <a:pt x="421346" y="286556"/>
                    </a:cubicBezTo>
                    <a:cubicBezTo>
                      <a:pt x="441235" y="302138"/>
                      <a:pt x="467459" y="312652"/>
                      <a:pt x="491782" y="318606"/>
                    </a:cubicBezTo>
                    <a:cubicBezTo>
                      <a:pt x="515598" y="324434"/>
                      <a:pt x="537767" y="327728"/>
                      <a:pt x="548535" y="352811"/>
                    </a:cubicBezTo>
                    <a:cubicBezTo>
                      <a:pt x="558796" y="376754"/>
                      <a:pt x="555883" y="406017"/>
                      <a:pt x="534854" y="423119"/>
                    </a:cubicBezTo>
                    <a:cubicBezTo>
                      <a:pt x="522819" y="432747"/>
                      <a:pt x="506603" y="440602"/>
                      <a:pt x="500269" y="455677"/>
                    </a:cubicBezTo>
                    <a:cubicBezTo>
                      <a:pt x="494315" y="470245"/>
                      <a:pt x="500396" y="494695"/>
                      <a:pt x="505083" y="508884"/>
                    </a:cubicBezTo>
                    <a:cubicBezTo>
                      <a:pt x="508377" y="518638"/>
                      <a:pt x="516612" y="525986"/>
                      <a:pt x="519271" y="535994"/>
                    </a:cubicBezTo>
                    <a:cubicBezTo>
                      <a:pt x="521172" y="542835"/>
                      <a:pt x="519398" y="550182"/>
                      <a:pt x="519905" y="557150"/>
                    </a:cubicBezTo>
                    <a:cubicBezTo>
                      <a:pt x="520792" y="571085"/>
                      <a:pt x="524212" y="586793"/>
                      <a:pt x="531053" y="598955"/>
                    </a:cubicBezTo>
                    <a:cubicBezTo>
                      <a:pt x="539667" y="614283"/>
                      <a:pt x="547902" y="617450"/>
                      <a:pt x="561963" y="626445"/>
                    </a:cubicBezTo>
                    <a:cubicBezTo>
                      <a:pt x="576659" y="635946"/>
                      <a:pt x="585653" y="653808"/>
                      <a:pt x="602122" y="658622"/>
                    </a:cubicBezTo>
                    <a:cubicBezTo>
                      <a:pt x="614917" y="662423"/>
                      <a:pt x="633539" y="663436"/>
                      <a:pt x="640000" y="677625"/>
                    </a:cubicBezTo>
                    <a:cubicBezTo>
                      <a:pt x="647474" y="694220"/>
                      <a:pt x="613523" y="693713"/>
                      <a:pt x="605289" y="703975"/>
                    </a:cubicBezTo>
                    <a:cubicBezTo>
                      <a:pt x="588187" y="725257"/>
                      <a:pt x="611497" y="778591"/>
                      <a:pt x="579066" y="789105"/>
                    </a:cubicBezTo>
                    <a:cubicBezTo>
                      <a:pt x="567791" y="792779"/>
                      <a:pt x="540048" y="788725"/>
                      <a:pt x="550182" y="811275"/>
                    </a:cubicBezTo>
                    <a:cubicBezTo>
                      <a:pt x="556516" y="825336"/>
                      <a:pt x="576405" y="816849"/>
                      <a:pt x="588440" y="819636"/>
                    </a:cubicBezTo>
                    <a:cubicBezTo>
                      <a:pt x="610483" y="824830"/>
                      <a:pt x="604022" y="835978"/>
                      <a:pt x="604276" y="853460"/>
                    </a:cubicBezTo>
                    <a:cubicBezTo>
                      <a:pt x="604529" y="871322"/>
                      <a:pt x="617324" y="877276"/>
                      <a:pt x="631132" y="884751"/>
                    </a:cubicBezTo>
                    <a:cubicBezTo>
                      <a:pt x="642407" y="890831"/>
                      <a:pt x="650768" y="900459"/>
                      <a:pt x="654315" y="912874"/>
                    </a:cubicBezTo>
                    <a:cubicBezTo>
                      <a:pt x="661789" y="938464"/>
                      <a:pt x="677118" y="959367"/>
                      <a:pt x="680792" y="985843"/>
                    </a:cubicBezTo>
                    <a:cubicBezTo>
                      <a:pt x="682819" y="1000032"/>
                      <a:pt x="691940" y="1010040"/>
                      <a:pt x="695613" y="1023468"/>
                    </a:cubicBezTo>
                    <a:cubicBezTo>
                      <a:pt x="699541" y="1037403"/>
                      <a:pt x="693207" y="1048805"/>
                      <a:pt x="691433" y="1062359"/>
                    </a:cubicBezTo>
                    <a:cubicBezTo>
                      <a:pt x="689786" y="1075534"/>
                      <a:pt x="696374" y="1084909"/>
                      <a:pt x="699667" y="1097071"/>
                    </a:cubicBezTo>
                    <a:cubicBezTo>
                      <a:pt x="702708" y="1108345"/>
                      <a:pt x="699288" y="1117973"/>
                      <a:pt x="699794" y="1129121"/>
                    </a:cubicBezTo>
                    <a:cubicBezTo>
                      <a:pt x="700427" y="1143310"/>
                      <a:pt x="709168" y="1155725"/>
                      <a:pt x="711829" y="1169406"/>
                    </a:cubicBezTo>
                    <a:cubicBezTo>
                      <a:pt x="719430" y="1206271"/>
                      <a:pt x="681552" y="1189295"/>
                      <a:pt x="661410" y="118308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60" name="Полилиния: фигура 459">
                <a:extLst>
                  <a:ext uri="{FF2B5EF4-FFF2-40B4-BE49-F238E27FC236}">
                    <a16:creationId xmlns:a16="http://schemas.microsoft.com/office/drawing/2014/main" id="{29E46450-F533-49D4-86AF-0CE3C082424B}"/>
                  </a:ext>
                </a:extLst>
              </p:cNvPr>
              <p:cNvSpPr/>
              <p:nvPr/>
            </p:nvSpPr>
            <p:spPr>
              <a:xfrm>
                <a:off x="13131348" y="3056577"/>
                <a:ext cx="118036" cy="33687"/>
              </a:xfrm>
              <a:custGeom>
                <a:avLst/>
                <a:gdLst>
                  <a:gd name="connsiteX0" fmla="*/ 41055 w 118036"/>
                  <a:gd name="connsiteY0" fmla="*/ 28951 h 33687"/>
                  <a:gd name="connsiteX1" fmla="*/ 136 w 118036"/>
                  <a:gd name="connsiteY1" fmla="*/ 15649 h 33687"/>
                  <a:gd name="connsiteX2" fmla="*/ 11917 w 118036"/>
                  <a:gd name="connsiteY2" fmla="*/ 194 h 33687"/>
                  <a:gd name="connsiteX3" fmla="*/ 32567 w 118036"/>
                  <a:gd name="connsiteY3" fmla="*/ 8808 h 33687"/>
                  <a:gd name="connsiteX4" fmla="*/ 87547 w 118036"/>
                  <a:gd name="connsiteY4" fmla="*/ 7288 h 33687"/>
                  <a:gd name="connsiteX5" fmla="*/ 115544 w 118036"/>
                  <a:gd name="connsiteY5" fmla="*/ 17296 h 33687"/>
                  <a:gd name="connsiteX6" fmla="*/ 107689 w 118036"/>
                  <a:gd name="connsiteY6" fmla="*/ 33385 h 33687"/>
                  <a:gd name="connsiteX7" fmla="*/ 75512 w 118036"/>
                  <a:gd name="connsiteY7" fmla="*/ 28571 h 33687"/>
                  <a:gd name="connsiteX8" fmla="*/ 41055 w 118036"/>
                  <a:gd name="connsiteY8" fmla="*/ 28951 h 3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036" h="33687">
                    <a:moveTo>
                      <a:pt x="41055" y="28951"/>
                    </a:moveTo>
                    <a:cubicBezTo>
                      <a:pt x="29780" y="29077"/>
                      <a:pt x="2670" y="31231"/>
                      <a:pt x="136" y="15649"/>
                    </a:cubicBezTo>
                    <a:cubicBezTo>
                      <a:pt x="-1004" y="8555"/>
                      <a:pt x="5204" y="1461"/>
                      <a:pt x="11917" y="194"/>
                    </a:cubicBezTo>
                    <a:cubicBezTo>
                      <a:pt x="19898" y="-1200"/>
                      <a:pt x="26233" y="5261"/>
                      <a:pt x="32567" y="8808"/>
                    </a:cubicBezTo>
                    <a:cubicBezTo>
                      <a:pt x="52076" y="19830"/>
                      <a:pt x="67912" y="7161"/>
                      <a:pt x="87547" y="7288"/>
                    </a:cubicBezTo>
                    <a:cubicBezTo>
                      <a:pt x="96541" y="7415"/>
                      <a:pt x="109083" y="10708"/>
                      <a:pt x="115544" y="17296"/>
                    </a:cubicBezTo>
                    <a:cubicBezTo>
                      <a:pt x="122004" y="23757"/>
                      <a:pt x="114657" y="32371"/>
                      <a:pt x="107689" y="33385"/>
                    </a:cubicBezTo>
                    <a:cubicBezTo>
                      <a:pt x="96541" y="35158"/>
                      <a:pt x="86534" y="28571"/>
                      <a:pt x="75512" y="28571"/>
                    </a:cubicBezTo>
                    <a:cubicBezTo>
                      <a:pt x="64110" y="28571"/>
                      <a:pt x="52583" y="28824"/>
                      <a:pt x="41055" y="2895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61" name="Полилиния: фигура 460">
                <a:extLst>
                  <a:ext uri="{FF2B5EF4-FFF2-40B4-BE49-F238E27FC236}">
                    <a16:creationId xmlns:a16="http://schemas.microsoft.com/office/drawing/2014/main" id="{5ABA968F-B696-44BA-9574-66BE4B03A5E3}"/>
                  </a:ext>
                </a:extLst>
              </p:cNvPr>
              <p:cNvSpPr/>
              <p:nvPr/>
            </p:nvSpPr>
            <p:spPr>
              <a:xfrm>
                <a:off x="13289110" y="2983468"/>
                <a:ext cx="69554" cy="27582"/>
              </a:xfrm>
              <a:custGeom>
                <a:avLst/>
                <a:gdLst>
                  <a:gd name="connsiteX0" fmla="*/ 24670 w 69554"/>
                  <a:gd name="connsiteY0" fmla="*/ 27317 h 27582"/>
                  <a:gd name="connsiteX1" fmla="*/ 600 w 69554"/>
                  <a:gd name="connsiteY1" fmla="*/ 20856 h 27582"/>
                  <a:gd name="connsiteX2" fmla="*/ 20490 w 69554"/>
                  <a:gd name="connsiteY2" fmla="*/ 2360 h 27582"/>
                  <a:gd name="connsiteX3" fmla="*/ 52793 w 69554"/>
                  <a:gd name="connsiteY3" fmla="*/ 713 h 27582"/>
                  <a:gd name="connsiteX4" fmla="*/ 69009 w 69554"/>
                  <a:gd name="connsiteY4" fmla="*/ 1600 h 27582"/>
                  <a:gd name="connsiteX5" fmla="*/ 57607 w 69554"/>
                  <a:gd name="connsiteY5" fmla="*/ 16295 h 27582"/>
                  <a:gd name="connsiteX6" fmla="*/ 24670 w 69554"/>
                  <a:gd name="connsiteY6" fmla="*/ 27317 h 2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554" h="27582">
                    <a:moveTo>
                      <a:pt x="24670" y="27317"/>
                    </a:moveTo>
                    <a:cubicBezTo>
                      <a:pt x="18716" y="28077"/>
                      <a:pt x="3134" y="27570"/>
                      <a:pt x="600" y="20856"/>
                    </a:cubicBezTo>
                    <a:cubicBezTo>
                      <a:pt x="-3327" y="10721"/>
                      <a:pt x="13016" y="2994"/>
                      <a:pt x="20490" y="2360"/>
                    </a:cubicBezTo>
                    <a:cubicBezTo>
                      <a:pt x="31131" y="1473"/>
                      <a:pt x="42153" y="1347"/>
                      <a:pt x="52793" y="713"/>
                    </a:cubicBezTo>
                    <a:cubicBezTo>
                      <a:pt x="55961" y="460"/>
                      <a:pt x="66729" y="-1187"/>
                      <a:pt x="69009" y="1600"/>
                    </a:cubicBezTo>
                    <a:cubicBezTo>
                      <a:pt x="72176" y="5527"/>
                      <a:pt x="60649" y="14522"/>
                      <a:pt x="57607" y="16295"/>
                    </a:cubicBezTo>
                    <a:cubicBezTo>
                      <a:pt x="48360" y="21996"/>
                      <a:pt x="35565" y="25923"/>
                      <a:pt x="24670" y="2731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nvGrpSpPr>
            <p:cNvPr id="462" name="Рисунок 388">
              <a:extLst>
                <a:ext uri="{FF2B5EF4-FFF2-40B4-BE49-F238E27FC236}">
                  <a16:creationId xmlns:a16="http://schemas.microsoft.com/office/drawing/2014/main" id="{1DA397FD-DC6E-439E-BB40-D0F80476817D}"/>
                </a:ext>
              </a:extLst>
            </p:cNvPr>
            <p:cNvGrpSpPr/>
            <p:nvPr/>
          </p:nvGrpSpPr>
          <p:grpSpPr>
            <a:xfrm>
              <a:off x="10939751" y="445203"/>
              <a:ext cx="1669871" cy="2002531"/>
              <a:chOff x="10939751" y="445203"/>
              <a:chExt cx="1669871" cy="2002531"/>
            </a:xfrm>
            <a:solidFill>
              <a:srgbClr val="E3E8EC"/>
            </a:solidFill>
          </p:grpSpPr>
          <p:sp>
            <p:nvSpPr>
              <p:cNvPr id="463" name="Полилиния: фигура 462">
                <a:extLst>
                  <a:ext uri="{FF2B5EF4-FFF2-40B4-BE49-F238E27FC236}">
                    <a16:creationId xmlns:a16="http://schemas.microsoft.com/office/drawing/2014/main" id="{A8C37B7B-953E-40A5-B4B0-46FC79071A8B}"/>
                  </a:ext>
                </a:extLst>
              </p:cNvPr>
              <p:cNvSpPr/>
              <p:nvPr/>
            </p:nvSpPr>
            <p:spPr>
              <a:xfrm>
                <a:off x="12407983" y="676753"/>
                <a:ext cx="19449" cy="31594"/>
              </a:xfrm>
              <a:custGeom>
                <a:avLst/>
                <a:gdLst>
                  <a:gd name="connsiteX0" fmla="*/ 11166 w 19449"/>
                  <a:gd name="connsiteY0" fmla="*/ 30944 h 31594"/>
                  <a:gd name="connsiteX1" fmla="*/ 6858 w 19449"/>
                  <a:gd name="connsiteY1" fmla="*/ 24990 h 31594"/>
                  <a:gd name="connsiteX2" fmla="*/ 2171 w 19449"/>
                  <a:gd name="connsiteY2" fmla="*/ 20556 h 31594"/>
                  <a:gd name="connsiteX3" fmla="*/ 2804 w 19449"/>
                  <a:gd name="connsiteY3" fmla="*/ 5228 h 31594"/>
                  <a:gd name="connsiteX4" fmla="*/ 9139 w 19449"/>
                  <a:gd name="connsiteY4" fmla="*/ 34 h 31594"/>
                  <a:gd name="connsiteX5" fmla="*/ 15473 w 19449"/>
                  <a:gd name="connsiteY5" fmla="*/ 6494 h 31594"/>
                  <a:gd name="connsiteX6" fmla="*/ 18260 w 19449"/>
                  <a:gd name="connsiteY6" fmla="*/ 14729 h 31594"/>
                  <a:gd name="connsiteX7" fmla="*/ 19400 w 19449"/>
                  <a:gd name="connsiteY7" fmla="*/ 21316 h 31594"/>
                  <a:gd name="connsiteX8" fmla="*/ 11166 w 19449"/>
                  <a:gd name="connsiteY8" fmla="*/ 30944 h 3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49" h="31594">
                    <a:moveTo>
                      <a:pt x="11166" y="30944"/>
                    </a:moveTo>
                    <a:cubicBezTo>
                      <a:pt x="9013" y="29677"/>
                      <a:pt x="8252" y="26890"/>
                      <a:pt x="6858" y="24990"/>
                    </a:cubicBezTo>
                    <a:cubicBezTo>
                      <a:pt x="5592" y="23216"/>
                      <a:pt x="3691" y="22203"/>
                      <a:pt x="2171" y="20556"/>
                    </a:cubicBezTo>
                    <a:cubicBezTo>
                      <a:pt x="-2009" y="15869"/>
                      <a:pt x="778" y="10295"/>
                      <a:pt x="2804" y="5228"/>
                    </a:cubicBezTo>
                    <a:cubicBezTo>
                      <a:pt x="3818" y="2567"/>
                      <a:pt x="5972" y="-346"/>
                      <a:pt x="9139" y="34"/>
                    </a:cubicBezTo>
                    <a:cubicBezTo>
                      <a:pt x="12306" y="414"/>
                      <a:pt x="13953" y="4087"/>
                      <a:pt x="15473" y="6494"/>
                    </a:cubicBezTo>
                    <a:cubicBezTo>
                      <a:pt x="17120" y="9028"/>
                      <a:pt x="17500" y="11815"/>
                      <a:pt x="18260" y="14729"/>
                    </a:cubicBezTo>
                    <a:cubicBezTo>
                      <a:pt x="18893" y="17009"/>
                      <a:pt x="19653" y="18909"/>
                      <a:pt x="19400" y="21316"/>
                    </a:cubicBezTo>
                    <a:cubicBezTo>
                      <a:pt x="19274" y="24863"/>
                      <a:pt x="16360" y="34111"/>
                      <a:pt x="11166" y="3094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64" name="Полилиния: фигура 463">
                <a:extLst>
                  <a:ext uri="{FF2B5EF4-FFF2-40B4-BE49-F238E27FC236}">
                    <a16:creationId xmlns:a16="http://schemas.microsoft.com/office/drawing/2014/main" id="{8CC07797-FCB8-4FF5-B90E-FAB014882B30}"/>
                  </a:ext>
                </a:extLst>
              </p:cNvPr>
              <p:cNvSpPr/>
              <p:nvPr/>
            </p:nvSpPr>
            <p:spPr>
              <a:xfrm>
                <a:off x="10939751" y="445203"/>
                <a:ext cx="1669871" cy="2002531"/>
              </a:xfrm>
              <a:custGeom>
                <a:avLst/>
                <a:gdLst>
                  <a:gd name="connsiteX0" fmla="*/ 1667901 w 1669871"/>
                  <a:gd name="connsiteY0" fmla="*/ 1018535 h 2002531"/>
                  <a:gd name="connsiteX1" fmla="*/ 1633697 w 1669871"/>
                  <a:gd name="connsiteY1" fmla="*/ 1044505 h 2002531"/>
                  <a:gd name="connsiteX2" fmla="*/ 1612668 w 1669871"/>
                  <a:gd name="connsiteY2" fmla="*/ 1081876 h 2002531"/>
                  <a:gd name="connsiteX3" fmla="*/ 1582264 w 1669871"/>
                  <a:gd name="connsiteY3" fmla="*/ 1119881 h 2002531"/>
                  <a:gd name="connsiteX4" fmla="*/ 1543119 w 1669871"/>
                  <a:gd name="connsiteY4" fmla="*/ 1109873 h 2002531"/>
                  <a:gd name="connsiteX5" fmla="*/ 1522217 w 1669871"/>
                  <a:gd name="connsiteY5" fmla="*/ 1133056 h 2002531"/>
                  <a:gd name="connsiteX6" fmla="*/ 1542612 w 1669871"/>
                  <a:gd name="connsiteY6" fmla="*/ 1133816 h 2002531"/>
                  <a:gd name="connsiteX7" fmla="*/ 1564402 w 1669871"/>
                  <a:gd name="connsiteY7" fmla="*/ 1139770 h 2002531"/>
                  <a:gd name="connsiteX8" fmla="*/ 1564655 w 1669871"/>
                  <a:gd name="connsiteY8" fmla="*/ 1186136 h 2002531"/>
                  <a:gd name="connsiteX9" fmla="*/ 1582518 w 1669871"/>
                  <a:gd name="connsiteY9" fmla="*/ 1234275 h 2002531"/>
                  <a:gd name="connsiteX10" fmla="*/ 1574410 w 1669871"/>
                  <a:gd name="connsiteY10" fmla="*/ 1251251 h 2002531"/>
                  <a:gd name="connsiteX11" fmla="*/ 1579477 w 1669871"/>
                  <a:gd name="connsiteY11" fmla="*/ 1272280 h 2002531"/>
                  <a:gd name="connsiteX12" fmla="*/ 1590372 w 1669871"/>
                  <a:gd name="connsiteY12" fmla="*/ 1288242 h 2002531"/>
                  <a:gd name="connsiteX13" fmla="*/ 1581758 w 1669871"/>
                  <a:gd name="connsiteY13" fmla="*/ 1305978 h 2002531"/>
                  <a:gd name="connsiteX14" fmla="*/ 1593412 w 1669871"/>
                  <a:gd name="connsiteY14" fmla="*/ 1344236 h 2002531"/>
                  <a:gd name="connsiteX15" fmla="*/ 1587458 w 1669871"/>
                  <a:gd name="connsiteY15" fmla="*/ 1391108 h 2002531"/>
                  <a:gd name="connsiteX16" fmla="*/ 1587965 w 1669871"/>
                  <a:gd name="connsiteY16" fmla="*/ 1394149 h 2002531"/>
                  <a:gd name="connsiteX17" fmla="*/ 1506761 w 1669871"/>
                  <a:gd name="connsiteY17" fmla="*/ 1378313 h 2002531"/>
                  <a:gd name="connsiteX18" fmla="*/ 1485478 w 1669871"/>
                  <a:gd name="connsiteY18" fmla="*/ 1349176 h 2002531"/>
                  <a:gd name="connsiteX19" fmla="*/ 1465716 w 1669871"/>
                  <a:gd name="connsiteY19" fmla="*/ 1360578 h 2002531"/>
                  <a:gd name="connsiteX20" fmla="*/ 1437466 w 1669871"/>
                  <a:gd name="connsiteY20" fmla="*/ 1388321 h 2002531"/>
                  <a:gd name="connsiteX21" fmla="*/ 1439493 w 1669871"/>
                  <a:gd name="connsiteY21" fmla="*/ 1434307 h 2002531"/>
                  <a:gd name="connsiteX22" fmla="*/ 1429105 w 1669871"/>
                  <a:gd name="connsiteY22" fmla="*/ 1475859 h 2002531"/>
                  <a:gd name="connsiteX23" fmla="*/ 1415297 w 1669871"/>
                  <a:gd name="connsiteY23" fmla="*/ 1504109 h 2002531"/>
                  <a:gd name="connsiteX24" fmla="*/ 1404908 w 1669871"/>
                  <a:gd name="connsiteY24" fmla="*/ 1536793 h 2002531"/>
                  <a:gd name="connsiteX25" fmla="*/ 1395027 w 1669871"/>
                  <a:gd name="connsiteY25" fmla="*/ 1590760 h 2002531"/>
                  <a:gd name="connsiteX26" fmla="*/ 1374758 w 1669871"/>
                  <a:gd name="connsiteY26" fmla="*/ 1646120 h 2002531"/>
                  <a:gd name="connsiteX27" fmla="*/ 1315344 w 1669871"/>
                  <a:gd name="connsiteY27" fmla="*/ 1634212 h 2002531"/>
                  <a:gd name="connsiteX28" fmla="*/ 1263404 w 1669871"/>
                  <a:gd name="connsiteY28" fmla="*/ 1639152 h 2002531"/>
                  <a:gd name="connsiteX29" fmla="*/ 1227807 w 1669871"/>
                  <a:gd name="connsiteY29" fmla="*/ 1653468 h 2002531"/>
                  <a:gd name="connsiteX30" fmla="*/ 1177767 w 1669871"/>
                  <a:gd name="connsiteY30" fmla="*/ 1688179 h 2002531"/>
                  <a:gd name="connsiteX31" fmla="*/ 1138748 w 1669871"/>
                  <a:gd name="connsiteY31" fmla="*/ 1679311 h 2002531"/>
                  <a:gd name="connsiteX32" fmla="*/ 1129880 w 1669871"/>
                  <a:gd name="connsiteY32" fmla="*/ 1565930 h 2002531"/>
                  <a:gd name="connsiteX33" fmla="*/ 1044243 w 1669871"/>
                  <a:gd name="connsiteY33" fmla="*/ 1572898 h 2002531"/>
                  <a:gd name="connsiteX34" fmla="*/ 982423 w 1669871"/>
                  <a:gd name="connsiteY34" fmla="*/ 1563523 h 2002531"/>
                  <a:gd name="connsiteX35" fmla="*/ 938844 w 1669871"/>
                  <a:gd name="connsiteY35" fmla="*/ 1605582 h 2002531"/>
                  <a:gd name="connsiteX36" fmla="*/ 896278 w 1669871"/>
                  <a:gd name="connsiteY36" fmla="*/ 1623951 h 2002531"/>
                  <a:gd name="connsiteX37" fmla="*/ 876515 w 1669871"/>
                  <a:gd name="connsiteY37" fmla="*/ 1664109 h 2002531"/>
                  <a:gd name="connsiteX38" fmla="*/ 857767 w 1669871"/>
                  <a:gd name="connsiteY38" fmla="*/ 1688812 h 2002531"/>
                  <a:gd name="connsiteX39" fmla="*/ 840411 w 1669871"/>
                  <a:gd name="connsiteY39" fmla="*/ 1722890 h 2002531"/>
                  <a:gd name="connsiteX40" fmla="*/ 806713 w 1669871"/>
                  <a:gd name="connsiteY40" fmla="*/ 1723523 h 2002531"/>
                  <a:gd name="connsiteX41" fmla="*/ 787458 w 1669871"/>
                  <a:gd name="connsiteY41" fmla="*/ 1768115 h 2002531"/>
                  <a:gd name="connsiteX42" fmla="*/ 756294 w 1669871"/>
                  <a:gd name="connsiteY42" fmla="*/ 1769129 h 2002531"/>
                  <a:gd name="connsiteX43" fmla="*/ 728044 w 1669871"/>
                  <a:gd name="connsiteY43" fmla="*/ 1792818 h 2002531"/>
                  <a:gd name="connsiteX44" fmla="*/ 715249 w 1669871"/>
                  <a:gd name="connsiteY44" fmla="*/ 1826009 h 2002531"/>
                  <a:gd name="connsiteX45" fmla="*/ 721710 w 1669871"/>
                  <a:gd name="connsiteY45" fmla="*/ 1877696 h 2002531"/>
                  <a:gd name="connsiteX46" fmla="*/ 666602 w 1669871"/>
                  <a:gd name="connsiteY46" fmla="*/ 1904046 h 2002531"/>
                  <a:gd name="connsiteX47" fmla="*/ 594520 w 1669871"/>
                  <a:gd name="connsiteY47" fmla="*/ 1923428 h 2002531"/>
                  <a:gd name="connsiteX48" fmla="*/ 558543 w 1669871"/>
                  <a:gd name="connsiteY48" fmla="*/ 1937870 h 2002531"/>
                  <a:gd name="connsiteX49" fmla="*/ 534093 w 1669871"/>
                  <a:gd name="connsiteY49" fmla="*/ 1964600 h 2002531"/>
                  <a:gd name="connsiteX50" fmla="*/ 457070 w 1669871"/>
                  <a:gd name="connsiteY50" fmla="*/ 1976508 h 2002531"/>
                  <a:gd name="connsiteX51" fmla="*/ 378653 w 1669871"/>
                  <a:gd name="connsiteY51" fmla="*/ 2001211 h 2002531"/>
                  <a:gd name="connsiteX52" fmla="*/ 335961 w 1669871"/>
                  <a:gd name="connsiteY52" fmla="*/ 1947498 h 2002531"/>
                  <a:gd name="connsiteX53" fmla="*/ 281615 w 1669871"/>
                  <a:gd name="connsiteY53" fmla="*/ 1956746 h 2002531"/>
                  <a:gd name="connsiteX54" fmla="*/ 231448 w 1669871"/>
                  <a:gd name="connsiteY54" fmla="*/ 1883776 h 2002531"/>
                  <a:gd name="connsiteX55" fmla="*/ 139730 w 1669871"/>
                  <a:gd name="connsiteY55" fmla="*/ 1865407 h 2002531"/>
                  <a:gd name="connsiteX56" fmla="*/ 68788 w 1669871"/>
                  <a:gd name="connsiteY56" fmla="*/ 1841591 h 2002531"/>
                  <a:gd name="connsiteX57" fmla="*/ 62834 w 1669871"/>
                  <a:gd name="connsiteY57" fmla="*/ 1799026 h 2002531"/>
                  <a:gd name="connsiteX58" fmla="*/ 38764 w 1669871"/>
                  <a:gd name="connsiteY58" fmla="*/ 1791805 h 2002531"/>
                  <a:gd name="connsiteX59" fmla="*/ 54980 w 1669871"/>
                  <a:gd name="connsiteY59" fmla="*/ 1724537 h 2002531"/>
                  <a:gd name="connsiteX60" fmla="*/ 111733 w 1669871"/>
                  <a:gd name="connsiteY60" fmla="*/ 1640419 h 2002531"/>
                  <a:gd name="connsiteX61" fmla="*/ 128836 w 1669871"/>
                  <a:gd name="connsiteY61" fmla="*/ 1570491 h 2002531"/>
                  <a:gd name="connsiteX62" fmla="*/ 149611 w 1669871"/>
                  <a:gd name="connsiteY62" fmla="*/ 1521591 h 2002531"/>
                  <a:gd name="connsiteX63" fmla="*/ 122502 w 1669871"/>
                  <a:gd name="connsiteY63" fmla="*/ 1496255 h 2002531"/>
                  <a:gd name="connsiteX64" fmla="*/ 72716 w 1669871"/>
                  <a:gd name="connsiteY64" fmla="*/ 1459643 h 2002531"/>
                  <a:gd name="connsiteX65" fmla="*/ 7347 w 1669871"/>
                  <a:gd name="connsiteY65" fmla="*/ 1417838 h 2002531"/>
                  <a:gd name="connsiteX66" fmla="*/ 253 w 1669871"/>
                  <a:gd name="connsiteY66" fmla="*/ 1401496 h 2002531"/>
                  <a:gd name="connsiteX67" fmla="*/ 19762 w 1669871"/>
                  <a:gd name="connsiteY67" fmla="*/ 1354370 h 2002531"/>
                  <a:gd name="connsiteX68" fmla="*/ 35977 w 1669871"/>
                  <a:gd name="connsiteY68" fmla="*/ 1302430 h 2002531"/>
                  <a:gd name="connsiteX69" fmla="*/ 74362 w 1669871"/>
                  <a:gd name="connsiteY69" fmla="*/ 1282668 h 2002531"/>
                  <a:gd name="connsiteX70" fmla="*/ 119968 w 1669871"/>
                  <a:gd name="connsiteY70" fmla="*/ 1251757 h 2002531"/>
                  <a:gd name="connsiteX71" fmla="*/ 171021 w 1669871"/>
                  <a:gd name="connsiteY71" fmla="*/ 1156492 h 2002531"/>
                  <a:gd name="connsiteX72" fmla="*/ 187490 w 1669871"/>
                  <a:gd name="connsiteY72" fmla="*/ 1112533 h 2002531"/>
                  <a:gd name="connsiteX73" fmla="*/ 209406 w 1669871"/>
                  <a:gd name="connsiteY73" fmla="*/ 1121908 h 2002531"/>
                  <a:gd name="connsiteX74" fmla="*/ 233222 w 1669871"/>
                  <a:gd name="connsiteY74" fmla="*/ 1122921 h 2002531"/>
                  <a:gd name="connsiteX75" fmla="*/ 240823 w 1669871"/>
                  <a:gd name="connsiteY75" fmla="*/ 1135336 h 2002531"/>
                  <a:gd name="connsiteX76" fmla="*/ 284148 w 1669871"/>
                  <a:gd name="connsiteY76" fmla="*/ 1111393 h 2002531"/>
                  <a:gd name="connsiteX77" fmla="*/ 308091 w 1669871"/>
                  <a:gd name="connsiteY77" fmla="*/ 1099105 h 2002531"/>
                  <a:gd name="connsiteX78" fmla="*/ 331401 w 1669871"/>
                  <a:gd name="connsiteY78" fmla="*/ 1087324 h 2002531"/>
                  <a:gd name="connsiteX79" fmla="*/ 344829 w 1669871"/>
                  <a:gd name="connsiteY79" fmla="*/ 1108480 h 2002531"/>
                  <a:gd name="connsiteX80" fmla="*/ 367886 w 1669871"/>
                  <a:gd name="connsiteY80" fmla="*/ 1107213 h 2002531"/>
                  <a:gd name="connsiteX81" fmla="*/ 383594 w 1669871"/>
                  <a:gd name="connsiteY81" fmla="*/ 1081116 h 2002531"/>
                  <a:gd name="connsiteX82" fmla="*/ 409564 w 1669871"/>
                  <a:gd name="connsiteY82" fmla="*/ 1059327 h 2002531"/>
                  <a:gd name="connsiteX83" fmla="*/ 386761 w 1669871"/>
                  <a:gd name="connsiteY83" fmla="*/ 1023476 h 2002531"/>
                  <a:gd name="connsiteX84" fmla="*/ 363832 w 1669871"/>
                  <a:gd name="connsiteY84" fmla="*/ 1001053 h 2002531"/>
                  <a:gd name="connsiteX85" fmla="*/ 330261 w 1669871"/>
                  <a:gd name="connsiteY85" fmla="*/ 1003206 h 2002531"/>
                  <a:gd name="connsiteX86" fmla="*/ 301630 w 1669871"/>
                  <a:gd name="connsiteY86" fmla="*/ 997506 h 2002531"/>
                  <a:gd name="connsiteX87" fmla="*/ 267553 w 1669871"/>
                  <a:gd name="connsiteY87" fmla="*/ 1005233 h 2002531"/>
                  <a:gd name="connsiteX88" fmla="*/ 236136 w 1669871"/>
                  <a:gd name="connsiteY88" fmla="*/ 959754 h 2002531"/>
                  <a:gd name="connsiteX89" fmla="*/ 196484 w 1669871"/>
                  <a:gd name="connsiteY89" fmla="*/ 926690 h 2002531"/>
                  <a:gd name="connsiteX90" fmla="*/ 226508 w 1669871"/>
                  <a:gd name="connsiteY90" fmla="*/ 916555 h 2002531"/>
                  <a:gd name="connsiteX91" fmla="*/ 243483 w 1669871"/>
                  <a:gd name="connsiteY91" fmla="*/ 905661 h 2002531"/>
                  <a:gd name="connsiteX92" fmla="*/ 247157 w 1669871"/>
                  <a:gd name="connsiteY92" fmla="*/ 901860 h 2002531"/>
                  <a:gd name="connsiteX93" fmla="*/ 250324 w 1669871"/>
                  <a:gd name="connsiteY93" fmla="*/ 899073 h 2002531"/>
                  <a:gd name="connsiteX94" fmla="*/ 256405 w 1669871"/>
                  <a:gd name="connsiteY94" fmla="*/ 889825 h 2002531"/>
                  <a:gd name="connsiteX95" fmla="*/ 274267 w 1669871"/>
                  <a:gd name="connsiteY95" fmla="*/ 864616 h 2002531"/>
                  <a:gd name="connsiteX96" fmla="*/ 295676 w 1669871"/>
                  <a:gd name="connsiteY96" fmla="*/ 844980 h 2002531"/>
                  <a:gd name="connsiteX97" fmla="*/ 312905 w 1669871"/>
                  <a:gd name="connsiteY97" fmla="*/ 837886 h 2002531"/>
                  <a:gd name="connsiteX98" fmla="*/ 334821 w 1669871"/>
                  <a:gd name="connsiteY98" fmla="*/ 821670 h 2002531"/>
                  <a:gd name="connsiteX99" fmla="*/ 322406 w 1669871"/>
                  <a:gd name="connsiteY99" fmla="*/ 799881 h 2002531"/>
                  <a:gd name="connsiteX100" fmla="*/ 339762 w 1669871"/>
                  <a:gd name="connsiteY100" fmla="*/ 757189 h 2002531"/>
                  <a:gd name="connsiteX101" fmla="*/ 347616 w 1669871"/>
                  <a:gd name="connsiteY101" fmla="*/ 736540 h 2002531"/>
                  <a:gd name="connsiteX102" fmla="*/ 368899 w 1669871"/>
                  <a:gd name="connsiteY102" fmla="*/ 724758 h 2002531"/>
                  <a:gd name="connsiteX103" fmla="*/ 376754 w 1669871"/>
                  <a:gd name="connsiteY103" fmla="*/ 675859 h 2002531"/>
                  <a:gd name="connsiteX104" fmla="*/ 407411 w 1669871"/>
                  <a:gd name="connsiteY104" fmla="*/ 646088 h 2002531"/>
                  <a:gd name="connsiteX105" fmla="*/ 441488 w 1669871"/>
                  <a:gd name="connsiteY105" fmla="*/ 617078 h 2002531"/>
                  <a:gd name="connsiteX106" fmla="*/ 460237 w 1669871"/>
                  <a:gd name="connsiteY106" fmla="*/ 603396 h 2002531"/>
                  <a:gd name="connsiteX107" fmla="*/ 485067 w 1669871"/>
                  <a:gd name="connsiteY107" fmla="*/ 599469 h 2002531"/>
                  <a:gd name="connsiteX108" fmla="*/ 491147 w 1669871"/>
                  <a:gd name="connsiteY108" fmla="*/ 578440 h 2002531"/>
                  <a:gd name="connsiteX109" fmla="*/ 517498 w 1669871"/>
                  <a:gd name="connsiteY109" fmla="*/ 550950 h 2002531"/>
                  <a:gd name="connsiteX110" fmla="*/ 529786 w 1669871"/>
                  <a:gd name="connsiteY110" fmla="*/ 536508 h 2002531"/>
                  <a:gd name="connsiteX111" fmla="*/ 544354 w 1669871"/>
                  <a:gd name="connsiteY111" fmla="*/ 529667 h 2002531"/>
                  <a:gd name="connsiteX112" fmla="*/ 557656 w 1669871"/>
                  <a:gd name="connsiteY112" fmla="*/ 540055 h 2002531"/>
                  <a:gd name="connsiteX113" fmla="*/ 593634 w 1669871"/>
                  <a:gd name="connsiteY113" fmla="*/ 519152 h 2002531"/>
                  <a:gd name="connsiteX114" fmla="*/ 660015 w 1669871"/>
                  <a:gd name="connsiteY114" fmla="*/ 476334 h 2002531"/>
                  <a:gd name="connsiteX115" fmla="*/ 690166 w 1669871"/>
                  <a:gd name="connsiteY115" fmla="*/ 461259 h 2002531"/>
                  <a:gd name="connsiteX116" fmla="*/ 728931 w 1669871"/>
                  <a:gd name="connsiteY116" fmla="*/ 456698 h 2002531"/>
                  <a:gd name="connsiteX117" fmla="*/ 781124 w 1669871"/>
                  <a:gd name="connsiteY117" fmla="*/ 411599 h 2002531"/>
                  <a:gd name="connsiteX118" fmla="*/ 811274 w 1669871"/>
                  <a:gd name="connsiteY118" fmla="*/ 391076 h 2002531"/>
                  <a:gd name="connsiteX119" fmla="*/ 853586 w 1669871"/>
                  <a:gd name="connsiteY119" fmla="*/ 364347 h 2002531"/>
                  <a:gd name="connsiteX120" fmla="*/ 855487 w 1669871"/>
                  <a:gd name="connsiteY120" fmla="*/ 391583 h 2002531"/>
                  <a:gd name="connsiteX121" fmla="*/ 888804 w 1669871"/>
                  <a:gd name="connsiteY121" fmla="*/ 337236 h 2002531"/>
                  <a:gd name="connsiteX122" fmla="*/ 933523 w 1669871"/>
                  <a:gd name="connsiteY122" fmla="*/ 346231 h 2002531"/>
                  <a:gd name="connsiteX123" fmla="*/ 931116 w 1669871"/>
                  <a:gd name="connsiteY123" fmla="*/ 323175 h 2002531"/>
                  <a:gd name="connsiteX124" fmla="*/ 929343 w 1669871"/>
                  <a:gd name="connsiteY124" fmla="*/ 295558 h 2002531"/>
                  <a:gd name="connsiteX125" fmla="*/ 968487 w 1669871"/>
                  <a:gd name="connsiteY125" fmla="*/ 300499 h 2002531"/>
                  <a:gd name="connsiteX126" fmla="*/ 987110 w 1669871"/>
                  <a:gd name="connsiteY126" fmla="*/ 307086 h 2002531"/>
                  <a:gd name="connsiteX127" fmla="*/ 991670 w 1669871"/>
                  <a:gd name="connsiteY127" fmla="*/ 291631 h 2002531"/>
                  <a:gd name="connsiteX128" fmla="*/ 1018527 w 1669871"/>
                  <a:gd name="connsiteY128" fmla="*/ 300625 h 2002531"/>
                  <a:gd name="connsiteX129" fmla="*/ 1100744 w 1669871"/>
                  <a:gd name="connsiteY129" fmla="*/ 303792 h 2002531"/>
                  <a:gd name="connsiteX130" fmla="*/ 1132668 w 1669871"/>
                  <a:gd name="connsiteY130" fmla="*/ 316967 h 2002531"/>
                  <a:gd name="connsiteX131" fmla="*/ 1163831 w 1669871"/>
                  <a:gd name="connsiteY131" fmla="*/ 298218 h 2002531"/>
                  <a:gd name="connsiteX132" fmla="*/ 1179160 w 1669871"/>
                  <a:gd name="connsiteY132" fmla="*/ 266674 h 2002531"/>
                  <a:gd name="connsiteX133" fmla="*/ 1142042 w 1669871"/>
                  <a:gd name="connsiteY133" fmla="*/ 275289 h 2002531"/>
                  <a:gd name="connsiteX134" fmla="*/ 1099857 w 1669871"/>
                  <a:gd name="connsiteY134" fmla="*/ 261607 h 2002531"/>
                  <a:gd name="connsiteX135" fmla="*/ 1060965 w 1669871"/>
                  <a:gd name="connsiteY135" fmla="*/ 275415 h 2002531"/>
                  <a:gd name="connsiteX136" fmla="*/ 1066539 w 1669871"/>
                  <a:gd name="connsiteY136" fmla="*/ 239691 h 2002531"/>
                  <a:gd name="connsiteX137" fmla="*/ 1077941 w 1669871"/>
                  <a:gd name="connsiteY137" fmla="*/ 202573 h 2002531"/>
                  <a:gd name="connsiteX138" fmla="*/ 1104924 w 1669871"/>
                  <a:gd name="connsiteY138" fmla="*/ 201053 h 2002531"/>
                  <a:gd name="connsiteX139" fmla="*/ 1108598 w 1669871"/>
                  <a:gd name="connsiteY139" fmla="*/ 182177 h 2002531"/>
                  <a:gd name="connsiteX140" fmla="*/ 1122280 w 1669871"/>
                  <a:gd name="connsiteY140" fmla="*/ 144552 h 2002531"/>
                  <a:gd name="connsiteX141" fmla="*/ 1092889 w 1669871"/>
                  <a:gd name="connsiteY141" fmla="*/ 160008 h 2002531"/>
                  <a:gd name="connsiteX142" fmla="*/ 1116452 w 1669871"/>
                  <a:gd name="connsiteY142" fmla="*/ 108068 h 2002531"/>
                  <a:gd name="connsiteX143" fmla="*/ 1130134 w 1669871"/>
                  <a:gd name="connsiteY143" fmla="*/ 90839 h 2002531"/>
                  <a:gd name="connsiteX144" fmla="*/ 1168772 w 1669871"/>
                  <a:gd name="connsiteY144" fmla="*/ 88305 h 2002531"/>
                  <a:gd name="connsiteX145" fmla="*/ 1207664 w 1669871"/>
                  <a:gd name="connsiteY145" fmla="*/ 71710 h 2002531"/>
                  <a:gd name="connsiteX146" fmla="*/ 1230087 w 1669871"/>
                  <a:gd name="connsiteY146" fmla="*/ 50807 h 2002531"/>
                  <a:gd name="connsiteX147" fmla="*/ 1259603 w 1669871"/>
                  <a:gd name="connsiteY147" fmla="*/ 44473 h 2002531"/>
                  <a:gd name="connsiteX148" fmla="*/ 1303309 w 1669871"/>
                  <a:gd name="connsiteY148" fmla="*/ 1148 h 2002531"/>
                  <a:gd name="connsiteX149" fmla="*/ 1321678 w 1669871"/>
                  <a:gd name="connsiteY149" fmla="*/ 43966 h 2002531"/>
                  <a:gd name="connsiteX150" fmla="*/ 1331560 w 1669871"/>
                  <a:gd name="connsiteY150" fmla="*/ 63982 h 2002531"/>
                  <a:gd name="connsiteX151" fmla="*/ 1353349 w 1669871"/>
                  <a:gd name="connsiteY151" fmla="*/ 73103 h 2002531"/>
                  <a:gd name="connsiteX152" fmla="*/ 1348661 w 1669871"/>
                  <a:gd name="connsiteY152" fmla="*/ 97553 h 2002531"/>
                  <a:gd name="connsiteX153" fmla="*/ 1335487 w 1669871"/>
                  <a:gd name="connsiteY153" fmla="*/ 120609 h 2002531"/>
                  <a:gd name="connsiteX154" fmla="*/ 1368930 w 1669871"/>
                  <a:gd name="connsiteY154" fmla="*/ 120989 h 2002531"/>
                  <a:gd name="connsiteX155" fmla="*/ 1364497 w 1669871"/>
                  <a:gd name="connsiteY155" fmla="*/ 148353 h 2002531"/>
                  <a:gd name="connsiteX156" fmla="*/ 1362470 w 1669871"/>
                  <a:gd name="connsiteY156" fmla="*/ 178250 h 2002531"/>
                  <a:gd name="connsiteX157" fmla="*/ 1331560 w 1669871"/>
                  <a:gd name="connsiteY157" fmla="*/ 194465 h 2002531"/>
                  <a:gd name="connsiteX158" fmla="*/ 1335487 w 1669871"/>
                  <a:gd name="connsiteY158" fmla="*/ 211694 h 2002531"/>
                  <a:gd name="connsiteX159" fmla="*/ 1368044 w 1669871"/>
                  <a:gd name="connsiteY159" fmla="*/ 204600 h 2002531"/>
                  <a:gd name="connsiteX160" fmla="*/ 1395154 w 1669871"/>
                  <a:gd name="connsiteY160" fmla="*/ 214861 h 2002531"/>
                  <a:gd name="connsiteX161" fmla="*/ 1428092 w 1669871"/>
                  <a:gd name="connsiteY161" fmla="*/ 212708 h 2002531"/>
                  <a:gd name="connsiteX162" fmla="*/ 1449121 w 1669871"/>
                  <a:gd name="connsiteY162" fmla="*/ 247039 h 2002531"/>
                  <a:gd name="connsiteX163" fmla="*/ 1482692 w 1669871"/>
                  <a:gd name="connsiteY163" fmla="*/ 287450 h 2002531"/>
                  <a:gd name="connsiteX164" fmla="*/ 1513729 w 1669871"/>
                  <a:gd name="connsiteY164" fmla="*/ 255400 h 2002531"/>
                  <a:gd name="connsiteX165" fmla="*/ 1551100 w 1669871"/>
                  <a:gd name="connsiteY165" fmla="*/ 260847 h 2002531"/>
                  <a:gd name="connsiteX166" fmla="*/ 1538432 w 1669871"/>
                  <a:gd name="connsiteY166" fmla="*/ 287070 h 2002531"/>
                  <a:gd name="connsiteX167" fmla="*/ 1517276 w 1669871"/>
                  <a:gd name="connsiteY167" fmla="*/ 308480 h 2002531"/>
                  <a:gd name="connsiteX168" fmla="*/ 1531718 w 1669871"/>
                  <a:gd name="connsiteY168" fmla="*/ 310380 h 2002531"/>
                  <a:gd name="connsiteX169" fmla="*/ 1534378 w 1669871"/>
                  <a:gd name="connsiteY169" fmla="*/ 333563 h 2002531"/>
                  <a:gd name="connsiteX170" fmla="*/ 1510688 w 1669871"/>
                  <a:gd name="connsiteY170" fmla="*/ 331916 h 2002531"/>
                  <a:gd name="connsiteX171" fmla="*/ 1508535 w 1669871"/>
                  <a:gd name="connsiteY171" fmla="*/ 346611 h 2002531"/>
                  <a:gd name="connsiteX172" fmla="*/ 1515882 w 1669871"/>
                  <a:gd name="connsiteY172" fmla="*/ 367514 h 2002531"/>
                  <a:gd name="connsiteX173" fmla="*/ 1494473 w 1669871"/>
                  <a:gd name="connsiteY173" fmla="*/ 379675 h 2002531"/>
                  <a:gd name="connsiteX174" fmla="*/ 1470150 w 1669871"/>
                  <a:gd name="connsiteY174" fmla="*/ 393230 h 2002531"/>
                  <a:gd name="connsiteX175" fmla="*/ 1423024 w 1669871"/>
                  <a:gd name="connsiteY175" fmla="*/ 446690 h 2002531"/>
                  <a:gd name="connsiteX176" fmla="*/ 1412636 w 1669871"/>
                  <a:gd name="connsiteY176" fmla="*/ 472533 h 2002531"/>
                  <a:gd name="connsiteX177" fmla="*/ 1386539 w 1669871"/>
                  <a:gd name="connsiteY177" fmla="*/ 478234 h 2002531"/>
                  <a:gd name="connsiteX178" fmla="*/ 1367283 w 1669871"/>
                  <a:gd name="connsiteY178" fmla="*/ 496096 h 2002531"/>
                  <a:gd name="connsiteX179" fmla="*/ 1351195 w 1669871"/>
                  <a:gd name="connsiteY179" fmla="*/ 471013 h 2002531"/>
                  <a:gd name="connsiteX180" fmla="*/ 1330926 w 1669871"/>
                  <a:gd name="connsiteY180" fmla="*/ 459232 h 2002531"/>
                  <a:gd name="connsiteX181" fmla="*/ 1302676 w 1669871"/>
                  <a:gd name="connsiteY181" fmla="*/ 457078 h 2002531"/>
                  <a:gd name="connsiteX182" fmla="*/ 1289628 w 1669871"/>
                  <a:gd name="connsiteY182" fmla="*/ 479248 h 2002531"/>
                  <a:gd name="connsiteX183" fmla="*/ 1269612 w 1669871"/>
                  <a:gd name="connsiteY183" fmla="*/ 506864 h 2002531"/>
                  <a:gd name="connsiteX184" fmla="*/ 1246302 w 1669871"/>
                  <a:gd name="connsiteY184" fmla="*/ 564378 h 2002531"/>
                  <a:gd name="connsiteX185" fmla="*/ 1210198 w 1669871"/>
                  <a:gd name="connsiteY185" fmla="*/ 625059 h 2002531"/>
                  <a:gd name="connsiteX186" fmla="*/ 1181188 w 1669871"/>
                  <a:gd name="connsiteY186" fmla="*/ 615938 h 2002531"/>
                  <a:gd name="connsiteX187" fmla="*/ 1154711 w 1669871"/>
                  <a:gd name="connsiteY187" fmla="*/ 626579 h 2002531"/>
                  <a:gd name="connsiteX188" fmla="*/ 1120506 w 1669871"/>
                  <a:gd name="connsiteY188" fmla="*/ 600609 h 2002531"/>
                  <a:gd name="connsiteX189" fmla="*/ 1103531 w 1669871"/>
                  <a:gd name="connsiteY189" fmla="*/ 582747 h 2002531"/>
                  <a:gd name="connsiteX190" fmla="*/ 1080094 w 1669871"/>
                  <a:gd name="connsiteY190" fmla="*/ 580214 h 2002531"/>
                  <a:gd name="connsiteX191" fmla="*/ 1086302 w 1669871"/>
                  <a:gd name="connsiteY191" fmla="*/ 603650 h 2002531"/>
                  <a:gd name="connsiteX192" fmla="*/ 1097323 w 1669871"/>
                  <a:gd name="connsiteY192" fmla="*/ 625059 h 2002531"/>
                  <a:gd name="connsiteX193" fmla="*/ 1059445 w 1669871"/>
                  <a:gd name="connsiteY193" fmla="*/ 642161 h 2002531"/>
                  <a:gd name="connsiteX194" fmla="*/ 1106318 w 1669871"/>
                  <a:gd name="connsiteY194" fmla="*/ 656096 h 2002531"/>
                  <a:gd name="connsiteX195" fmla="*/ 1121393 w 1669871"/>
                  <a:gd name="connsiteY195" fmla="*/ 692074 h 2002531"/>
                  <a:gd name="connsiteX196" fmla="*/ 1174219 w 1669871"/>
                  <a:gd name="connsiteY196" fmla="*/ 666991 h 2002531"/>
                  <a:gd name="connsiteX197" fmla="*/ 1209437 w 1669871"/>
                  <a:gd name="connsiteY197" fmla="*/ 698662 h 2002531"/>
                  <a:gd name="connsiteX198" fmla="*/ 1224640 w 1669871"/>
                  <a:gd name="connsiteY198" fmla="*/ 718551 h 2002531"/>
                  <a:gd name="connsiteX199" fmla="*/ 1250356 w 1669871"/>
                  <a:gd name="connsiteY199" fmla="*/ 738313 h 2002531"/>
                  <a:gd name="connsiteX200" fmla="*/ 1254410 w 1669871"/>
                  <a:gd name="connsiteY200" fmla="*/ 779232 h 2002531"/>
                  <a:gd name="connsiteX201" fmla="*/ 1274426 w 1669871"/>
                  <a:gd name="connsiteY201" fmla="*/ 821544 h 2002531"/>
                  <a:gd name="connsiteX202" fmla="*/ 1264291 w 1669871"/>
                  <a:gd name="connsiteY202" fmla="*/ 922383 h 2002531"/>
                  <a:gd name="connsiteX203" fmla="*/ 1224132 w 1669871"/>
                  <a:gd name="connsiteY203" fmla="*/ 953927 h 2002531"/>
                  <a:gd name="connsiteX204" fmla="*/ 1179160 w 1669871"/>
                  <a:gd name="connsiteY204" fmla="*/ 963301 h 2002531"/>
                  <a:gd name="connsiteX205" fmla="*/ 1150403 w 1669871"/>
                  <a:gd name="connsiteY205" fmla="*/ 992185 h 2002531"/>
                  <a:gd name="connsiteX206" fmla="*/ 1184481 w 1669871"/>
                  <a:gd name="connsiteY206" fmla="*/ 988638 h 2002531"/>
                  <a:gd name="connsiteX207" fmla="*/ 1200696 w 1669871"/>
                  <a:gd name="connsiteY207" fmla="*/ 999659 h 2002531"/>
                  <a:gd name="connsiteX208" fmla="*/ 1178020 w 1669871"/>
                  <a:gd name="connsiteY208" fmla="*/ 1036144 h 2002531"/>
                  <a:gd name="connsiteX209" fmla="*/ 1212858 w 1669871"/>
                  <a:gd name="connsiteY209" fmla="*/ 1037791 h 2002531"/>
                  <a:gd name="connsiteX210" fmla="*/ 1226920 w 1669871"/>
                  <a:gd name="connsiteY210" fmla="*/ 1011061 h 2002531"/>
                  <a:gd name="connsiteX211" fmla="*/ 1244655 w 1669871"/>
                  <a:gd name="connsiteY211" fmla="*/ 970902 h 2002531"/>
                  <a:gd name="connsiteX212" fmla="*/ 1269738 w 1669871"/>
                  <a:gd name="connsiteY212" fmla="*/ 986484 h 2002531"/>
                  <a:gd name="connsiteX213" fmla="*/ 1300649 w 1669871"/>
                  <a:gd name="connsiteY213" fmla="*/ 980910 h 2002531"/>
                  <a:gd name="connsiteX214" fmla="*/ 1327379 w 1669871"/>
                  <a:gd name="connsiteY214" fmla="*/ 968115 h 2002531"/>
                  <a:gd name="connsiteX215" fmla="*/ 1310783 w 1669871"/>
                  <a:gd name="connsiteY215" fmla="*/ 945566 h 2002531"/>
                  <a:gd name="connsiteX216" fmla="*/ 1360823 w 1669871"/>
                  <a:gd name="connsiteY216" fmla="*/ 928590 h 2002531"/>
                  <a:gd name="connsiteX217" fmla="*/ 1366017 w 1669871"/>
                  <a:gd name="connsiteY217" fmla="*/ 945819 h 2002531"/>
                  <a:gd name="connsiteX218" fmla="*/ 1387047 w 1669871"/>
                  <a:gd name="connsiteY218" fmla="*/ 944046 h 2002531"/>
                  <a:gd name="connsiteX219" fmla="*/ 1430372 w 1669871"/>
                  <a:gd name="connsiteY219" fmla="*/ 945819 h 2002531"/>
                  <a:gd name="connsiteX220" fmla="*/ 1445574 w 1669871"/>
                  <a:gd name="connsiteY220" fmla="*/ 989651 h 2002531"/>
                  <a:gd name="connsiteX221" fmla="*/ 1473191 w 1669871"/>
                  <a:gd name="connsiteY221" fmla="*/ 962668 h 2002531"/>
                  <a:gd name="connsiteX222" fmla="*/ 1514996 w 1669871"/>
                  <a:gd name="connsiteY222" fmla="*/ 957981 h 2002531"/>
                  <a:gd name="connsiteX223" fmla="*/ 1553507 w 1669871"/>
                  <a:gd name="connsiteY223" fmla="*/ 950126 h 2002531"/>
                  <a:gd name="connsiteX224" fmla="*/ 1560728 w 1669871"/>
                  <a:gd name="connsiteY224" fmla="*/ 971789 h 2002531"/>
                  <a:gd name="connsiteX225" fmla="*/ 1580744 w 1669871"/>
                  <a:gd name="connsiteY225" fmla="*/ 965708 h 2002531"/>
                  <a:gd name="connsiteX226" fmla="*/ 1636864 w 1669871"/>
                  <a:gd name="connsiteY226" fmla="*/ 957727 h 2002531"/>
                  <a:gd name="connsiteX227" fmla="*/ 1646492 w 1669871"/>
                  <a:gd name="connsiteY227" fmla="*/ 978377 h 2002531"/>
                  <a:gd name="connsiteX228" fmla="*/ 1645859 w 1669871"/>
                  <a:gd name="connsiteY228" fmla="*/ 1001433 h 2002531"/>
                  <a:gd name="connsiteX229" fmla="*/ 1667901 w 1669871"/>
                  <a:gd name="connsiteY229" fmla="*/ 1018535 h 20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1669871" h="2002531">
                    <a:moveTo>
                      <a:pt x="1667901" y="1018535"/>
                    </a:moveTo>
                    <a:cubicBezTo>
                      <a:pt x="1660047" y="1031203"/>
                      <a:pt x="1643198" y="1033863"/>
                      <a:pt x="1633697" y="1044505"/>
                    </a:cubicBezTo>
                    <a:cubicBezTo>
                      <a:pt x="1624829" y="1054639"/>
                      <a:pt x="1618495" y="1069968"/>
                      <a:pt x="1612668" y="1081876"/>
                    </a:cubicBezTo>
                    <a:cubicBezTo>
                      <a:pt x="1606080" y="1095305"/>
                      <a:pt x="1596833" y="1113800"/>
                      <a:pt x="1582264" y="1119881"/>
                    </a:cubicBezTo>
                    <a:cubicBezTo>
                      <a:pt x="1564909" y="1127229"/>
                      <a:pt x="1557688" y="1113927"/>
                      <a:pt x="1543119" y="1109873"/>
                    </a:cubicBezTo>
                    <a:cubicBezTo>
                      <a:pt x="1532731" y="1107086"/>
                      <a:pt x="1512082" y="1122541"/>
                      <a:pt x="1522217" y="1133056"/>
                    </a:cubicBezTo>
                    <a:cubicBezTo>
                      <a:pt x="1526523" y="1137617"/>
                      <a:pt x="1537292" y="1133816"/>
                      <a:pt x="1542612" y="1133816"/>
                    </a:cubicBezTo>
                    <a:cubicBezTo>
                      <a:pt x="1550720" y="1133689"/>
                      <a:pt x="1557434" y="1135463"/>
                      <a:pt x="1564402" y="1139770"/>
                    </a:cubicBezTo>
                    <a:cubicBezTo>
                      <a:pt x="1572130" y="1154212"/>
                      <a:pt x="1560474" y="1171187"/>
                      <a:pt x="1564655" y="1186136"/>
                    </a:cubicBezTo>
                    <a:cubicBezTo>
                      <a:pt x="1569215" y="1202351"/>
                      <a:pt x="1585304" y="1216160"/>
                      <a:pt x="1582518" y="1234275"/>
                    </a:cubicBezTo>
                    <a:cubicBezTo>
                      <a:pt x="1581504" y="1240989"/>
                      <a:pt x="1575676" y="1245043"/>
                      <a:pt x="1574410" y="1251251"/>
                    </a:cubicBezTo>
                    <a:cubicBezTo>
                      <a:pt x="1573016" y="1257838"/>
                      <a:pt x="1575803" y="1266833"/>
                      <a:pt x="1579477" y="1272280"/>
                    </a:cubicBezTo>
                    <a:cubicBezTo>
                      <a:pt x="1583531" y="1277981"/>
                      <a:pt x="1589612" y="1279754"/>
                      <a:pt x="1590372" y="1288242"/>
                    </a:cubicBezTo>
                    <a:cubicBezTo>
                      <a:pt x="1591132" y="1296603"/>
                      <a:pt x="1583784" y="1299263"/>
                      <a:pt x="1581758" y="1305978"/>
                    </a:cubicBezTo>
                    <a:cubicBezTo>
                      <a:pt x="1578464" y="1316872"/>
                      <a:pt x="1591892" y="1333088"/>
                      <a:pt x="1593412" y="1344236"/>
                    </a:cubicBezTo>
                    <a:cubicBezTo>
                      <a:pt x="1595819" y="1361211"/>
                      <a:pt x="1586191" y="1374766"/>
                      <a:pt x="1587458" y="1391108"/>
                    </a:cubicBezTo>
                    <a:cubicBezTo>
                      <a:pt x="1587584" y="1392248"/>
                      <a:pt x="1587711" y="1393262"/>
                      <a:pt x="1587965" y="1394149"/>
                    </a:cubicBezTo>
                    <a:cubicBezTo>
                      <a:pt x="1570609" y="1375780"/>
                      <a:pt x="1517149" y="1371852"/>
                      <a:pt x="1506761" y="1378313"/>
                    </a:cubicBezTo>
                    <a:cubicBezTo>
                      <a:pt x="1496373" y="1384774"/>
                      <a:pt x="1490419" y="1357031"/>
                      <a:pt x="1485478" y="1349176"/>
                    </a:cubicBezTo>
                    <a:cubicBezTo>
                      <a:pt x="1480538" y="1341322"/>
                      <a:pt x="1472050" y="1347149"/>
                      <a:pt x="1465716" y="1360578"/>
                    </a:cubicBezTo>
                    <a:cubicBezTo>
                      <a:pt x="1459255" y="1373879"/>
                      <a:pt x="1444940" y="1375906"/>
                      <a:pt x="1437466" y="1388321"/>
                    </a:cubicBezTo>
                    <a:cubicBezTo>
                      <a:pt x="1429991" y="1400736"/>
                      <a:pt x="1435439" y="1417965"/>
                      <a:pt x="1439493" y="1434307"/>
                    </a:cubicBezTo>
                    <a:cubicBezTo>
                      <a:pt x="1443420" y="1450649"/>
                      <a:pt x="1433539" y="1467498"/>
                      <a:pt x="1429105" y="1475859"/>
                    </a:cubicBezTo>
                    <a:cubicBezTo>
                      <a:pt x="1424671" y="1484220"/>
                      <a:pt x="1418717" y="1491694"/>
                      <a:pt x="1415297" y="1504109"/>
                    </a:cubicBezTo>
                    <a:cubicBezTo>
                      <a:pt x="1411876" y="1516524"/>
                      <a:pt x="1413776" y="1522858"/>
                      <a:pt x="1404908" y="1536793"/>
                    </a:cubicBezTo>
                    <a:cubicBezTo>
                      <a:pt x="1396041" y="1550601"/>
                      <a:pt x="1396041" y="1574924"/>
                      <a:pt x="1395027" y="1590760"/>
                    </a:cubicBezTo>
                    <a:cubicBezTo>
                      <a:pt x="1394141" y="1606595"/>
                      <a:pt x="1383626" y="1632818"/>
                      <a:pt x="1374758" y="1646120"/>
                    </a:cubicBezTo>
                    <a:cubicBezTo>
                      <a:pt x="1365890" y="1659422"/>
                      <a:pt x="1336626" y="1639152"/>
                      <a:pt x="1315344" y="1634212"/>
                    </a:cubicBezTo>
                    <a:cubicBezTo>
                      <a:pt x="1294061" y="1629271"/>
                      <a:pt x="1273792" y="1631678"/>
                      <a:pt x="1263404" y="1639152"/>
                    </a:cubicBezTo>
                    <a:cubicBezTo>
                      <a:pt x="1253016" y="1646627"/>
                      <a:pt x="1246049" y="1649541"/>
                      <a:pt x="1227807" y="1653468"/>
                    </a:cubicBezTo>
                    <a:cubicBezTo>
                      <a:pt x="1209437" y="1657395"/>
                      <a:pt x="1196642" y="1668796"/>
                      <a:pt x="1177767" y="1688179"/>
                    </a:cubicBezTo>
                    <a:cubicBezTo>
                      <a:pt x="1159018" y="1707434"/>
                      <a:pt x="1146096" y="1689699"/>
                      <a:pt x="1138748" y="1679311"/>
                    </a:cubicBezTo>
                    <a:cubicBezTo>
                      <a:pt x="1131275" y="1668923"/>
                      <a:pt x="1129374" y="1608495"/>
                      <a:pt x="1129880" y="1565930"/>
                    </a:cubicBezTo>
                    <a:cubicBezTo>
                      <a:pt x="1130388" y="1523365"/>
                      <a:pt x="1062106" y="1562003"/>
                      <a:pt x="1044243" y="1572898"/>
                    </a:cubicBezTo>
                    <a:cubicBezTo>
                      <a:pt x="1026381" y="1583792"/>
                      <a:pt x="1001171" y="1567957"/>
                      <a:pt x="982423" y="1563523"/>
                    </a:cubicBezTo>
                    <a:cubicBezTo>
                      <a:pt x="963546" y="1559089"/>
                      <a:pt x="949231" y="1591267"/>
                      <a:pt x="938844" y="1605582"/>
                    </a:cubicBezTo>
                    <a:cubicBezTo>
                      <a:pt x="928456" y="1620023"/>
                      <a:pt x="908186" y="1621417"/>
                      <a:pt x="896278" y="1623951"/>
                    </a:cubicBezTo>
                    <a:cubicBezTo>
                      <a:pt x="884370" y="1626484"/>
                      <a:pt x="878922" y="1656128"/>
                      <a:pt x="876515" y="1664109"/>
                    </a:cubicBezTo>
                    <a:cubicBezTo>
                      <a:pt x="874108" y="1671963"/>
                      <a:pt x="868661" y="1683365"/>
                      <a:pt x="857767" y="1688812"/>
                    </a:cubicBezTo>
                    <a:cubicBezTo>
                      <a:pt x="846872" y="1694259"/>
                      <a:pt x="844338" y="1710601"/>
                      <a:pt x="840411" y="1722890"/>
                    </a:cubicBezTo>
                    <a:cubicBezTo>
                      <a:pt x="836484" y="1735051"/>
                      <a:pt x="824576" y="1729477"/>
                      <a:pt x="806713" y="1723523"/>
                    </a:cubicBezTo>
                    <a:cubicBezTo>
                      <a:pt x="788851" y="1717569"/>
                      <a:pt x="784418" y="1753674"/>
                      <a:pt x="787458" y="1768115"/>
                    </a:cubicBezTo>
                    <a:cubicBezTo>
                      <a:pt x="790498" y="1782430"/>
                      <a:pt x="769216" y="1774576"/>
                      <a:pt x="756294" y="1769129"/>
                    </a:cubicBezTo>
                    <a:cubicBezTo>
                      <a:pt x="743372" y="1763681"/>
                      <a:pt x="731971" y="1782430"/>
                      <a:pt x="728044" y="1792818"/>
                    </a:cubicBezTo>
                    <a:cubicBezTo>
                      <a:pt x="724117" y="1803206"/>
                      <a:pt x="722089" y="1810681"/>
                      <a:pt x="715249" y="1826009"/>
                    </a:cubicBezTo>
                    <a:cubicBezTo>
                      <a:pt x="708408" y="1840958"/>
                      <a:pt x="721077" y="1876302"/>
                      <a:pt x="721710" y="1877696"/>
                    </a:cubicBezTo>
                    <a:cubicBezTo>
                      <a:pt x="701314" y="1878076"/>
                      <a:pt x="683451" y="1894291"/>
                      <a:pt x="666602" y="1904046"/>
                    </a:cubicBezTo>
                    <a:cubicBezTo>
                      <a:pt x="642913" y="1917727"/>
                      <a:pt x="620997" y="1919628"/>
                      <a:pt x="594520" y="1923428"/>
                    </a:cubicBezTo>
                    <a:cubicBezTo>
                      <a:pt x="581345" y="1925328"/>
                      <a:pt x="568931" y="1929002"/>
                      <a:pt x="558543" y="1937870"/>
                    </a:cubicBezTo>
                    <a:cubicBezTo>
                      <a:pt x="549295" y="1945724"/>
                      <a:pt x="543721" y="1957252"/>
                      <a:pt x="534093" y="1964600"/>
                    </a:cubicBezTo>
                    <a:cubicBezTo>
                      <a:pt x="512050" y="1981575"/>
                      <a:pt x="481900" y="1967894"/>
                      <a:pt x="457070" y="1976508"/>
                    </a:cubicBezTo>
                    <a:cubicBezTo>
                      <a:pt x="430086" y="1985756"/>
                      <a:pt x="410070" y="2008179"/>
                      <a:pt x="378653" y="2001211"/>
                    </a:cubicBezTo>
                    <a:cubicBezTo>
                      <a:pt x="349517" y="1994877"/>
                      <a:pt x="354077" y="1964980"/>
                      <a:pt x="335961" y="1947498"/>
                    </a:cubicBezTo>
                    <a:cubicBezTo>
                      <a:pt x="318100" y="1930269"/>
                      <a:pt x="293903" y="1938630"/>
                      <a:pt x="281615" y="1956746"/>
                    </a:cubicBezTo>
                    <a:cubicBezTo>
                      <a:pt x="260839" y="1944837"/>
                      <a:pt x="243990" y="1911520"/>
                      <a:pt x="231448" y="1883776"/>
                    </a:cubicBezTo>
                    <a:cubicBezTo>
                      <a:pt x="218907" y="1856033"/>
                      <a:pt x="171401" y="1865407"/>
                      <a:pt x="139730" y="1865407"/>
                    </a:cubicBezTo>
                    <a:cubicBezTo>
                      <a:pt x="108060" y="1865407"/>
                      <a:pt x="78669" y="1850586"/>
                      <a:pt x="68788" y="1841591"/>
                    </a:cubicBezTo>
                    <a:cubicBezTo>
                      <a:pt x="58907" y="1832723"/>
                      <a:pt x="56246" y="1808654"/>
                      <a:pt x="62834" y="1799026"/>
                    </a:cubicBezTo>
                    <a:cubicBezTo>
                      <a:pt x="69422" y="1789398"/>
                      <a:pt x="52319" y="1794719"/>
                      <a:pt x="38764" y="1791805"/>
                    </a:cubicBezTo>
                    <a:cubicBezTo>
                      <a:pt x="25210" y="1788764"/>
                      <a:pt x="41678" y="1748986"/>
                      <a:pt x="54980" y="1724537"/>
                    </a:cubicBezTo>
                    <a:cubicBezTo>
                      <a:pt x="68154" y="1700214"/>
                      <a:pt x="97165" y="1653594"/>
                      <a:pt x="111733" y="1640419"/>
                    </a:cubicBezTo>
                    <a:cubicBezTo>
                      <a:pt x="126175" y="1627244"/>
                      <a:pt x="128836" y="1587339"/>
                      <a:pt x="128836" y="1570491"/>
                    </a:cubicBezTo>
                    <a:cubicBezTo>
                      <a:pt x="128836" y="1553642"/>
                      <a:pt x="141757" y="1535526"/>
                      <a:pt x="149611" y="1521591"/>
                    </a:cubicBezTo>
                    <a:cubicBezTo>
                      <a:pt x="157592" y="1507783"/>
                      <a:pt x="129089" y="1498155"/>
                      <a:pt x="122502" y="1496255"/>
                    </a:cubicBezTo>
                    <a:cubicBezTo>
                      <a:pt x="115914" y="1494228"/>
                      <a:pt x="93111" y="1474085"/>
                      <a:pt x="72716" y="1459643"/>
                    </a:cubicBezTo>
                    <a:cubicBezTo>
                      <a:pt x="52319" y="1445075"/>
                      <a:pt x="7347" y="1417838"/>
                      <a:pt x="7347" y="1417838"/>
                    </a:cubicBezTo>
                    <a:cubicBezTo>
                      <a:pt x="4053" y="1413024"/>
                      <a:pt x="1140" y="1407830"/>
                      <a:pt x="253" y="1401496"/>
                    </a:cubicBezTo>
                    <a:cubicBezTo>
                      <a:pt x="-2027" y="1385534"/>
                      <a:pt x="11655" y="1367039"/>
                      <a:pt x="19762" y="1354370"/>
                    </a:cubicBezTo>
                    <a:cubicBezTo>
                      <a:pt x="31037" y="1336888"/>
                      <a:pt x="30530" y="1321813"/>
                      <a:pt x="35977" y="1302430"/>
                    </a:cubicBezTo>
                    <a:cubicBezTo>
                      <a:pt x="42818" y="1277981"/>
                      <a:pt x="54980" y="1284188"/>
                      <a:pt x="74362" y="1282668"/>
                    </a:cubicBezTo>
                    <a:cubicBezTo>
                      <a:pt x="92604" y="1281274"/>
                      <a:pt x="107046" y="1262905"/>
                      <a:pt x="119968" y="1251757"/>
                    </a:cubicBezTo>
                    <a:cubicBezTo>
                      <a:pt x="147964" y="1227181"/>
                      <a:pt x="164307" y="1192597"/>
                      <a:pt x="171021" y="1156492"/>
                    </a:cubicBezTo>
                    <a:cubicBezTo>
                      <a:pt x="173048" y="1145091"/>
                      <a:pt x="169121" y="1110887"/>
                      <a:pt x="187490" y="1112533"/>
                    </a:cubicBezTo>
                    <a:cubicBezTo>
                      <a:pt x="195597" y="1113293"/>
                      <a:pt x="200411" y="1121654"/>
                      <a:pt x="209406" y="1121908"/>
                    </a:cubicBezTo>
                    <a:cubicBezTo>
                      <a:pt x="218274" y="1122161"/>
                      <a:pt x="224354" y="1118614"/>
                      <a:pt x="233222" y="1122921"/>
                    </a:cubicBezTo>
                    <a:cubicBezTo>
                      <a:pt x="234996" y="1126849"/>
                      <a:pt x="237276" y="1132549"/>
                      <a:pt x="240823" y="1135336"/>
                    </a:cubicBezTo>
                    <a:cubicBezTo>
                      <a:pt x="256785" y="1148004"/>
                      <a:pt x="272493" y="1118867"/>
                      <a:pt x="284148" y="1111393"/>
                    </a:cubicBezTo>
                    <a:cubicBezTo>
                      <a:pt x="291749" y="1106579"/>
                      <a:pt x="300490" y="1103792"/>
                      <a:pt x="308091" y="1099105"/>
                    </a:cubicBezTo>
                    <a:cubicBezTo>
                      <a:pt x="313538" y="1095811"/>
                      <a:pt x="324434" y="1084917"/>
                      <a:pt x="331401" y="1087324"/>
                    </a:cubicBezTo>
                    <a:cubicBezTo>
                      <a:pt x="338115" y="1089604"/>
                      <a:pt x="339889" y="1103539"/>
                      <a:pt x="344829" y="1108480"/>
                    </a:cubicBezTo>
                    <a:cubicBezTo>
                      <a:pt x="352430" y="1116080"/>
                      <a:pt x="360665" y="1114687"/>
                      <a:pt x="367886" y="1107213"/>
                    </a:cubicBezTo>
                    <a:cubicBezTo>
                      <a:pt x="374980" y="1099865"/>
                      <a:pt x="377387" y="1089097"/>
                      <a:pt x="383594" y="1081116"/>
                    </a:cubicBezTo>
                    <a:cubicBezTo>
                      <a:pt x="390688" y="1072122"/>
                      <a:pt x="400950" y="1066928"/>
                      <a:pt x="409564" y="1059327"/>
                    </a:cubicBezTo>
                    <a:cubicBezTo>
                      <a:pt x="428947" y="1042351"/>
                      <a:pt x="397909" y="1036144"/>
                      <a:pt x="386761" y="1023476"/>
                    </a:cubicBezTo>
                    <a:cubicBezTo>
                      <a:pt x="379794" y="1015495"/>
                      <a:pt x="374853" y="1004346"/>
                      <a:pt x="363832" y="1001053"/>
                    </a:cubicBezTo>
                    <a:cubicBezTo>
                      <a:pt x="353063" y="997886"/>
                      <a:pt x="341155" y="1003080"/>
                      <a:pt x="330261" y="1003206"/>
                    </a:cubicBezTo>
                    <a:cubicBezTo>
                      <a:pt x="320126" y="1003206"/>
                      <a:pt x="311512" y="998519"/>
                      <a:pt x="301630" y="997506"/>
                    </a:cubicBezTo>
                    <a:cubicBezTo>
                      <a:pt x="289216" y="996239"/>
                      <a:pt x="279335" y="1002700"/>
                      <a:pt x="267553" y="1005233"/>
                    </a:cubicBezTo>
                    <a:cubicBezTo>
                      <a:pt x="239936" y="1011061"/>
                      <a:pt x="253998" y="971409"/>
                      <a:pt x="236136" y="959754"/>
                    </a:cubicBezTo>
                    <a:cubicBezTo>
                      <a:pt x="226634" y="953547"/>
                      <a:pt x="174948" y="950253"/>
                      <a:pt x="196484" y="926690"/>
                    </a:cubicBezTo>
                    <a:cubicBezTo>
                      <a:pt x="203832" y="918709"/>
                      <a:pt x="217006" y="919849"/>
                      <a:pt x="226508" y="916555"/>
                    </a:cubicBezTo>
                    <a:cubicBezTo>
                      <a:pt x="232968" y="914275"/>
                      <a:pt x="238543" y="910348"/>
                      <a:pt x="243483" y="905661"/>
                    </a:cubicBezTo>
                    <a:cubicBezTo>
                      <a:pt x="244623" y="904521"/>
                      <a:pt x="245764" y="902874"/>
                      <a:pt x="247157" y="901860"/>
                    </a:cubicBezTo>
                    <a:cubicBezTo>
                      <a:pt x="248424" y="900847"/>
                      <a:pt x="249310" y="900594"/>
                      <a:pt x="250324" y="899073"/>
                    </a:cubicBezTo>
                    <a:cubicBezTo>
                      <a:pt x="252604" y="896160"/>
                      <a:pt x="254124" y="892739"/>
                      <a:pt x="256405" y="889825"/>
                    </a:cubicBezTo>
                    <a:cubicBezTo>
                      <a:pt x="262739" y="881718"/>
                      <a:pt x="267933" y="872723"/>
                      <a:pt x="274267" y="864616"/>
                    </a:cubicBezTo>
                    <a:cubicBezTo>
                      <a:pt x="280474" y="857015"/>
                      <a:pt x="287189" y="849921"/>
                      <a:pt x="295676" y="844980"/>
                    </a:cubicBezTo>
                    <a:cubicBezTo>
                      <a:pt x="300997" y="841813"/>
                      <a:pt x="306825" y="839406"/>
                      <a:pt x="312905" y="837886"/>
                    </a:cubicBezTo>
                    <a:cubicBezTo>
                      <a:pt x="321646" y="835605"/>
                      <a:pt x="335582" y="832438"/>
                      <a:pt x="334821" y="821670"/>
                    </a:cubicBezTo>
                    <a:cubicBezTo>
                      <a:pt x="334314" y="814323"/>
                      <a:pt x="325194" y="806722"/>
                      <a:pt x="322406" y="799881"/>
                    </a:cubicBezTo>
                    <a:cubicBezTo>
                      <a:pt x="312905" y="775938"/>
                      <a:pt x="333301" y="776191"/>
                      <a:pt x="339762" y="757189"/>
                    </a:cubicBezTo>
                    <a:cubicBezTo>
                      <a:pt x="342929" y="747688"/>
                      <a:pt x="336848" y="743381"/>
                      <a:pt x="347616" y="736540"/>
                    </a:cubicBezTo>
                    <a:cubicBezTo>
                      <a:pt x="354710" y="731979"/>
                      <a:pt x="363072" y="731726"/>
                      <a:pt x="368899" y="724758"/>
                    </a:cubicBezTo>
                    <a:cubicBezTo>
                      <a:pt x="380427" y="710443"/>
                      <a:pt x="368899" y="691567"/>
                      <a:pt x="376754" y="675859"/>
                    </a:cubicBezTo>
                    <a:cubicBezTo>
                      <a:pt x="383594" y="662304"/>
                      <a:pt x="395122" y="653943"/>
                      <a:pt x="407411" y="646088"/>
                    </a:cubicBezTo>
                    <a:cubicBezTo>
                      <a:pt x="421472" y="637094"/>
                      <a:pt x="430594" y="629746"/>
                      <a:pt x="441488" y="617078"/>
                    </a:cubicBezTo>
                    <a:cubicBezTo>
                      <a:pt x="446809" y="610871"/>
                      <a:pt x="452002" y="605423"/>
                      <a:pt x="460237" y="603396"/>
                    </a:cubicBezTo>
                    <a:cubicBezTo>
                      <a:pt x="468851" y="601369"/>
                      <a:pt x="477466" y="605550"/>
                      <a:pt x="485067" y="599469"/>
                    </a:cubicBezTo>
                    <a:cubicBezTo>
                      <a:pt x="493174" y="593135"/>
                      <a:pt x="488994" y="586928"/>
                      <a:pt x="491147" y="578440"/>
                    </a:cubicBezTo>
                    <a:cubicBezTo>
                      <a:pt x="494568" y="564758"/>
                      <a:pt x="507743" y="559058"/>
                      <a:pt x="517498" y="550950"/>
                    </a:cubicBezTo>
                    <a:cubicBezTo>
                      <a:pt x="522564" y="546769"/>
                      <a:pt x="525352" y="541069"/>
                      <a:pt x="529786" y="536508"/>
                    </a:cubicBezTo>
                    <a:cubicBezTo>
                      <a:pt x="531432" y="534861"/>
                      <a:pt x="544861" y="528527"/>
                      <a:pt x="544354" y="529667"/>
                    </a:cubicBezTo>
                    <a:cubicBezTo>
                      <a:pt x="537640" y="544742"/>
                      <a:pt x="546888" y="549810"/>
                      <a:pt x="557656" y="540055"/>
                    </a:cubicBezTo>
                    <a:cubicBezTo>
                      <a:pt x="568424" y="530174"/>
                      <a:pt x="579952" y="524473"/>
                      <a:pt x="593634" y="519152"/>
                    </a:cubicBezTo>
                    <a:cubicBezTo>
                      <a:pt x="618590" y="509398"/>
                      <a:pt x="638353" y="491536"/>
                      <a:pt x="660015" y="476334"/>
                    </a:cubicBezTo>
                    <a:cubicBezTo>
                      <a:pt x="669263" y="469873"/>
                      <a:pt x="679145" y="464046"/>
                      <a:pt x="690166" y="461259"/>
                    </a:cubicBezTo>
                    <a:cubicBezTo>
                      <a:pt x="702834" y="458092"/>
                      <a:pt x="716515" y="460752"/>
                      <a:pt x="728931" y="456698"/>
                    </a:cubicBezTo>
                    <a:cubicBezTo>
                      <a:pt x="753127" y="448717"/>
                      <a:pt x="762628" y="425914"/>
                      <a:pt x="781124" y="411599"/>
                    </a:cubicBezTo>
                    <a:cubicBezTo>
                      <a:pt x="790878" y="404125"/>
                      <a:pt x="802026" y="399438"/>
                      <a:pt x="811274" y="391076"/>
                    </a:cubicBezTo>
                    <a:cubicBezTo>
                      <a:pt x="817861" y="385122"/>
                      <a:pt x="847379" y="350918"/>
                      <a:pt x="853586" y="364347"/>
                    </a:cubicBezTo>
                    <a:cubicBezTo>
                      <a:pt x="855993" y="369540"/>
                      <a:pt x="844972" y="391203"/>
                      <a:pt x="855487" y="391583"/>
                    </a:cubicBezTo>
                    <a:cubicBezTo>
                      <a:pt x="875882" y="392343"/>
                      <a:pt x="864861" y="341037"/>
                      <a:pt x="888804" y="337236"/>
                    </a:cubicBezTo>
                    <a:cubicBezTo>
                      <a:pt x="904386" y="334703"/>
                      <a:pt x="917434" y="350285"/>
                      <a:pt x="933523" y="346231"/>
                    </a:cubicBezTo>
                    <a:cubicBezTo>
                      <a:pt x="952779" y="341417"/>
                      <a:pt x="941251" y="330269"/>
                      <a:pt x="931116" y="323175"/>
                    </a:cubicBezTo>
                    <a:cubicBezTo>
                      <a:pt x="917941" y="313927"/>
                      <a:pt x="914520" y="305819"/>
                      <a:pt x="929343" y="295558"/>
                    </a:cubicBezTo>
                    <a:cubicBezTo>
                      <a:pt x="944164" y="285170"/>
                      <a:pt x="954552" y="292137"/>
                      <a:pt x="968487" y="300499"/>
                    </a:cubicBezTo>
                    <a:cubicBezTo>
                      <a:pt x="972921" y="303159"/>
                      <a:pt x="981536" y="310126"/>
                      <a:pt x="987110" y="307086"/>
                    </a:cubicBezTo>
                    <a:cubicBezTo>
                      <a:pt x="992430" y="304172"/>
                      <a:pt x="989896" y="296191"/>
                      <a:pt x="991670" y="291631"/>
                    </a:cubicBezTo>
                    <a:cubicBezTo>
                      <a:pt x="997751" y="276175"/>
                      <a:pt x="1009405" y="294291"/>
                      <a:pt x="1018527" y="300625"/>
                    </a:cubicBezTo>
                    <a:cubicBezTo>
                      <a:pt x="1047030" y="320768"/>
                      <a:pt x="1075914" y="280229"/>
                      <a:pt x="1100744" y="303792"/>
                    </a:cubicBezTo>
                    <a:cubicBezTo>
                      <a:pt x="1112398" y="314814"/>
                      <a:pt x="1114932" y="320134"/>
                      <a:pt x="1132668" y="316967"/>
                    </a:cubicBezTo>
                    <a:cubicBezTo>
                      <a:pt x="1147490" y="314307"/>
                      <a:pt x="1157497" y="311900"/>
                      <a:pt x="1163831" y="298218"/>
                    </a:cubicBezTo>
                    <a:cubicBezTo>
                      <a:pt x="1166872" y="291504"/>
                      <a:pt x="1182581" y="273515"/>
                      <a:pt x="1179160" y="266674"/>
                    </a:cubicBezTo>
                    <a:cubicBezTo>
                      <a:pt x="1171812" y="252106"/>
                      <a:pt x="1149010" y="271362"/>
                      <a:pt x="1142042" y="275289"/>
                    </a:cubicBezTo>
                    <a:cubicBezTo>
                      <a:pt x="1124306" y="285170"/>
                      <a:pt x="1116073" y="265154"/>
                      <a:pt x="1099857" y="261607"/>
                    </a:cubicBezTo>
                    <a:cubicBezTo>
                      <a:pt x="1085289" y="258440"/>
                      <a:pt x="1074393" y="281496"/>
                      <a:pt x="1060965" y="275415"/>
                    </a:cubicBezTo>
                    <a:cubicBezTo>
                      <a:pt x="1046144" y="268575"/>
                      <a:pt x="1063753" y="248559"/>
                      <a:pt x="1066539" y="239691"/>
                    </a:cubicBezTo>
                    <a:cubicBezTo>
                      <a:pt x="1070214" y="227783"/>
                      <a:pt x="1062359" y="207133"/>
                      <a:pt x="1077941" y="202573"/>
                    </a:cubicBezTo>
                    <a:cubicBezTo>
                      <a:pt x="1086682" y="199913"/>
                      <a:pt x="1098463" y="209667"/>
                      <a:pt x="1104924" y="201053"/>
                    </a:cubicBezTo>
                    <a:cubicBezTo>
                      <a:pt x="1108218" y="196746"/>
                      <a:pt x="1107205" y="187371"/>
                      <a:pt x="1108598" y="182177"/>
                    </a:cubicBezTo>
                    <a:cubicBezTo>
                      <a:pt x="1111765" y="169889"/>
                      <a:pt x="1123546" y="157347"/>
                      <a:pt x="1122280" y="144552"/>
                    </a:cubicBezTo>
                    <a:cubicBezTo>
                      <a:pt x="1107078" y="142779"/>
                      <a:pt x="1106445" y="160641"/>
                      <a:pt x="1092889" y="160008"/>
                    </a:cubicBezTo>
                    <a:cubicBezTo>
                      <a:pt x="1094536" y="143032"/>
                      <a:pt x="1108852" y="123143"/>
                      <a:pt x="1116452" y="108068"/>
                    </a:cubicBezTo>
                    <a:cubicBezTo>
                      <a:pt x="1120760" y="99453"/>
                      <a:pt x="1120760" y="93119"/>
                      <a:pt x="1130134" y="90839"/>
                    </a:cubicBezTo>
                    <a:cubicBezTo>
                      <a:pt x="1142929" y="87799"/>
                      <a:pt x="1156104" y="90332"/>
                      <a:pt x="1168772" y="88305"/>
                    </a:cubicBezTo>
                    <a:cubicBezTo>
                      <a:pt x="1182200" y="86152"/>
                      <a:pt x="1197402" y="80704"/>
                      <a:pt x="1207664" y="71710"/>
                    </a:cubicBezTo>
                    <a:cubicBezTo>
                      <a:pt x="1215518" y="64996"/>
                      <a:pt x="1220205" y="55368"/>
                      <a:pt x="1230087" y="50807"/>
                    </a:cubicBezTo>
                    <a:cubicBezTo>
                      <a:pt x="1239461" y="46500"/>
                      <a:pt x="1250482" y="49414"/>
                      <a:pt x="1259603" y="44473"/>
                    </a:cubicBezTo>
                    <a:cubicBezTo>
                      <a:pt x="1278732" y="34085"/>
                      <a:pt x="1279492" y="8495"/>
                      <a:pt x="1303309" y="1148"/>
                    </a:cubicBezTo>
                    <a:cubicBezTo>
                      <a:pt x="1329405" y="-6833"/>
                      <a:pt x="1322818" y="28891"/>
                      <a:pt x="1321678" y="43966"/>
                    </a:cubicBezTo>
                    <a:cubicBezTo>
                      <a:pt x="1320918" y="54861"/>
                      <a:pt x="1320158" y="61829"/>
                      <a:pt x="1331560" y="63982"/>
                    </a:cubicBezTo>
                    <a:cubicBezTo>
                      <a:pt x="1340301" y="65629"/>
                      <a:pt x="1348028" y="64742"/>
                      <a:pt x="1353349" y="73103"/>
                    </a:cubicBezTo>
                    <a:cubicBezTo>
                      <a:pt x="1358669" y="81718"/>
                      <a:pt x="1355629" y="90966"/>
                      <a:pt x="1348661" y="97553"/>
                    </a:cubicBezTo>
                    <a:cubicBezTo>
                      <a:pt x="1343468" y="102494"/>
                      <a:pt x="1324972" y="112122"/>
                      <a:pt x="1335487" y="120609"/>
                    </a:cubicBezTo>
                    <a:cubicBezTo>
                      <a:pt x="1344101" y="127704"/>
                      <a:pt x="1358923" y="114022"/>
                      <a:pt x="1368930" y="120989"/>
                    </a:cubicBezTo>
                    <a:cubicBezTo>
                      <a:pt x="1382106" y="129984"/>
                      <a:pt x="1367664" y="138978"/>
                      <a:pt x="1364497" y="148353"/>
                    </a:cubicBezTo>
                    <a:cubicBezTo>
                      <a:pt x="1360949" y="158867"/>
                      <a:pt x="1370577" y="169129"/>
                      <a:pt x="1362470" y="178250"/>
                    </a:cubicBezTo>
                    <a:cubicBezTo>
                      <a:pt x="1355376" y="186104"/>
                      <a:pt x="1340301" y="188258"/>
                      <a:pt x="1331560" y="194465"/>
                    </a:cubicBezTo>
                    <a:cubicBezTo>
                      <a:pt x="1319525" y="202953"/>
                      <a:pt x="1320158" y="210427"/>
                      <a:pt x="1335487" y="211694"/>
                    </a:cubicBezTo>
                    <a:cubicBezTo>
                      <a:pt x="1347775" y="212708"/>
                      <a:pt x="1357022" y="208780"/>
                      <a:pt x="1368044" y="204600"/>
                    </a:cubicBezTo>
                    <a:cubicBezTo>
                      <a:pt x="1383753" y="198392"/>
                      <a:pt x="1384386" y="205107"/>
                      <a:pt x="1395154" y="214861"/>
                    </a:cubicBezTo>
                    <a:cubicBezTo>
                      <a:pt x="1407695" y="226136"/>
                      <a:pt x="1416310" y="207133"/>
                      <a:pt x="1428092" y="212708"/>
                    </a:cubicBezTo>
                    <a:cubicBezTo>
                      <a:pt x="1438606" y="217648"/>
                      <a:pt x="1442533" y="238171"/>
                      <a:pt x="1449121" y="247039"/>
                    </a:cubicBezTo>
                    <a:cubicBezTo>
                      <a:pt x="1458749" y="260087"/>
                      <a:pt x="1458875" y="293911"/>
                      <a:pt x="1482692" y="287450"/>
                    </a:cubicBezTo>
                    <a:cubicBezTo>
                      <a:pt x="1498400" y="283143"/>
                      <a:pt x="1499033" y="261354"/>
                      <a:pt x="1513729" y="255400"/>
                    </a:cubicBezTo>
                    <a:cubicBezTo>
                      <a:pt x="1522217" y="251979"/>
                      <a:pt x="1545146" y="252739"/>
                      <a:pt x="1551100" y="260847"/>
                    </a:cubicBezTo>
                    <a:cubicBezTo>
                      <a:pt x="1558574" y="271362"/>
                      <a:pt x="1548186" y="284283"/>
                      <a:pt x="1538432" y="287070"/>
                    </a:cubicBezTo>
                    <a:cubicBezTo>
                      <a:pt x="1526017" y="290617"/>
                      <a:pt x="1510815" y="290237"/>
                      <a:pt x="1517276" y="308480"/>
                    </a:cubicBezTo>
                    <a:cubicBezTo>
                      <a:pt x="1521583" y="308480"/>
                      <a:pt x="1527791" y="308099"/>
                      <a:pt x="1531718" y="310380"/>
                    </a:cubicBezTo>
                    <a:cubicBezTo>
                      <a:pt x="1539699" y="314687"/>
                      <a:pt x="1541092" y="326848"/>
                      <a:pt x="1534378" y="333563"/>
                    </a:cubicBezTo>
                    <a:cubicBezTo>
                      <a:pt x="1525763" y="342177"/>
                      <a:pt x="1519936" y="331536"/>
                      <a:pt x="1510688" y="331916"/>
                    </a:cubicBezTo>
                    <a:cubicBezTo>
                      <a:pt x="1499287" y="332296"/>
                      <a:pt x="1502707" y="340277"/>
                      <a:pt x="1508535" y="346611"/>
                    </a:cubicBezTo>
                    <a:cubicBezTo>
                      <a:pt x="1515249" y="354085"/>
                      <a:pt x="1522343" y="356619"/>
                      <a:pt x="1515882" y="367514"/>
                    </a:cubicBezTo>
                    <a:cubicBezTo>
                      <a:pt x="1510815" y="376001"/>
                      <a:pt x="1502834" y="376888"/>
                      <a:pt x="1494473" y="379675"/>
                    </a:cubicBezTo>
                    <a:cubicBezTo>
                      <a:pt x="1485478" y="382715"/>
                      <a:pt x="1478005" y="388163"/>
                      <a:pt x="1470150" y="393230"/>
                    </a:cubicBezTo>
                    <a:cubicBezTo>
                      <a:pt x="1451654" y="405265"/>
                      <a:pt x="1429231" y="424647"/>
                      <a:pt x="1423024" y="446690"/>
                    </a:cubicBezTo>
                    <a:cubicBezTo>
                      <a:pt x="1420490" y="455685"/>
                      <a:pt x="1422644" y="468099"/>
                      <a:pt x="1412636" y="472533"/>
                    </a:cubicBezTo>
                    <a:cubicBezTo>
                      <a:pt x="1403262" y="476714"/>
                      <a:pt x="1394520" y="469366"/>
                      <a:pt x="1386539" y="478234"/>
                    </a:cubicBezTo>
                    <a:cubicBezTo>
                      <a:pt x="1380078" y="485328"/>
                      <a:pt x="1380205" y="497870"/>
                      <a:pt x="1367283" y="496096"/>
                    </a:cubicBezTo>
                    <a:cubicBezTo>
                      <a:pt x="1354489" y="494323"/>
                      <a:pt x="1354489" y="480388"/>
                      <a:pt x="1351195" y="471013"/>
                    </a:cubicBezTo>
                    <a:cubicBezTo>
                      <a:pt x="1347141" y="459612"/>
                      <a:pt x="1342074" y="458978"/>
                      <a:pt x="1330926" y="459232"/>
                    </a:cubicBezTo>
                    <a:cubicBezTo>
                      <a:pt x="1322058" y="459358"/>
                      <a:pt x="1311163" y="455685"/>
                      <a:pt x="1302676" y="457078"/>
                    </a:cubicBezTo>
                    <a:cubicBezTo>
                      <a:pt x="1290388" y="459232"/>
                      <a:pt x="1291654" y="469240"/>
                      <a:pt x="1289628" y="479248"/>
                    </a:cubicBezTo>
                    <a:cubicBezTo>
                      <a:pt x="1286967" y="492296"/>
                      <a:pt x="1279366" y="498630"/>
                      <a:pt x="1269612" y="506864"/>
                    </a:cubicBezTo>
                    <a:cubicBezTo>
                      <a:pt x="1249089" y="524346"/>
                      <a:pt x="1248202" y="539042"/>
                      <a:pt x="1246302" y="564378"/>
                    </a:cubicBezTo>
                    <a:cubicBezTo>
                      <a:pt x="1244782" y="584521"/>
                      <a:pt x="1238828" y="627719"/>
                      <a:pt x="1210198" y="625059"/>
                    </a:cubicBezTo>
                    <a:cubicBezTo>
                      <a:pt x="1199429" y="624046"/>
                      <a:pt x="1192969" y="613658"/>
                      <a:pt x="1181188" y="615938"/>
                    </a:cubicBezTo>
                    <a:cubicBezTo>
                      <a:pt x="1171686" y="617838"/>
                      <a:pt x="1164845" y="625819"/>
                      <a:pt x="1154711" y="626579"/>
                    </a:cubicBezTo>
                    <a:cubicBezTo>
                      <a:pt x="1134948" y="627973"/>
                      <a:pt x="1124560" y="618345"/>
                      <a:pt x="1120506" y="600609"/>
                    </a:cubicBezTo>
                    <a:cubicBezTo>
                      <a:pt x="1118353" y="590855"/>
                      <a:pt x="1113792" y="587814"/>
                      <a:pt x="1103531" y="582747"/>
                    </a:cubicBezTo>
                    <a:cubicBezTo>
                      <a:pt x="1097197" y="579580"/>
                      <a:pt x="1086682" y="574513"/>
                      <a:pt x="1080094" y="580214"/>
                    </a:cubicBezTo>
                    <a:cubicBezTo>
                      <a:pt x="1071353" y="587814"/>
                      <a:pt x="1080854" y="597696"/>
                      <a:pt x="1086302" y="603650"/>
                    </a:cubicBezTo>
                    <a:cubicBezTo>
                      <a:pt x="1092636" y="610617"/>
                      <a:pt x="1096183" y="615178"/>
                      <a:pt x="1097323" y="625059"/>
                    </a:cubicBezTo>
                    <a:cubicBezTo>
                      <a:pt x="1085415" y="623919"/>
                      <a:pt x="1048931" y="614924"/>
                      <a:pt x="1059445" y="642161"/>
                    </a:cubicBezTo>
                    <a:cubicBezTo>
                      <a:pt x="1064513" y="655210"/>
                      <a:pt x="1094410" y="655083"/>
                      <a:pt x="1106318" y="656096"/>
                    </a:cubicBezTo>
                    <a:cubicBezTo>
                      <a:pt x="1110625" y="668131"/>
                      <a:pt x="1112652" y="682193"/>
                      <a:pt x="1121393" y="692074"/>
                    </a:cubicBezTo>
                    <a:cubicBezTo>
                      <a:pt x="1140395" y="713483"/>
                      <a:pt x="1155977" y="671298"/>
                      <a:pt x="1174219" y="666991"/>
                    </a:cubicBezTo>
                    <a:cubicBezTo>
                      <a:pt x="1192969" y="662557"/>
                      <a:pt x="1202090" y="685867"/>
                      <a:pt x="1209437" y="698662"/>
                    </a:cubicBezTo>
                    <a:cubicBezTo>
                      <a:pt x="1213618" y="706009"/>
                      <a:pt x="1217925" y="712977"/>
                      <a:pt x="1224640" y="718551"/>
                    </a:cubicBezTo>
                    <a:cubicBezTo>
                      <a:pt x="1232873" y="725392"/>
                      <a:pt x="1244782" y="728559"/>
                      <a:pt x="1250356" y="738313"/>
                    </a:cubicBezTo>
                    <a:cubicBezTo>
                      <a:pt x="1257070" y="750095"/>
                      <a:pt x="1251749" y="766310"/>
                      <a:pt x="1254410" y="779232"/>
                    </a:cubicBezTo>
                    <a:cubicBezTo>
                      <a:pt x="1257577" y="794687"/>
                      <a:pt x="1265431" y="808622"/>
                      <a:pt x="1274426" y="821544"/>
                    </a:cubicBezTo>
                    <a:cubicBezTo>
                      <a:pt x="1295075" y="851441"/>
                      <a:pt x="1282280" y="893119"/>
                      <a:pt x="1264291" y="922383"/>
                    </a:cubicBezTo>
                    <a:cubicBezTo>
                      <a:pt x="1255043" y="937205"/>
                      <a:pt x="1241488" y="949873"/>
                      <a:pt x="1224132" y="953927"/>
                    </a:cubicBezTo>
                    <a:cubicBezTo>
                      <a:pt x="1208804" y="957601"/>
                      <a:pt x="1194109" y="956587"/>
                      <a:pt x="1179160" y="963301"/>
                    </a:cubicBezTo>
                    <a:cubicBezTo>
                      <a:pt x="1168392" y="968115"/>
                      <a:pt x="1146983" y="976983"/>
                      <a:pt x="1150403" y="992185"/>
                    </a:cubicBezTo>
                    <a:cubicBezTo>
                      <a:pt x="1155217" y="1013468"/>
                      <a:pt x="1175993" y="995352"/>
                      <a:pt x="1184481" y="988638"/>
                    </a:cubicBezTo>
                    <a:cubicBezTo>
                      <a:pt x="1197023" y="978503"/>
                      <a:pt x="1209437" y="982430"/>
                      <a:pt x="1200696" y="999659"/>
                    </a:cubicBezTo>
                    <a:cubicBezTo>
                      <a:pt x="1193729" y="1013594"/>
                      <a:pt x="1181314" y="1019548"/>
                      <a:pt x="1178020" y="1036144"/>
                    </a:cubicBezTo>
                    <a:cubicBezTo>
                      <a:pt x="1188028" y="1035890"/>
                      <a:pt x="1203737" y="1041464"/>
                      <a:pt x="1212858" y="1037791"/>
                    </a:cubicBezTo>
                    <a:cubicBezTo>
                      <a:pt x="1223245" y="1033610"/>
                      <a:pt x="1224386" y="1020055"/>
                      <a:pt x="1226920" y="1011061"/>
                    </a:cubicBezTo>
                    <a:cubicBezTo>
                      <a:pt x="1229073" y="1003460"/>
                      <a:pt x="1226793" y="946326"/>
                      <a:pt x="1244655" y="970902"/>
                    </a:cubicBezTo>
                    <a:cubicBezTo>
                      <a:pt x="1252636" y="981670"/>
                      <a:pt x="1254030" y="990411"/>
                      <a:pt x="1269738" y="986484"/>
                    </a:cubicBezTo>
                    <a:cubicBezTo>
                      <a:pt x="1280633" y="983697"/>
                      <a:pt x="1289374" y="981670"/>
                      <a:pt x="1300649" y="980910"/>
                    </a:cubicBezTo>
                    <a:cubicBezTo>
                      <a:pt x="1308883" y="980277"/>
                      <a:pt x="1325732" y="979137"/>
                      <a:pt x="1327379" y="968115"/>
                    </a:cubicBezTo>
                    <a:cubicBezTo>
                      <a:pt x="1329026" y="956841"/>
                      <a:pt x="1311923" y="957474"/>
                      <a:pt x="1310783" y="945566"/>
                    </a:cubicBezTo>
                    <a:cubicBezTo>
                      <a:pt x="1309137" y="927957"/>
                      <a:pt x="1348661" y="927197"/>
                      <a:pt x="1360823" y="928590"/>
                    </a:cubicBezTo>
                    <a:cubicBezTo>
                      <a:pt x="1361203" y="935431"/>
                      <a:pt x="1359429" y="942525"/>
                      <a:pt x="1366017" y="945819"/>
                    </a:cubicBezTo>
                    <a:cubicBezTo>
                      <a:pt x="1370071" y="947846"/>
                      <a:pt x="1382612" y="944806"/>
                      <a:pt x="1387047" y="944046"/>
                    </a:cubicBezTo>
                    <a:cubicBezTo>
                      <a:pt x="1401488" y="941385"/>
                      <a:pt x="1417956" y="933531"/>
                      <a:pt x="1430372" y="945819"/>
                    </a:cubicBezTo>
                    <a:cubicBezTo>
                      <a:pt x="1440253" y="955574"/>
                      <a:pt x="1431638" y="984711"/>
                      <a:pt x="1445574" y="989651"/>
                    </a:cubicBezTo>
                    <a:cubicBezTo>
                      <a:pt x="1458749" y="994339"/>
                      <a:pt x="1467363" y="970015"/>
                      <a:pt x="1473191" y="962668"/>
                    </a:cubicBezTo>
                    <a:cubicBezTo>
                      <a:pt x="1484718" y="948480"/>
                      <a:pt x="1501440" y="965328"/>
                      <a:pt x="1514996" y="957981"/>
                    </a:cubicBezTo>
                    <a:cubicBezTo>
                      <a:pt x="1526144" y="952027"/>
                      <a:pt x="1544892" y="926817"/>
                      <a:pt x="1553507" y="950126"/>
                    </a:cubicBezTo>
                    <a:cubicBezTo>
                      <a:pt x="1555914" y="956714"/>
                      <a:pt x="1553634" y="967228"/>
                      <a:pt x="1560728" y="971789"/>
                    </a:cubicBezTo>
                    <a:cubicBezTo>
                      <a:pt x="1568076" y="976476"/>
                      <a:pt x="1575170" y="970142"/>
                      <a:pt x="1580744" y="965708"/>
                    </a:cubicBezTo>
                    <a:cubicBezTo>
                      <a:pt x="1596452" y="952660"/>
                      <a:pt x="1618495" y="942272"/>
                      <a:pt x="1636864" y="957727"/>
                    </a:cubicBezTo>
                    <a:cubicBezTo>
                      <a:pt x="1643198" y="963048"/>
                      <a:pt x="1645732" y="970269"/>
                      <a:pt x="1646492" y="978377"/>
                    </a:cubicBezTo>
                    <a:cubicBezTo>
                      <a:pt x="1646999" y="983951"/>
                      <a:pt x="1643071" y="996872"/>
                      <a:pt x="1645859" y="1001433"/>
                    </a:cubicBezTo>
                    <a:cubicBezTo>
                      <a:pt x="1649659" y="1008400"/>
                      <a:pt x="1677403" y="1003080"/>
                      <a:pt x="1667901" y="101853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nvGrpSpPr>
            <p:cNvPr id="465" name="Рисунок 388">
              <a:extLst>
                <a:ext uri="{FF2B5EF4-FFF2-40B4-BE49-F238E27FC236}">
                  <a16:creationId xmlns:a16="http://schemas.microsoft.com/office/drawing/2014/main" id="{1DA397FD-DC6E-439E-BB40-D0F80476817D}"/>
                </a:ext>
              </a:extLst>
            </p:cNvPr>
            <p:cNvGrpSpPr/>
            <p:nvPr/>
          </p:nvGrpSpPr>
          <p:grpSpPr>
            <a:xfrm>
              <a:off x="11070043" y="671430"/>
              <a:ext cx="197679" cy="869657"/>
              <a:chOff x="11070043" y="671430"/>
              <a:chExt cx="197679" cy="869657"/>
            </a:xfrm>
            <a:solidFill>
              <a:srgbClr val="E3E8EC"/>
            </a:solidFill>
          </p:grpSpPr>
          <p:sp>
            <p:nvSpPr>
              <p:cNvPr id="466" name="Полилиния: фигура 465">
                <a:extLst>
                  <a:ext uri="{FF2B5EF4-FFF2-40B4-BE49-F238E27FC236}">
                    <a16:creationId xmlns:a16="http://schemas.microsoft.com/office/drawing/2014/main" id="{697FB032-4C78-4C49-9C1A-740E0C5D0C42}"/>
                  </a:ext>
                </a:extLst>
              </p:cNvPr>
              <p:cNvSpPr/>
              <p:nvPr/>
            </p:nvSpPr>
            <p:spPr>
              <a:xfrm>
                <a:off x="11144983" y="671430"/>
                <a:ext cx="122739" cy="241308"/>
              </a:xfrm>
              <a:custGeom>
                <a:avLst/>
                <a:gdLst>
                  <a:gd name="connsiteX0" fmla="*/ 11774 w 122739"/>
                  <a:gd name="connsiteY0" fmla="*/ 87067 h 241308"/>
                  <a:gd name="connsiteX1" fmla="*/ 10002 w 122739"/>
                  <a:gd name="connsiteY1" fmla="*/ 68951 h 241308"/>
                  <a:gd name="connsiteX2" fmla="*/ 23176 w 122739"/>
                  <a:gd name="connsiteY2" fmla="*/ 33733 h 241308"/>
                  <a:gd name="connsiteX3" fmla="*/ 69162 w 122739"/>
                  <a:gd name="connsiteY3" fmla="*/ 24106 h 241308"/>
                  <a:gd name="connsiteX4" fmla="*/ 112741 w 122739"/>
                  <a:gd name="connsiteY4" fmla="*/ 5863 h 241308"/>
                  <a:gd name="connsiteX5" fmla="*/ 118948 w 122739"/>
                  <a:gd name="connsiteY5" fmla="*/ 37787 h 241308"/>
                  <a:gd name="connsiteX6" fmla="*/ 121988 w 122739"/>
                  <a:gd name="connsiteY6" fmla="*/ 69078 h 241308"/>
                  <a:gd name="connsiteX7" fmla="*/ 115148 w 122739"/>
                  <a:gd name="connsiteY7" fmla="*/ 126338 h 241308"/>
                  <a:gd name="connsiteX8" fmla="*/ 108054 w 122739"/>
                  <a:gd name="connsiteY8" fmla="*/ 181699 h 241308"/>
                  <a:gd name="connsiteX9" fmla="*/ 102480 w 122739"/>
                  <a:gd name="connsiteY9" fmla="*/ 206402 h 241308"/>
                  <a:gd name="connsiteX10" fmla="*/ 97158 w 122739"/>
                  <a:gd name="connsiteY10" fmla="*/ 229204 h 241308"/>
                  <a:gd name="connsiteX11" fmla="*/ 59280 w 122739"/>
                  <a:gd name="connsiteY11" fmla="*/ 230471 h 241308"/>
                  <a:gd name="connsiteX12" fmla="*/ 51173 w 122739"/>
                  <a:gd name="connsiteY12" fmla="*/ 202728 h 241308"/>
                  <a:gd name="connsiteX13" fmla="*/ 40532 w 122739"/>
                  <a:gd name="connsiteY13" fmla="*/ 178658 h 241308"/>
                  <a:gd name="connsiteX14" fmla="*/ 8481 w 122739"/>
                  <a:gd name="connsiteY14" fmla="*/ 140653 h 241308"/>
                  <a:gd name="connsiteX15" fmla="*/ 120 w 122739"/>
                  <a:gd name="connsiteY15" fmla="*/ 127732 h 241308"/>
                  <a:gd name="connsiteX16" fmla="*/ 2654 w 122739"/>
                  <a:gd name="connsiteY16" fmla="*/ 110123 h 241308"/>
                  <a:gd name="connsiteX17" fmla="*/ 11774 w 122739"/>
                  <a:gd name="connsiteY17" fmla="*/ 87067 h 241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39" h="241308">
                    <a:moveTo>
                      <a:pt x="11774" y="87067"/>
                    </a:moveTo>
                    <a:cubicBezTo>
                      <a:pt x="15449" y="80986"/>
                      <a:pt x="11141" y="75539"/>
                      <a:pt x="10002" y="68951"/>
                    </a:cubicBezTo>
                    <a:cubicBezTo>
                      <a:pt x="7721" y="55396"/>
                      <a:pt x="11648" y="41968"/>
                      <a:pt x="23176" y="33733"/>
                    </a:cubicBezTo>
                    <a:cubicBezTo>
                      <a:pt x="37618" y="23472"/>
                      <a:pt x="55226" y="34240"/>
                      <a:pt x="69162" y="24106"/>
                    </a:cubicBezTo>
                    <a:cubicBezTo>
                      <a:pt x="78663" y="17138"/>
                      <a:pt x="100833" y="-12379"/>
                      <a:pt x="112741" y="5863"/>
                    </a:cubicBezTo>
                    <a:cubicBezTo>
                      <a:pt x="118568" y="14731"/>
                      <a:pt x="118315" y="27653"/>
                      <a:pt x="118948" y="37787"/>
                    </a:cubicBezTo>
                    <a:cubicBezTo>
                      <a:pt x="119581" y="48302"/>
                      <a:pt x="120595" y="58690"/>
                      <a:pt x="121988" y="69078"/>
                    </a:cubicBezTo>
                    <a:cubicBezTo>
                      <a:pt x="124776" y="89474"/>
                      <a:pt x="119202" y="106576"/>
                      <a:pt x="115148" y="126338"/>
                    </a:cubicBezTo>
                    <a:cubicBezTo>
                      <a:pt x="111348" y="144581"/>
                      <a:pt x="112487" y="163456"/>
                      <a:pt x="108054" y="181699"/>
                    </a:cubicBezTo>
                    <a:cubicBezTo>
                      <a:pt x="106026" y="189933"/>
                      <a:pt x="103746" y="198041"/>
                      <a:pt x="102480" y="206402"/>
                    </a:cubicBezTo>
                    <a:cubicBezTo>
                      <a:pt x="101212" y="214003"/>
                      <a:pt x="100833" y="222237"/>
                      <a:pt x="97158" y="229204"/>
                    </a:cubicBezTo>
                    <a:cubicBezTo>
                      <a:pt x="89178" y="244406"/>
                      <a:pt x="67895" y="245800"/>
                      <a:pt x="59280" y="230471"/>
                    </a:cubicBezTo>
                    <a:cubicBezTo>
                      <a:pt x="54593" y="222110"/>
                      <a:pt x="53580" y="211976"/>
                      <a:pt x="51173" y="202728"/>
                    </a:cubicBezTo>
                    <a:cubicBezTo>
                      <a:pt x="49019" y="193987"/>
                      <a:pt x="45599" y="186006"/>
                      <a:pt x="40532" y="178658"/>
                    </a:cubicBezTo>
                    <a:cubicBezTo>
                      <a:pt x="31030" y="164850"/>
                      <a:pt x="20263" y="152562"/>
                      <a:pt x="8481" y="140653"/>
                    </a:cubicBezTo>
                    <a:cubicBezTo>
                      <a:pt x="4807" y="136980"/>
                      <a:pt x="626" y="133179"/>
                      <a:pt x="120" y="127732"/>
                    </a:cubicBezTo>
                    <a:cubicBezTo>
                      <a:pt x="-513" y="122158"/>
                      <a:pt x="1513" y="115570"/>
                      <a:pt x="2654" y="110123"/>
                    </a:cubicBezTo>
                    <a:cubicBezTo>
                      <a:pt x="4427" y="101762"/>
                      <a:pt x="7468" y="94541"/>
                      <a:pt x="11774" y="8706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67" name="Полилиния: фигура 466">
                <a:extLst>
                  <a:ext uri="{FF2B5EF4-FFF2-40B4-BE49-F238E27FC236}">
                    <a16:creationId xmlns:a16="http://schemas.microsoft.com/office/drawing/2014/main" id="{8CE5A64D-F95E-491F-AECB-2F8DBEFBDAD5}"/>
                  </a:ext>
                </a:extLst>
              </p:cNvPr>
              <p:cNvSpPr/>
              <p:nvPr/>
            </p:nvSpPr>
            <p:spPr>
              <a:xfrm>
                <a:off x="11070043" y="1467281"/>
                <a:ext cx="101552" cy="73806"/>
              </a:xfrm>
              <a:custGeom>
                <a:avLst/>
                <a:gdLst>
                  <a:gd name="connsiteX0" fmla="*/ 9312 w 101552"/>
                  <a:gd name="connsiteY0" fmla="*/ 71453 h 73806"/>
                  <a:gd name="connsiteX1" fmla="*/ 6145 w 101552"/>
                  <a:gd name="connsiteY1" fmla="*/ 69427 h 73806"/>
                  <a:gd name="connsiteX2" fmla="*/ 14379 w 101552"/>
                  <a:gd name="connsiteY2" fmla="*/ 38643 h 73806"/>
                  <a:gd name="connsiteX3" fmla="*/ 40095 w 101552"/>
                  <a:gd name="connsiteY3" fmla="*/ 30408 h 73806"/>
                  <a:gd name="connsiteX4" fmla="*/ 58844 w 101552"/>
                  <a:gd name="connsiteY4" fmla="*/ 4818 h 73806"/>
                  <a:gd name="connsiteX5" fmla="*/ 96342 w 101552"/>
                  <a:gd name="connsiteY5" fmla="*/ 23947 h 73806"/>
                  <a:gd name="connsiteX6" fmla="*/ 95456 w 101552"/>
                  <a:gd name="connsiteY6" fmla="*/ 59672 h 73806"/>
                  <a:gd name="connsiteX7" fmla="*/ 64799 w 101552"/>
                  <a:gd name="connsiteY7" fmla="*/ 68160 h 73806"/>
                  <a:gd name="connsiteX8" fmla="*/ 9312 w 101552"/>
                  <a:gd name="connsiteY8" fmla="*/ 71453 h 7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52" h="73806">
                    <a:moveTo>
                      <a:pt x="9312" y="71453"/>
                    </a:moveTo>
                    <a:cubicBezTo>
                      <a:pt x="8171" y="70947"/>
                      <a:pt x="7031" y="70187"/>
                      <a:pt x="6145" y="69427"/>
                    </a:cubicBezTo>
                    <a:cubicBezTo>
                      <a:pt x="-5764" y="59292"/>
                      <a:pt x="1077" y="42697"/>
                      <a:pt x="14379" y="38643"/>
                    </a:cubicBezTo>
                    <a:cubicBezTo>
                      <a:pt x="23246" y="35982"/>
                      <a:pt x="32495" y="36616"/>
                      <a:pt x="40095" y="30408"/>
                    </a:cubicBezTo>
                    <a:cubicBezTo>
                      <a:pt x="48330" y="23567"/>
                      <a:pt x="51117" y="12039"/>
                      <a:pt x="58844" y="4818"/>
                    </a:cubicBezTo>
                    <a:cubicBezTo>
                      <a:pt x="73667" y="-9243"/>
                      <a:pt x="89755" y="10646"/>
                      <a:pt x="96342" y="23947"/>
                    </a:cubicBezTo>
                    <a:cubicBezTo>
                      <a:pt x="101537" y="34335"/>
                      <a:pt x="105210" y="51438"/>
                      <a:pt x="95456" y="59672"/>
                    </a:cubicBezTo>
                    <a:cubicBezTo>
                      <a:pt x="87475" y="66386"/>
                      <a:pt x="74933" y="68160"/>
                      <a:pt x="64799" y="68160"/>
                    </a:cubicBezTo>
                    <a:cubicBezTo>
                      <a:pt x="50610" y="68033"/>
                      <a:pt x="23373" y="78294"/>
                      <a:pt x="9312" y="7145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nvGrpSpPr>
            <p:cNvPr id="468" name="Рисунок 388">
              <a:extLst>
                <a:ext uri="{FF2B5EF4-FFF2-40B4-BE49-F238E27FC236}">
                  <a16:creationId xmlns:a16="http://schemas.microsoft.com/office/drawing/2014/main" id="{1DA397FD-DC6E-439E-BB40-D0F80476817D}"/>
                </a:ext>
              </a:extLst>
            </p:cNvPr>
            <p:cNvGrpSpPr/>
            <p:nvPr/>
          </p:nvGrpSpPr>
          <p:grpSpPr>
            <a:xfrm>
              <a:off x="8007621" y="1230515"/>
              <a:ext cx="3212350" cy="4239781"/>
              <a:chOff x="8007621" y="1230515"/>
              <a:chExt cx="3212350" cy="4239781"/>
            </a:xfrm>
            <a:solidFill>
              <a:srgbClr val="E3E8EC"/>
            </a:solidFill>
          </p:grpSpPr>
          <p:sp>
            <p:nvSpPr>
              <p:cNvPr id="469" name="Полилиния: фигура 468">
                <a:extLst>
                  <a:ext uri="{FF2B5EF4-FFF2-40B4-BE49-F238E27FC236}">
                    <a16:creationId xmlns:a16="http://schemas.microsoft.com/office/drawing/2014/main" id="{6B4891A8-C4C7-4987-B078-9691A377356E}"/>
                  </a:ext>
                </a:extLst>
              </p:cNvPr>
              <p:cNvSpPr/>
              <p:nvPr/>
            </p:nvSpPr>
            <p:spPr>
              <a:xfrm>
                <a:off x="8007621" y="1862788"/>
                <a:ext cx="3212350" cy="3607509"/>
              </a:xfrm>
              <a:custGeom>
                <a:avLst/>
                <a:gdLst>
                  <a:gd name="connsiteX0" fmla="*/ 3209818 w 3212350"/>
                  <a:gd name="connsiteY0" fmla="*/ 544101 h 3607509"/>
                  <a:gd name="connsiteX1" fmla="*/ 3200570 w 3212350"/>
                  <a:gd name="connsiteY1" fmla="*/ 622771 h 3607509"/>
                  <a:gd name="connsiteX2" fmla="*/ 3149770 w 3212350"/>
                  <a:gd name="connsiteY2" fmla="*/ 659002 h 3607509"/>
                  <a:gd name="connsiteX3" fmla="*/ 3121393 w 3212350"/>
                  <a:gd name="connsiteY3" fmla="*/ 704862 h 3607509"/>
                  <a:gd name="connsiteX4" fmla="*/ 3062486 w 3212350"/>
                  <a:gd name="connsiteY4" fmla="*/ 733618 h 3607509"/>
                  <a:gd name="connsiteX5" fmla="*/ 3060206 w 3212350"/>
                  <a:gd name="connsiteY5" fmla="*/ 805067 h 3607509"/>
                  <a:gd name="connsiteX6" fmla="*/ 3068060 w 3212350"/>
                  <a:gd name="connsiteY6" fmla="*/ 831291 h 3607509"/>
                  <a:gd name="connsiteX7" fmla="*/ 3036642 w 3212350"/>
                  <a:gd name="connsiteY7" fmla="*/ 843199 h 3607509"/>
                  <a:gd name="connsiteX8" fmla="*/ 3068693 w 3212350"/>
                  <a:gd name="connsiteY8" fmla="*/ 879050 h 3607509"/>
                  <a:gd name="connsiteX9" fmla="*/ 3089343 w 3212350"/>
                  <a:gd name="connsiteY9" fmla="*/ 893872 h 3607509"/>
                  <a:gd name="connsiteX10" fmla="*/ 3070593 w 3212350"/>
                  <a:gd name="connsiteY10" fmla="*/ 931750 h 3607509"/>
                  <a:gd name="connsiteX11" fmla="*/ 3132414 w 3212350"/>
                  <a:gd name="connsiteY11" fmla="*/ 1058052 h 3607509"/>
                  <a:gd name="connsiteX12" fmla="*/ 3130767 w 3212350"/>
                  <a:gd name="connsiteY12" fmla="*/ 1123040 h 3607509"/>
                  <a:gd name="connsiteX13" fmla="*/ 3104545 w 3212350"/>
                  <a:gd name="connsiteY13" fmla="*/ 1166872 h 3607509"/>
                  <a:gd name="connsiteX14" fmla="*/ 3074521 w 3212350"/>
                  <a:gd name="connsiteY14" fmla="*/ 1198036 h 3607509"/>
                  <a:gd name="connsiteX15" fmla="*/ 3060332 w 3212350"/>
                  <a:gd name="connsiteY15" fmla="*/ 1224766 h 3607509"/>
                  <a:gd name="connsiteX16" fmla="*/ 3022327 w 3212350"/>
                  <a:gd name="connsiteY16" fmla="*/ 1213238 h 3607509"/>
                  <a:gd name="connsiteX17" fmla="*/ 2990910 w 3212350"/>
                  <a:gd name="connsiteY17" fmla="*/ 1267965 h 3607509"/>
                  <a:gd name="connsiteX18" fmla="*/ 2925289 w 3212350"/>
                  <a:gd name="connsiteY18" fmla="*/ 1283927 h 3607509"/>
                  <a:gd name="connsiteX19" fmla="*/ 2950879 w 3212350"/>
                  <a:gd name="connsiteY19" fmla="*/ 1333207 h 3607509"/>
                  <a:gd name="connsiteX20" fmla="*/ 2946444 w 3212350"/>
                  <a:gd name="connsiteY20" fmla="*/ 1387300 h 3607509"/>
                  <a:gd name="connsiteX21" fmla="*/ 2903753 w 3212350"/>
                  <a:gd name="connsiteY21" fmla="*/ 1377419 h 3607509"/>
                  <a:gd name="connsiteX22" fmla="*/ 2892604 w 3212350"/>
                  <a:gd name="connsiteY22" fmla="*/ 1404022 h 3607509"/>
                  <a:gd name="connsiteX23" fmla="*/ 2858780 w 3212350"/>
                  <a:gd name="connsiteY23" fmla="*/ 1404782 h 3607509"/>
                  <a:gd name="connsiteX24" fmla="*/ 2845479 w 3212350"/>
                  <a:gd name="connsiteY24" fmla="*/ 1446461 h 3607509"/>
                  <a:gd name="connsiteX25" fmla="*/ 2857767 w 3212350"/>
                  <a:gd name="connsiteY25" fmla="*/ 1472051 h 3607509"/>
                  <a:gd name="connsiteX26" fmla="*/ 2860681 w 3212350"/>
                  <a:gd name="connsiteY26" fmla="*/ 1506382 h 3607509"/>
                  <a:gd name="connsiteX27" fmla="*/ 2897799 w 3212350"/>
                  <a:gd name="connsiteY27" fmla="*/ 1546413 h 3607509"/>
                  <a:gd name="connsiteX28" fmla="*/ 2889058 w 3212350"/>
                  <a:gd name="connsiteY28" fmla="*/ 1576057 h 3607509"/>
                  <a:gd name="connsiteX29" fmla="*/ 2903246 w 3212350"/>
                  <a:gd name="connsiteY29" fmla="*/ 1604814 h 3607509"/>
                  <a:gd name="connsiteX30" fmla="*/ 2927823 w 3212350"/>
                  <a:gd name="connsiteY30" fmla="*/ 1645859 h 3607509"/>
                  <a:gd name="connsiteX31" fmla="*/ 2932889 w 3212350"/>
                  <a:gd name="connsiteY31" fmla="*/ 1667395 h 3607509"/>
                  <a:gd name="connsiteX32" fmla="*/ 2950879 w 3212350"/>
                  <a:gd name="connsiteY32" fmla="*/ 1685004 h 3607509"/>
                  <a:gd name="connsiteX33" fmla="*/ 2963674 w 3212350"/>
                  <a:gd name="connsiteY33" fmla="*/ 1702866 h 3607509"/>
                  <a:gd name="connsiteX34" fmla="*/ 2979256 w 3212350"/>
                  <a:gd name="connsiteY34" fmla="*/ 1735424 h 3607509"/>
                  <a:gd name="connsiteX35" fmla="*/ 2962280 w 3212350"/>
                  <a:gd name="connsiteY35" fmla="*/ 1779636 h 3607509"/>
                  <a:gd name="connsiteX36" fmla="*/ 2965194 w 3212350"/>
                  <a:gd name="connsiteY36" fmla="*/ 1793064 h 3607509"/>
                  <a:gd name="connsiteX37" fmla="*/ 2965194 w 3212350"/>
                  <a:gd name="connsiteY37" fmla="*/ 1793064 h 3607509"/>
                  <a:gd name="connsiteX38" fmla="*/ 2985336 w 3212350"/>
                  <a:gd name="connsiteY38" fmla="*/ 1815487 h 3607509"/>
                  <a:gd name="connsiteX39" fmla="*/ 2979889 w 3212350"/>
                  <a:gd name="connsiteY39" fmla="*/ 1858052 h 3607509"/>
                  <a:gd name="connsiteX40" fmla="*/ 2941251 w 3212350"/>
                  <a:gd name="connsiteY40" fmla="*/ 1830309 h 3607509"/>
                  <a:gd name="connsiteX41" fmla="*/ 2932383 w 3212350"/>
                  <a:gd name="connsiteY41" fmla="*/ 1840697 h 3607509"/>
                  <a:gd name="connsiteX42" fmla="*/ 2883863 w 3212350"/>
                  <a:gd name="connsiteY42" fmla="*/ 1843230 h 3607509"/>
                  <a:gd name="connsiteX43" fmla="*/ 2870055 w 3212350"/>
                  <a:gd name="connsiteY43" fmla="*/ 1907078 h 3607509"/>
                  <a:gd name="connsiteX44" fmla="*/ 2774536 w 3212350"/>
                  <a:gd name="connsiteY44" fmla="*/ 1917466 h 3607509"/>
                  <a:gd name="connsiteX45" fmla="*/ 2688519 w 3212350"/>
                  <a:gd name="connsiteY45" fmla="*/ 1917466 h 3607509"/>
                  <a:gd name="connsiteX46" fmla="*/ 2692953 w 3212350"/>
                  <a:gd name="connsiteY46" fmla="*/ 1995629 h 3607509"/>
                  <a:gd name="connsiteX47" fmla="*/ 2696880 w 3212350"/>
                  <a:gd name="connsiteY47" fmla="*/ 2105083 h 3607509"/>
                  <a:gd name="connsiteX48" fmla="*/ 2682565 w 3212350"/>
                  <a:gd name="connsiteY48" fmla="*/ 2129280 h 3607509"/>
                  <a:gd name="connsiteX49" fmla="*/ 2678638 w 3212350"/>
                  <a:gd name="connsiteY49" fmla="*/ 2162470 h 3607509"/>
                  <a:gd name="connsiteX50" fmla="*/ 2662803 w 3212350"/>
                  <a:gd name="connsiteY50" fmla="*/ 2203009 h 3607509"/>
                  <a:gd name="connsiteX51" fmla="*/ 2661282 w 3212350"/>
                  <a:gd name="connsiteY51" fmla="*/ 2262930 h 3607509"/>
                  <a:gd name="connsiteX52" fmla="*/ 2697387 w 3212350"/>
                  <a:gd name="connsiteY52" fmla="*/ 2294600 h 3607509"/>
                  <a:gd name="connsiteX53" fmla="*/ 2716263 w 3212350"/>
                  <a:gd name="connsiteY53" fmla="*/ 2351987 h 3607509"/>
                  <a:gd name="connsiteX54" fmla="*/ 2780491 w 3212350"/>
                  <a:gd name="connsiteY54" fmla="*/ 2439652 h 3607509"/>
                  <a:gd name="connsiteX55" fmla="*/ 2742866 w 3212350"/>
                  <a:gd name="connsiteY55" fmla="*/ 2479683 h 3607509"/>
                  <a:gd name="connsiteX56" fmla="*/ 2729058 w 3212350"/>
                  <a:gd name="connsiteY56" fmla="*/ 2512874 h 3607509"/>
                  <a:gd name="connsiteX57" fmla="*/ 2711195 w 3212350"/>
                  <a:gd name="connsiteY57" fmla="*/ 2565321 h 3607509"/>
                  <a:gd name="connsiteX58" fmla="*/ 2628091 w 3212350"/>
                  <a:gd name="connsiteY58" fmla="*/ 2610926 h 3607509"/>
                  <a:gd name="connsiteX59" fmla="*/ 2616183 w 3212350"/>
                  <a:gd name="connsiteY59" fmla="*/ 2634616 h 3607509"/>
                  <a:gd name="connsiteX60" fmla="*/ 2619604 w 3212350"/>
                  <a:gd name="connsiteY60" fmla="*/ 2679082 h 3607509"/>
                  <a:gd name="connsiteX61" fmla="*/ 2601361 w 3212350"/>
                  <a:gd name="connsiteY61" fmla="*/ 2694537 h 3607509"/>
                  <a:gd name="connsiteX62" fmla="*/ 2562723 w 3212350"/>
                  <a:gd name="connsiteY62" fmla="*/ 2681235 h 3607509"/>
                  <a:gd name="connsiteX63" fmla="*/ 2537514 w 3212350"/>
                  <a:gd name="connsiteY63" fmla="*/ 2708345 h 3607509"/>
                  <a:gd name="connsiteX64" fmla="*/ 2500396 w 3212350"/>
                  <a:gd name="connsiteY64" fmla="*/ 2710879 h 3607509"/>
                  <a:gd name="connsiteX65" fmla="*/ 2476580 w 3212350"/>
                  <a:gd name="connsiteY65" fmla="*/ 2740016 h 3607509"/>
                  <a:gd name="connsiteX66" fmla="*/ 2443895 w 3212350"/>
                  <a:gd name="connsiteY66" fmla="*/ 2734062 h 3607509"/>
                  <a:gd name="connsiteX67" fmla="*/ 2420206 w 3212350"/>
                  <a:gd name="connsiteY67" fmla="*/ 2774220 h 3607509"/>
                  <a:gd name="connsiteX68" fmla="*/ 2441995 w 3212350"/>
                  <a:gd name="connsiteY68" fmla="*/ 2797530 h 3607509"/>
                  <a:gd name="connsiteX69" fmla="*/ 2419699 w 3212350"/>
                  <a:gd name="connsiteY69" fmla="*/ 2826287 h 3607509"/>
                  <a:gd name="connsiteX70" fmla="*/ 2424639 w 3212350"/>
                  <a:gd name="connsiteY70" fmla="*/ 2881267 h 3607509"/>
                  <a:gd name="connsiteX71" fmla="*/ 2419699 w 3212350"/>
                  <a:gd name="connsiteY71" fmla="*/ 2921298 h 3607509"/>
                  <a:gd name="connsiteX72" fmla="*/ 2436041 w 3212350"/>
                  <a:gd name="connsiteY72" fmla="*/ 2936120 h 3607509"/>
                  <a:gd name="connsiteX73" fmla="*/ 2448456 w 3212350"/>
                  <a:gd name="connsiteY73" fmla="*/ 2960443 h 3607509"/>
                  <a:gd name="connsiteX74" fmla="*/ 2420712 w 3212350"/>
                  <a:gd name="connsiteY74" fmla="*/ 2963357 h 3607509"/>
                  <a:gd name="connsiteX75" fmla="*/ 2413365 w 3212350"/>
                  <a:gd name="connsiteY75" fmla="*/ 2980713 h 3607509"/>
                  <a:gd name="connsiteX76" fmla="*/ 2465305 w 3212350"/>
                  <a:gd name="connsiteY76" fmla="*/ 3013903 h 3607509"/>
                  <a:gd name="connsiteX77" fmla="*/ 2454917 w 3212350"/>
                  <a:gd name="connsiteY77" fmla="*/ 3054442 h 3607509"/>
                  <a:gd name="connsiteX78" fmla="*/ 2484561 w 3212350"/>
                  <a:gd name="connsiteY78" fmla="*/ 3101948 h 3607509"/>
                  <a:gd name="connsiteX79" fmla="*/ 2462771 w 3212350"/>
                  <a:gd name="connsiteY79" fmla="*/ 3146540 h 3607509"/>
                  <a:gd name="connsiteX80" fmla="*/ 2481013 w 3212350"/>
                  <a:gd name="connsiteY80" fmla="*/ 3172256 h 3607509"/>
                  <a:gd name="connsiteX81" fmla="*/ 2514711 w 3212350"/>
                  <a:gd name="connsiteY81" fmla="*/ 3186065 h 3607509"/>
                  <a:gd name="connsiteX82" fmla="*/ 2520158 w 3212350"/>
                  <a:gd name="connsiteY82" fmla="*/ 3226097 h 3607509"/>
                  <a:gd name="connsiteX83" fmla="*/ 2524085 w 3212350"/>
                  <a:gd name="connsiteY83" fmla="*/ 3242439 h 3607509"/>
                  <a:gd name="connsiteX84" fmla="*/ 2502803 w 3212350"/>
                  <a:gd name="connsiteY84" fmla="*/ 3282597 h 3607509"/>
                  <a:gd name="connsiteX85" fmla="*/ 2529025 w 3212350"/>
                  <a:gd name="connsiteY85" fmla="*/ 3326682 h 3607509"/>
                  <a:gd name="connsiteX86" fmla="*/ 2543341 w 3212350"/>
                  <a:gd name="connsiteY86" fmla="*/ 3375708 h 3607509"/>
                  <a:gd name="connsiteX87" fmla="*/ 2539794 w 3212350"/>
                  <a:gd name="connsiteY87" fmla="*/ 3389264 h 3607509"/>
                  <a:gd name="connsiteX88" fmla="*/ 2509137 w 3212350"/>
                  <a:gd name="connsiteY88" fmla="*/ 3400412 h 3607509"/>
                  <a:gd name="connsiteX89" fmla="*/ 2446809 w 3212350"/>
                  <a:gd name="connsiteY89" fmla="*/ 3429042 h 3607509"/>
                  <a:gd name="connsiteX90" fmla="*/ 2400063 w 3212350"/>
                  <a:gd name="connsiteY90" fmla="*/ 3456279 h 3607509"/>
                  <a:gd name="connsiteX91" fmla="*/ 2399810 w 3212350"/>
                  <a:gd name="connsiteY91" fmla="*/ 3506825 h 3607509"/>
                  <a:gd name="connsiteX92" fmla="*/ 2314679 w 3212350"/>
                  <a:gd name="connsiteY92" fmla="*/ 3516199 h 3607509"/>
                  <a:gd name="connsiteX93" fmla="*/ 2258305 w 3212350"/>
                  <a:gd name="connsiteY93" fmla="*/ 3547364 h 3607509"/>
                  <a:gd name="connsiteX94" fmla="*/ 2209279 w 3212350"/>
                  <a:gd name="connsiteY94" fmla="*/ 3544450 h 3607509"/>
                  <a:gd name="connsiteX95" fmla="*/ 2148345 w 3212350"/>
                  <a:gd name="connsiteY95" fmla="*/ 3591449 h 3607509"/>
                  <a:gd name="connsiteX96" fmla="*/ 2078542 w 3212350"/>
                  <a:gd name="connsiteY96" fmla="*/ 3588028 h 3607509"/>
                  <a:gd name="connsiteX97" fmla="*/ 1965669 w 3212350"/>
                  <a:gd name="connsiteY97" fmla="*/ 3605891 h 3607509"/>
                  <a:gd name="connsiteX98" fmla="*/ 1901821 w 3212350"/>
                  <a:gd name="connsiteY98" fmla="*/ 3567506 h 3607509"/>
                  <a:gd name="connsiteX99" fmla="*/ 1750815 w 3212350"/>
                  <a:gd name="connsiteY99" fmla="*/ 3566239 h 3607509"/>
                  <a:gd name="connsiteX100" fmla="*/ 1694188 w 3212350"/>
                  <a:gd name="connsiteY100" fmla="*/ 3542930 h 3607509"/>
                  <a:gd name="connsiteX101" fmla="*/ 1649976 w 3212350"/>
                  <a:gd name="connsiteY101" fmla="*/ 3540649 h 3607509"/>
                  <a:gd name="connsiteX102" fmla="*/ 1619318 w 3212350"/>
                  <a:gd name="connsiteY102" fmla="*/ 3526714 h 3607509"/>
                  <a:gd name="connsiteX103" fmla="*/ 1554584 w 3212350"/>
                  <a:gd name="connsiteY103" fmla="*/ 3545210 h 3607509"/>
                  <a:gd name="connsiteX104" fmla="*/ 1471734 w 3212350"/>
                  <a:gd name="connsiteY104" fmla="*/ 3557751 h 3607509"/>
                  <a:gd name="connsiteX105" fmla="*/ 1471607 w 3212350"/>
                  <a:gd name="connsiteY105" fmla="*/ 3557751 h 3607509"/>
                  <a:gd name="connsiteX106" fmla="*/ 1441456 w 3212350"/>
                  <a:gd name="connsiteY106" fmla="*/ 3548757 h 3607509"/>
                  <a:gd name="connsiteX107" fmla="*/ 1423595 w 3212350"/>
                  <a:gd name="connsiteY107" fmla="*/ 3516453 h 3607509"/>
                  <a:gd name="connsiteX108" fmla="*/ 1419287 w 3212350"/>
                  <a:gd name="connsiteY108" fmla="*/ 3477435 h 3607509"/>
                  <a:gd name="connsiteX109" fmla="*/ 1399905 w 3212350"/>
                  <a:gd name="connsiteY109" fmla="*/ 3467680 h 3607509"/>
                  <a:gd name="connsiteX110" fmla="*/ 1381536 w 3212350"/>
                  <a:gd name="connsiteY110" fmla="*/ 3474647 h 3607509"/>
                  <a:gd name="connsiteX111" fmla="*/ 1355313 w 3212350"/>
                  <a:gd name="connsiteY111" fmla="*/ 3433983 h 3607509"/>
                  <a:gd name="connsiteX112" fmla="*/ 1337324 w 3212350"/>
                  <a:gd name="connsiteY112" fmla="*/ 3382549 h 3607509"/>
                  <a:gd name="connsiteX113" fmla="*/ 1324908 w 3212350"/>
                  <a:gd name="connsiteY113" fmla="*/ 3380776 h 3607509"/>
                  <a:gd name="connsiteX114" fmla="*/ 1299065 w 3212350"/>
                  <a:gd name="connsiteY114" fmla="*/ 3318701 h 3607509"/>
                  <a:gd name="connsiteX115" fmla="*/ 1286144 w 3212350"/>
                  <a:gd name="connsiteY115" fmla="*/ 3277530 h 3607509"/>
                  <a:gd name="connsiteX116" fmla="*/ 1249532 w 3212350"/>
                  <a:gd name="connsiteY116" fmla="*/ 3245859 h 3607509"/>
                  <a:gd name="connsiteX117" fmla="*/ 1250926 w 3212350"/>
                  <a:gd name="connsiteY117" fmla="*/ 3209881 h 3607509"/>
                  <a:gd name="connsiteX118" fmla="*/ 1213934 w 3212350"/>
                  <a:gd name="connsiteY118" fmla="*/ 3164655 h 3607509"/>
                  <a:gd name="connsiteX119" fmla="*/ 1192145 w 3212350"/>
                  <a:gd name="connsiteY119" fmla="*/ 3195946 h 3607509"/>
                  <a:gd name="connsiteX120" fmla="*/ 1172003 w 3212350"/>
                  <a:gd name="connsiteY120" fmla="*/ 3189359 h 3607509"/>
                  <a:gd name="connsiteX121" fmla="*/ 1154141 w 3212350"/>
                  <a:gd name="connsiteY121" fmla="*/ 3199240 h 3607509"/>
                  <a:gd name="connsiteX122" fmla="*/ 1110562 w 3212350"/>
                  <a:gd name="connsiteY122" fmla="*/ 3209121 h 3607509"/>
                  <a:gd name="connsiteX123" fmla="*/ 1087506 w 3212350"/>
                  <a:gd name="connsiteY123" fmla="*/ 3139192 h 3607509"/>
                  <a:gd name="connsiteX124" fmla="*/ 932193 w 3212350"/>
                  <a:gd name="connsiteY124" fmla="*/ 3065463 h 3607509"/>
                  <a:gd name="connsiteX125" fmla="*/ 893555 w 3212350"/>
                  <a:gd name="connsiteY125" fmla="*/ 3108282 h 3607509"/>
                  <a:gd name="connsiteX126" fmla="*/ 875946 w 3212350"/>
                  <a:gd name="connsiteY126" fmla="*/ 3145147 h 3607509"/>
                  <a:gd name="connsiteX127" fmla="*/ 877973 w 3212350"/>
                  <a:gd name="connsiteY127" fmla="*/ 3208234 h 3607509"/>
                  <a:gd name="connsiteX128" fmla="*/ 822359 w 3212350"/>
                  <a:gd name="connsiteY128" fmla="*/ 3257007 h 3607509"/>
                  <a:gd name="connsiteX129" fmla="*/ 796389 w 3212350"/>
                  <a:gd name="connsiteY129" fmla="*/ 3328583 h 3607509"/>
                  <a:gd name="connsiteX130" fmla="*/ 767505 w 3212350"/>
                  <a:gd name="connsiteY130" fmla="*/ 3373175 h 3607509"/>
                  <a:gd name="connsiteX131" fmla="*/ 745463 w 3212350"/>
                  <a:gd name="connsiteY131" fmla="*/ 3406999 h 3607509"/>
                  <a:gd name="connsiteX132" fmla="*/ 736848 w 3212350"/>
                  <a:gd name="connsiteY132" fmla="*/ 3363927 h 3607509"/>
                  <a:gd name="connsiteX133" fmla="*/ 723800 w 3212350"/>
                  <a:gd name="connsiteY133" fmla="*/ 3353539 h 3607509"/>
                  <a:gd name="connsiteX134" fmla="*/ 708978 w 3212350"/>
                  <a:gd name="connsiteY134" fmla="*/ 3318575 h 3607509"/>
                  <a:gd name="connsiteX135" fmla="*/ 681235 w 3212350"/>
                  <a:gd name="connsiteY135" fmla="*/ 3336944 h 3607509"/>
                  <a:gd name="connsiteX136" fmla="*/ 652478 w 3212350"/>
                  <a:gd name="connsiteY136" fmla="*/ 3349232 h 3607509"/>
                  <a:gd name="connsiteX137" fmla="*/ 623721 w 3212350"/>
                  <a:gd name="connsiteY137" fmla="*/ 3360887 h 3607509"/>
                  <a:gd name="connsiteX138" fmla="*/ 577735 w 3212350"/>
                  <a:gd name="connsiteY138" fmla="*/ 3366841 h 3607509"/>
                  <a:gd name="connsiteX139" fmla="*/ 515660 w 3212350"/>
                  <a:gd name="connsiteY139" fmla="*/ 3419794 h 3607509"/>
                  <a:gd name="connsiteX140" fmla="*/ 469168 w 3212350"/>
                  <a:gd name="connsiteY140" fmla="*/ 3371148 h 3607509"/>
                  <a:gd name="connsiteX141" fmla="*/ 468155 w 3212350"/>
                  <a:gd name="connsiteY141" fmla="*/ 3308187 h 3607509"/>
                  <a:gd name="connsiteX142" fmla="*/ 458020 w 3212350"/>
                  <a:gd name="connsiteY142" fmla="*/ 3260934 h 3607509"/>
                  <a:gd name="connsiteX143" fmla="*/ 469675 w 3212350"/>
                  <a:gd name="connsiteY143" fmla="*/ 3199113 h 3607509"/>
                  <a:gd name="connsiteX144" fmla="*/ 479810 w 3212350"/>
                  <a:gd name="connsiteY144" fmla="*/ 3165415 h 3607509"/>
                  <a:gd name="connsiteX145" fmla="*/ 501599 w 3212350"/>
                  <a:gd name="connsiteY145" fmla="*/ 3138432 h 3607509"/>
                  <a:gd name="connsiteX146" fmla="*/ 516421 w 3212350"/>
                  <a:gd name="connsiteY146" fmla="*/ 3072811 h 3607509"/>
                  <a:gd name="connsiteX147" fmla="*/ 474363 w 3212350"/>
                  <a:gd name="connsiteY147" fmla="*/ 3028979 h 3607509"/>
                  <a:gd name="connsiteX148" fmla="*/ 413935 w 3212350"/>
                  <a:gd name="connsiteY148" fmla="*/ 2966904 h 3607509"/>
                  <a:gd name="connsiteX149" fmla="*/ 415455 w 3212350"/>
                  <a:gd name="connsiteY149" fmla="*/ 2927126 h 3607509"/>
                  <a:gd name="connsiteX150" fmla="*/ 423563 w 3212350"/>
                  <a:gd name="connsiteY150" fmla="*/ 2874933 h 3607509"/>
                  <a:gd name="connsiteX151" fmla="*/ 378970 w 3212350"/>
                  <a:gd name="connsiteY151" fmla="*/ 2813618 h 3607509"/>
                  <a:gd name="connsiteX152" fmla="*/ 383658 w 3212350"/>
                  <a:gd name="connsiteY152" fmla="*/ 2753064 h 3607509"/>
                  <a:gd name="connsiteX153" fmla="*/ 369216 w 3212350"/>
                  <a:gd name="connsiteY153" fmla="*/ 2707712 h 3607509"/>
                  <a:gd name="connsiteX154" fmla="*/ 331084 w 3212350"/>
                  <a:gd name="connsiteY154" fmla="*/ 2643610 h 3607509"/>
                  <a:gd name="connsiteX155" fmla="*/ 265463 w 3212350"/>
                  <a:gd name="connsiteY155" fmla="*/ 2647538 h 3607509"/>
                  <a:gd name="connsiteX156" fmla="*/ 261789 w 3212350"/>
                  <a:gd name="connsiteY156" fmla="*/ 2593571 h 3607509"/>
                  <a:gd name="connsiteX157" fmla="*/ 308028 w 3212350"/>
                  <a:gd name="connsiteY157" fmla="*/ 2593571 h 3607509"/>
                  <a:gd name="connsiteX158" fmla="*/ 287252 w 3212350"/>
                  <a:gd name="connsiteY158" fmla="*/ 2553032 h 3607509"/>
                  <a:gd name="connsiteX159" fmla="*/ 275091 w 3212350"/>
                  <a:gd name="connsiteY159" fmla="*/ 2521869 h 3607509"/>
                  <a:gd name="connsiteX160" fmla="*/ 232905 w 3212350"/>
                  <a:gd name="connsiteY160" fmla="*/ 2529596 h 3607509"/>
                  <a:gd name="connsiteX161" fmla="*/ 180459 w 3212350"/>
                  <a:gd name="connsiteY161" fmla="*/ 2516675 h 3607509"/>
                  <a:gd name="connsiteX162" fmla="*/ 144861 w 3212350"/>
                  <a:gd name="connsiteY162" fmla="*/ 2512367 h 3607509"/>
                  <a:gd name="connsiteX163" fmla="*/ 121045 w 3212350"/>
                  <a:gd name="connsiteY163" fmla="*/ 2498432 h 3607509"/>
                  <a:gd name="connsiteX164" fmla="*/ 98242 w 3212350"/>
                  <a:gd name="connsiteY164" fmla="*/ 2510974 h 3607509"/>
                  <a:gd name="connsiteX165" fmla="*/ 67585 w 3212350"/>
                  <a:gd name="connsiteY165" fmla="*/ 2487538 h 3607509"/>
                  <a:gd name="connsiteX166" fmla="*/ 80380 w 3212350"/>
                  <a:gd name="connsiteY166" fmla="*/ 2450546 h 3607509"/>
                  <a:gd name="connsiteX167" fmla="*/ 96848 w 3212350"/>
                  <a:gd name="connsiteY167" fmla="*/ 2432811 h 3607509"/>
                  <a:gd name="connsiteX168" fmla="*/ 83673 w 3212350"/>
                  <a:gd name="connsiteY168" fmla="*/ 2400887 h 3607509"/>
                  <a:gd name="connsiteX169" fmla="*/ 102803 w 3212350"/>
                  <a:gd name="connsiteY169" fmla="*/ 2379351 h 3607509"/>
                  <a:gd name="connsiteX170" fmla="*/ 122565 w 3212350"/>
                  <a:gd name="connsiteY170" fmla="*/ 2346413 h 3607509"/>
                  <a:gd name="connsiteX171" fmla="*/ 137133 w 3212350"/>
                  <a:gd name="connsiteY171" fmla="*/ 2314489 h 3607509"/>
                  <a:gd name="connsiteX172" fmla="*/ 111671 w 3212350"/>
                  <a:gd name="connsiteY172" fmla="*/ 2282439 h 3607509"/>
                  <a:gd name="connsiteX173" fmla="*/ 94188 w 3212350"/>
                  <a:gd name="connsiteY173" fmla="*/ 2244180 h 3607509"/>
                  <a:gd name="connsiteX174" fmla="*/ 57577 w 3212350"/>
                  <a:gd name="connsiteY174" fmla="*/ 2207189 h 3607509"/>
                  <a:gd name="connsiteX175" fmla="*/ 53016 w 3212350"/>
                  <a:gd name="connsiteY175" fmla="*/ 2154109 h 3607509"/>
                  <a:gd name="connsiteX176" fmla="*/ 62518 w 3212350"/>
                  <a:gd name="connsiteY176" fmla="*/ 2114204 h 3607509"/>
                  <a:gd name="connsiteX177" fmla="*/ 24893 w 3212350"/>
                  <a:gd name="connsiteY177" fmla="*/ 2075946 h 3607509"/>
                  <a:gd name="connsiteX178" fmla="*/ 19952 w 3212350"/>
                  <a:gd name="connsiteY178" fmla="*/ 2055170 h 3607509"/>
                  <a:gd name="connsiteX179" fmla="*/ 53903 w 3212350"/>
                  <a:gd name="connsiteY179" fmla="*/ 2045922 h 3607509"/>
                  <a:gd name="connsiteX180" fmla="*/ 93554 w 3212350"/>
                  <a:gd name="connsiteY180" fmla="*/ 2023880 h 3607509"/>
                  <a:gd name="connsiteX181" fmla="*/ 74045 w 3212350"/>
                  <a:gd name="connsiteY181" fmla="*/ 1825875 h 3607509"/>
                  <a:gd name="connsiteX182" fmla="*/ 44022 w 3212350"/>
                  <a:gd name="connsiteY182" fmla="*/ 1687664 h 3607509"/>
                  <a:gd name="connsiteX183" fmla="*/ 5511 w 3212350"/>
                  <a:gd name="connsiteY183" fmla="*/ 1614442 h 3607509"/>
                  <a:gd name="connsiteX184" fmla="*/ 28440 w 3212350"/>
                  <a:gd name="connsiteY184" fmla="*/ 1613302 h 3607509"/>
                  <a:gd name="connsiteX185" fmla="*/ 83420 w 3212350"/>
                  <a:gd name="connsiteY185" fmla="*/ 1596453 h 3607509"/>
                  <a:gd name="connsiteX186" fmla="*/ 134726 w 3212350"/>
                  <a:gd name="connsiteY186" fmla="*/ 1554648 h 3607509"/>
                  <a:gd name="connsiteX187" fmla="*/ 191100 w 3212350"/>
                  <a:gd name="connsiteY187" fmla="*/ 1562249 h 3607509"/>
                  <a:gd name="connsiteX188" fmla="*/ 197054 w 3212350"/>
                  <a:gd name="connsiteY188" fmla="*/ 1493967 h 3607509"/>
                  <a:gd name="connsiteX189" fmla="*/ 233285 w 3212350"/>
                  <a:gd name="connsiteY189" fmla="*/ 1445574 h 3607509"/>
                  <a:gd name="connsiteX190" fmla="*/ 255961 w 3212350"/>
                  <a:gd name="connsiteY190" fmla="*/ 1433286 h 3607509"/>
                  <a:gd name="connsiteX191" fmla="*/ 264829 w 3212350"/>
                  <a:gd name="connsiteY191" fmla="*/ 1404276 h 3607509"/>
                  <a:gd name="connsiteX192" fmla="*/ 278891 w 3212350"/>
                  <a:gd name="connsiteY192" fmla="*/ 1375772 h 3607509"/>
                  <a:gd name="connsiteX193" fmla="*/ 317656 w 3212350"/>
                  <a:gd name="connsiteY193" fmla="*/ 1344228 h 3607509"/>
                  <a:gd name="connsiteX194" fmla="*/ 355787 w 3212350"/>
                  <a:gd name="connsiteY194" fmla="*/ 1300142 h 3607509"/>
                  <a:gd name="connsiteX195" fmla="*/ 335898 w 3212350"/>
                  <a:gd name="connsiteY195" fmla="*/ 1253903 h 3607509"/>
                  <a:gd name="connsiteX196" fmla="*/ 310942 w 3212350"/>
                  <a:gd name="connsiteY196" fmla="*/ 1217039 h 3607509"/>
                  <a:gd name="connsiteX197" fmla="*/ 304101 w 3212350"/>
                  <a:gd name="connsiteY197" fmla="*/ 1160538 h 3607509"/>
                  <a:gd name="connsiteX198" fmla="*/ 268123 w 3212350"/>
                  <a:gd name="connsiteY198" fmla="*/ 1123420 h 3607509"/>
                  <a:gd name="connsiteX199" fmla="*/ 226318 w 3212350"/>
                  <a:gd name="connsiteY199" fmla="*/ 1089976 h 3607509"/>
                  <a:gd name="connsiteX200" fmla="*/ 212509 w 3212350"/>
                  <a:gd name="connsiteY200" fmla="*/ 1043357 h 3607509"/>
                  <a:gd name="connsiteX201" fmla="*/ 200221 w 3212350"/>
                  <a:gd name="connsiteY201" fmla="*/ 1019161 h 3607509"/>
                  <a:gd name="connsiteX202" fmla="*/ 190594 w 3212350"/>
                  <a:gd name="connsiteY202" fmla="*/ 994711 h 3607509"/>
                  <a:gd name="connsiteX203" fmla="*/ 199081 w 3212350"/>
                  <a:gd name="connsiteY203" fmla="*/ 954046 h 3607509"/>
                  <a:gd name="connsiteX204" fmla="*/ 185146 w 3212350"/>
                  <a:gd name="connsiteY204" fmla="*/ 933270 h 3607509"/>
                  <a:gd name="connsiteX205" fmla="*/ 173998 w 3212350"/>
                  <a:gd name="connsiteY205" fmla="*/ 917941 h 3607509"/>
                  <a:gd name="connsiteX206" fmla="*/ 173238 w 3212350"/>
                  <a:gd name="connsiteY206" fmla="*/ 894758 h 3607509"/>
                  <a:gd name="connsiteX207" fmla="*/ 192240 w 3212350"/>
                  <a:gd name="connsiteY207" fmla="*/ 874616 h 3607509"/>
                  <a:gd name="connsiteX208" fmla="*/ 190213 w 3212350"/>
                  <a:gd name="connsiteY208" fmla="*/ 866508 h 3607509"/>
                  <a:gd name="connsiteX209" fmla="*/ 207442 w 3212350"/>
                  <a:gd name="connsiteY209" fmla="*/ 847759 h 3607509"/>
                  <a:gd name="connsiteX210" fmla="*/ 215803 w 3212350"/>
                  <a:gd name="connsiteY210" fmla="*/ 851813 h 3607509"/>
                  <a:gd name="connsiteX211" fmla="*/ 238733 w 3212350"/>
                  <a:gd name="connsiteY211" fmla="*/ 854474 h 3607509"/>
                  <a:gd name="connsiteX212" fmla="*/ 258876 w 3212350"/>
                  <a:gd name="connsiteY212" fmla="*/ 858021 h 3607509"/>
                  <a:gd name="connsiteX213" fmla="*/ 282312 w 3212350"/>
                  <a:gd name="connsiteY213" fmla="*/ 837878 h 3607509"/>
                  <a:gd name="connsiteX214" fmla="*/ 286112 w 3212350"/>
                  <a:gd name="connsiteY214" fmla="*/ 803674 h 3607509"/>
                  <a:gd name="connsiteX215" fmla="*/ 304354 w 3212350"/>
                  <a:gd name="connsiteY215" fmla="*/ 839652 h 3607509"/>
                  <a:gd name="connsiteX216" fmla="*/ 316643 w 3212350"/>
                  <a:gd name="connsiteY216" fmla="*/ 857641 h 3607509"/>
                  <a:gd name="connsiteX217" fmla="*/ 311702 w 3212350"/>
                  <a:gd name="connsiteY217" fmla="*/ 876390 h 3607509"/>
                  <a:gd name="connsiteX218" fmla="*/ 307268 w 3212350"/>
                  <a:gd name="connsiteY218" fmla="*/ 896785 h 3607509"/>
                  <a:gd name="connsiteX219" fmla="*/ 332985 w 3212350"/>
                  <a:gd name="connsiteY219" fmla="*/ 920728 h 3607509"/>
                  <a:gd name="connsiteX220" fmla="*/ 358067 w 3212350"/>
                  <a:gd name="connsiteY220" fmla="*/ 916041 h 3607509"/>
                  <a:gd name="connsiteX221" fmla="*/ 339445 w 3212350"/>
                  <a:gd name="connsiteY221" fmla="*/ 876516 h 3607509"/>
                  <a:gd name="connsiteX222" fmla="*/ 385431 w 3212350"/>
                  <a:gd name="connsiteY222" fmla="*/ 860934 h 3607509"/>
                  <a:gd name="connsiteX223" fmla="*/ 421916 w 3212350"/>
                  <a:gd name="connsiteY223" fmla="*/ 824703 h 3607509"/>
                  <a:gd name="connsiteX224" fmla="*/ 473222 w 3212350"/>
                  <a:gd name="connsiteY224" fmla="*/ 824956 h 3607509"/>
                  <a:gd name="connsiteX225" fmla="*/ 521869 w 3212350"/>
                  <a:gd name="connsiteY225" fmla="*/ 819636 h 3607509"/>
                  <a:gd name="connsiteX226" fmla="*/ 546951 w 3212350"/>
                  <a:gd name="connsiteY226" fmla="*/ 816215 h 3607509"/>
                  <a:gd name="connsiteX227" fmla="*/ 589643 w 3212350"/>
                  <a:gd name="connsiteY227" fmla="*/ 827363 h 3607509"/>
                  <a:gd name="connsiteX228" fmla="*/ 586856 w 3212350"/>
                  <a:gd name="connsiteY228" fmla="*/ 848899 h 3607509"/>
                  <a:gd name="connsiteX229" fmla="*/ 599398 w 3212350"/>
                  <a:gd name="connsiteY229" fmla="*/ 874109 h 3607509"/>
                  <a:gd name="connsiteX230" fmla="*/ 652731 w 3212350"/>
                  <a:gd name="connsiteY230" fmla="*/ 881584 h 3607509"/>
                  <a:gd name="connsiteX231" fmla="*/ 678448 w 3212350"/>
                  <a:gd name="connsiteY231" fmla="*/ 886144 h 3607509"/>
                  <a:gd name="connsiteX232" fmla="*/ 696183 w 3212350"/>
                  <a:gd name="connsiteY232" fmla="*/ 897672 h 3607509"/>
                  <a:gd name="connsiteX233" fmla="*/ 734822 w 3212350"/>
                  <a:gd name="connsiteY233" fmla="*/ 878163 h 3607509"/>
                  <a:gd name="connsiteX234" fmla="*/ 783848 w 3212350"/>
                  <a:gd name="connsiteY234" fmla="*/ 858781 h 3607509"/>
                  <a:gd name="connsiteX235" fmla="*/ 834014 w 3212350"/>
                  <a:gd name="connsiteY235" fmla="*/ 838258 h 3607509"/>
                  <a:gd name="connsiteX236" fmla="*/ 837688 w 3212350"/>
                  <a:gd name="connsiteY236" fmla="*/ 798226 h 3607509"/>
                  <a:gd name="connsiteX237" fmla="*/ 817799 w 3212350"/>
                  <a:gd name="connsiteY237" fmla="*/ 756168 h 3607509"/>
                  <a:gd name="connsiteX238" fmla="*/ 815011 w 3212350"/>
                  <a:gd name="connsiteY238" fmla="*/ 717403 h 3607509"/>
                  <a:gd name="connsiteX239" fmla="*/ 844402 w 3212350"/>
                  <a:gd name="connsiteY239" fmla="*/ 695867 h 3607509"/>
                  <a:gd name="connsiteX240" fmla="*/ 868472 w 3212350"/>
                  <a:gd name="connsiteY240" fmla="*/ 683199 h 3607509"/>
                  <a:gd name="connsiteX241" fmla="*/ 891021 w 3212350"/>
                  <a:gd name="connsiteY241" fmla="*/ 703088 h 3607509"/>
                  <a:gd name="connsiteX242" fmla="*/ 936500 w 3212350"/>
                  <a:gd name="connsiteY242" fmla="*/ 704608 h 3607509"/>
                  <a:gd name="connsiteX243" fmla="*/ 978305 w 3212350"/>
                  <a:gd name="connsiteY243" fmla="*/ 694220 h 3607509"/>
                  <a:gd name="connsiteX244" fmla="*/ 1016437 w 3212350"/>
                  <a:gd name="connsiteY244" fmla="*/ 654442 h 3607509"/>
                  <a:gd name="connsiteX245" fmla="*/ 1041393 w 3212350"/>
                  <a:gd name="connsiteY245" fmla="*/ 660903 h 3607509"/>
                  <a:gd name="connsiteX246" fmla="*/ 1067616 w 3212350"/>
                  <a:gd name="connsiteY246" fmla="*/ 671544 h 3607509"/>
                  <a:gd name="connsiteX247" fmla="*/ 1089152 w 3212350"/>
                  <a:gd name="connsiteY247" fmla="*/ 694220 h 3607509"/>
                  <a:gd name="connsiteX248" fmla="*/ 1111068 w 3212350"/>
                  <a:gd name="connsiteY248" fmla="*/ 706508 h 3607509"/>
                  <a:gd name="connsiteX249" fmla="*/ 1127284 w 3212350"/>
                  <a:gd name="connsiteY249" fmla="*/ 726524 h 3607509"/>
                  <a:gd name="connsiteX250" fmla="*/ 1143246 w 3212350"/>
                  <a:gd name="connsiteY250" fmla="*/ 746413 h 3607509"/>
                  <a:gd name="connsiteX251" fmla="*/ 1154267 w 3212350"/>
                  <a:gd name="connsiteY251" fmla="*/ 772130 h 3607509"/>
                  <a:gd name="connsiteX252" fmla="*/ 1135518 w 3212350"/>
                  <a:gd name="connsiteY252" fmla="*/ 790245 h 3607509"/>
                  <a:gd name="connsiteX253" fmla="*/ 1179097 w 3212350"/>
                  <a:gd name="connsiteY253" fmla="*/ 805067 h 3607509"/>
                  <a:gd name="connsiteX254" fmla="*/ 1189358 w 3212350"/>
                  <a:gd name="connsiteY254" fmla="*/ 846492 h 3607509"/>
                  <a:gd name="connsiteX255" fmla="*/ 1160981 w 3212350"/>
                  <a:gd name="connsiteY255" fmla="*/ 863848 h 3607509"/>
                  <a:gd name="connsiteX256" fmla="*/ 1141852 w 3212350"/>
                  <a:gd name="connsiteY256" fmla="*/ 882724 h 3607509"/>
                  <a:gd name="connsiteX257" fmla="*/ 1162122 w 3212350"/>
                  <a:gd name="connsiteY257" fmla="*/ 907554 h 3607509"/>
                  <a:gd name="connsiteX258" fmla="*/ 1186698 w 3212350"/>
                  <a:gd name="connsiteY258" fmla="*/ 907807 h 3607509"/>
                  <a:gd name="connsiteX259" fmla="*/ 1184798 w 3212350"/>
                  <a:gd name="connsiteY259" fmla="*/ 885891 h 3607509"/>
                  <a:gd name="connsiteX260" fmla="*/ 1211275 w 3212350"/>
                  <a:gd name="connsiteY260" fmla="*/ 887411 h 3607509"/>
                  <a:gd name="connsiteX261" fmla="*/ 1235851 w 3212350"/>
                  <a:gd name="connsiteY261" fmla="*/ 892478 h 3607509"/>
                  <a:gd name="connsiteX262" fmla="*/ 1219762 w 3212350"/>
                  <a:gd name="connsiteY262" fmla="*/ 940111 h 3607509"/>
                  <a:gd name="connsiteX263" fmla="*/ 1250546 w 3212350"/>
                  <a:gd name="connsiteY263" fmla="*/ 963294 h 3607509"/>
                  <a:gd name="connsiteX264" fmla="*/ 1285131 w 3212350"/>
                  <a:gd name="connsiteY264" fmla="*/ 991290 h 3607509"/>
                  <a:gd name="connsiteX265" fmla="*/ 1323515 w 3212350"/>
                  <a:gd name="connsiteY265" fmla="*/ 1010420 h 3607509"/>
                  <a:gd name="connsiteX266" fmla="*/ 1357593 w 3212350"/>
                  <a:gd name="connsiteY266" fmla="*/ 1024861 h 3607509"/>
                  <a:gd name="connsiteX267" fmla="*/ 1361520 w 3212350"/>
                  <a:gd name="connsiteY267" fmla="*/ 1012573 h 3607509"/>
                  <a:gd name="connsiteX268" fmla="*/ 1403452 w 3212350"/>
                  <a:gd name="connsiteY268" fmla="*/ 1029169 h 3607509"/>
                  <a:gd name="connsiteX269" fmla="*/ 1418907 w 3212350"/>
                  <a:gd name="connsiteY269" fmla="*/ 1016374 h 3607509"/>
                  <a:gd name="connsiteX270" fmla="*/ 1407759 w 3212350"/>
                  <a:gd name="connsiteY270" fmla="*/ 991164 h 3607509"/>
                  <a:gd name="connsiteX271" fmla="*/ 1398004 w 3212350"/>
                  <a:gd name="connsiteY271" fmla="*/ 938591 h 3607509"/>
                  <a:gd name="connsiteX272" fmla="*/ 1401045 w 3212350"/>
                  <a:gd name="connsiteY272" fmla="*/ 914014 h 3607509"/>
                  <a:gd name="connsiteX273" fmla="*/ 1390023 w 3212350"/>
                  <a:gd name="connsiteY273" fmla="*/ 892478 h 3607509"/>
                  <a:gd name="connsiteX274" fmla="*/ 1377482 w 3212350"/>
                  <a:gd name="connsiteY274" fmla="*/ 836865 h 3607509"/>
                  <a:gd name="connsiteX275" fmla="*/ 1377228 w 3212350"/>
                  <a:gd name="connsiteY275" fmla="*/ 805067 h 3607509"/>
                  <a:gd name="connsiteX276" fmla="*/ 1399525 w 3212350"/>
                  <a:gd name="connsiteY276" fmla="*/ 811275 h 3607509"/>
                  <a:gd name="connsiteX277" fmla="*/ 1433983 w 3212350"/>
                  <a:gd name="connsiteY277" fmla="*/ 840285 h 3607509"/>
                  <a:gd name="connsiteX278" fmla="*/ 1484782 w 3212350"/>
                  <a:gd name="connsiteY278" fmla="*/ 849660 h 3607509"/>
                  <a:gd name="connsiteX279" fmla="*/ 1517593 w 3212350"/>
                  <a:gd name="connsiteY279" fmla="*/ 817609 h 3607509"/>
                  <a:gd name="connsiteX280" fmla="*/ 1529247 w 3212350"/>
                  <a:gd name="connsiteY280" fmla="*/ 791892 h 3607509"/>
                  <a:gd name="connsiteX281" fmla="*/ 1570546 w 3212350"/>
                  <a:gd name="connsiteY281" fmla="*/ 747680 h 3607509"/>
                  <a:gd name="connsiteX282" fmla="*/ 1610324 w 3212350"/>
                  <a:gd name="connsiteY282" fmla="*/ 761742 h 3607509"/>
                  <a:gd name="connsiteX283" fmla="*/ 1652130 w 3212350"/>
                  <a:gd name="connsiteY283" fmla="*/ 769850 h 3607509"/>
                  <a:gd name="connsiteX284" fmla="*/ 1692921 w 3212350"/>
                  <a:gd name="connsiteY284" fmla="*/ 767949 h 3607509"/>
                  <a:gd name="connsiteX285" fmla="*/ 1710024 w 3212350"/>
                  <a:gd name="connsiteY285" fmla="*/ 754648 h 3607509"/>
                  <a:gd name="connsiteX286" fmla="*/ 1716737 w 3212350"/>
                  <a:gd name="connsiteY286" fmla="*/ 747680 h 3607509"/>
                  <a:gd name="connsiteX287" fmla="*/ 1716864 w 3212350"/>
                  <a:gd name="connsiteY287" fmla="*/ 738052 h 3607509"/>
                  <a:gd name="connsiteX288" fmla="*/ 1705843 w 3212350"/>
                  <a:gd name="connsiteY288" fmla="*/ 745146 h 3607509"/>
                  <a:gd name="connsiteX289" fmla="*/ 1672525 w 3212350"/>
                  <a:gd name="connsiteY289" fmla="*/ 713476 h 3607509"/>
                  <a:gd name="connsiteX290" fmla="*/ 1683040 w 3212350"/>
                  <a:gd name="connsiteY290" fmla="*/ 688013 h 3607509"/>
                  <a:gd name="connsiteX291" fmla="*/ 1714204 w 3212350"/>
                  <a:gd name="connsiteY291" fmla="*/ 679398 h 3607509"/>
                  <a:gd name="connsiteX292" fmla="*/ 1743214 w 3212350"/>
                  <a:gd name="connsiteY292" fmla="*/ 688646 h 3607509"/>
                  <a:gd name="connsiteX293" fmla="*/ 1755883 w 3212350"/>
                  <a:gd name="connsiteY293" fmla="*/ 664703 h 3607509"/>
                  <a:gd name="connsiteX294" fmla="*/ 1741188 w 3212350"/>
                  <a:gd name="connsiteY294" fmla="*/ 635059 h 3607509"/>
                  <a:gd name="connsiteX295" fmla="*/ 1710403 w 3212350"/>
                  <a:gd name="connsiteY295" fmla="*/ 623405 h 3607509"/>
                  <a:gd name="connsiteX296" fmla="*/ 1715851 w 3212350"/>
                  <a:gd name="connsiteY296" fmla="*/ 558796 h 3607509"/>
                  <a:gd name="connsiteX297" fmla="*/ 1667584 w 3212350"/>
                  <a:gd name="connsiteY297" fmla="*/ 580586 h 3607509"/>
                  <a:gd name="connsiteX298" fmla="*/ 1656183 w 3212350"/>
                  <a:gd name="connsiteY298" fmla="*/ 560697 h 3607509"/>
                  <a:gd name="connsiteX299" fmla="*/ 1664038 w 3212350"/>
                  <a:gd name="connsiteY299" fmla="*/ 531560 h 3607509"/>
                  <a:gd name="connsiteX300" fmla="*/ 1674426 w 3212350"/>
                  <a:gd name="connsiteY300" fmla="*/ 505463 h 3607509"/>
                  <a:gd name="connsiteX301" fmla="*/ 1696975 w 3212350"/>
                  <a:gd name="connsiteY301" fmla="*/ 486714 h 3607509"/>
                  <a:gd name="connsiteX302" fmla="*/ 1686461 w 3212350"/>
                  <a:gd name="connsiteY302" fmla="*/ 436168 h 3607509"/>
                  <a:gd name="connsiteX303" fmla="*/ 1664544 w 3212350"/>
                  <a:gd name="connsiteY303" fmla="*/ 419572 h 3607509"/>
                  <a:gd name="connsiteX304" fmla="*/ 1683927 w 3212350"/>
                  <a:gd name="connsiteY304" fmla="*/ 413745 h 3607509"/>
                  <a:gd name="connsiteX305" fmla="*/ 1719652 w 3212350"/>
                  <a:gd name="connsiteY305" fmla="*/ 416405 h 3607509"/>
                  <a:gd name="connsiteX306" fmla="*/ 1753982 w 3212350"/>
                  <a:gd name="connsiteY306" fmla="*/ 399303 h 3607509"/>
                  <a:gd name="connsiteX307" fmla="*/ 1789960 w 3212350"/>
                  <a:gd name="connsiteY307" fmla="*/ 381948 h 3607509"/>
                  <a:gd name="connsiteX308" fmla="*/ 1825558 w 3212350"/>
                  <a:gd name="connsiteY308" fmla="*/ 363452 h 3607509"/>
                  <a:gd name="connsiteX309" fmla="*/ 1853935 w 3212350"/>
                  <a:gd name="connsiteY309" fmla="*/ 346857 h 3607509"/>
                  <a:gd name="connsiteX310" fmla="*/ 1882438 w 3212350"/>
                  <a:gd name="connsiteY310" fmla="*/ 337355 h 3607509"/>
                  <a:gd name="connsiteX311" fmla="*/ 1964275 w 3212350"/>
                  <a:gd name="connsiteY311" fmla="*/ 311639 h 3607509"/>
                  <a:gd name="connsiteX312" fmla="*/ 1944133 w 3212350"/>
                  <a:gd name="connsiteY312" fmla="*/ 337355 h 3607509"/>
                  <a:gd name="connsiteX313" fmla="*/ 1907141 w 3212350"/>
                  <a:gd name="connsiteY313" fmla="*/ 352304 h 3607509"/>
                  <a:gd name="connsiteX314" fmla="*/ 1897767 w 3212350"/>
                  <a:gd name="connsiteY314" fmla="*/ 381821 h 3607509"/>
                  <a:gd name="connsiteX315" fmla="*/ 1885732 w 3212350"/>
                  <a:gd name="connsiteY315" fmla="*/ 407791 h 3607509"/>
                  <a:gd name="connsiteX316" fmla="*/ 1916896 w 3212350"/>
                  <a:gd name="connsiteY316" fmla="*/ 406017 h 3607509"/>
                  <a:gd name="connsiteX317" fmla="*/ 1934631 w 3212350"/>
                  <a:gd name="connsiteY317" fmla="*/ 381694 h 3607509"/>
                  <a:gd name="connsiteX318" fmla="*/ 1954141 w 3212350"/>
                  <a:gd name="connsiteY318" fmla="*/ 356231 h 3607509"/>
                  <a:gd name="connsiteX319" fmla="*/ 1976690 w 3212350"/>
                  <a:gd name="connsiteY319" fmla="*/ 332541 h 3607509"/>
                  <a:gd name="connsiteX320" fmla="*/ 1990118 w 3212350"/>
                  <a:gd name="connsiteY320" fmla="*/ 359905 h 3607509"/>
                  <a:gd name="connsiteX321" fmla="*/ 1978970 w 3212350"/>
                  <a:gd name="connsiteY321" fmla="*/ 381188 h 3607509"/>
                  <a:gd name="connsiteX322" fmla="*/ 1972509 w 3212350"/>
                  <a:gd name="connsiteY322" fmla="*/ 364846 h 3607509"/>
                  <a:gd name="connsiteX323" fmla="*/ 1962248 w 3212350"/>
                  <a:gd name="connsiteY323" fmla="*/ 368519 h 3607509"/>
                  <a:gd name="connsiteX324" fmla="*/ 1968076 w 3212350"/>
                  <a:gd name="connsiteY324" fmla="*/ 413238 h 3607509"/>
                  <a:gd name="connsiteX325" fmla="*/ 1958194 w 3212350"/>
                  <a:gd name="connsiteY325" fmla="*/ 440728 h 3607509"/>
                  <a:gd name="connsiteX326" fmla="*/ 1971749 w 3212350"/>
                  <a:gd name="connsiteY326" fmla="*/ 451497 h 3607509"/>
                  <a:gd name="connsiteX327" fmla="*/ 1981250 w 3212350"/>
                  <a:gd name="connsiteY327" fmla="*/ 463151 h 3607509"/>
                  <a:gd name="connsiteX328" fmla="*/ 2013175 w 3212350"/>
                  <a:gd name="connsiteY328" fmla="*/ 407538 h 3607509"/>
                  <a:gd name="connsiteX329" fmla="*/ 2014695 w 3212350"/>
                  <a:gd name="connsiteY329" fmla="*/ 359905 h 3607509"/>
                  <a:gd name="connsiteX330" fmla="*/ 2005574 w 3212350"/>
                  <a:gd name="connsiteY330" fmla="*/ 324941 h 3607509"/>
                  <a:gd name="connsiteX331" fmla="*/ 2002407 w 3212350"/>
                  <a:gd name="connsiteY331" fmla="*/ 291243 h 3607509"/>
                  <a:gd name="connsiteX332" fmla="*/ 2029643 w 3212350"/>
                  <a:gd name="connsiteY332" fmla="*/ 265146 h 3607509"/>
                  <a:gd name="connsiteX333" fmla="*/ 2098559 w 3212350"/>
                  <a:gd name="connsiteY333" fmla="*/ 237910 h 3607509"/>
                  <a:gd name="connsiteX334" fmla="*/ 2166334 w 3212350"/>
                  <a:gd name="connsiteY334" fmla="*/ 234616 h 3607509"/>
                  <a:gd name="connsiteX335" fmla="*/ 2163420 w 3212350"/>
                  <a:gd name="connsiteY335" fmla="*/ 265273 h 3607509"/>
                  <a:gd name="connsiteX336" fmla="*/ 2134410 w 3212350"/>
                  <a:gd name="connsiteY336" fmla="*/ 283642 h 3607509"/>
                  <a:gd name="connsiteX337" fmla="*/ 2142011 w 3212350"/>
                  <a:gd name="connsiteY337" fmla="*/ 308852 h 3607509"/>
                  <a:gd name="connsiteX338" fmla="*/ 2173554 w 3212350"/>
                  <a:gd name="connsiteY338" fmla="*/ 294410 h 3607509"/>
                  <a:gd name="connsiteX339" fmla="*/ 2206872 w 3212350"/>
                  <a:gd name="connsiteY339" fmla="*/ 290356 h 3607509"/>
                  <a:gd name="connsiteX340" fmla="*/ 2238923 w 3212350"/>
                  <a:gd name="connsiteY340" fmla="*/ 283895 h 3607509"/>
                  <a:gd name="connsiteX341" fmla="*/ 2265526 w 3212350"/>
                  <a:gd name="connsiteY341" fmla="*/ 270087 h 3607509"/>
                  <a:gd name="connsiteX342" fmla="*/ 2288836 w 3212350"/>
                  <a:gd name="connsiteY342" fmla="*/ 270341 h 3607509"/>
                  <a:gd name="connsiteX343" fmla="*/ 2300617 w 3212350"/>
                  <a:gd name="connsiteY343" fmla="*/ 265020 h 3607509"/>
                  <a:gd name="connsiteX344" fmla="*/ 2314299 w 3212350"/>
                  <a:gd name="connsiteY344" fmla="*/ 270721 h 3607509"/>
                  <a:gd name="connsiteX345" fmla="*/ 2342803 w 3212350"/>
                  <a:gd name="connsiteY345" fmla="*/ 275408 h 3607509"/>
                  <a:gd name="connsiteX346" fmla="*/ 2358385 w 3212350"/>
                  <a:gd name="connsiteY346" fmla="*/ 292763 h 3607509"/>
                  <a:gd name="connsiteX347" fmla="*/ 2372953 w 3212350"/>
                  <a:gd name="connsiteY347" fmla="*/ 288076 h 3607509"/>
                  <a:gd name="connsiteX348" fmla="*/ 2417545 w 3212350"/>
                  <a:gd name="connsiteY348" fmla="*/ 243484 h 3607509"/>
                  <a:gd name="connsiteX349" fmla="*/ 2449089 w 3212350"/>
                  <a:gd name="connsiteY349" fmla="*/ 192431 h 3607509"/>
                  <a:gd name="connsiteX350" fmla="*/ 2484180 w 3212350"/>
                  <a:gd name="connsiteY350" fmla="*/ 117815 h 3607509"/>
                  <a:gd name="connsiteX351" fmla="*/ 2537260 w 3212350"/>
                  <a:gd name="connsiteY351" fmla="*/ 70689 h 3607509"/>
                  <a:gd name="connsiteX352" fmla="*/ 2573872 w 3212350"/>
                  <a:gd name="connsiteY352" fmla="*/ 29010 h 3607509"/>
                  <a:gd name="connsiteX353" fmla="*/ 2643293 w 3212350"/>
                  <a:gd name="connsiteY353" fmla="*/ 7348 h 3607509"/>
                  <a:gd name="connsiteX354" fmla="*/ 2704354 w 3212350"/>
                  <a:gd name="connsiteY354" fmla="*/ 2660 h 3607509"/>
                  <a:gd name="connsiteX355" fmla="*/ 2758701 w 3212350"/>
                  <a:gd name="connsiteY355" fmla="*/ 21789 h 3607509"/>
                  <a:gd name="connsiteX356" fmla="*/ 2787585 w 3212350"/>
                  <a:gd name="connsiteY356" fmla="*/ 78797 h 3607509"/>
                  <a:gd name="connsiteX357" fmla="*/ 2863341 w 3212350"/>
                  <a:gd name="connsiteY357" fmla="*/ 68789 h 3607509"/>
                  <a:gd name="connsiteX358" fmla="*/ 2902486 w 3212350"/>
                  <a:gd name="connsiteY358" fmla="*/ 65115 h 3607509"/>
                  <a:gd name="connsiteX359" fmla="*/ 2905399 w 3212350"/>
                  <a:gd name="connsiteY359" fmla="*/ 51306 h 3607509"/>
                  <a:gd name="connsiteX360" fmla="*/ 2949232 w 3212350"/>
                  <a:gd name="connsiteY360" fmla="*/ 33317 h 3607509"/>
                  <a:gd name="connsiteX361" fmla="*/ 2938084 w 3212350"/>
                  <a:gd name="connsiteY361" fmla="*/ 0 h 3607509"/>
                  <a:gd name="connsiteX362" fmla="*/ 3003452 w 3212350"/>
                  <a:gd name="connsiteY362" fmla="*/ 41805 h 3607509"/>
                  <a:gd name="connsiteX363" fmla="*/ 3053238 w 3212350"/>
                  <a:gd name="connsiteY363" fmla="*/ 78416 h 3607509"/>
                  <a:gd name="connsiteX364" fmla="*/ 3080348 w 3212350"/>
                  <a:gd name="connsiteY364" fmla="*/ 103753 h 3607509"/>
                  <a:gd name="connsiteX365" fmla="*/ 3059572 w 3212350"/>
                  <a:gd name="connsiteY365" fmla="*/ 152652 h 3607509"/>
                  <a:gd name="connsiteX366" fmla="*/ 3042470 w 3212350"/>
                  <a:gd name="connsiteY366" fmla="*/ 222581 h 3607509"/>
                  <a:gd name="connsiteX367" fmla="*/ 2985717 w 3212350"/>
                  <a:gd name="connsiteY367" fmla="*/ 306698 h 3607509"/>
                  <a:gd name="connsiteX368" fmla="*/ 2969501 w 3212350"/>
                  <a:gd name="connsiteY368" fmla="*/ 373967 h 3607509"/>
                  <a:gd name="connsiteX369" fmla="*/ 2993571 w 3212350"/>
                  <a:gd name="connsiteY369" fmla="*/ 381188 h 3607509"/>
                  <a:gd name="connsiteX370" fmla="*/ 2999524 w 3212350"/>
                  <a:gd name="connsiteY370" fmla="*/ 423753 h 3607509"/>
                  <a:gd name="connsiteX371" fmla="*/ 3070467 w 3212350"/>
                  <a:gd name="connsiteY371" fmla="*/ 447569 h 3607509"/>
                  <a:gd name="connsiteX372" fmla="*/ 3162185 w 3212350"/>
                  <a:gd name="connsiteY372" fmla="*/ 465938 h 3607509"/>
                  <a:gd name="connsiteX373" fmla="*/ 3212351 w 3212350"/>
                  <a:gd name="connsiteY373" fmla="*/ 538907 h 3607509"/>
                  <a:gd name="connsiteX374" fmla="*/ 3209818 w 3212350"/>
                  <a:gd name="connsiteY374" fmla="*/ 544101 h 360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Lst>
                <a:rect l="l" t="t" r="r" b="b"/>
                <a:pathLst>
                  <a:path w="3212350" h="3607509">
                    <a:moveTo>
                      <a:pt x="3209818" y="544101"/>
                    </a:moveTo>
                    <a:cubicBezTo>
                      <a:pt x="3197403" y="568931"/>
                      <a:pt x="3204877" y="596548"/>
                      <a:pt x="3200570" y="622771"/>
                    </a:cubicBezTo>
                    <a:cubicBezTo>
                      <a:pt x="3195249" y="654822"/>
                      <a:pt x="3167126" y="640887"/>
                      <a:pt x="3149770" y="659002"/>
                    </a:cubicBezTo>
                    <a:cubicBezTo>
                      <a:pt x="3134061" y="675344"/>
                      <a:pt x="3150783" y="701061"/>
                      <a:pt x="3121393" y="704862"/>
                    </a:cubicBezTo>
                    <a:cubicBezTo>
                      <a:pt x="3094157" y="708282"/>
                      <a:pt x="3077054" y="707395"/>
                      <a:pt x="3062486" y="733618"/>
                    </a:cubicBezTo>
                    <a:cubicBezTo>
                      <a:pt x="3048424" y="758575"/>
                      <a:pt x="3047157" y="779097"/>
                      <a:pt x="3060206" y="805067"/>
                    </a:cubicBezTo>
                    <a:cubicBezTo>
                      <a:pt x="3063753" y="812035"/>
                      <a:pt x="3073507" y="823563"/>
                      <a:pt x="3068060" y="831291"/>
                    </a:cubicBezTo>
                    <a:cubicBezTo>
                      <a:pt x="3063119" y="838385"/>
                      <a:pt x="3044117" y="839018"/>
                      <a:pt x="3036642" y="843199"/>
                    </a:cubicBezTo>
                    <a:cubicBezTo>
                      <a:pt x="3000538" y="862961"/>
                      <a:pt x="3052478" y="876136"/>
                      <a:pt x="3068693" y="879050"/>
                    </a:cubicBezTo>
                    <a:cubicBezTo>
                      <a:pt x="3078828" y="880824"/>
                      <a:pt x="3089596" y="881584"/>
                      <a:pt x="3089343" y="893872"/>
                    </a:cubicBezTo>
                    <a:cubicBezTo>
                      <a:pt x="3088962" y="906413"/>
                      <a:pt x="3075788" y="920855"/>
                      <a:pt x="3070593" y="931750"/>
                    </a:cubicBezTo>
                    <a:cubicBezTo>
                      <a:pt x="3047284" y="980396"/>
                      <a:pt x="3104164" y="1024228"/>
                      <a:pt x="3132414" y="1058052"/>
                    </a:cubicBezTo>
                    <a:cubicBezTo>
                      <a:pt x="3151670" y="1081109"/>
                      <a:pt x="3141916" y="1098717"/>
                      <a:pt x="3130767" y="1123040"/>
                    </a:cubicBezTo>
                    <a:cubicBezTo>
                      <a:pt x="3123673" y="1138496"/>
                      <a:pt x="3117593" y="1155091"/>
                      <a:pt x="3104545" y="1166872"/>
                    </a:cubicBezTo>
                    <a:cubicBezTo>
                      <a:pt x="3094790" y="1175487"/>
                      <a:pt x="3076927" y="1184101"/>
                      <a:pt x="3074521" y="1198036"/>
                    </a:cubicBezTo>
                    <a:cubicBezTo>
                      <a:pt x="3072367" y="1210451"/>
                      <a:pt x="3078701" y="1225020"/>
                      <a:pt x="3060332" y="1224766"/>
                    </a:cubicBezTo>
                    <a:cubicBezTo>
                      <a:pt x="3047538" y="1224640"/>
                      <a:pt x="3035122" y="1214632"/>
                      <a:pt x="3022327" y="1213238"/>
                    </a:cubicBezTo>
                    <a:cubicBezTo>
                      <a:pt x="2986983" y="1209438"/>
                      <a:pt x="2992430" y="1244909"/>
                      <a:pt x="2990910" y="1267965"/>
                    </a:cubicBezTo>
                    <a:cubicBezTo>
                      <a:pt x="2971528" y="1276199"/>
                      <a:pt x="2935677" y="1262138"/>
                      <a:pt x="2925289" y="1283927"/>
                    </a:cubicBezTo>
                    <a:cubicBezTo>
                      <a:pt x="2912494" y="1310784"/>
                      <a:pt x="2937451" y="1317498"/>
                      <a:pt x="2950879" y="1333207"/>
                    </a:cubicBezTo>
                    <a:cubicBezTo>
                      <a:pt x="2960633" y="1344608"/>
                      <a:pt x="2969881" y="1385273"/>
                      <a:pt x="2946444" y="1387300"/>
                    </a:cubicBezTo>
                    <a:cubicBezTo>
                      <a:pt x="2928583" y="1388820"/>
                      <a:pt x="2909707" y="1346255"/>
                      <a:pt x="2903753" y="1377419"/>
                    </a:cubicBezTo>
                    <a:cubicBezTo>
                      <a:pt x="2901853" y="1387047"/>
                      <a:pt x="2902613" y="1398955"/>
                      <a:pt x="2892604" y="1404022"/>
                    </a:cubicBezTo>
                    <a:cubicBezTo>
                      <a:pt x="2883103" y="1408836"/>
                      <a:pt x="2868915" y="1404402"/>
                      <a:pt x="2858780" y="1404782"/>
                    </a:cubicBezTo>
                    <a:cubicBezTo>
                      <a:pt x="2830783" y="1405796"/>
                      <a:pt x="2836738" y="1426572"/>
                      <a:pt x="2845479" y="1446461"/>
                    </a:cubicBezTo>
                    <a:cubicBezTo>
                      <a:pt x="2849279" y="1455075"/>
                      <a:pt x="2854726" y="1463056"/>
                      <a:pt x="2857767" y="1472051"/>
                    </a:cubicBezTo>
                    <a:cubicBezTo>
                      <a:pt x="2861694" y="1483705"/>
                      <a:pt x="2859414" y="1494600"/>
                      <a:pt x="2860681" y="1506382"/>
                    </a:cubicBezTo>
                    <a:cubicBezTo>
                      <a:pt x="2863214" y="1529311"/>
                      <a:pt x="2901853" y="1523737"/>
                      <a:pt x="2897799" y="1546413"/>
                    </a:cubicBezTo>
                    <a:cubicBezTo>
                      <a:pt x="2895898" y="1557561"/>
                      <a:pt x="2886651" y="1563389"/>
                      <a:pt x="2889058" y="1576057"/>
                    </a:cubicBezTo>
                    <a:cubicBezTo>
                      <a:pt x="2890958" y="1586065"/>
                      <a:pt x="2898432" y="1595946"/>
                      <a:pt x="2903246" y="1604814"/>
                    </a:cubicBezTo>
                    <a:cubicBezTo>
                      <a:pt x="2910720" y="1618876"/>
                      <a:pt x="2921995" y="1630910"/>
                      <a:pt x="2927823" y="1645859"/>
                    </a:cubicBezTo>
                    <a:cubicBezTo>
                      <a:pt x="2930482" y="1652446"/>
                      <a:pt x="2929596" y="1661568"/>
                      <a:pt x="2932889" y="1667395"/>
                    </a:cubicBezTo>
                    <a:cubicBezTo>
                      <a:pt x="2936437" y="1673729"/>
                      <a:pt x="2945938" y="1679430"/>
                      <a:pt x="2950879" y="1685004"/>
                    </a:cubicBezTo>
                    <a:cubicBezTo>
                      <a:pt x="2956072" y="1690705"/>
                      <a:pt x="2960126" y="1696279"/>
                      <a:pt x="2963674" y="1702866"/>
                    </a:cubicBezTo>
                    <a:cubicBezTo>
                      <a:pt x="2969121" y="1712874"/>
                      <a:pt x="2978115" y="1723389"/>
                      <a:pt x="2979256" y="1735424"/>
                    </a:cubicBezTo>
                    <a:cubicBezTo>
                      <a:pt x="2981029" y="1752526"/>
                      <a:pt x="2965574" y="1763294"/>
                      <a:pt x="2962280" y="1779636"/>
                    </a:cubicBezTo>
                    <a:cubicBezTo>
                      <a:pt x="2960760" y="1787110"/>
                      <a:pt x="2962153" y="1791291"/>
                      <a:pt x="2965194" y="1793064"/>
                    </a:cubicBezTo>
                    <a:lnTo>
                      <a:pt x="2965194" y="1793064"/>
                    </a:lnTo>
                    <a:cubicBezTo>
                      <a:pt x="2968614" y="1802185"/>
                      <a:pt x="2971528" y="1803579"/>
                      <a:pt x="2985336" y="1815487"/>
                    </a:cubicBezTo>
                    <a:cubicBezTo>
                      <a:pt x="2999145" y="1827395"/>
                      <a:pt x="2996738" y="1853618"/>
                      <a:pt x="2979889" y="1858052"/>
                    </a:cubicBezTo>
                    <a:cubicBezTo>
                      <a:pt x="2963040" y="1862486"/>
                      <a:pt x="2950245" y="1840190"/>
                      <a:pt x="2941251" y="1830309"/>
                    </a:cubicBezTo>
                    <a:cubicBezTo>
                      <a:pt x="2932383" y="1820428"/>
                      <a:pt x="2929343" y="1834236"/>
                      <a:pt x="2932383" y="1840697"/>
                    </a:cubicBezTo>
                    <a:cubicBezTo>
                      <a:pt x="2935296" y="1847157"/>
                      <a:pt x="2903626" y="1843737"/>
                      <a:pt x="2883863" y="1843230"/>
                    </a:cubicBezTo>
                    <a:cubicBezTo>
                      <a:pt x="2864101" y="1842724"/>
                      <a:pt x="2868028" y="1878322"/>
                      <a:pt x="2870055" y="1907078"/>
                    </a:cubicBezTo>
                    <a:cubicBezTo>
                      <a:pt x="2872082" y="1935709"/>
                      <a:pt x="2787839" y="1920887"/>
                      <a:pt x="2774536" y="1917466"/>
                    </a:cubicBezTo>
                    <a:cubicBezTo>
                      <a:pt x="2761235" y="1914046"/>
                      <a:pt x="2707268" y="1912526"/>
                      <a:pt x="2688519" y="1917466"/>
                    </a:cubicBezTo>
                    <a:cubicBezTo>
                      <a:pt x="2669644" y="1922407"/>
                      <a:pt x="2687505" y="1969913"/>
                      <a:pt x="2692953" y="1995629"/>
                    </a:cubicBezTo>
                    <a:cubicBezTo>
                      <a:pt x="2698401" y="2021346"/>
                      <a:pt x="2699414" y="2090135"/>
                      <a:pt x="2696880" y="2105083"/>
                    </a:cubicBezTo>
                    <a:cubicBezTo>
                      <a:pt x="2694474" y="2119905"/>
                      <a:pt x="2688519" y="2124339"/>
                      <a:pt x="2682565" y="2129280"/>
                    </a:cubicBezTo>
                    <a:cubicBezTo>
                      <a:pt x="2676611" y="2134220"/>
                      <a:pt x="2678131" y="2151575"/>
                      <a:pt x="2678638" y="2162470"/>
                    </a:cubicBezTo>
                    <a:cubicBezTo>
                      <a:pt x="2679145" y="2173365"/>
                      <a:pt x="2671164" y="2190594"/>
                      <a:pt x="2662803" y="2203009"/>
                    </a:cubicBezTo>
                    <a:cubicBezTo>
                      <a:pt x="2654315" y="2215424"/>
                      <a:pt x="2660776" y="2248108"/>
                      <a:pt x="2661282" y="2262930"/>
                    </a:cubicBezTo>
                    <a:cubicBezTo>
                      <a:pt x="2661789" y="2277752"/>
                      <a:pt x="2677625" y="2285732"/>
                      <a:pt x="2697387" y="2294600"/>
                    </a:cubicBezTo>
                    <a:cubicBezTo>
                      <a:pt x="2717149" y="2303468"/>
                      <a:pt x="2712335" y="2333238"/>
                      <a:pt x="2716263" y="2351987"/>
                    </a:cubicBezTo>
                    <a:cubicBezTo>
                      <a:pt x="2720190" y="2370863"/>
                      <a:pt x="2765795" y="2420269"/>
                      <a:pt x="2780491" y="2439652"/>
                    </a:cubicBezTo>
                    <a:cubicBezTo>
                      <a:pt x="2795439" y="2458907"/>
                      <a:pt x="2758701" y="2475756"/>
                      <a:pt x="2742866" y="2479683"/>
                    </a:cubicBezTo>
                    <a:cubicBezTo>
                      <a:pt x="2727030" y="2483611"/>
                      <a:pt x="2730957" y="2502486"/>
                      <a:pt x="2729058" y="2512874"/>
                    </a:cubicBezTo>
                    <a:cubicBezTo>
                      <a:pt x="2727030" y="2523262"/>
                      <a:pt x="2732478" y="2530230"/>
                      <a:pt x="2711195" y="2565321"/>
                    </a:cubicBezTo>
                    <a:cubicBezTo>
                      <a:pt x="2689912" y="2600538"/>
                      <a:pt x="2645827" y="2608393"/>
                      <a:pt x="2628091" y="2610926"/>
                    </a:cubicBezTo>
                    <a:cubicBezTo>
                      <a:pt x="2610229" y="2613333"/>
                      <a:pt x="2613776" y="2625242"/>
                      <a:pt x="2616183" y="2634616"/>
                    </a:cubicBezTo>
                    <a:cubicBezTo>
                      <a:pt x="2618717" y="2643991"/>
                      <a:pt x="2620617" y="2659446"/>
                      <a:pt x="2619604" y="2679082"/>
                    </a:cubicBezTo>
                    <a:cubicBezTo>
                      <a:pt x="2618590" y="2698844"/>
                      <a:pt x="2607696" y="2688583"/>
                      <a:pt x="2601361" y="2694537"/>
                    </a:cubicBezTo>
                    <a:cubicBezTo>
                      <a:pt x="2594901" y="2700491"/>
                      <a:pt x="2576531" y="2689596"/>
                      <a:pt x="2562723" y="2681235"/>
                    </a:cubicBezTo>
                    <a:cubicBezTo>
                      <a:pt x="2548915" y="2672747"/>
                      <a:pt x="2547395" y="2691623"/>
                      <a:pt x="2537514" y="2708345"/>
                    </a:cubicBezTo>
                    <a:cubicBezTo>
                      <a:pt x="2527632" y="2725194"/>
                      <a:pt x="2510277" y="2711892"/>
                      <a:pt x="2500396" y="2710879"/>
                    </a:cubicBezTo>
                    <a:cubicBezTo>
                      <a:pt x="2490514" y="2709865"/>
                      <a:pt x="2478100" y="2726207"/>
                      <a:pt x="2476580" y="2740016"/>
                    </a:cubicBezTo>
                    <a:cubicBezTo>
                      <a:pt x="2475059" y="2753824"/>
                      <a:pt x="2451370" y="2736089"/>
                      <a:pt x="2443895" y="2734062"/>
                    </a:cubicBezTo>
                    <a:cubicBezTo>
                      <a:pt x="2436547" y="2732035"/>
                      <a:pt x="2420585" y="2759778"/>
                      <a:pt x="2420206" y="2774220"/>
                    </a:cubicBezTo>
                    <a:cubicBezTo>
                      <a:pt x="2419699" y="2788535"/>
                      <a:pt x="2431607" y="2792082"/>
                      <a:pt x="2441995" y="2797530"/>
                    </a:cubicBezTo>
                    <a:cubicBezTo>
                      <a:pt x="2452383" y="2802977"/>
                      <a:pt x="2430594" y="2811971"/>
                      <a:pt x="2419699" y="2826287"/>
                    </a:cubicBezTo>
                    <a:cubicBezTo>
                      <a:pt x="2408804" y="2840602"/>
                      <a:pt x="2421219" y="2861884"/>
                      <a:pt x="2424639" y="2881267"/>
                    </a:cubicBezTo>
                    <a:cubicBezTo>
                      <a:pt x="2428060" y="2900523"/>
                      <a:pt x="2421219" y="2902549"/>
                      <a:pt x="2419699" y="2921298"/>
                    </a:cubicBezTo>
                    <a:cubicBezTo>
                      <a:pt x="2418178" y="2940174"/>
                      <a:pt x="2426667" y="2933713"/>
                      <a:pt x="2436041" y="2936120"/>
                    </a:cubicBezTo>
                    <a:cubicBezTo>
                      <a:pt x="2445415" y="2938654"/>
                      <a:pt x="2443515" y="2948029"/>
                      <a:pt x="2448456" y="2960443"/>
                    </a:cubicBezTo>
                    <a:cubicBezTo>
                      <a:pt x="2453396" y="2972732"/>
                      <a:pt x="2433128" y="2965891"/>
                      <a:pt x="2420712" y="2963357"/>
                    </a:cubicBezTo>
                    <a:cubicBezTo>
                      <a:pt x="2408297" y="2960950"/>
                      <a:pt x="2409818" y="2969818"/>
                      <a:pt x="2413365" y="2980713"/>
                    </a:cubicBezTo>
                    <a:cubicBezTo>
                      <a:pt x="2416785" y="2991607"/>
                      <a:pt x="2447949" y="3004909"/>
                      <a:pt x="2465305" y="3013903"/>
                    </a:cubicBezTo>
                    <a:cubicBezTo>
                      <a:pt x="2482660" y="3022771"/>
                      <a:pt x="2467331" y="3043041"/>
                      <a:pt x="2454917" y="3054442"/>
                    </a:cubicBezTo>
                    <a:cubicBezTo>
                      <a:pt x="2442502" y="3065843"/>
                      <a:pt x="2465305" y="3076738"/>
                      <a:pt x="2484561" y="3101948"/>
                    </a:cubicBezTo>
                    <a:cubicBezTo>
                      <a:pt x="2503816" y="3127158"/>
                      <a:pt x="2477592" y="3127158"/>
                      <a:pt x="2462771" y="3146540"/>
                    </a:cubicBezTo>
                    <a:cubicBezTo>
                      <a:pt x="2447822" y="3165796"/>
                      <a:pt x="2468725" y="3171243"/>
                      <a:pt x="2481013" y="3172256"/>
                    </a:cubicBezTo>
                    <a:cubicBezTo>
                      <a:pt x="2493302" y="3173143"/>
                      <a:pt x="2495835" y="3179097"/>
                      <a:pt x="2514711" y="3186065"/>
                    </a:cubicBezTo>
                    <a:cubicBezTo>
                      <a:pt x="2533460" y="3192906"/>
                      <a:pt x="2525606" y="3216215"/>
                      <a:pt x="2520158" y="3226097"/>
                    </a:cubicBezTo>
                    <a:cubicBezTo>
                      <a:pt x="2514711" y="3235978"/>
                      <a:pt x="2519651" y="3235978"/>
                      <a:pt x="2524085" y="3242439"/>
                    </a:cubicBezTo>
                    <a:cubicBezTo>
                      <a:pt x="2528519" y="3248900"/>
                      <a:pt x="2504323" y="3263214"/>
                      <a:pt x="2502803" y="3282597"/>
                    </a:cubicBezTo>
                    <a:cubicBezTo>
                      <a:pt x="2501283" y="3301853"/>
                      <a:pt x="2517118" y="3317181"/>
                      <a:pt x="2529025" y="3326682"/>
                    </a:cubicBezTo>
                    <a:cubicBezTo>
                      <a:pt x="2540934" y="3336057"/>
                      <a:pt x="2543975" y="3350372"/>
                      <a:pt x="2543341" y="3375708"/>
                    </a:cubicBezTo>
                    <a:cubicBezTo>
                      <a:pt x="2543215" y="3381916"/>
                      <a:pt x="2541821" y="3386223"/>
                      <a:pt x="2539794" y="3389264"/>
                    </a:cubicBezTo>
                    <a:cubicBezTo>
                      <a:pt x="2533333" y="3398892"/>
                      <a:pt x="2519271" y="3396738"/>
                      <a:pt x="2509137" y="3400412"/>
                    </a:cubicBezTo>
                    <a:cubicBezTo>
                      <a:pt x="2495835" y="3405352"/>
                      <a:pt x="2460617" y="3416754"/>
                      <a:pt x="2446809" y="3429042"/>
                    </a:cubicBezTo>
                    <a:cubicBezTo>
                      <a:pt x="2433001" y="3441457"/>
                      <a:pt x="2408677" y="3450831"/>
                      <a:pt x="2400063" y="3456279"/>
                    </a:cubicBezTo>
                    <a:cubicBezTo>
                      <a:pt x="2391448" y="3461726"/>
                      <a:pt x="2394869" y="3488456"/>
                      <a:pt x="2399810" y="3506825"/>
                    </a:cubicBezTo>
                    <a:cubicBezTo>
                      <a:pt x="2404750" y="3525067"/>
                      <a:pt x="2332921" y="3515693"/>
                      <a:pt x="2314679" y="3516199"/>
                    </a:cubicBezTo>
                    <a:cubicBezTo>
                      <a:pt x="2296437" y="3516706"/>
                      <a:pt x="2275027" y="3535455"/>
                      <a:pt x="2258305" y="3547364"/>
                    </a:cubicBezTo>
                    <a:cubicBezTo>
                      <a:pt x="2241457" y="3559272"/>
                      <a:pt x="2229168" y="3552811"/>
                      <a:pt x="2209279" y="3544450"/>
                    </a:cubicBezTo>
                    <a:cubicBezTo>
                      <a:pt x="2189517" y="3535962"/>
                      <a:pt x="2165194" y="3573586"/>
                      <a:pt x="2148345" y="3591449"/>
                    </a:cubicBezTo>
                    <a:cubicBezTo>
                      <a:pt x="2131497" y="3609311"/>
                      <a:pt x="2104766" y="3602850"/>
                      <a:pt x="2078542" y="3588028"/>
                    </a:cubicBezTo>
                    <a:cubicBezTo>
                      <a:pt x="2052320" y="3573080"/>
                      <a:pt x="2002280" y="3597403"/>
                      <a:pt x="1965669" y="3605891"/>
                    </a:cubicBezTo>
                    <a:cubicBezTo>
                      <a:pt x="1929057" y="3614252"/>
                      <a:pt x="1922596" y="3588535"/>
                      <a:pt x="1901821" y="3567506"/>
                    </a:cubicBezTo>
                    <a:cubicBezTo>
                      <a:pt x="1881045" y="3546603"/>
                      <a:pt x="1777672" y="3559778"/>
                      <a:pt x="1750815" y="3566239"/>
                    </a:cubicBezTo>
                    <a:cubicBezTo>
                      <a:pt x="1724085" y="3572700"/>
                      <a:pt x="1703816" y="3554204"/>
                      <a:pt x="1694188" y="3542930"/>
                    </a:cubicBezTo>
                    <a:cubicBezTo>
                      <a:pt x="1684687" y="3531781"/>
                      <a:pt x="1659857" y="3540016"/>
                      <a:pt x="1649976" y="3540649"/>
                    </a:cubicBezTo>
                    <a:cubicBezTo>
                      <a:pt x="1640095" y="3541409"/>
                      <a:pt x="1629833" y="3537609"/>
                      <a:pt x="1619318" y="3526714"/>
                    </a:cubicBezTo>
                    <a:cubicBezTo>
                      <a:pt x="1608804" y="3515819"/>
                      <a:pt x="1572826" y="3536975"/>
                      <a:pt x="1554584" y="3545210"/>
                    </a:cubicBezTo>
                    <a:cubicBezTo>
                      <a:pt x="1536975" y="3553318"/>
                      <a:pt x="1475028" y="3557498"/>
                      <a:pt x="1471734" y="3557751"/>
                    </a:cubicBezTo>
                    <a:cubicBezTo>
                      <a:pt x="1471607" y="3557751"/>
                      <a:pt x="1471607" y="3557751"/>
                      <a:pt x="1471607" y="3557751"/>
                    </a:cubicBezTo>
                    <a:cubicBezTo>
                      <a:pt x="1461219" y="3555471"/>
                      <a:pt x="1449438" y="3556358"/>
                      <a:pt x="1441456" y="3548757"/>
                    </a:cubicBezTo>
                    <a:cubicBezTo>
                      <a:pt x="1432589" y="3540269"/>
                      <a:pt x="1424861" y="3528868"/>
                      <a:pt x="1423595" y="3516453"/>
                    </a:cubicBezTo>
                    <a:cubicBezTo>
                      <a:pt x="1422200" y="3502898"/>
                      <a:pt x="1427901" y="3489216"/>
                      <a:pt x="1419287" y="3477435"/>
                    </a:cubicBezTo>
                    <a:cubicBezTo>
                      <a:pt x="1414219" y="3470467"/>
                      <a:pt x="1409153" y="3466540"/>
                      <a:pt x="1399905" y="3467680"/>
                    </a:cubicBezTo>
                    <a:cubicBezTo>
                      <a:pt x="1393190" y="3468567"/>
                      <a:pt x="1388123" y="3473507"/>
                      <a:pt x="1381536" y="3474647"/>
                    </a:cubicBezTo>
                    <a:cubicBezTo>
                      <a:pt x="1360633" y="3478321"/>
                      <a:pt x="1357466" y="3447664"/>
                      <a:pt x="1355313" y="3433983"/>
                    </a:cubicBezTo>
                    <a:cubicBezTo>
                      <a:pt x="1352779" y="3417894"/>
                      <a:pt x="1353412" y="3392177"/>
                      <a:pt x="1337324" y="3382549"/>
                    </a:cubicBezTo>
                    <a:cubicBezTo>
                      <a:pt x="1332889" y="3379889"/>
                      <a:pt x="1328836" y="3379636"/>
                      <a:pt x="1324908" y="3380776"/>
                    </a:cubicBezTo>
                    <a:cubicBezTo>
                      <a:pt x="1334157" y="3336310"/>
                      <a:pt x="1308060" y="3326556"/>
                      <a:pt x="1299065" y="3318701"/>
                    </a:cubicBezTo>
                    <a:cubicBezTo>
                      <a:pt x="1290198" y="3310720"/>
                      <a:pt x="1287537" y="3302486"/>
                      <a:pt x="1286144" y="3277530"/>
                    </a:cubicBezTo>
                    <a:cubicBezTo>
                      <a:pt x="1284877" y="3252447"/>
                      <a:pt x="1256500" y="3250420"/>
                      <a:pt x="1249532" y="3245859"/>
                    </a:cubicBezTo>
                    <a:cubicBezTo>
                      <a:pt x="1242565" y="3241299"/>
                      <a:pt x="1246872" y="3227110"/>
                      <a:pt x="1250926" y="3209881"/>
                    </a:cubicBezTo>
                    <a:cubicBezTo>
                      <a:pt x="1254853" y="3192779"/>
                      <a:pt x="1226477" y="3172256"/>
                      <a:pt x="1213934" y="3164655"/>
                    </a:cubicBezTo>
                    <a:cubicBezTo>
                      <a:pt x="1201393" y="3157055"/>
                      <a:pt x="1197466" y="3183405"/>
                      <a:pt x="1192145" y="3195946"/>
                    </a:cubicBezTo>
                    <a:cubicBezTo>
                      <a:pt x="1186825" y="3208488"/>
                      <a:pt x="1178590" y="3195313"/>
                      <a:pt x="1172003" y="3189359"/>
                    </a:cubicBezTo>
                    <a:cubicBezTo>
                      <a:pt x="1165416" y="3183405"/>
                      <a:pt x="1163135" y="3187965"/>
                      <a:pt x="1154141" y="3199240"/>
                    </a:cubicBezTo>
                    <a:cubicBezTo>
                      <a:pt x="1145273" y="3210388"/>
                      <a:pt x="1130705" y="3210388"/>
                      <a:pt x="1110562" y="3209121"/>
                    </a:cubicBezTo>
                    <a:cubicBezTo>
                      <a:pt x="1090419" y="3207728"/>
                      <a:pt x="1100047" y="3204180"/>
                      <a:pt x="1087506" y="3139192"/>
                    </a:cubicBezTo>
                    <a:cubicBezTo>
                      <a:pt x="1074964" y="3074204"/>
                      <a:pt x="963863" y="3067490"/>
                      <a:pt x="932193" y="3065463"/>
                    </a:cubicBezTo>
                    <a:cubicBezTo>
                      <a:pt x="900522" y="3063436"/>
                      <a:pt x="894568" y="3093207"/>
                      <a:pt x="893555" y="3108282"/>
                    </a:cubicBezTo>
                    <a:cubicBezTo>
                      <a:pt x="892541" y="3123357"/>
                      <a:pt x="887854" y="3127538"/>
                      <a:pt x="875946" y="3145147"/>
                    </a:cubicBezTo>
                    <a:cubicBezTo>
                      <a:pt x="864037" y="3162755"/>
                      <a:pt x="878479" y="3185685"/>
                      <a:pt x="877973" y="3208234"/>
                    </a:cubicBezTo>
                    <a:cubicBezTo>
                      <a:pt x="877466" y="3230657"/>
                      <a:pt x="837814" y="3247379"/>
                      <a:pt x="822359" y="3257007"/>
                    </a:cubicBezTo>
                    <a:cubicBezTo>
                      <a:pt x="806777" y="3266635"/>
                      <a:pt x="799809" y="3297799"/>
                      <a:pt x="796389" y="3328583"/>
                    </a:cubicBezTo>
                    <a:cubicBezTo>
                      <a:pt x="792969" y="3359240"/>
                      <a:pt x="776120" y="3371148"/>
                      <a:pt x="767505" y="3373175"/>
                    </a:cubicBezTo>
                    <a:cubicBezTo>
                      <a:pt x="758764" y="3375075"/>
                      <a:pt x="756864" y="3402185"/>
                      <a:pt x="745463" y="3406999"/>
                    </a:cubicBezTo>
                    <a:cubicBezTo>
                      <a:pt x="734062" y="3411940"/>
                      <a:pt x="739002" y="3382803"/>
                      <a:pt x="736848" y="3363927"/>
                    </a:cubicBezTo>
                    <a:cubicBezTo>
                      <a:pt x="734568" y="3345052"/>
                      <a:pt x="728488" y="3349105"/>
                      <a:pt x="723800" y="3353539"/>
                    </a:cubicBezTo>
                    <a:cubicBezTo>
                      <a:pt x="719113" y="3357973"/>
                      <a:pt x="715693" y="3337957"/>
                      <a:pt x="708978" y="3318575"/>
                    </a:cubicBezTo>
                    <a:cubicBezTo>
                      <a:pt x="702264" y="3299319"/>
                      <a:pt x="689216" y="3327189"/>
                      <a:pt x="681235" y="3336944"/>
                    </a:cubicBezTo>
                    <a:cubicBezTo>
                      <a:pt x="673254" y="3346572"/>
                      <a:pt x="663879" y="3348852"/>
                      <a:pt x="652478" y="3349232"/>
                    </a:cubicBezTo>
                    <a:cubicBezTo>
                      <a:pt x="641076" y="3349739"/>
                      <a:pt x="643357" y="3349739"/>
                      <a:pt x="623721" y="3360887"/>
                    </a:cubicBezTo>
                    <a:cubicBezTo>
                      <a:pt x="604085" y="3372035"/>
                      <a:pt x="591290" y="3368614"/>
                      <a:pt x="577735" y="3366841"/>
                    </a:cubicBezTo>
                    <a:cubicBezTo>
                      <a:pt x="564180" y="3365067"/>
                      <a:pt x="538844" y="3419541"/>
                      <a:pt x="515660" y="3419794"/>
                    </a:cubicBezTo>
                    <a:cubicBezTo>
                      <a:pt x="492351" y="3420047"/>
                      <a:pt x="475502" y="3382676"/>
                      <a:pt x="469168" y="3371148"/>
                    </a:cubicBezTo>
                    <a:cubicBezTo>
                      <a:pt x="462707" y="3359620"/>
                      <a:pt x="465241" y="3330230"/>
                      <a:pt x="468155" y="3308187"/>
                    </a:cubicBezTo>
                    <a:cubicBezTo>
                      <a:pt x="471069" y="3286144"/>
                      <a:pt x="459921" y="3273476"/>
                      <a:pt x="458020" y="3260934"/>
                    </a:cubicBezTo>
                    <a:cubicBezTo>
                      <a:pt x="455994" y="3248266"/>
                      <a:pt x="469168" y="3215962"/>
                      <a:pt x="469675" y="3199113"/>
                    </a:cubicBezTo>
                    <a:cubicBezTo>
                      <a:pt x="470182" y="3182264"/>
                      <a:pt x="478923" y="3174663"/>
                      <a:pt x="479810" y="3165415"/>
                    </a:cubicBezTo>
                    <a:cubicBezTo>
                      <a:pt x="480823" y="3156294"/>
                      <a:pt x="494125" y="3143626"/>
                      <a:pt x="501599" y="3138432"/>
                    </a:cubicBezTo>
                    <a:cubicBezTo>
                      <a:pt x="509074" y="3133238"/>
                      <a:pt x="510846" y="3094600"/>
                      <a:pt x="516421" y="3072811"/>
                    </a:cubicBezTo>
                    <a:cubicBezTo>
                      <a:pt x="522121" y="3051021"/>
                      <a:pt x="483990" y="3037973"/>
                      <a:pt x="474363" y="3028979"/>
                    </a:cubicBezTo>
                    <a:cubicBezTo>
                      <a:pt x="464735" y="3020111"/>
                      <a:pt x="425336" y="2980966"/>
                      <a:pt x="413935" y="2966904"/>
                    </a:cubicBezTo>
                    <a:cubicBezTo>
                      <a:pt x="402533" y="2952842"/>
                      <a:pt x="407220" y="2942328"/>
                      <a:pt x="415455" y="2927126"/>
                    </a:cubicBezTo>
                    <a:cubicBezTo>
                      <a:pt x="423563" y="2911797"/>
                      <a:pt x="423563" y="2890261"/>
                      <a:pt x="423563" y="2874933"/>
                    </a:cubicBezTo>
                    <a:cubicBezTo>
                      <a:pt x="423563" y="2859604"/>
                      <a:pt x="387965" y="2827427"/>
                      <a:pt x="378970" y="2813618"/>
                    </a:cubicBezTo>
                    <a:cubicBezTo>
                      <a:pt x="370102" y="2799683"/>
                      <a:pt x="382644" y="2771560"/>
                      <a:pt x="383658" y="2753064"/>
                    </a:cubicBezTo>
                    <a:cubicBezTo>
                      <a:pt x="384671" y="2734442"/>
                      <a:pt x="376437" y="2717213"/>
                      <a:pt x="369216" y="2707712"/>
                    </a:cubicBezTo>
                    <a:cubicBezTo>
                      <a:pt x="361995" y="2698337"/>
                      <a:pt x="340332" y="2661726"/>
                      <a:pt x="331084" y="2643610"/>
                    </a:cubicBezTo>
                    <a:cubicBezTo>
                      <a:pt x="321963" y="2625622"/>
                      <a:pt x="280285" y="2645384"/>
                      <a:pt x="265463" y="2647538"/>
                    </a:cubicBezTo>
                    <a:cubicBezTo>
                      <a:pt x="250641" y="2649818"/>
                      <a:pt x="261029" y="2605225"/>
                      <a:pt x="261789" y="2593571"/>
                    </a:cubicBezTo>
                    <a:cubicBezTo>
                      <a:pt x="262549" y="2581916"/>
                      <a:pt x="294220" y="2598005"/>
                      <a:pt x="308028" y="2593571"/>
                    </a:cubicBezTo>
                    <a:cubicBezTo>
                      <a:pt x="321836" y="2589137"/>
                      <a:pt x="294980" y="2562153"/>
                      <a:pt x="287252" y="2553032"/>
                    </a:cubicBezTo>
                    <a:cubicBezTo>
                      <a:pt x="279525" y="2543785"/>
                      <a:pt x="279144" y="2536691"/>
                      <a:pt x="275091" y="2521869"/>
                    </a:cubicBezTo>
                    <a:cubicBezTo>
                      <a:pt x="271163" y="2507047"/>
                      <a:pt x="232905" y="2529596"/>
                      <a:pt x="232905" y="2529596"/>
                    </a:cubicBezTo>
                    <a:cubicBezTo>
                      <a:pt x="214283" y="2520728"/>
                      <a:pt x="190467" y="2515788"/>
                      <a:pt x="180459" y="2516675"/>
                    </a:cubicBezTo>
                    <a:cubicBezTo>
                      <a:pt x="166524" y="2518068"/>
                      <a:pt x="154362" y="2524909"/>
                      <a:pt x="144861" y="2512367"/>
                    </a:cubicBezTo>
                    <a:cubicBezTo>
                      <a:pt x="135233" y="2499826"/>
                      <a:pt x="131939" y="2488931"/>
                      <a:pt x="121045" y="2498432"/>
                    </a:cubicBezTo>
                    <a:cubicBezTo>
                      <a:pt x="110150" y="2507933"/>
                      <a:pt x="111163" y="2516548"/>
                      <a:pt x="98242" y="2510974"/>
                    </a:cubicBezTo>
                    <a:cubicBezTo>
                      <a:pt x="85320" y="2505400"/>
                      <a:pt x="69231" y="2506033"/>
                      <a:pt x="67585" y="2487538"/>
                    </a:cubicBezTo>
                    <a:cubicBezTo>
                      <a:pt x="65938" y="2469042"/>
                      <a:pt x="71259" y="2455487"/>
                      <a:pt x="80380" y="2450546"/>
                    </a:cubicBezTo>
                    <a:cubicBezTo>
                      <a:pt x="89627" y="2445606"/>
                      <a:pt x="106476" y="2440285"/>
                      <a:pt x="96848" y="2432811"/>
                    </a:cubicBezTo>
                    <a:cubicBezTo>
                      <a:pt x="87220" y="2425210"/>
                      <a:pt x="70752" y="2407094"/>
                      <a:pt x="83673" y="2400887"/>
                    </a:cubicBezTo>
                    <a:cubicBezTo>
                      <a:pt x="96468" y="2394553"/>
                      <a:pt x="96848" y="2390626"/>
                      <a:pt x="102803" y="2379351"/>
                    </a:cubicBezTo>
                    <a:cubicBezTo>
                      <a:pt x="108756" y="2368203"/>
                      <a:pt x="109770" y="2357941"/>
                      <a:pt x="122565" y="2346413"/>
                    </a:cubicBezTo>
                    <a:cubicBezTo>
                      <a:pt x="135487" y="2334885"/>
                      <a:pt x="144354" y="2321964"/>
                      <a:pt x="137133" y="2314489"/>
                    </a:cubicBezTo>
                    <a:cubicBezTo>
                      <a:pt x="129913" y="2306888"/>
                      <a:pt x="113697" y="2294980"/>
                      <a:pt x="111671" y="2282439"/>
                    </a:cubicBezTo>
                    <a:cubicBezTo>
                      <a:pt x="109643" y="2269897"/>
                      <a:pt x="105083" y="2253682"/>
                      <a:pt x="94188" y="2244180"/>
                    </a:cubicBezTo>
                    <a:cubicBezTo>
                      <a:pt x="83293" y="2234553"/>
                      <a:pt x="66445" y="2222771"/>
                      <a:pt x="57577" y="2207189"/>
                    </a:cubicBezTo>
                    <a:cubicBezTo>
                      <a:pt x="48709" y="2191734"/>
                      <a:pt x="43768" y="2160063"/>
                      <a:pt x="53016" y="2154109"/>
                    </a:cubicBezTo>
                    <a:cubicBezTo>
                      <a:pt x="62264" y="2148155"/>
                      <a:pt x="72146" y="2128646"/>
                      <a:pt x="62518" y="2114204"/>
                    </a:cubicBezTo>
                    <a:cubicBezTo>
                      <a:pt x="53016" y="2099762"/>
                      <a:pt x="30847" y="2078860"/>
                      <a:pt x="24893" y="2075946"/>
                    </a:cubicBezTo>
                    <a:cubicBezTo>
                      <a:pt x="18939" y="2073033"/>
                      <a:pt x="9057" y="2062391"/>
                      <a:pt x="19952" y="2055170"/>
                    </a:cubicBezTo>
                    <a:cubicBezTo>
                      <a:pt x="30847" y="2047822"/>
                      <a:pt x="42121" y="2044529"/>
                      <a:pt x="53903" y="2045922"/>
                    </a:cubicBezTo>
                    <a:cubicBezTo>
                      <a:pt x="65812" y="2047316"/>
                      <a:pt x="92161" y="2043895"/>
                      <a:pt x="93554" y="2023880"/>
                    </a:cubicBezTo>
                    <a:cubicBezTo>
                      <a:pt x="94822" y="2003737"/>
                      <a:pt x="72399" y="1845004"/>
                      <a:pt x="74045" y="1825875"/>
                    </a:cubicBezTo>
                    <a:cubicBezTo>
                      <a:pt x="75692" y="1806746"/>
                      <a:pt x="76326" y="1722629"/>
                      <a:pt x="44022" y="1687664"/>
                    </a:cubicBezTo>
                    <a:cubicBezTo>
                      <a:pt x="11718" y="1652700"/>
                      <a:pt x="-10959" y="1638258"/>
                      <a:pt x="5511" y="1614442"/>
                    </a:cubicBezTo>
                    <a:cubicBezTo>
                      <a:pt x="13111" y="1613682"/>
                      <a:pt x="21092" y="1613682"/>
                      <a:pt x="28440" y="1613302"/>
                    </a:cubicBezTo>
                    <a:cubicBezTo>
                      <a:pt x="47822" y="1612288"/>
                      <a:pt x="67711" y="1608741"/>
                      <a:pt x="83420" y="1596453"/>
                    </a:cubicBezTo>
                    <a:cubicBezTo>
                      <a:pt x="100522" y="1583025"/>
                      <a:pt x="110910" y="1557941"/>
                      <a:pt x="134726" y="1554648"/>
                    </a:cubicBezTo>
                    <a:cubicBezTo>
                      <a:pt x="153476" y="1552114"/>
                      <a:pt x="173745" y="1575423"/>
                      <a:pt x="191100" y="1562249"/>
                    </a:cubicBezTo>
                    <a:cubicBezTo>
                      <a:pt x="210483" y="1547427"/>
                      <a:pt x="194774" y="1514109"/>
                      <a:pt x="197054" y="1493967"/>
                    </a:cubicBezTo>
                    <a:cubicBezTo>
                      <a:pt x="199714" y="1469264"/>
                      <a:pt x="211876" y="1456722"/>
                      <a:pt x="233285" y="1445574"/>
                    </a:cubicBezTo>
                    <a:cubicBezTo>
                      <a:pt x="240760" y="1441774"/>
                      <a:pt x="249627" y="1438987"/>
                      <a:pt x="255961" y="1433286"/>
                    </a:cubicBezTo>
                    <a:cubicBezTo>
                      <a:pt x="264450" y="1425811"/>
                      <a:pt x="264450" y="1414790"/>
                      <a:pt x="264829" y="1404276"/>
                    </a:cubicBezTo>
                    <a:cubicBezTo>
                      <a:pt x="265336" y="1391734"/>
                      <a:pt x="268504" y="1383246"/>
                      <a:pt x="278891" y="1375772"/>
                    </a:cubicBezTo>
                    <a:cubicBezTo>
                      <a:pt x="292700" y="1365891"/>
                      <a:pt x="306001" y="1356516"/>
                      <a:pt x="317656" y="1344228"/>
                    </a:cubicBezTo>
                    <a:cubicBezTo>
                      <a:pt x="329691" y="1331560"/>
                      <a:pt x="350213" y="1317498"/>
                      <a:pt x="355787" y="1300142"/>
                    </a:cubicBezTo>
                    <a:cubicBezTo>
                      <a:pt x="361615" y="1282154"/>
                      <a:pt x="347553" y="1265938"/>
                      <a:pt x="335898" y="1253903"/>
                    </a:cubicBezTo>
                    <a:cubicBezTo>
                      <a:pt x="325130" y="1242755"/>
                      <a:pt x="314869" y="1232494"/>
                      <a:pt x="310942" y="1217039"/>
                    </a:cubicBezTo>
                    <a:cubicBezTo>
                      <a:pt x="306255" y="1198543"/>
                      <a:pt x="309549" y="1178781"/>
                      <a:pt x="304101" y="1160538"/>
                    </a:cubicBezTo>
                    <a:cubicBezTo>
                      <a:pt x="298907" y="1143056"/>
                      <a:pt x="282185" y="1133428"/>
                      <a:pt x="268123" y="1123420"/>
                    </a:cubicBezTo>
                    <a:cubicBezTo>
                      <a:pt x="254568" y="1113919"/>
                      <a:pt x="232652" y="1106445"/>
                      <a:pt x="226318" y="1089976"/>
                    </a:cubicBezTo>
                    <a:cubicBezTo>
                      <a:pt x="220490" y="1074901"/>
                      <a:pt x="218591" y="1058559"/>
                      <a:pt x="212509" y="1043357"/>
                    </a:cubicBezTo>
                    <a:cubicBezTo>
                      <a:pt x="209089" y="1034996"/>
                      <a:pt x="204909" y="1027015"/>
                      <a:pt x="200221" y="1019161"/>
                    </a:cubicBezTo>
                    <a:cubicBezTo>
                      <a:pt x="195914" y="1011813"/>
                      <a:pt x="189960" y="1003579"/>
                      <a:pt x="190594" y="994711"/>
                    </a:cubicBezTo>
                    <a:cubicBezTo>
                      <a:pt x="191480" y="978876"/>
                      <a:pt x="207822" y="970895"/>
                      <a:pt x="199081" y="954046"/>
                    </a:cubicBezTo>
                    <a:cubicBezTo>
                      <a:pt x="195281" y="946572"/>
                      <a:pt x="190467" y="939731"/>
                      <a:pt x="185146" y="933270"/>
                    </a:cubicBezTo>
                    <a:cubicBezTo>
                      <a:pt x="180839" y="928203"/>
                      <a:pt x="175138" y="924656"/>
                      <a:pt x="173998" y="917941"/>
                    </a:cubicBezTo>
                    <a:cubicBezTo>
                      <a:pt x="172605" y="910594"/>
                      <a:pt x="172731" y="902613"/>
                      <a:pt x="173238" y="894758"/>
                    </a:cubicBezTo>
                    <a:cubicBezTo>
                      <a:pt x="181092" y="889691"/>
                      <a:pt x="191227" y="884117"/>
                      <a:pt x="192240" y="874616"/>
                    </a:cubicBezTo>
                    <a:cubicBezTo>
                      <a:pt x="192620" y="871449"/>
                      <a:pt x="191733" y="868789"/>
                      <a:pt x="190213" y="866508"/>
                    </a:cubicBezTo>
                    <a:lnTo>
                      <a:pt x="207442" y="847759"/>
                    </a:lnTo>
                    <a:cubicBezTo>
                      <a:pt x="209469" y="849786"/>
                      <a:pt x="212130" y="851180"/>
                      <a:pt x="215803" y="851813"/>
                    </a:cubicBezTo>
                    <a:cubicBezTo>
                      <a:pt x="223531" y="853333"/>
                      <a:pt x="231005" y="852193"/>
                      <a:pt x="238733" y="854474"/>
                    </a:cubicBezTo>
                    <a:cubicBezTo>
                      <a:pt x="246081" y="856754"/>
                      <a:pt x="251021" y="858147"/>
                      <a:pt x="258876" y="858021"/>
                    </a:cubicBezTo>
                    <a:cubicBezTo>
                      <a:pt x="272557" y="858021"/>
                      <a:pt x="290799" y="857007"/>
                      <a:pt x="282312" y="837878"/>
                    </a:cubicBezTo>
                    <a:cubicBezTo>
                      <a:pt x="279271" y="831037"/>
                      <a:pt x="268377" y="800760"/>
                      <a:pt x="286112" y="803674"/>
                    </a:cubicBezTo>
                    <a:cubicBezTo>
                      <a:pt x="300681" y="805954"/>
                      <a:pt x="297767" y="830151"/>
                      <a:pt x="304354" y="839652"/>
                    </a:cubicBezTo>
                    <a:cubicBezTo>
                      <a:pt x="308535" y="845732"/>
                      <a:pt x="314236" y="850166"/>
                      <a:pt x="316643" y="857641"/>
                    </a:cubicBezTo>
                    <a:cubicBezTo>
                      <a:pt x="319429" y="866382"/>
                      <a:pt x="315756" y="869295"/>
                      <a:pt x="311702" y="876390"/>
                    </a:cubicBezTo>
                    <a:cubicBezTo>
                      <a:pt x="308154" y="882470"/>
                      <a:pt x="306888" y="889944"/>
                      <a:pt x="307268" y="896785"/>
                    </a:cubicBezTo>
                    <a:cubicBezTo>
                      <a:pt x="308281" y="915028"/>
                      <a:pt x="319429" y="915534"/>
                      <a:pt x="332985" y="920728"/>
                    </a:cubicBezTo>
                    <a:cubicBezTo>
                      <a:pt x="339825" y="923389"/>
                      <a:pt x="361234" y="931623"/>
                      <a:pt x="358067" y="916041"/>
                    </a:cubicBezTo>
                    <a:cubicBezTo>
                      <a:pt x="355787" y="904640"/>
                      <a:pt x="326904" y="888171"/>
                      <a:pt x="339445" y="876516"/>
                    </a:cubicBezTo>
                    <a:cubicBezTo>
                      <a:pt x="350847" y="866001"/>
                      <a:pt x="372509" y="871069"/>
                      <a:pt x="385431" y="860934"/>
                    </a:cubicBezTo>
                    <a:cubicBezTo>
                      <a:pt x="399113" y="850293"/>
                      <a:pt x="406207" y="833444"/>
                      <a:pt x="421916" y="824703"/>
                    </a:cubicBezTo>
                    <a:cubicBezTo>
                      <a:pt x="438764" y="815455"/>
                      <a:pt x="455867" y="821536"/>
                      <a:pt x="473222" y="824956"/>
                    </a:cubicBezTo>
                    <a:cubicBezTo>
                      <a:pt x="490324" y="828377"/>
                      <a:pt x="505272" y="823943"/>
                      <a:pt x="521869" y="819636"/>
                    </a:cubicBezTo>
                    <a:cubicBezTo>
                      <a:pt x="530102" y="817482"/>
                      <a:pt x="538464" y="816595"/>
                      <a:pt x="546951" y="816215"/>
                    </a:cubicBezTo>
                    <a:cubicBezTo>
                      <a:pt x="559493" y="815709"/>
                      <a:pt x="581536" y="814568"/>
                      <a:pt x="589643" y="827363"/>
                    </a:cubicBezTo>
                    <a:cubicBezTo>
                      <a:pt x="594331" y="834711"/>
                      <a:pt x="588883" y="841425"/>
                      <a:pt x="586856" y="848899"/>
                    </a:cubicBezTo>
                    <a:cubicBezTo>
                      <a:pt x="583816" y="860048"/>
                      <a:pt x="588883" y="868915"/>
                      <a:pt x="599398" y="874109"/>
                    </a:cubicBezTo>
                    <a:cubicBezTo>
                      <a:pt x="616754" y="882597"/>
                      <a:pt x="633982" y="881584"/>
                      <a:pt x="652731" y="881584"/>
                    </a:cubicBezTo>
                    <a:cubicBezTo>
                      <a:pt x="661599" y="881584"/>
                      <a:pt x="670340" y="882217"/>
                      <a:pt x="678448" y="886144"/>
                    </a:cubicBezTo>
                    <a:cubicBezTo>
                      <a:pt x="684782" y="889184"/>
                      <a:pt x="689723" y="895138"/>
                      <a:pt x="696183" y="897672"/>
                    </a:cubicBezTo>
                    <a:cubicBezTo>
                      <a:pt x="711766" y="903500"/>
                      <a:pt x="723674" y="886144"/>
                      <a:pt x="734822" y="878163"/>
                    </a:cubicBezTo>
                    <a:cubicBezTo>
                      <a:pt x="749263" y="867902"/>
                      <a:pt x="767759" y="865495"/>
                      <a:pt x="783848" y="858781"/>
                    </a:cubicBezTo>
                    <a:cubicBezTo>
                      <a:pt x="800190" y="851940"/>
                      <a:pt x="818305" y="846492"/>
                      <a:pt x="834014" y="838258"/>
                    </a:cubicBezTo>
                    <a:cubicBezTo>
                      <a:pt x="854030" y="827744"/>
                      <a:pt x="849596" y="813682"/>
                      <a:pt x="837688" y="798226"/>
                    </a:cubicBezTo>
                    <a:cubicBezTo>
                      <a:pt x="827173" y="784671"/>
                      <a:pt x="824006" y="771750"/>
                      <a:pt x="817799" y="756168"/>
                    </a:cubicBezTo>
                    <a:cubicBezTo>
                      <a:pt x="812225" y="742486"/>
                      <a:pt x="802723" y="730451"/>
                      <a:pt x="815011" y="717403"/>
                    </a:cubicBezTo>
                    <a:cubicBezTo>
                      <a:pt x="823119" y="708915"/>
                      <a:pt x="834647" y="702328"/>
                      <a:pt x="844402" y="695867"/>
                    </a:cubicBezTo>
                    <a:cubicBezTo>
                      <a:pt x="850989" y="691433"/>
                      <a:pt x="860110" y="681045"/>
                      <a:pt x="868472" y="683199"/>
                    </a:cubicBezTo>
                    <a:cubicBezTo>
                      <a:pt x="877592" y="685606"/>
                      <a:pt x="883167" y="698021"/>
                      <a:pt x="891021" y="703088"/>
                    </a:cubicBezTo>
                    <a:cubicBezTo>
                      <a:pt x="902929" y="710689"/>
                      <a:pt x="922945" y="705748"/>
                      <a:pt x="936500" y="704608"/>
                    </a:cubicBezTo>
                    <a:cubicBezTo>
                      <a:pt x="950942" y="703341"/>
                      <a:pt x="970324" y="709295"/>
                      <a:pt x="978305" y="694220"/>
                    </a:cubicBezTo>
                    <a:cubicBezTo>
                      <a:pt x="987806" y="676231"/>
                      <a:pt x="993887" y="659889"/>
                      <a:pt x="1016437" y="654442"/>
                    </a:cubicBezTo>
                    <a:cubicBezTo>
                      <a:pt x="1026318" y="652162"/>
                      <a:pt x="1032905" y="656469"/>
                      <a:pt x="1041393" y="660903"/>
                    </a:cubicBezTo>
                    <a:cubicBezTo>
                      <a:pt x="1049754" y="665336"/>
                      <a:pt x="1059256" y="667110"/>
                      <a:pt x="1067616" y="671544"/>
                    </a:cubicBezTo>
                    <a:cubicBezTo>
                      <a:pt x="1077498" y="676865"/>
                      <a:pt x="1082058" y="686239"/>
                      <a:pt x="1089152" y="694220"/>
                    </a:cubicBezTo>
                    <a:cubicBezTo>
                      <a:pt x="1095613" y="701568"/>
                      <a:pt x="1102708" y="702455"/>
                      <a:pt x="1111068" y="706508"/>
                    </a:cubicBezTo>
                    <a:cubicBezTo>
                      <a:pt x="1120063" y="710942"/>
                      <a:pt x="1123357" y="717910"/>
                      <a:pt x="1127284" y="726524"/>
                    </a:cubicBezTo>
                    <a:cubicBezTo>
                      <a:pt x="1131211" y="735265"/>
                      <a:pt x="1136279" y="739952"/>
                      <a:pt x="1143246" y="746413"/>
                    </a:cubicBezTo>
                    <a:cubicBezTo>
                      <a:pt x="1150214" y="752874"/>
                      <a:pt x="1159461" y="761995"/>
                      <a:pt x="1154267" y="772130"/>
                    </a:cubicBezTo>
                    <a:cubicBezTo>
                      <a:pt x="1150847" y="778844"/>
                      <a:pt x="1136152" y="782645"/>
                      <a:pt x="1135518" y="790245"/>
                    </a:cubicBezTo>
                    <a:cubicBezTo>
                      <a:pt x="1134378" y="805574"/>
                      <a:pt x="1171242" y="796833"/>
                      <a:pt x="1179097" y="805067"/>
                    </a:cubicBezTo>
                    <a:cubicBezTo>
                      <a:pt x="1189992" y="816469"/>
                      <a:pt x="1193286" y="831544"/>
                      <a:pt x="1189358" y="846492"/>
                    </a:cubicBezTo>
                    <a:cubicBezTo>
                      <a:pt x="1185051" y="862834"/>
                      <a:pt x="1176310" y="861314"/>
                      <a:pt x="1160981" y="863848"/>
                    </a:cubicBezTo>
                    <a:cubicBezTo>
                      <a:pt x="1150974" y="865495"/>
                      <a:pt x="1141346" y="870815"/>
                      <a:pt x="1141852" y="882724"/>
                    </a:cubicBezTo>
                    <a:cubicBezTo>
                      <a:pt x="1142359" y="893998"/>
                      <a:pt x="1154774" y="900586"/>
                      <a:pt x="1162122" y="907554"/>
                    </a:cubicBezTo>
                    <a:cubicBezTo>
                      <a:pt x="1169343" y="914521"/>
                      <a:pt x="1189105" y="927569"/>
                      <a:pt x="1186698" y="907807"/>
                    </a:cubicBezTo>
                    <a:cubicBezTo>
                      <a:pt x="1185938" y="901346"/>
                      <a:pt x="1180364" y="891845"/>
                      <a:pt x="1184798" y="885891"/>
                    </a:cubicBezTo>
                    <a:cubicBezTo>
                      <a:pt x="1191005" y="877530"/>
                      <a:pt x="1203673" y="886651"/>
                      <a:pt x="1211275" y="887411"/>
                    </a:cubicBezTo>
                    <a:cubicBezTo>
                      <a:pt x="1220395" y="888424"/>
                      <a:pt x="1227237" y="889564"/>
                      <a:pt x="1235851" y="892478"/>
                    </a:cubicBezTo>
                    <a:cubicBezTo>
                      <a:pt x="1236738" y="909960"/>
                      <a:pt x="1217101" y="923895"/>
                      <a:pt x="1219762" y="940111"/>
                    </a:cubicBezTo>
                    <a:cubicBezTo>
                      <a:pt x="1221789" y="952652"/>
                      <a:pt x="1241678" y="956326"/>
                      <a:pt x="1250546" y="963294"/>
                    </a:cubicBezTo>
                    <a:cubicBezTo>
                      <a:pt x="1262327" y="972542"/>
                      <a:pt x="1272715" y="982803"/>
                      <a:pt x="1285131" y="991290"/>
                    </a:cubicBezTo>
                    <a:cubicBezTo>
                      <a:pt x="1297292" y="999652"/>
                      <a:pt x="1310340" y="1003959"/>
                      <a:pt x="1323515" y="1010420"/>
                    </a:cubicBezTo>
                    <a:cubicBezTo>
                      <a:pt x="1335170" y="1016120"/>
                      <a:pt x="1344164" y="1024355"/>
                      <a:pt x="1357593" y="1024861"/>
                    </a:cubicBezTo>
                    <a:cubicBezTo>
                      <a:pt x="1358226" y="1020681"/>
                      <a:pt x="1359113" y="1016120"/>
                      <a:pt x="1361520" y="1012573"/>
                    </a:cubicBezTo>
                    <a:cubicBezTo>
                      <a:pt x="1377988" y="989010"/>
                      <a:pt x="1390657" y="1024355"/>
                      <a:pt x="1403452" y="1029169"/>
                    </a:cubicBezTo>
                    <a:cubicBezTo>
                      <a:pt x="1412699" y="1032716"/>
                      <a:pt x="1418527" y="1025241"/>
                      <a:pt x="1418907" y="1016374"/>
                    </a:cubicBezTo>
                    <a:cubicBezTo>
                      <a:pt x="1419287" y="1006493"/>
                      <a:pt x="1412953" y="998891"/>
                      <a:pt x="1407759" y="991164"/>
                    </a:cubicBezTo>
                    <a:cubicBezTo>
                      <a:pt x="1397371" y="975582"/>
                      <a:pt x="1397244" y="956960"/>
                      <a:pt x="1398004" y="938591"/>
                    </a:cubicBezTo>
                    <a:cubicBezTo>
                      <a:pt x="1398384" y="930356"/>
                      <a:pt x="1401551" y="922249"/>
                      <a:pt x="1401045" y="914014"/>
                    </a:cubicBezTo>
                    <a:cubicBezTo>
                      <a:pt x="1400411" y="904893"/>
                      <a:pt x="1395091" y="899446"/>
                      <a:pt x="1390023" y="892478"/>
                    </a:cubicBezTo>
                    <a:cubicBezTo>
                      <a:pt x="1378115" y="876136"/>
                      <a:pt x="1381663" y="855614"/>
                      <a:pt x="1377482" y="836865"/>
                    </a:cubicBezTo>
                    <a:cubicBezTo>
                      <a:pt x="1375708" y="829137"/>
                      <a:pt x="1369374" y="811401"/>
                      <a:pt x="1377228" y="805067"/>
                    </a:cubicBezTo>
                    <a:cubicBezTo>
                      <a:pt x="1383816" y="799747"/>
                      <a:pt x="1394077" y="807474"/>
                      <a:pt x="1399525" y="811275"/>
                    </a:cubicBezTo>
                    <a:cubicBezTo>
                      <a:pt x="1412193" y="819889"/>
                      <a:pt x="1419667" y="834078"/>
                      <a:pt x="1433983" y="840285"/>
                    </a:cubicBezTo>
                    <a:cubicBezTo>
                      <a:pt x="1451845" y="848013"/>
                      <a:pt x="1465146" y="851940"/>
                      <a:pt x="1484782" y="849660"/>
                    </a:cubicBezTo>
                    <a:cubicBezTo>
                      <a:pt x="1504798" y="847126"/>
                      <a:pt x="1512525" y="836991"/>
                      <a:pt x="1517593" y="817609"/>
                    </a:cubicBezTo>
                    <a:cubicBezTo>
                      <a:pt x="1520127" y="807728"/>
                      <a:pt x="1523167" y="800253"/>
                      <a:pt x="1529247" y="791892"/>
                    </a:cubicBezTo>
                    <a:cubicBezTo>
                      <a:pt x="1539002" y="778591"/>
                      <a:pt x="1550530" y="745780"/>
                      <a:pt x="1570546" y="747680"/>
                    </a:cubicBezTo>
                    <a:cubicBezTo>
                      <a:pt x="1585241" y="748947"/>
                      <a:pt x="1594996" y="760855"/>
                      <a:pt x="1610324" y="761742"/>
                    </a:cubicBezTo>
                    <a:cubicBezTo>
                      <a:pt x="1627173" y="762755"/>
                      <a:pt x="1637561" y="760222"/>
                      <a:pt x="1652130" y="769850"/>
                    </a:cubicBezTo>
                    <a:cubicBezTo>
                      <a:pt x="1664925" y="778464"/>
                      <a:pt x="1680379" y="775170"/>
                      <a:pt x="1692921" y="767949"/>
                    </a:cubicBezTo>
                    <a:cubicBezTo>
                      <a:pt x="1699255" y="764275"/>
                      <a:pt x="1704829" y="759715"/>
                      <a:pt x="1710024" y="754648"/>
                    </a:cubicBezTo>
                    <a:cubicBezTo>
                      <a:pt x="1711797" y="753001"/>
                      <a:pt x="1715598" y="749960"/>
                      <a:pt x="1716737" y="747680"/>
                    </a:cubicBezTo>
                    <a:cubicBezTo>
                      <a:pt x="1717118" y="746667"/>
                      <a:pt x="1717624" y="737672"/>
                      <a:pt x="1716864" y="738052"/>
                    </a:cubicBezTo>
                    <a:cubicBezTo>
                      <a:pt x="1712937" y="740079"/>
                      <a:pt x="1709643" y="742739"/>
                      <a:pt x="1705843" y="745146"/>
                    </a:cubicBezTo>
                    <a:cubicBezTo>
                      <a:pt x="1684560" y="758321"/>
                      <a:pt x="1672398" y="731845"/>
                      <a:pt x="1672525" y="713476"/>
                    </a:cubicBezTo>
                    <a:cubicBezTo>
                      <a:pt x="1672525" y="703721"/>
                      <a:pt x="1673285" y="692573"/>
                      <a:pt x="1683040" y="688013"/>
                    </a:cubicBezTo>
                    <a:cubicBezTo>
                      <a:pt x="1691275" y="684212"/>
                      <a:pt x="1705210" y="680918"/>
                      <a:pt x="1714204" y="679398"/>
                    </a:cubicBezTo>
                    <a:cubicBezTo>
                      <a:pt x="1725986" y="677245"/>
                      <a:pt x="1732193" y="688899"/>
                      <a:pt x="1743214" y="688646"/>
                    </a:cubicBezTo>
                    <a:cubicBezTo>
                      <a:pt x="1755376" y="688393"/>
                      <a:pt x="1758416" y="674204"/>
                      <a:pt x="1755883" y="664703"/>
                    </a:cubicBezTo>
                    <a:cubicBezTo>
                      <a:pt x="1753602" y="656089"/>
                      <a:pt x="1748535" y="640633"/>
                      <a:pt x="1741188" y="635059"/>
                    </a:cubicBezTo>
                    <a:cubicBezTo>
                      <a:pt x="1732447" y="628219"/>
                      <a:pt x="1719525" y="630752"/>
                      <a:pt x="1710403" y="623405"/>
                    </a:cubicBezTo>
                    <a:cubicBezTo>
                      <a:pt x="1684814" y="602882"/>
                      <a:pt x="1725605" y="581473"/>
                      <a:pt x="1715851" y="558796"/>
                    </a:cubicBezTo>
                    <a:cubicBezTo>
                      <a:pt x="1703309" y="529533"/>
                      <a:pt x="1679240" y="576912"/>
                      <a:pt x="1667584" y="580586"/>
                    </a:cubicBezTo>
                    <a:cubicBezTo>
                      <a:pt x="1654916" y="584640"/>
                      <a:pt x="1653396" y="569565"/>
                      <a:pt x="1656183" y="560697"/>
                    </a:cubicBezTo>
                    <a:cubicBezTo>
                      <a:pt x="1659604" y="549675"/>
                      <a:pt x="1665431" y="543848"/>
                      <a:pt x="1664038" y="531560"/>
                    </a:cubicBezTo>
                    <a:cubicBezTo>
                      <a:pt x="1662518" y="518131"/>
                      <a:pt x="1663024" y="514078"/>
                      <a:pt x="1674426" y="505463"/>
                    </a:cubicBezTo>
                    <a:cubicBezTo>
                      <a:pt x="1681900" y="499889"/>
                      <a:pt x="1691781" y="494695"/>
                      <a:pt x="1696975" y="486714"/>
                    </a:cubicBezTo>
                    <a:cubicBezTo>
                      <a:pt x="1706856" y="471766"/>
                      <a:pt x="1701282" y="445669"/>
                      <a:pt x="1686461" y="436168"/>
                    </a:cubicBezTo>
                    <a:cubicBezTo>
                      <a:pt x="1680760" y="432494"/>
                      <a:pt x="1664291" y="428440"/>
                      <a:pt x="1664544" y="419572"/>
                    </a:cubicBezTo>
                    <a:cubicBezTo>
                      <a:pt x="1664798" y="410198"/>
                      <a:pt x="1678099" y="412732"/>
                      <a:pt x="1683927" y="413745"/>
                    </a:cubicBezTo>
                    <a:cubicBezTo>
                      <a:pt x="1695708" y="415899"/>
                      <a:pt x="1707490" y="418939"/>
                      <a:pt x="1719652" y="416405"/>
                    </a:cubicBezTo>
                    <a:cubicBezTo>
                      <a:pt x="1731687" y="413998"/>
                      <a:pt x="1742454" y="403610"/>
                      <a:pt x="1753982" y="399303"/>
                    </a:cubicBezTo>
                    <a:cubicBezTo>
                      <a:pt x="1767031" y="394363"/>
                      <a:pt x="1778052" y="389169"/>
                      <a:pt x="1789960" y="381948"/>
                    </a:cubicBezTo>
                    <a:cubicBezTo>
                      <a:pt x="1801362" y="375107"/>
                      <a:pt x="1813650" y="369406"/>
                      <a:pt x="1825558" y="363452"/>
                    </a:cubicBezTo>
                    <a:cubicBezTo>
                      <a:pt x="1835313" y="358511"/>
                      <a:pt x="1844054" y="351797"/>
                      <a:pt x="1853935" y="346857"/>
                    </a:cubicBezTo>
                    <a:cubicBezTo>
                      <a:pt x="1863436" y="342043"/>
                      <a:pt x="1873191" y="342169"/>
                      <a:pt x="1882438" y="337355"/>
                    </a:cubicBezTo>
                    <a:cubicBezTo>
                      <a:pt x="1907395" y="324307"/>
                      <a:pt x="1935391" y="309612"/>
                      <a:pt x="1964275" y="311639"/>
                    </a:cubicBezTo>
                    <a:cubicBezTo>
                      <a:pt x="1960095" y="322280"/>
                      <a:pt x="1954521" y="331781"/>
                      <a:pt x="1944133" y="337355"/>
                    </a:cubicBezTo>
                    <a:cubicBezTo>
                      <a:pt x="1932732" y="343310"/>
                      <a:pt x="1915756" y="341663"/>
                      <a:pt x="1907141" y="352304"/>
                    </a:cubicBezTo>
                    <a:cubicBezTo>
                      <a:pt x="1900427" y="360412"/>
                      <a:pt x="1902454" y="372573"/>
                      <a:pt x="1897767" y="381821"/>
                    </a:cubicBezTo>
                    <a:cubicBezTo>
                      <a:pt x="1894473" y="388408"/>
                      <a:pt x="1880538" y="399683"/>
                      <a:pt x="1885732" y="407791"/>
                    </a:cubicBezTo>
                    <a:cubicBezTo>
                      <a:pt x="1891306" y="416659"/>
                      <a:pt x="1910562" y="410451"/>
                      <a:pt x="1916896" y="406017"/>
                    </a:cubicBezTo>
                    <a:cubicBezTo>
                      <a:pt x="1925003" y="400190"/>
                      <a:pt x="1928678" y="389549"/>
                      <a:pt x="1934631" y="381694"/>
                    </a:cubicBezTo>
                    <a:cubicBezTo>
                      <a:pt x="1941219" y="373080"/>
                      <a:pt x="1948440" y="365479"/>
                      <a:pt x="1954141" y="356231"/>
                    </a:cubicBezTo>
                    <a:cubicBezTo>
                      <a:pt x="1959461" y="347617"/>
                      <a:pt x="1965796" y="335075"/>
                      <a:pt x="1976690" y="332541"/>
                    </a:cubicBezTo>
                    <a:cubicBezTo>
                      <a:pt x="1992525" y="328868"/>
                      <a:pt x="1990878" y="350657"/>
                      <a:pt x="1990118" y="359905"/>
                    </a:cubicBezTo>
                    <a:cubicBezTo>
                      <a:pt x="1989739" y="365099"/>
                      <a:pt x="1986951" y="399557"/>
                      <a:pt x="1978970" y="381188"/>
                    </a:cubicBezTo>
                    <a:cubicBezTo>
                      <a:pt x="1976817" y="376120"/>
                      <a:pt x="1976310" y="369153"/>
                      <a:pt x="1972509" y="364846"/>
                    </a:cubicBezTo>
                    <a:cubicBezTo>
                      <a:pt x="1966682" y="358258"/>
                      <a:pt x="1962375" y="360285"/>
                      <a:pt x="1962248" y="368519"/>
                    </a:cubicBezTo>
                    <a:cubicBezTo>
                      <a:pt x="1961868" y="385115"/>
                      <a:pt x="1978083" y="396643"/>
                      <a:pt x="1968076" y="413238"/>
                    </a:cubicBezTo>
                    <a:cubicBezTo>
                      <a:pt x="1962502" y="422360"/>
                      <a:pt x="1948567" y="430467"/>
                      <a:pt x="1958194" y="440728"/>
                    </a:cubicBezTo>
                    <a:cubicBezTo>
                      <a:pt x="1961995" y="444909"/>
                      <a:pt x="1967822" y="447316"/>
                      <a:pt x="1971749" y="451497"/>
                    </a:cubicBezTo>
                    <a:cubicBezTo>
                      <a:pt x="1974916" y="454664"/>
                      <a:pt x="1977450" y="460998"/>
                      <a:pt x="1981250" y="463151"/>
                    </a:cubicBezTo>
                    <a:cubicBezTo>
                      <a:pt x="2003167" y="475820"/>
                      <a:pt x="2011021" y="419319"/>
                      <a:pt x="2013175" y="407538"/>
                    </a:cubicBezTo>
                    <a:cubicBezTo>
                      <a:pt x="2016088" y="391449"/>
                      <a:pt x="2018749" y="376120"/>
                      <a:pt x="2014695" y="359905"/>
                    </a:cubicBezTo>
                    <a:cubicBezTo>
                      <a:pt x="2011781" y="348124"/>
                      <a:pt x="2007854" y="336975"/>
                      <a:pt x="2005574" y="324941"/>
                    </a:cubicBezTo>
                    <a:cubicBezTo>
                      <a:pt x="2003547" y="314426"/>
                      <a:pt x="1998226" y="301884"/>
                      <a:pt x="2002407" y="291243"/>
                    </a:cubicBezTo>
                    <a:cubicBezTo>
                      <a:pt x="2006841" y="280095"/>
                      <a:pt x="2019889" y="271227"/>
                      <a:pt x="2029643" y="265146"/>
                    </a:cubicBezTo>
                    <a:cubicBezTo>
                      <a:pt x="2049532" y="252605"/>
                      <a:pt x="2076009" y="244244"/>
                      <a:pt x="2098559" y="237910"/>
                    </a:cubicBezTo>
                    <a:cubicBezTo>
                      <a:pt x="2117055" y="232716"/>
                      <a:pt x="2149485" y="219034"/>
                      <a:pt x="2166334" y="234616"/>
                    </a:cubicBezTo>
                    <a:cubicBezTo>
                      <a:pt x="2175835" y="243357"/>
                      <a:pt x="2170895" y="256785"/>
                      <a:pt x="2163420" y="265273"/>
                    </a:cubicBezTo>
                    <a:cubicBezTo>
                      <a:pt x="2155439" y="274268"/>
                      <a:pt x="2142518" y="275281"/>
                      <a:pt x="2134410" y="283642"/>
                    </a:cubicBezTo>
                    <a:cubicBezTo>
                      <a:pt x="2125922" y="292383"/>
                      <a:pt x="2129090" y="306825"/>
                      <a:pt x="2142011" y="308852"/>
                    </a:cubicBezTo>
                    <a:cubicBezTo>
                      <a:pt x="2154679" y="310879"/>
                      <a:pt x="2162533" y="297957"/>
                      <a:pt x="2173554" y="294410"/>
                    </a:cubicBezTo>
                    <a:cubicBezTo>
                      <a:pt x="2184450" y="290990"/>
                      <a:pt x="2195851" y="294537"/>
                      <a:pt x="2206872" y="290356"/>
                    </a:cubicBezTo>
                    <a:cubicBezTo>
                      <a:pt x="2218274" y="285922"/>
                      <a:pt x="2227142" y="285416"/>
                      <a:pt x="2238923" y="283895"/>
                    </a:cubicBezTo>
                    <a:cubicBezTo>
                      <a:pt x="2249944" y="282375"/>
                      <a:pt x="2255772" y="274268"/>
                      <a:pt x="2265526" y="270087"/>
                    </a:cubicBezTo>
                    <a:cubicBezTo>
                      <a:pt x="2275408" y="265780"/>
                      <a:pt x="2280348" y="271607"/>
                      <a:pt x="2288836" y="270341"/>
                    </a:cubicBezTo>
                    <a:cubicBezTo>
                      <a:pt x="2293270" y="269580"/>
                      <a:pt x="2294790" y="265020"/>
                      <a:pt x="2300617" y="265020"/>
                    </a:cubicBezTo>
                    <a:cubicBezTo>
                      <a:pt x="2306698" y="265020"/>
                      <a:pt x="2309105" y="268314"/>
                      <a:pt x="2314299" y="270721"/>
                    </a:cubicBezTo>
                    <a:cubicBezTo>
                      <a:pt x="2324053" y="275281"/>
                      <a:pt x="2332668" y="273634"/>
                      <a:pt x="2342803" y="275408"/>
                    </a:cubicBezTo>
                    <a:cubicBezTo>
                      <a:pt x="2353444" y="277308"/>
                      <a:pt x="2353444" y="283642"/>
                      <a:pt x="2358385" y="292763"/>
                    </a:cubicBezTo>
                    <a:cubicBezTo>
                      <a:pt x="2363325" y="291370"/>
                      <a:pt x="2368266" y="289976"/>
                      <a:pt x="2372953" y="288076"/>
                    </a:cubicBezTo>
                    <a:cubicBezTo>
                      <a:pt x="2394236" y="279588"/>
                      <a:pt x="2405510" y="261979"/>
                      <a:pt x="2417545" y="243484"/>
                    </a:cubicBezTo>
                    <a:cubicBezTo>
                      <a:pt x="2428440" y="226508"/>
                      <a:pt x="2440855" y="210800"/>
                      <a:pt x="2449089" y="192431"/>
                    </a:cubicBezTo>
                    <a:cubicBezTo>
                      <a:pt x="2460364" y="167221"/>
                      <a:pt x="2467205" y="139984"/>
                      <a:pt x="2484180" y="117815"/>
                    </a:cubicBezTo>
                    <a:cubicBezTo>
                      <a:pt x="2498876" y="98432"/>
                      <a:pt x="2520032" y="87031"/>
                      <a:pt x="2537260" y="70689"/>
                    </a:cubicBezTo>
                    <a:cubicBezTo>
                      <a:pt x="2550815" y="57767"/>
                      <a:pt x="2559050" y="40538"/>
                      <a:pt x="2573872" y="29010"/>
                    </a:cubicBezTo>
                    <a:cubicBezTo>
                      <a:pt x="2593507" y="13808"/>
                      <a:pt x="2618971" y="8614"/>
                      <a:pt x="2643293" y="7348"/>
                    </a:cubicBezTo>
                    <a:cubicBezTo>
                      <a:pt x="2663816" y="6207"/>
                      <a:pt x="2683832" y="4434"/>
                      <a:pt x="2704354" y="2660"/>
                    </a:cubicBezTo>
                    <a:cubicBezTo>
                      <a:pt x="2724750" y="887"/>
                      <a:pt x="2747806" y="1647"/>
                      <a:pt x="2758701" y="21789"/>
                    </a:cubicBezTo>
                    <a:cubicBezTo>
                      <a:pt x="2769089" y="41299"/>
                      <a:pt x="2768456" y="64228"/>
                      <a:pt x="2787585" y="78797"/>
                    </a:cubicBezTo>
                    <a:cubicBezTo>
                      <a:pt x="2810514" y="96279"/>
                      <a:pt x="2841931" y="81964"/>
                      <a:pt x="2863341" y="68789"/>
                    </a:cubicBezTo>
                    <a:cubicBezTo>
                      <a:pt x="2877656" y="60047"/>
                      <a:pt x="2887538" y="70435"/>
                      <a:pt x="2902486" y="65115"/>
                    </a:cubicBezTo>
                    <a:cubicBezTo>
                      <a:pt x="2902739" y="60934"/>
                      <a:pt x="2902866" y="54980"/>
                      <a:pt x="2905399" y="51306"/>
                    </a:cubicBezTo>
                    <a:cubicBezTo>
                      <a:pt x="2916548" y="35344"/>
                      <a:pt x="2943785" y="57387"/>
                      <a:pt x="2949232" y="33317"/>
                    </a:cubicBezTo>
                    <a:cubicBezTo>
                      <a:pt x="2952652" y="18242"/>
                      <a:pt x="2944545" y="9755"/>
                      <a:pt x="2938084" y="0"/>
                    </a:cubicBezTo>
                    <a:cubicBezTo>
                      <a:pt x="2938084" y="0"/>
                      <a:pt x="2983056" y="27237"/>
                      <a:pt x="3003452" y="41805"/>
                    </a:cubicBezTo>
                    <a:cubicBezTo>
                      <a:pt x="3023974" y="56247"/>
                      <a:pt x="3046651" y="76516"/>
                      <a:pt x="3053238" y="78416"/>
                    </a:cubicBezTo>
                    <a:cubicBezTo>
                      <a:pt x="3059825" y="80443"/>
                      <a:pt x="3088202" y="89945"/>
                      <a:pt x="3080348" y="103753"/>
                    </a:cubicBezTo>
                    <a:cubicBezTo>
                      <a:pt x="3072494" y="117561"/>
                      <a:pt x="3059572" y="135804"/>
                      <a:pt x="3059572" y="152652"/>
                    </a:cubicBezTo>
                    <a:cubicBezTo>
                      <a:pt x="3059572" y="169501"/>
                      <a:pt x="3056912" y="209406"/>
                      <a:pt x="3042470" y="222581"/>
                    </a:cubicBezTo>
                    <a:cubicBezTo>
                      <a:pt x="3027901" y="235756"/>
                      <a:pt x="2998891" y="282375"/>
                      <a:pt x="2985717" y="306698"/>
                    </a:cubicBezTo>
                    <a:cubicBezTo>
                      <a:pt x="2972541" y="331148"/>
                      <a:pt x="2956072" y="371053"/>
                      <a:pt x="2969501" y="373967"/>
                    </a:cubicBezTo>
                    <a:cubicBezTo>
                      <a:pt x="2983056" y="376880"/>
                      <a:pt x="3000158" y="371687"/>
                      <a:pt x="2993571" y="381188"/>
                    </a:cubicBezTo>
                    <a:cubicBezTo>
                      <a:pt x="2986983" y="390689"/>
                      <a:pt x="2989644" y="414885"/>
                      <a:pt x="2999524" y="423753"/>
                    </a:cubicBezTo>
                    <a:cubicBezTo>
                      <a:pt x="3009406" y="432621"/>
                      <a:pt x="3038797" y="447569"/>
                      <a:pt x="3070467" y="447569"/>
                    </a:cubicBezTo>
                    <a:cubicBezTo>
                      <a:pt x="3102138" y="447569"/>
                      <a:pt x="3149644" y="438321"/>
                      <a:pt x="3162185" y="465938"/>
                    </a:cubicBezTo>
                    <a:cubicBezTo>
                      <a:pt x="3174727" y="493682"/>
                      <a:pt x="3191576" y="526999"/>
                      <a:pt x="3212351" y="538907"/>
                    </a:cubicBezTo>
                    <a:cubicBezTo>
                      <a:pt x="3211844" y="540428"/>
                      <a:pt x="3210831" y="542201"/>
                      <a:pt x="3209818" y="5441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470" name="Рисунок 388">
                <a:extLst>
                  <a:ext uri="{FF2B5EF4-FFF2-40B4-BE49-F238E27FC236}">
                    <a16:creationId xmlns:a16="http://schemas.microsoft.com/office/drawing/2014/main" id="{1DA397FD-DC6E-439E-BB40-D0F80476817D}"/>
                  </a:ext>
                </a:extLst>
              </p:cNvPr>
              <p:cNvGrpSpPr/>
              <p:nvPr/>
            </p:nvGrpSpPr>
            <p:grpSpPr>
              <a:xfrm>
                <a:off x="8213743" y="1230515"/>
                <a:ext cx="2708144" cy="1505748"/>
                <a:chOff x="8213743" y="1230515"/>
                <a:chExt cx="2708144" cy="1505748"/>
              </a:xfrm>
              <a:solidFill>
                <a:srgbClr val="E3E8EC"/>
              </a:solidFill>
            </p:grpSpPr>
            <p:sp>
              <p:nvSpPr>
                <p:cNvPr id="471" name="Полилиния: фигура 470">
                  <a:extLst>
                    <a:ext uri="{FF2B5EF4-FFF2-40B4-BE49-F238E27FC236}">
                      <a16:creationId xmlns:a16="http://schemas.microsoft.com/office/drawing/2014/main" id="{50BFA220-DF38-41F8-8AF2-FA7A58237AE6}"/>
                    </a:ext>
                  </a:extLst>
                </p:cNvPr>
                <p:cNvSpPr/>
                <p:nvPr/>
              </p:nvSpPr>
              <p:spPr>
                <a:xfrm>
                  <a:off x="10911500" y="1855567"/>
                  <a:ext cx="10388" cy="13935"/>
                </a:xfrm>
                <a:custGeom>
                  <a:avLst/>
                  <a:gdLst>
                    <a:gd name="connsiteX0" fmla="*/ 10388 w 10388"/>
                    <a:gd name="connsiteY0" fmla="*/ 6968 h 13935"/>
                    <a:gd name="connsiteX1" fmla="*/ 5194 w 10388"/>
                    <a:gd name="connsiteY1" fmla="*/ 13935 h 13935"/>
                    <a:gd name="connsiteX2" fmla="*/ 0 w 10388"/>
                    <a:gd name="connsiteY2" fmla="*/ 6968 h 13935"/>
                    <a:gd name="connsiteX3" fmla="*/ 5194 w 10388"/>
                    <a:gd name="connsiteY3" fmla="*/ 0 h 13935"/>
                    <a:gd name="connsiteX4" fmla="*/ 10388 w 10388"/>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935">
                      <a:moveTo>
                        <a:pt x="10388" y="6968"/>
                      </a:moveTo>
                      <a:cubicBezTo>
                        <a:pt x="10388" y="10768"/>
                        <a:pt x="8108" y="13935"/>
                        <a:pt x="5194" y="13935"/>
                      </a:cubicBezTo>
                      <a:cubicBezTo>
                        <a:pt x="2280" y="13935"/>
                        <a:pt x="0" y="10895"/>
                        <a:pt x="0" y="6968"/>
                      </a:cubicBezTo>
                      <a:cubicBezTo>
                        <a:pt x="0" y="3167"/>
                        <a:pt x="2280" y="0"/>
                        <a:pt x="5194" y="0"/>
                      </a:cubicBezTo>
                      <a:cubicBezTo>
                        <a:pt x="8108" y="0"/>
                        <a:pt x="10388" y="3167"/>
                        <a:pt x="10388" y="696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72" name="Полилиния: фигура 471">
                  <a:extLst>
                    <a:ext uri="{FF2B5EF4-FFF2-40B4-BE49-F238E27FC236}">
                      <a16:creationId xmlns:a16="http://schemas.microsoft.com/office/drawing/2014/main" id="{19A85F6A-0AD7-45D8-A1EE-3B48373B8584}"/>
                    </a:ext>
                  </a:extLst>
                </p:cNvPr>
                <p:cNvSpPr/>
                <p:nvPr/>
              </p:nvSpPr>
              <p:spPr>
                <a:xfrm>
                  <a:off x="10899592" y="1876343"/>
                  <a:ext cx="11908" cy="10894"/>
                </a:xfrm>
                <a:custGeom>
                  <a:avLst/>
                  <a:gdLst>
                    <a:gd name="connsiteX0" fmla="*/ 11908 w 11908"/>
                    <a:gd name="connsiteY0" fmla="*/ 5447 h 10894"/>
                    <a:gd name="connsiteX1" fmla="*/ 5954 w 11908"/>
                    <a:gd name="connsiteY1" fmla="*/ 10895 h 10894"/>
                    <a:gd name="connsiteX2" fmla="*/ 0 w 11908"/>
                    <a:gd name="connsiteY2" fmla="*/ 5447 h 10894"/>
                    <a:gd name="connsiteX3" fmla="*/ 5954 w 11908"/>
                    <a:gd name="connsiteY3" fmla="*/ 0 h 10894"/>
                    <a:gd name="connsiteX4" fmla="*/ 11908 w 1190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894">
                      <a:moveTo>
                        <a:pt x="11908" y="5447"/>
                      </a:moveTo>
                      <a:cubicBezTo>
                        <a:pt x="11908" y="8488"/>
                        <a:pt x="9248" y="10895"/>
                        <a:pt x="5954" y="10895"/>
                      </a:cubicBezTo>
                      <a:cubicBezTo>
                        <a:pt x="2661" y="10895"/>
                        <a:pt x="0" y="8488"/>
                        <a:pt x="0" y="5447"/>
                      </a:cubicBezTo>
                      <a:cubicBezTo>
                        <a:pt x="0" y="2407"/>
                        <a:pt x="2661" y="0"/>
                        <a:pt x="5954" y="0"/>
                      </a:cubicBezTo>
                      <a:cubicBezTo>
                        <a:pt x="9248" y="0"/>
                        <a:pt x="11908" y="2407"/>
                        <a:pt x="11908" y="54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73" name="Полилиния: фигура 472">
                  <a:extLst>
                    <a:ext uri="{FF2B5EF4-FFF2-40B4-BE49-F238E27FC236}">
                      <a16:creationId xmlns:a16="http://schemas.microsoft.com/office/drawing/2014/main" id="{CA1CCC29-EF7D-4E76-A4BE-FEE8C5EC0ECA}"/>
                    </a:ext>
                  </a:extLst>
                </p:cNvPr>
                <p:cNvSpPr/>
                <p:nvPr/>
              </p:nvSpPr>
              <p:spPr>
                <a:xfrm>
                  <a:off x="10798119" y="1731418"/>
                  <a:ext cx="9374" cy="16215"/>
                </a:xfrm>
                <a:custGeom>
                  <a:avLst/>
                  <a:gdLst>
                    <a:gd name="connsiteX0" fmla="*/ 9374 w 9374"/>
                    <a:gd name="connsiteY0" fmla="*/ 8108 h 16215"/>
                    <a:gd name="connsiteX1" fmla="*/ 4687 w 9374"/>
                    <a:gd name="connsiteY1" fmla="*/ 16215 h 16215"/>
                    <a:gd name="connsiteX2" fmla="*/ 0 w 9374"/>
                    <a:gd name="connsiteY2" fmla="*/ 8108 h 16215"/>
                    <a:gd name="connsiteX3" fmla="*/ 4687 w 9374"/>
                    <a:gd name="connsiteY3" fmla="*/ 0 h 16215"/>
                    <a:gd name="connsiteX4" fmla="*/ 9374 w 9374"/>
                    <a:gd name="connsiteY4" fmla="*/ 8108 h 16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6215">
                      <a:moveTo>
                        <a:pt x="9374" y="8108"/>
                      </a:moveTo>
                      <a:cubicBezTo>
                        <a:pt x="9374" y="12668"/>
                        <a:pt x="7221" y="16215"/>
                        <a:pt x="4687" y="16215"/>
                      </a:cubicBezTo>
                      <a:cubicBezTo>
                        <a:pt x="2027" y="16215"/>
                        <a:pt x="0" y="12542"/>
                        <a:pt x="0" y="8108"/>
                      </a:cubicBezTo>
                      <a:cubicBezTo>
                        <a:pt x="0" y="3547"/>
                        <a:pt x="2154" y="0"/>
                        <a:pt x="4687" y="0"/>
                      </a:cubicBezTo>
                      <a:cubicBezTo>
                        <a:pt x="7348" y="0"/>
                        <a:pt x="9374" y="3547"/>
                        <a:pt x="9374" y="810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74" name="Полилиния: фигура 473">
                  <a:extLst>
                    <a:ext uri="{FF2B5EF4-FFF2-40B4-BE49-F238E27FC236}">
                      <a16:creationId xmlns:a16="http://schemas.microsoft.com/office/drawing/2014/main" id="{38250A4E-F1B3-4353-BB80-5B65F2C0AEC3}"/>
                    </a:ext>
                  </a:extLst>
                </p:cNvPr>
                <p:cNvSpPr/>
                <p:nvPr/>
              </p:nvSpPr>
              <p:spPr>
                <a:xfrm>
                  <a:off x="10756568" y="1767903"/>
                  <a:ext cx="9880" cy="13935"/>
                </a:xfrm>
                <a:custGeom>
                  <a:avLst/>
                  <a:gdLst>
                    <a:gd name="connsiteX0" fmla="*/ 9881 w 9880"/>
                    <a:gd name="connsiteY0" fmla="*/ 6967 h 13935"/>
                    <a:gd name="connsiteX1" fmla="*/ 4940 w 9880"/>
                    <a:gd name="connsiteY1" fmla="*/ 13935 h 13935"/>
                    <a:gd name="connsiteX2" fmla="*/ 0 w 9880"/>
                    <a:gd name="connsiteY2" fmla="*/ 6967 h 13935"/>
                    <a:gd name="connsiteX3" fmla="*/ 4940 w 9880"/>
                    <a:gd name="connsiteY3" fmla="*/ 0 h 13935"/>
                    <a:gd name="connsiteX4" fmla="*/ 9881 w 9880"/>
                    <a:gd name="connsiteY4" fmla="*/ 6967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13935">
                      <a:moveTo>
                        <a:pt x="9881" y="6967"/>
                      </a:moveTo>
                      <a:cubicBezTo>
                        <a:pt x="9881" y="10768"/>
                        <a:pt x="7727" y="13935"/>
                        <a:pt x="4940" y="13935"/>
                      </a:cubicBezTo>
                      <a:cubicBezTo>
                        <a:pt x="2153" y="13935"/>
                        <a:pt x="0" y="10895"/>
                        <a:pt x="0" y="6967"/>
                      </a:cubicBezTo>
                      <a:cubicBezTo>
                        <a:pt x="0" y="3167"/>
                        <a:pt x="2153" y="0"/>
                        <a:pt x="4940" y="0"/>
                      </a:cubicBezTo>
                      <a:cubicBezTo>
                        <a:pt x="7727" y="127"/>
                        <a:pt x="9881" y="3167"/>
                        <a:pt x="9881" y="696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75" name="Полилиния: фигура 474">
                  <a:extLst>
                    <a:ext uri="{FF2B5EF4-FFF2-40B4-BE49-F238E27FC236}">
                      <a16:creationId xmlns:a16="http://schemas.microsoft.com/office/drawing/2014/main" id="{60D29F2A-E2E2-4E10-9407-25D83DFF5D7D}"/>
                    </a:ext>
                  </a:extLst>
                </p:cNvPr>
                <p:cNvSpPr/>
                <p:nvPr/>
              </p:nvSpPr>
              <p:spPr>
                <a:xfrm>
                  <a:off x="10715902" y="1753587"/>
                  <a:ext cx="14441" cy="11401"/>
                </a:xfrm>
                <a:custGeom>
                  <a:avLst/>
                  <a:gdLst>
                    <a:gd name="connsiteX0" fmla="*/ 14442 w 14441"/>
                    <a:gd name="connsiteY0" fmla="*/ 5701 h 11401"/>
                    <a:gd name="connsiteX1" fmla="*/ 7221 w 14441"/>
                    <a:gd name="connsiteY1" fmla="*/ 11401 h 11401"/>
                    <a:gd name="connsiteX2" fmla="*/ 0 w 14441"/>
                    <a:gd name="connsiteY2" fmla="*/ 5701 h 11401"/>
                    <a:gd name="connsiteX3" fmla="*/ 7221 w 14441"/>
                    <a:gd name="connsiteY3" fmla="*/ 0 h 11401"/>
                    <a:gd name="connsiteX4" fmla="*/ 14442 w 14441"/>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1401">
                      <a:moveTo>
                        <a:pt x="14442" y="5701"/>
                      </a:moveTo>
                      <a:cubicBezTo>
                        <a:pt x="14442" y="8868"/>
                        <a:pt x="11275" y="11401"/>
                        <a:pt x="7221" y="11401"/>
                      </a:cubicBezTo>
                      <a:cubicBezTo>
                        <a:pt x="3167" y="11401"/>
                        <a:pt x="0" y="8868"/>
                        <a:pt x="0" y="5701"/>
                      </a:cubicBezTo>
                      <a:cubicBezTo>
                        <a:pt x="0" y="2534"/>
                        <a:pt x="3167" y="0"/>
                        <a:pt x="7221" y="0"/>
                      </a:cubicBezTo>
                      <a:cubicBezTo>
                        <a:pt x="11275" y="0"/>
                        <a:pt x="14442" y="2534"/>
                        <a:pt x="14442" y="57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76" name="Полилиния: фигура 475">
                  <a:extLst>
                    <a:ext uri="{FF2B5EF4-FFF2-40B4-BE49-F238E27FC236}">
                      <a16:creationId xmlns:a16="http://schemas.microsoft.com/office/drawing/2014/main" id="{5D0CCF4E-DD46-45BC-8569-0BF7B6A9592E}"/>
                    </a:ext>
                  </a:extLst>
                </p:cNvPr>
                <p:cNvSpPr/>
                <p:nvPr/>
              </p:nvSpPr>
              <p:spPr>
                <a:xfrm>
                  <a:off x="10697787" y="1797166"/>
                  <a:ext cx="18242" cy="16342"/>
                </a:xfrm>
                <a:custGeom>
                  <a:avLst/>
                  <a:gdLst>
                    <a:gd name="connsiteX0" fmla="*/ 18242 w 18242"/>
                    <a:gd name="connsiteY0" fmla="*/ 8108 h 16342"/>
                    <a:gd name="connsiteX1" fmla="*/ 9121 w 18242"/>
                    <a:gd name="connsiteY1" fmla="*/ 16342 h 16342"/>
                    <a:gd name="connsiteX2" fmla="*/ 0 w 18242"/>
                    <a:gd name="connsiteY2" fmla="*/ 8108 h 16342"/>
                    <a:gd name="connsiteX3" fmla="*/ 9121 w 18242"/>
                    <a:gd name="connsiteY3" fmla="*/ 0 h 16342"/>
                    <a:gd name="connsiteX4" fmla="*/ 18242 w 18242"/>
                    <a:gd name="connsiteY4" fmla="*/ 8108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6342">
                      <a:moveTo>
                        <a:pt x="18242" y="8108"/>
                      </a:moveTo>
                      <a:cubicBezTo>
                        <a:pt x="18242" y="12668"/>
                        <a:pt x="14188" y="16342"/>
                        <a:pt x="9121" y="16342"/>
                      </a:cubicBezTo>
                      <a:cubicBezTo>
                        <a:pt x="4054" y="16342"/>
                        <a:pt x="0" y="12668"/>
                        <a:pt x="0" y="8108"/>
                      </a:cubicBezTo>
                      <a:cubicBezTo>
                        <a:pt x="0" y="3547"/>
                        <a:pt x="4054" y="0"/>
                        <a:pt x="9121" y="0"/>
                      </a:cubicBezTo>
                      <a:cubicBezTo>
                        <a:pt x="14062" y="0"/>
                        <a:pt x="18242" y="3674"/>
                        <a:pt x="18242" y="810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77" name="Полилиния: фигура 476">
                  <a:extLst>
                    <a:ext uri="{FF2B5EF4-FFF2-40B4-BE49-F238E27FC236}">
                      <a16:creationId xmlns:a16="http://schemas.microsoft.com/office/drawing/2014/main" id="{27FFDF5C-97C4-464B-B643-06AB6A30CD9F}"/>
                    </a:ext>
                  </a:extLst>
                </p:cNvPr>
                <p:cNvSpPr/>
                <p:nvPr/>
              </p:nvSpPr>
              <p:spPr>
                <a:xfrm>
                  <a:off x="9520748" y="2093207"/>
                  <a:ext cx="53069" cy="59253"/>
                </a:xfrm>
                <a:custGeom>
                  <a:avLst/>
                  <a:gdLst>
                    <a:gd name="connsiteX0" fmla="*/ 6112 w 53069"/>
                    <a:gd name="connsiteY0" fmla="*/ 42708 h 59253"/>
                    <a:gd name="connsiteX1" fmla="*/ 2438 w 53069"/>
                    <a:gd name="connsiteY1" fmla="*/ 12684 h 59253"/>
                    <a:gd name="connsiteX2" fmla="*/ 27901 w 53069"/>
                    <a:gd name="connsiteY2" fmla="*/ 523 h 59253"/>
                    <a:gd name="connsiteX3" fmla="*/ 50705 w 53069"/>
                    <a:gd name="connsiteY3" fmla="*/ 21552 h 59253"/>
                    <a:gd name="connsiteX4" fmla="*/ 51084 w 53069"/>
                    <a:gd name="connsiteY4" fmla="*/ 52589 h 59253"/>
                    <a:gd name="connsiteX5" fmla="*/ 30941 w 53069"/>
                    <a:gd name="connsiteY5" fmla="*/ 58797 h 59253"/>
                    <a:gd name="connsiteX6" fmla="*/ 6112 w 53069"/>
                    <a:gd name="connsiteY6" fmla="*/ 42708 h 5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9" h="59253">
                      <a:moveTo>
                        <a:pt x="6112" y="42708"/>
                      </a:moveTo>
                      <a:cubicBezTo>
                        <a:pt x="284" y="32700"/>
                        <a:pt x="-2249" y="23959"/>
                        <a:pt x="2438" y="12684"/>
                      </a:cubicBezTo>
                      <a:cubicBezTo>
                        <a:pt x="7379" y="650"/>
                        <a:pt x="15993" y="-1124"/>
                        <a:pt x="27901" y="523"/>
                      </a:cubicBezTo>
                      <a:cubicBezTo>
                        <a:pt x="41837" y="2423"/>
                        <a:pt x="48424" y="7617"/>
                        <a:pt x="50705" y="21552"/>
                      </a:cubicBezTo>
                      <a:cubicBezTo>
                        <a:pt x="52351" y="31687"/>
                        <a:pt x="54885" y="42581"/>
                        <a:pt x="51084" y="52589"/>
                      </a:cubicBezTo>
                      <a:cubicBezTo>
                        <a:pt x="48424" y="59684"/>
                        <a:pt x="37402" y="59810"/>
                        <a:pt x="30941" y="58797"/>
                      </a:cubicBezTo>
                      <a:cubicBezTo>
                        <a:pt x="19287" y="57150"/>
                        <a:pt x="12066" y="52843"/>
                        <a:pt x="6112" y="4270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78" name="Полилиния: фигура 477">
                  <a:extLst>
                    <a:ext uri="{FF2B5EF4-FFF2-40B4-BE49-F238E27FC236}">
                      <a16:creationId xmlns:a16="http://schemas.microsoft.com/office/drawing/2014/main" id="{64F29EDD-E47E-4804-976E-8AC53AC659E8}"/>
                    </a:ext>
                  </a:extLst>
                </p:cNvPr>
                <p:cNvSpPr/>
                <p:nvPr/>
              </p:nvSpPr>
              <p:spPr>
                <a:xfrm>
                  <a:off x="9580658" y="2105325"/>
                  <a:ext cx="182931" cy="138187"/>
                </a:xfrm>
                <a:custGeom>
                  <a:avLst/>
                  <a:gdLst>
                    <a:gd name="connsiteX0" fmla="*/ 18412 w 182931"/>
                    <a:gd name="connsiteY0" fmla="*/ 137637 h 138187"/>
                    <a:gd name="connsiteX1" fmla="*/ 296 w 182931"/>
                    <a:gd name="connsiteY1" fmla="*/ 130670 h 138187"/>
                    <a:gd name="connsiteX2" fmla="*/ 9671 w 182931"/>
                    <a:gd name="connsiteY2" fmla="*/ 110020 h 138187"/>
                    <a:gd name="connsiteX3" fmla="*/ 17018 w 182931"/>
                    <a:gd name="connsiteY3" fmla="*/ 83290 h 138187"/>
                    <a:gd name="connsiteX4" fmla="*/ 13471 w 182931"/>
                    <a:gd name="connsiteY4" fmla="*/ 56434 h 138187"/>
                    <a:gd name="connsiteX5" fmla="*/ 17525 w 182931"/>
                    <a:gd name="connsiteY5" fmla="*/ 35151 h 138187"/>
                    <a:gd name="connsiteX6" fmla="*/ 28546 w 182931"/>
                    <a:gd name="connsiteY6" fmla="*/ 9054 h 138187"/>
                    <a:gd name="connsiteX7" fmla="*/ 50335 w 182931"/>
                    <a:gd name="connsiteY7" fmla="*/ 1707 h 138187"/>
                    <a:gd name="connsiteX8" fmla="*/ 97588 w 182931"/>
                    <a:gd name="connsiteY8" fmla="*/ 5254 h 138187"/>
                    <a:gd name="connsiteX9" fmla="*/ 123558 w 182931"/>
                    <a:gd name="connsiteY9" fmla="*/ 19569 h 138187"/>
                    <a:gd name="connsiteX10" fmla="*/ 145601 w 182931"/>
                    <a:gd name="connsiteY10" fmla="*/ 26030 h 138187"/>
                    <a:gd name="connsiteX11" fmla="*/ 161436 w 182931"/>
                    <a:gd name="connsiteY11" fmla="*/ 42245 h 138187"/>
                    <a:gd name="connsiteX12" fmla="*/ 180819 w 182931"/>
                    <a:gd name="connsiteY12" fmla="*/ 60741 h 138187"/>
                    <a:gd name="connsiteX13" fmla="*/ 176258 w 182931"/>
                    <a:gd name="connsiteY13" fmla="*/ 78857 h 138187"/>
                    <a:gd name="connsiteX14" fmla="*/ 151681 w 182931"/>
                    <a:gd name="connsiteY14" fmla="*/ 82657 h 138187"/>
                    <a:gd name="connsiteX15" fmla="*/ 107090 w 182931"/>
                    <a:gd name="connsiteY15" fmla="*/ 106093 h 138187"/>
                    <a:gd name="connsiteX16" fmla="*/ 73392 w 182931"/>
                    <a:gd name="connsiteY16" fmla="*/ 123702 h 138187"/>
                    <a:gd name="connsiteX17" fmla="*/ 56669 w 182931"/>
                    <a:gd name="connsiteY17" fmla="*/ 116988 h 138187"/>
                    <a:gd name="connsiteX18" fmla="*/ 34247 w 182931"/>
                    <a:gd name="connsiteY18" fmla="*/ 127376 h 138187"/>
                    <a:gd name="connsiteX19" fmla="*/ 18412 w 182931"/>
                    <a:gd name="connsiteY19" fmla="*/ 137637 h 13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931" h="138187">
                      <a:moveTo>
                        <a:pt x="18412" y="137637"/>
                      </a:moveTo>
                      <a:cubicBezTo>
                        <a:pt x="12204" y="139031"/>
                        <a:pt x="2196" y="138144"/>
                        <a:pt x="296" y="130670"/>
                      </a:cubicBezTo>
                      <a:cubicBezTo>
                        <a:pt x="-1604" y="123322"/>
                        <a:pt x="6123" y="115594"/>
                        <a:pt x="9671" y="110020"/>
                      </a:cubicBezTo>
                      <a:cubicBezTo>
                        <a:pt x="15118" y="101786"/>
                        <a:pt x="17652" y="93172"/>
                        <a:pt x="17018" y="83290"/>
                      </a:cubicBezTo>
                      <a:cubicBezTo>
                        <a:pt x="16511" y="74296"/>
                        <a:pt x="13851" y="65555"/>
                        <a:pt x="13471" y="56434"/>
                      </a:cubicBezTo>
                      <a:cubicBezTo>
                        <a:pt x="13217" y="49086"/>
                        <a:pt x="15371" y="42119"/>
                        <a:pt x="17525" y="35151"/>
                      </a:cubicBezTo>
                      <a:cubicBezTo>
                        <a:pt x="20185" y="26410"/>
                        <a:pt x="22719" y="16275"/>
                        <a:pt x="28546" y="9054"/>
                      </a:cubicBezTo>
                      <a:cubicBezTo>
                        <a:pt x="34120" y="2087"/>
                        <a:pt x="41975" y="1580"/>
                        <a:pt x="50335" y="1707"/>
                      </a:cubicBezTo>
                      <a:cubicBezTo>
                        <a:pt x="66551" y="1960"/>
                        <a:pt x="83273" y="-4120"/>
                        <a:pt x="97588" y="5254"/>
                      </a:cubicBezTo>
                      <a:cubicBezTo>
                        <a:pt x="105949" y="10828"/>
                        <a:pt x="113803" y="16529"/>
                        <a:pt x="123558" y="19569"/>
                      </a:cubicBezTo>
                      <a:cubicBezTo>
                        <a:pt x="130779" y="21849"/>
                        <a:pt x="139140" y="21976"/>
                        <a:pt x="145601" y="26030"/>
                      </a:cubicBezTo>
                      <a:cubicBezTo>
                        <a:pt x="151935" y="30084"/>
                        <a:pt x="156116" y="37051"/>
                        <a:pt x="161436" y="42245"/>
                      </a:cubicBezTo>
                      <a:cubicBezTo>
                        <a:pt x="167643" y="48326"/>
                        <a:pt x="176258" y="53267"/>
                        <a:pt x="180819" y="60741"/>
                      </a:cubicBezTo>
                      <a:cubicBezTo>
                        <a:pt x="184999" y="67455"/>
                        <a:pt x="182719" y="74549"/>
                        <a:pt x="176258" y="78857"/>
                      </a:cubicBezTo>
                      <a:cubicBezTo>
                        <a:pt x="168911" y="83670"/>
                        <a:pt x="160043" y="83164"/>
                        <a:pt x="151681" y="82657"/>
                      </a:cubicBezTo>
                      <a:cubicBezTo>
                        <a:pt x="132679" y="81770"/>
                        <a:pt x="120264" y="93932"/>
                        <a:pt x="107090" y="106093"/>
                      </a:cubicBezTo>
                      <a:cubicBezTo>
                        <a:pt x="98095" y="114454"/>
                        <a:pt x="87707" y="129403"/>
                        <a:pt x="73392" y="123702"/>
                      </a:cubicBezTo>
                      <a:cubicBezTo>
                        <a:pt x="67057" y="121169"/>
                        <a:pt x="64017" y="115468"/>
                        <a:pt x="56669" y="116988"/>
                      </a:cubicBezTo>
                      <a:cubicBezTo>
                        <a:pt x="49069" y="118635"/>
                        <a:pt x="40328" y="122562"/>
                        <a:pt x="34247" y="127376"/>
                      </a:cubicBezTo>
                      <a:cubicBezTo>
                        <a:pt x="29180" y="131683"/>
                        <a:pt x="25506" y="136117"/>
                        <a:pt x="18412" y="13763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79" name="Полилиния: фигура 478">
                  <a:extLst>
                    <a:ext uri="{FF2B5EF4-FFF2-40B4-BE49-F238E27FC236}">
                      <a16:creationId xmlns:a16="http://schemas.microsoft.com/office/drawing/2014/main" id="{3F2C7B5B-0058-49B6-865B-33A9F938549F}"/>
                    </a:ext>
                  </a:extLst>
                </p:cNvPr>
                <p:cNvSpPr/>
                <p:nvPr/>
              </p:nvSpPr>
              <p:spPr>
                <a:xfrm>
                  <a:off x="9175012" y="1987116"/>
                  <a:ext cx="56049" cy="81559"/>
                </a:xfrm>
                <a:custGeom>
                  <a:avLst/>
                  <a:gdLst>
                    <a:gd name="connsiteX0" fmla="*/ 7145 w 56049"/>
                    <a:gd name="connsiteY0" fmla="*/ 31998 h 81559"/>
                    <a:gd name="connsiteX1" fmla="*/ 4232 w 56049"/>
                    <a:gd name="connsiteY1" fmla="*/ 74 h 81559"/>
                    <a:gd name="connsiteX2" fmla="*/ 18420 w 56049"/>
                    <a:gd name="connsiteY2" fmla="*/ 14263 h 81559"/>
                    <a:gd name="connsiteX3" fmla="*/ 34762 w 56049"/>
                    <a:gd name="connsiteY3" fmla="*/ 21357 h 81559"/>
                    <a:gd name="connsiteX4" fmla="*/ 38182 w 56049"/>
                    <a:gd name="connsiteY4" fmla="*/ 40233 h 81559"/>
                    <a:gd name="connsiteX5" fmla="*/ 44010 w 56049"/>
                    <a:gd name="connsiteY5" fmla="*/ 57968 h 81559"/>
                    <a:gd name="connsiteX6" fmla="*/ 56044 w 56049"/>
                    <a:gd name="connsiteY6" fmla="*/ 73804 h 81559"/>
                    <a:gd name="connsiteX7" fmla="*/ 39449 w 56049"/>
                    <a:gd name="connsiteY7" fmla="*/ 81151 h 81559"/>
                    <a:gd name="connsiteX8" fmla="*/ 28681 w 56049"/>
                    <a:gd name="connsiteY8" fmla="*/ 71650 h 81559"/>
                    <a:gd name="connsiteX9" fmla="*/ 20067 w 56049"/>
                    <a:gd name="connsiteY9" fmla="*/ 60755 h 81559"/>
                    <a:gd name="connsiteX10" fmla="*/ 7145 w 56049"/>
                    <a:gd name="connsiteY10" fmla="*/ 31998 h 81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049" h="81559">
                      <a:moveTo>
                        <a:pt x="7145" y="31998"/>
                      </a:moveTo>
                      <a:cubicBezTo>
                        <a:pt x="5371" y="26931"/>
                        <a:pt x="-6030" y="2355"/>
                        <a:pt x="4232" y="74"/>
                      </a:cubicBezTo>
                      <a:cubicBezTo>
                        <a:pt x="9552" y="-1066"/>
                        <a:pt x="15126" y="11222"/>
                        <a:pt x="18420" y="14263"/>
                      </a:cubicBezTo>
                      <a:cubicBezTo>
                        <a:pt x="23234" y="18697"/>
                        <a:pt x="30201" y="17303"/>
                        <a:pt x="34762" y="21357"/>
                      </a:cubicBezTo>
                      <a:cubicBezTo>
                        <a:pt x="39702" y="25664"/>
                        <a:pt x="38182" y="34405"/>
                        <a:pt x="38182" y="40233"/>
                      </a:cubicBezTo>
                      <a:cubicBezTo>
                        <a:pt x="38309" y="46947"/>
                        <a:pt x="39702" y="52774"/>
                        <a:pt x="44010" y="57968"/>
                      </a:cubicBezTo>
                      <a:cubicBezTo>
                        <a:pt x="47937" y="62782"/>
                        <a:pt x="56298" y="66709"/>
                        <a:pt x="56044" y="73804"/>
                      </a:cubicBezTo>
                      <a:cubicBezTo>
                        <a:pt x="55791" y="81405"/>
                        <a:pt x="45277" y="82291"/>
                        <a:pt x="39449" y="81151"/>
                      </a:cubicBezTo>
                      <a:cubicBezTo>
                        <a:pt x="34382" y="80138"/>
                        <a:pt x="31342" y="75831"/>
                        <a:pt x="28681" y="71650"/>
                      </a:cubicBezTo>
                      <a:cubicBezTo>
                        <a:pt x="26021" y="67470"/>
                        <a:pt x="23234" y="64556"/>
                        <a:pt x="20067" y="60755"/>
                      </a:cubicBezTo>
                      <a:cubicBezTo>
                        <a:pt x="13099" y="52648"/>
                        <a:pt x="10566" y="41880"/>
                        <a:pt x="7145" y="3199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0" name="Полилиния: фигура 479">
                  <a:extLst>
                    <a:ext uri="{FF2B5EF4-FFF2-40B4-BE49-F238E27FC236}">
                      <a16:creationId xmlns:a16="http://schemas.microsoft.com/office/drawing/2014/main" id="{69C74E87-713D-48B2-ABB2-8CCCEA28BC3F}"/>
                    </a:ext>
                  </a:extLst>
                </p:cNvPr>
                <p:cNvSpPr/>
                <p:nvPr/>
              </p:nvSpPr>
              <p:spPr>
                <a:xfrm>
                  <a:off x="9322323" y="2241043"/>
                  <a:ext cx="57903" cy="28526"/>
                </a:xfrm>
                <a:custGeom>
                  <a:avLst/>
                  <a:gdLst>
                    <a:gd name="connsiteX0" fmla="*/ 2859 w 57903"/>
                    <a:gd name="connsiteY0" fmla="*/ 1539 h 28526"/>
                    <a:gd name="connsiteX1" fmla="*/ 30096 w 57903"/>
                    <a:gd name="connsiteY1" fmla="*/ 5719 h 28526"/>
                    <a:gd name="connsiteX2" fmla="*/ 53658 w 57903"/>
                    <a:gd name="connsiteY2" fmla="*/ 12686 h 28526"/>
                    <a:gd name="connsiteX3" fmla="*/ 50998 w 57903"/>
                    <a:gd name="connsiteY3" fmla="*/ 28522 h 28526"/>
                    <a:gd name="connsiteX4" fmla="*/ 16414 w 57903"/>
                    <a:gd name="connsiteY4" fmla="*/ 19401 h 28526"/>
                    <a:gd name="connsiteX5" fmla="*/ 2859 w 57903"/>
                    <a:gd name="connsiteY5" fmla="*/ 1539 h 2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03" h="28526">
                      <a:moveTo>
                        <a:pt x="2859" y="1539"/>
                      </a:moveTo>
                      <a:cubicBezTo>
                        <a:pt x="11600" y="-2769"/>
                        <a:pt x="21862" y="3059"/>
                        <a:pt x="30096" y="5719"/>
                      </a:cubicBezTo>
                      <a:cubicBezTo>
                        <a:pt x="37317" y="7999"/>
                        <a:pt x="47705" y="7619"/>
                        <a:pt x="53658" y="12686"/>
                      </a:cubicBezTo>
                      <a:cubicBezTo>
                        <a:pt x="59232" y="17627"/>
                        <a:pt x="60246" y="28775"/>
                        <a:pt x="50998" y="28522"/>
                      </a:cubicBezTo>
                      <a:cubicBezTo>
                        <a:pt x="39090" y="28269"/>
                        <a:pt x="26042" y="27002"/>
                        <a:pt x="16414" y="19401"/>
                      </a:cubicBezTo>
                      <a:cubicBezTo>
                        <a:pt x="12486" y="16234"/>
                        <a:pt x="-7276" y="6479"/>
                        <a:pt x="2859" y="153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1" name="Полилиния: фигура 480">
                  <a:extLst>
                    <a:ext uri="{FF2B5EF4-FFF2-40B4-BE49-F238E27FC236}">
                      <a16:creationId xmlns:a16="http://schemas.microsoft.com/office/drawing/2014/main" id="{A7DF0495-52E7-4BC1-A24F-399B41897AC6}"/>
                    </a:ext>
                  </a:extLst>
                </p:cNvPr>
                <p:cNvSpPr/>
                <p:nvPr/>
              </p:nvSpPr>
              <p:spPr>
                <a:xfrm>
                  <a:off x="9247423" y="1777191"/>
                  <a:ext cx="355592" cy="316568"/>
                </a:xfrm>
                <a:custGeom>
                  <a:avLst/>
                  <a:gdLst>
                    <a:gd name="connsiteX0" fmla="*/ 181638 w 355592"/>
                    <a:gd name="connsiteY0" fmla="*/ 271820 h 316568"/>
                    <a:gd name="connsiteX1" fmla="*/ 185439 w 355592"/>
                    <a:gd name="connsiteY1" fmla="*/ 295509 h 316568"/>
                    <a:gd name="connsiteX2" fmla="*/ 167957 w 355592"/>
                    <a:gd name="connsiteY2" fmla="*/ 306657 h 316568"/>
                    <a:gd name="connsiteX3" fmla="*/ 150221 w 355592"/>
                    <a:gd name="connsiteY3" fmla="*/ 311471 h 316568"/>
                    <a:gd name="connsiteX4" fmla="*/ 138440 w 355592"/>
                    <a:gd name="connsiteY4" fmla="*/ 316539 h 316568"/>
                    <a:gd name="connsiteX5" fmla="*/ 112723 w 355592"/>
                    <a:gd name="connsiteY5" fmla="*/ 294242 h 316568"/>
                    <a:gd name="connsiteX6" fmla="*/ 75352 w 355592"/>
                    <a:gd name="connsiteY6" fmla="*/ 290695 h 316568"/>
                    <a:gd name="connsiteX7" fmla="*/ 39880 w 355592"/>
                    <a:gd name="connsiteY7" fmla="*/ 276380 h 316568"/>
                    <a:gd name="connsiteX8" fmla="*/ 31899 w 355592"/>
                    <a:gd name="connsiteY8" fmla="*/ 246737 h 316568"/>
                    <a:gd name="connsiteX9" fmla="*/ 35953 w 355592"/>
                    <a:gd name="connsiteY9" fmla="*/ 230521 h 316568"/>
                    <a:gd name="connsiteX10" fmla="*/ 23159 w 355592"/>
                    <a:gd name="connsiteY10" fmla="*/ 219373 h 316568"/>
                    <a:gd name="connsiteX11" fmla="*/ 7703 w 355592"/>
                    <a:gd name="connsiteY11" fmla="*/ 208605 h 316568"/>
                    <a:gd name="connsiteX12" fmla="*/ 12771 w 355592"/>
                    <a:gd name="connsiteY12" fmla="*/ 192896 h 316568"/>
                    <a:gd name="connsiteX13" fmla="*/ 18978 w 355592"/>
                    <a:gd name="connsiteY13" fmla="*/ 179468 h 316568"/>
                    <a:gd name="connsiteX14" fmla="*/ 7324 w 355592"/>
                    <a:gd name="connsiteY14" fmla="*/ 172121 h 316568"/>
                    <a:gd name="connsiteX15" fmla="*/ 7197 w 355592"/>
                    <a:gd name="connsiteY15" fmla="*/ 147924 h 316568"/>
                    <a:gd name="connsiteX16" fmla="*/ 13784 w 355592"/>
                    <a:gd name="connsiteY16" fmla="*/ 125248 h 316568"/>
                    <a:gd name="connsiteX17" fmla="*/ 14671 w 355592"/>
                    <a:gd name="connsiteY17" fmla="*/ 109286 h 316568"/>
                    <a:gd name="connsiteX18" fmla="*/ 22145 w 355592"/>
                    <a:gd name="connsiteY18" fmla="*/ 100545 h 316568"/>
                    <a:gd name="connsiteX19" fmla="*/ 37347 w 355592"/>
                    <a:gd name="connsiteY19" fmla="*/ 79516 h 316568"/>
                    <a:gd name="connsiteX20" fmla="*/ 53056 w 355592"/>
                    <a:gd name="connsiteY20" fmla="*/ 86230 h 316568"/>
                    <a:gd name="connsiteX21" fmla="*/ 63570 w 355592"/>
                    <a:gd name="connsiteY21" fmla="*/ 94591 h 316568"/>
                    <a:gd name="connsiteX22" fmla="*/ 91187 w 355592"/>
                    <a:gd name="connsiteY22" fmla="*/ 94591 h 316568"/>
                    <a:gd name="connsiteX23" fmla="*/ 121084 w 355592"/>
                    <a:gd name="connsiteY23" fmla="*/ 111946 h 316568"/>
                    <a:gd name="connsiteX24" fmla="*/ 136033 w 355592"/>
                    <a:gd name="connsiteY24" fmla="*/ 126895 h 316568"/>
                    <a:gd name="connsiteX25" fmla="*/ 161496 w 355592"/>
                    <a:gd name="connsiteY25" fmla="*/ 125628 h 316568"/>
                    <a:gd name="connsiteX26" fmla="*/ 167957 w 355592"/>
                    <a:gd name="connsiteY26" fmla="*/ 102952 h 316568"/>
                    <a:gd name="connsiteX27" fmla="*/ 151741 w 355592"/>
                    <a:gd name="connsiteY27" fmla="*/ 90030 h 316568"/>
                    <a:gd name="connsiteX28" fmla="*/ 133499 w 355592"/>
                    <a:gd name="connsiteY28" fmla="*/ 81669 h 316568"/>
                    <a:gd name="connsiteX29" fmla="*/ 132866 w 355592"/>
                    <a:gd name="connsiteY29" fmla="*/ 60007 h 316568"/>
                    <a:gd name="connsiteX30" fmla="*/ 127165 w 355592"/>
                    <a:gd name="connsiteY30" fmla="*/ 42524 h 316568"/>
                    <a:gd name="connsiteX31" fmla="*/ 148701 w 355592"/>
                    <a:gd name="connsiteY31" fmla="*/ 33657 h 316568"/>
                    <a:gd name="connsiteX32" fmla="*/ 197347 w 355592"/>
                    <a:gd name="connsiteY32" fmla="*/ 42398 h 316568"/>
                    <a:gd name="connsiteX33" fmla="*/ 234085 w 355592"/>
                    <a:gd name="connsiteY33" fmla="*/ 24535 h 316568"/>
                    <a:gd name="connsiteX34" fmla="*/ 250807 w 355592"/>
                    <a:gd name="connsiteY34" fmla="*/ 12501 h 316568"/>
                    <a:gd name="connsiteX35" fmla="*/ 265249 w 355592"/>
                    <a:gd name="connsiteY35" fmla="*/ 7433 h 316568"/>
                    <a:gd name="connsiteX36" fmla="*/ 277157 w 355592"/>
                    <a:gd name="connsiteY36" fmla="*/ 14274 h 316568"/>
                    <a:gd name="connsiteX37" fmla="*/ 313261 w 355592"/>
                    <a:gd name="connsiteY37" fmla="*/ 1479 h 316568"/>
                    <a:gd name="connsiteX38" fmla="*/ 330110 w 355592"/>
                    <a:gd name="connsiteY38" fmla="*/ 38977 h 316568"/>
                    <a:gd name="connsiteX39" fmla="*/ 341385 w 355592"/>
                    <a:gd name="connsiteY39" fmla="*/ 57600 h 316568"/>
                    <a:gd name="connsiteX40" fmla="*/ 343285 w 355592"/>
                    <a:gd name="connsiteY40" fmla="*/ 70395 h 316568"/>
                    <a:gd name="connsiteX41" fmla="*/ 345692 w 355592"/>
                    <a:gd name="connsiteY41" fmla="*/ 91044 h 316568"/>
                    <a:gd name="connsiteX42" fmla="*/ 355193 w 355592"/>
                    <a:gd name="connsiteY42" fmla="*/ 111566 h 316568"/>
                    <a:gd name="connsiteX43" fmla="*/ 335051 w 355592"/>
                    <a:gd name="connsiteY43" fmla="*/ 131836 h 316568"/>
                    <a:gd name="connsiteX44" fmla="*/ 291979 w 355592"/>
                    <a:gd name="connsiteY44" fmla="*/ 129682 h 316568"/>
                    <a:gd name="connsiteX45" fmla="*/ 255367 w 355592"/>
                    <a:gd name="connsiteY45" fmla="*/ 121574 h 316568"/>
                    <a:gd name="connsiteX46" fmla="*/ 238645 w 355592"/>
                    <a:gd name="connsiteY46" fmla="*/ 98138 h 316568"/>
                    <a:gd name="connsiteX47" fmla="*/ 233452 w 355592"/>
                    <a:gd name="connsiteY47" fmla="*/ 76602 h 316568"/>
                    <a:gd name="connsiteX48" fmla="*/ 232311 w 355592"/>
                    <a:gd name="connsiteY48" fmla="*/ 61020 h 316568"/>
                    <a:gd name="connsiteX49" fmla="*/ 221797 w 355592"/>
                    <a:gd name="connsiteY49" fmla="*/ 62033 h 316568"/>
                    <a:gd name="connsiteX50" fmla="*/ 217489 w 355592"/>
                    <a:gd name="connsiteY50" fmla="*/ 116507 h 316568"/>
                    <a:gd name="connsiteX51" fmla="*/ 241052 w 355592"/>
                    <a:gd name="connsiteY51" fmla="*/ 137156 h 316568"/>
                    <a:gd name="connsiteX52" fmla="*/ 256127 w 355592"/>
                    <a:gd name="connsiteY52" fmla="*/ 147797 h 316568"/>
                    <a:gd name="connsiteX53" fmla="*/ 279564 w 355592"/>
                    <a:gd name="connsiteY53" fmla="*/ 149064 h 316568"/>
                    <a:gd name="connsiteX54" fmla="*/ 320736 w 355592"/>
                    <a:gd name="connsiteY54" fmla="*/ 155145 h 316568"/>
                    <a:gd name="connsiteX55" fmla="*/ 322509 w 355592"/>
                    <a:gd name="connsiteY55" fmla="*/ 168193 h 316568"/>
                    <a:gd name="connsiteX56" fmla="*/ 314529 w 355592"/>
                    <a:gd name="connsiteY56" fmla="*/ 180228 h 316568"/>
                    <a:gd name="connsiteX57" fmla="*/ 302240 w 355592"/>
                    <a:gd name="connsiteY57" fmla="*/ 195303 h 316568"/>
                    <a:gd name="connsiteX58" fmla="*/ 295146 w 355592"/>
                    <a:gd name="connsiteY58" fmla="*/ 196064 h 316568"/>
                    <a:gd name="connsiteX59" fmla="*/ 279817 w 355592"/>
                    <a:gd name="connsiteY59" fmla="*/ 192896 h 316568"/>
                    <a:gd name="connsiteX60" fmla="*/ 261068 w 355592"/>
                    <a:gd name="connsiteY60" fmla="*/ 185422 h 316568"/>
                    <a:gd name="connsiteX61" fmla="*/ 253087 w 355592"/>
                    <a:gd name="connsiteY61" fmla="*/ 206832 h 316568"/>
                    <a:gd name="connsiteX62" fmla="*/ 235099 w 355592"/>
                    <a:gd name="connsiteY62" fmla="*/ 220767 h 316568"/>
                    <a:gd name="connsiteX63" fmla="*/ 223444 w 355592"/>
                    <a:gd name="connsiteY63" fmla="*/ 232928 h 316568"/>
                    <a:gd name="connsiteX64" fmla="*/ 216983 w 355592"/>
                    <a:gd name="connsiteY64" fmla="*/ 247117 h 316568"/>
                    <a:gd name="connsiteX65" fmla="*/ 207988 w 355592"/>
                    <a:gd name="connsiteY65" fmla="*/ 256364 h 316568"/>
                    <a:gd name="connsiteX66" fmla="*/ 198107 w 355592"/>
                    <a:gd name="connsiteY66" fmla="*/ 262192 h 316568"/>
                    <a:gd name="connsiteX67" fmla="*/ 191013 w 355592"/>
                    <a:gd name="connsiteY67" fmla="*/ 257251 h 316568"/>
                    <a:gd name="connsiteX68" fmla="*/ 183412 w 355592"/>
                    <a:gd name="connsiteY68" fmla="*/ 238882 h 316568"/>
                    <a:gd name="connsiteX69" fmla="*/ 180245 w 355592"/>
                    <a:gd name="connsiteY69" fmla="*/ 229381 h 316568"/>
                    <a:gd name="connsiteX70" fmla="*/ 174291 w 355592"/>
                    <a:gd name="connsiteY70" fmla="*/ 234702 h 316568"/>
                    <a:gd name="connsiteX71" fmla="*/ 170237 w 355592"/>
                    <a:gd name="connsiteY71" fmla="*/ 249017 h 316568"/>
                    <a:gd name="connsiteX72" fmla="*/ 177965 w 355592"/>
                    <a:gd name="connsiteY72" fmla="*/ 262065 h 316568"/>
                    <a:gd name="connsiteX73" fmla="*/ 181638 w 355592"/>
                    <a:gd name="connsiteY73" fmla="*/ 271820 h 31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5592" h="316568">
                      <a:moveTo>
                        <a:pt x="181638" y="271820"/>
                      </a:moveTo>
                      <a:cubicBezTo>
                        <a:pt x="184426" y="279674"/>
                        <a:pt x="186959" y="287908"/>
                        <a:pt x="185439" y="295509"/>
                      </a:cubicBezTo>
                      <a:cubicBezTo>
                        <a:pt x="183285" y="306151"/>
                        <a:pt x="177078" y="306404"/>
                        <a:pt x="167957" y="306657"/>
                      </a:cubicBezTo>
                      <a:cubicBezTo>
                        <a:pt x="161623" y="306911"/>
                        <a:pt x="155795" y="308304"/>
                        <a:pt x="150221" y="311471"/>
                      </a:cubicBezTo>
                      <a:cubicBezTo>
                        <a:pt x="146548" y="313625"/>
                        <a:pt x="143000" y="316919"/>
                        <a:pt x="138440" y="316539"/>
                      </a:cubicBezTo>
                      <a:cubicBezTo>
                        <a:pt x="127165" y="315779"/>
                        <a:pt x="120957" y="300323"/>
                        <a:pt x="112723" y="294242"/>
                      </a:cubicBezTo>
                      <a:cubicBezTo>
                        <a:pt x="102588" y="286642"/>
                        <a:pt x="87133" y="291329"/>
                        <a:pt x="75352" y="290695"/>
                      </a:cubicBezTo>
                      <a:cubicBezTo>
                        <a:pt x="61924" y="289935"/>
                        <a:pt x="49889" y="285375"/>
                        <a:pt x="39880" y="276380"/>
                      </a:cubicBezTo>
                      <a:cubicBezTo>
                        <a:pt x="30379" y="267893"/>
                        <a:pt x="27466" y="258771"/>
                        <a:pt x="31899" y="246737"/>
                      </a:cubicBezTo>
                      <a:cubicBezTo>
                        <a:pt x="33800" y="241796"/>
                        <a:pt x="37221" y="235969"/>
                        <a:pt x="35953" y="230521"/>
                      </a:cubicBezTo>
                      <a:cubicBezTo>
                        <a:pt x="34687" y="224567"/>
                        <a:pt x="28099" y="221780"/>
                        <a:pt x="23159" y="219373"/>
                      </a:cubicBezTo>
                      <a:cubicBezTo>
                        <a:pt x="18091" y="216839"/>
                        <a:pt x="10110" y="214432"/>
                        <a:pt x="7703" y="208605"/>
                      </a:cubicBezTo>
                      <a:cubicBezTo>
                        <a:pt x="5423" y="203031"/>
                        <a:pt x="9730" y="197204"/>
                        <a:pt x="12771" y="192896"/>
                      </a:cubicBezTo>
                      <a:cubicBezTo>
                        <a:pt x="15178" y="189476"/>
                        <a:pt x="20625" y="184029"/>
                        <a:pt x="18978" y="179468"/>
                      </a:cubicBezTo>
                      <a:cubicBezTo>
                        <a:pt x="17458" y="175288"/>
                        <a:pt x="10744" y="173894"/>
                        <a:pt x="7324" y="172121"/>
                      </a:cubicBezTo>
                      <a:cubicBezTo>
                        <a:pt x="-5345" y="165786"/>
                        <a:pt x="990" y="157045"/>
                        <a:pt x="7197" y="147924"/>
                      </a:cubicBezTo>
                      <a:cubicBezTo>
                        <a:pt x="11757" y="141083"/>
                        <a:pt x="14037" y="133356"/>
                        <a:pt x="13784" y="125248"/>
                      </a:cubicBezTo>
                      <a:cubicBezTo>
                        <a:pt x="13658" y="119927"/>
                        <a:pt x="12011" y="114227"/>
                        <a:pt x="14671" y="109286"/>
                      </a:cubicBezTo>
                      <a:cubicBezTo>
                        <a:pt x="16444" y="105866"/>
                        <a:pt x="19992" y="103585"/>
                        <a:pt x="22145" y="100545"/>
                      </a:cubicBezTo>
                      <a:cubicBezTo>
                        <a:pt x="28353" y="91677"/>
                        <a:pt x="21638" y="77109"/>
                        <a:pt x="37347" y="79516"/>
                      </a:cubicBezTo>
                      <a:cubicBezTo>
                        <a:pt x="43555" y="80402"/>
                        <a:pt x="49256" y="80656"/>
                        <a:pt x="53056" y="86230"/>
                      </a:cubicBezTo>
                      <a:cubicBezTo>
                        <a:pt x="56096" y="90917"/>
                        <a:pt x="57743" y="93197"/>
                        <a:pt x="63570" y="94591"/>
                      </a:cubicBezTo>
                      <a:cubicBezTo>
                        <a:pt x="72818" y="96871"/>
                        <a:pt x="81939" y="93577"/>
                        <a:pt x="91187" y="94591"/>
                      </a:cubicBezTo>
                      <a:cubicBezTo>
                        <a:pt x="103222" y="95984"/>
                        <a:pt x="112216" y="104599"/>
                        <a:pt x="121084" y="111946"/>
                      </a:cubicBezTo>
                      <a:cubicBezTo>
                        <a:pt x="126278" y="116380"/>
                        <a:pt x="130205" y="123474"/>
                        <a:pt x="136033" y="126895"/>
                      </a:cubicBezTo>
                      <a:cubicBezTo>
                        <a:pt x="142240" y="130442"/>
                        <a:pt x="156302" y="131582"/>
                        <a:pt x="161496" y="125628"/>
                      </a:cubicBezTo>
                      <a:cubicBezTo>
                        <a:pt x="165930" y="120561"/>
                        <a:pt x="169350" y="109539"/>
                        <a:pt x="167957" y="102952"/>
                      </a:cubicBezTo>
                      <a:cubicBezTo>
                        <a:pt x="166563" y="95604"/>
                        <a:pt x="157949" y="92184"/>
                        <a:pt x="151741" y="90030"/>
                      </a:cubicBezTo>
                      <a:cubicBezTo>
                        <a:pt x="146294" y="88257"/>
                        <a:pt x="136033" y="87243"/>
                        <a:pt x="133499" y="81669"/>
                      </a:cubicBezTo>
                      <a:cubicBezTo>
                        <a:pt x="130332" y="74828"/>
                        <a:pt x="133626" y="67227"/>
                        <a:pt x="132866" y="60007"/>
                      </a:cubicBezTo>
                      <a:cubicBezTo>
                        <a:pt x="132106" y="53546"/>
                        <a:pt x="127545" y="49619"/>
                        <a:pt x="127165" y="42524"/>
                      </a:cubicBezTo>
                      <a:cubicBezTo>
                        <a:pt x="126658" y="29476"/>
                        <a:pt x="139579" y="31503"/>
                        <a:pt x="148701" y="33657"/>
                      </a:cubicBezTo>
                      <a:cubicBezTo>
                        <a:pt x="164663" y="37584"/>
                        <a:pt x="180498" y="43538"/>
                        <a:pt x="197347" y="42398"/>
                      </a:cubicBezTo>
                      <a:cubicBezTo>
                        <a:pt x="212042" y="41384"/>
                        <a:pt x="223317" y="34037"/>
                        <a:pt x="234085" y="24535"/>
                      </a:cubicBezTo>
                      <a:cubicBezTo>
                        <a:pt x="239405" y="19848"/>
                        <a:pt x="244853" y="16301"/>
                        <a:pt x="250807" y="12501"/>
                      </a:cubicBezTo>
                      <a:cubicBezTo>
                        <a:pt x="255115" y="9714"/>
                        <a:pt x="259675" y="5153"/>
                        <a:pt x="265249" y="7433"/>
                      </a:cubicBezTo>
                      <a:cubicBezTo>
                        <a:pt x="269303" y="9080"/>
                        <a:pt x="273610" y="11740"/>
                        <a:pt x="277157" y="14274"/>
                      </a:cubicBezTo>
                      <a:cubicBezTo>
                        <a:pt x="292106" y="24789"/>
                        <a:pt x="300466" y="6673"/>
                        <a:pt x="313261" y="1479"/>
                      </a:cubicBezTo>
                      <a:cubicBezTo>
                        <a:pt x="335431" y="-7642"/>
                        <a:pt x="329224" y="27956"/>
                        <a:pt x="330110" y="38977"/>
                      </a:cubicBezTo>
                      <a:cubicBezTo>
                        <a:pt x="330744" y="46325"/>
                        <a:pt x="337205" y="51645"/>
                        <a:pt x="341385" y="57600"/>
                      </a:cubicBezTo>
                      <a:cubicBezTo>
                        <a:pt x="343918" y="61147"/>
                        <a:pt x="343539" y="66214"/>
                        <a:pt x="343285" y="70395"/>
                      </a:cubicBezTo>
                      <a:cubicBezTo>
                        <a:pt x="342779" y="78249"/>
                        <a:pt x="341892" y="83696"/>
                        <a:pt x="345692" y="91044"/>
                      </a:cubicBezTo>
                      <a:cubicBezTo>
                        <a:pt x="349113" y="97631"/>
                        <a:pt x="353294" y="104345"/>
                        <a:pt x="355193" y="111566"/>
                      </a:cubicBezTo>
                      <a:cubicBezTo>
                        <a:pt x="358107" y="122714"/>
                        <a:pt x="344426" y="130949"/>
                        <a:pt x="335051" y="131836"/>
                      </a:cubicBezTo>
                      <a:cubicBezTo>
                        <a:pt x="321242" y="133229"/>
                        <a:pt x="305788" y="131709"/>
                        <a:pt x="291979" y="129682"/>
                      </a:cubicBezTo>
                      <a:cubicBezTo>
                        <a:pt x="280071" y="127908"/>
                        <a:pt x="266389" y="126768"/>
                        <a:pt x="255367" y="121574"/>
                      </a:cubicBezTo>
                      <a:cubicBezTo>
                        <a:pt x="245739" y="117140"/>
                        <a:pt x="242193" y="107513"/>
                        <a:pt x="238645" y="98138"/>
                      </a:cubicBezTo>
                      <a:cubicBezTo>
                        <a:pt x="235985" y="91297"/>
                        <a:pt x="231424" y="83569"/>
                        <a:pt x="233452" y="76602"/>
                      </a:cubicBezTo>
                      <a:cubicBezTo>
                        <a:pt x="234718" y="72675"/>
                        <a:pt x="236998" y="63680"/>
                        <a:pt x="232311" y="61020"/>
                      </a:cubicBezTo>
                      <a:cubicBezTo>
                        <a:pt x="230538" y="60007"/>
                        <a:pt x="223697" y="61400"/>
                        <a:pt x="221797" y="62033"/>
                      </a:cubicBezTo>
                      <a:cubicBezTo>
                        <a:pt x="201908" y="68874"/>
                        <a:pt x="211662" y="103332"/>
                        <a:pt x="217489" y="116507"/>
                      </a:cubicBezTo>
                      <a:cubicBezTo>
                        <a:pt x="221923" y="126515"/>
                        <a:pt x="232058" y="131836"/>
                        <a:pt x="241052" y="137156"/>
                      </a:cubicBezTo>
                      <a:cubicBezTo>
                        <a:pt x="246626" y="140450"/>
                        <a:pt x="251187" y="143997"/>
                        <a:pt x="256127" y="147797"/>
                      </a:cubicBezTo>
                      <a:cubicBezTo>
                        <a:pt x="261449" y="151851"/>
                        <a:pt x="272976" y="149318"/>
                        <a:pt x="279564" y="149064"/>
                      </a:cubicBezTo>
                      <a:cubicBezTo>
                        <a:pt x="291852" y="148684"/>
                        <a:pt x="310094" y="147544"/>
                        <a:pt x="320736" y="155145"/>
                      </a:cubicBezTo>
                      <a:cubicBezTo>
                        <a:pt x="325550" y="158566"/>
                        <a:pt x="324916" y="163253"/>
                        <a:pt x="322509" y="168193"/>
                      </a:cubicBezTo>
                      <a:cubicBezTo>
                        <a:pt x="320482" y="172501"/>
                        <a:pt x="317442" y="176428"/>
                        <a:pt x="314529" y="180228"/>
                      </a:cubicBezTo>
                      <a:cubicBezTo>
                        <a:pt x="311235" y="184535"/>
                        <a:pt x="306927" y="192516"/>
                        <a:pt x="302240" y="195303"/>
                      </a:cubicBezTo>
                      <a:cubicBezTo>
                        <a:pt x="299706" y="196950"/>
                        <a:pt x="298059" y="196317"/>
                        <a:pt x="295146" y="196064"/>
                      </a:cubicBezTo>
                      <a:cubicBezTo>
                        <a:pt x="289065" y="195684"/>
                        <a:pt x="284885" y="196317"/>
                        <a:pt x="279817" y="192896"/>
                      </a:cubicBezTo>
                      <a:cubicBezTo>
                        <a:pt x="274370" y="189223"/>
                        <a:pt x="267656" y="178455"/>
                        <a:pt x="261068" y="185422"/>
                      </a:cubicBezTo>
                      <a:cubicBezTo>
                        <a:pt x="255748" y="190996"/>
                        <a:pt x="256127" y="200117"/>
                        <a:pt x="253087" y="206832"/>
                      </a:cubicBezTo>
                      <a:cubicBezTo>
                        <a:pt x="249541" y="215066"/>
                        <a:pt x="242320" y="216586"/>
                        <a:pt x="235099" y="220767"/>
                      </a:cubicBezTo>
                      <a:cubicBezTo>
                        <a:pt x="230158" y="223554"/>
                        <a:pt x="226357" y="228114"/>
                        <a:pt x="223444" y="232928"/>
                      </a:cubicBezTo>
                      <a:cubicBezTo>
                        <a:pt x="220910" y="237362"/>
                        <a:pt x="220023" y="242936"/>
                        <a:pt x="216983" y="247117"/>
                      </a:cubicBezTo>
                      <a:cubicBezTo>
                        <a:pt x="214449" y="250537"/>
                        <a:pt x="210776" y="253071"/>
                        <a:pt x="207988" y="256364"/>
                      </a:cubicBezTo>
                      <a:cubicBezTo>
                        <a:pt x="205328" y="259532"/>
                        <a:pt x="202921" y="263965"/>
                        <a:pt x="198107" y="262192"/>
                      </a:cubicBezTo>
                      <a:cubicBezTo>
                        <a:pt x="195574" y="261178"/>
                        <a:pt x="192786" y="259151"/>
                        <a:pt x="191013" y="257251"/>
                      </a:cubicBezTo>
                      <a:cubicBezTo>
                        <a:pt x="185692" y="251424"/>
                        <a:pt x="183792" y="246737"/>
                        <a:pt x="183412" y="238882"/>
                      </a:cubicBezTo>
                      <a:cubicBezTo>
                        <a:pt x="183285" y="236349"/>
                        <a:pt x="183918" y="229761"/>
                        <a:pt x="180245" y="229381"/>
                      </a:cubicBezTo>
                      <a:cubicBezTo>
                        <a:pt x="177838" y="229128"/>
                        <a:pt x="175558" y="233182"/>
                        <a:pt x="174291" y="234702"/>
                      </a:cubicBezTo>
                      <a:cubicBezTo>
                        <a:pt x="170744" y="239389"/>
                        <a:pt x="166690" y="243063"/>
                        <a:pt x="170237" y="249017"/>
                      </a:cubicBezTo>
                      <a:cubicBezTo>
                        <a:pt x="173024" y="253577"/>
                        <a:pt x="176318" y="256871"/>
                        <a:pt x="177965" y="262065"/>
                      </a:cubicBezTo>
                      <a:cubicBezTo>
                        <a:pt x="179105" y="265232"/>
                        <a:pt x="180372" y="268526"/>
                        <a:pt x="181638" y="27182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2" name="Полилиния: фигура 481">
                  <a:extLst>
                    <a:ext uri="{FF2B5EF4-FFF2-40B4-BE49-F238E27FC236}">
                      <a16:creationId xmlns:a16="http://schemas.microsoft.com/office/drawing/2014/main" id="{B3B8B0E7-93FC-41EE-A4D3-17FE7E760719}"/>
                    </a:ext>
                  </a:extLst>
                </p:cNvPr>
                <p:cNvSpPr/>
                <p:nvPr/>
              </p:nvSpPr>
              <p:spPr>
                <a:xfrm>
                  <a:off x="9616676" y="1682411"/>
                  <a:ext cx="214632" cy="125511"/>
                </a:xfrm>
                <a:custGeom>
                  <a:avLst/>
                  <a:gdLst>
                    <a:gd name="connsiteX0" fmla="*/ 50422 w 214632"/>
                    <a:gd name="connsiteY0" fmla="*/ 44699 h 125511"/>
                    <a:gd name="connsiteX1" fmla="*/ 80318 w 214632"/>
                    <a:gd name="connsiteY1" fmla="*/ 37479 h 125511"/>
                    <a:gd name="connsiteX2" fmla="*/ 119464 w 214632"/>
                    <a:gd name="connsiteY2" fmla="*/ 43433 h 125511"/>
                    <a:gd name="connsiteX3" fmla="*/ 147587 w 214632"/>
                    <a:gd name="connsiteY3" fmla="*/ 13916 h 125511"/>
                    <a:gd name="connsiteX4" fmla="*/ 183818 w 214632"/>
                    <a:gd name="connsiteY4" fmla="*/ 9608 h 125511"/>
                    <a:gd name="connsiteX5" fmla="*/ 209914 w 214632"/>
                    <a:gd name="connsiteY5" fmla="*/ 4161 h 125511"/>
                    <a:gd name="connsiteX6" fmla="*/ 209154 w 214632"/>
                    <a:gd name="connsiteY6" fmla="*/ 49767 h 125511"/>
                    <a:gd name="connsiteX7" fmla="*/ 187365 w 214632"/>
                    <a:gd name="connsiteY7" fmla="*/ 76370 h 125511"/>
                    <a:gd name="connsiteX8" fmla="*/ 162029 w 214632"/>
                    <a:gd name="connsiteY8" fmla="*/ 104874 h 125511"/>
                    <a:gd name="connsiteX9" fmla="*/ 145307 w 214632"/>
                    <a:gd name="connsiteY9" fmla="*/ 119062 h 125511"/>
                    <a:gd name="connsiteX10" fmla="*/ 126431 w 214632"/>
                    <a:gd name="connsiteY10" fmla="*/ 115768 h 125511"/>
                    <a:gd name="connsiteX11" fmla="*/ 104641 w 214632"/>
                    <a:gd name="connsiteY11" fmla="*/ 109434 h 125511"/>
                    <a:gd name="connsiteX12" fmla="*/ 51815 w 214632"/>
                    <a:gd name="connsiteY12" fmla="*/ 125016 h 125511"/>
                    <a:gd name="connsiteX13" fmla="*/ 8490 w 214632"/>
                    <a:gd name="connsiteY13" fmla="*/ 107281 h 125511"/>
                    <a:gd name="connsiteX14" fmla="*/ 128 w 214632"/>
                    <a:gd name="connsiteY14" fmla="*/ 86505 h 125511"/>
                    <a:gd name="connsiteX15" fmla="*/ 13557 w 214632"/>
                    <a:gd name="connsiteY15" fmla="*/ 78904 h 125511"/>
                    <a:gd name="connsiteX16" fmla="*/ 29772 w 214632"/>
                    <a:gd name="connsiteY16" fmla="*/ 83844 h 125511"/>
                    <a:gd name="connsiteX17" fmla="*/ 40287 w 214632"/>
                    <a:gd name="connsiteY17" fmla="*/ 67122 h 125511"/>
                    <a:gd name="connsiteX18" fmla="*/ 50422 w 214632"/>
                    <a:gd name="connsiteY18" fmla="*/ 44699 h 12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632" h="125511">
                      <a:moveTo>
                        <a:pt x="50422" y="44699"/>
                      </a:moveTo>
                      <a:cubicBezTo>
                        <a:pt x="58529" y="34818"/>
                        <a:pt x="68537" y="33045"/>
                        <a:pt x="80318" y="37479"/>
                      </a:cubicBezTo>
                      <a:cubicBezTo>
                        <a:pt x="92227" y="41912"/>
                        <a:pt x="107302" y="52807"/>
                        <a:pt x="119464" y="43433"/>
                      </a:cubicBezTo>
                      <a:cubicBezTo>
                        <a:pt x="130358" y="35072"/>
                        <a:pt x="133398" y="18223"/>
                        <a:pt x="147587" y="13916"/>
                      </a:cubicBezTo>
                      <a:cubicBezTo>
                        <a:pt x="159622" y="10242"/>
                        <a:pt x="171910" y="15562"/>
                        <a:pt x="183818" y="9608"/>
                      </a:cubicBezTo>
                      <a:cubicBezTo>
                        <a:pt x="191292" y="5935"/>
                        <a:pt x="202820" y="-6354"/>
                        <a:pt x="209914" y="4161"/>
                      </a:cubicBezTo>
                      <a:cubicBezTo>
                        <a:pt x="218149" y="16323"/>
                        <a:pt x="214095" y="37225"/>
                        <a:pt x="209154" y="49767"/>
                      </a:cubicBezTo>
                      <a:cubicBezTo>
                        <a:pt x="204848" y="60788"/>
                        <a:pt x="196359" y="69023"/>
                        <a:pt x="187365" y="76370"/>
                      </a:cubicBezTo>
                      <a:cubicBezTo>
                        <a:pt x="177484" y="84351"/>
                        <a:pt x="171023" y="95753"/>
                        <a:pt x="162029" y="104874"/>
                      </a:cubicBezTo>
                      <a:cubicBezTo>
                        <a:pt x="157215" y="109814"/>
                        <a:pt x="151894" y="116528"/>
                        <a:pt x="145307" y="119062"/>
                      </a:cubicBezTo>
                      <a:cubicBezTo>
                        <a:pt x="138719" y="121596"/>
                        <a:pt x="132258" y="118935"/>
                        <a:pt x="126431" y="115768"/>
                      </a:cubicBezTo>
                      <a:cubicBezTo>
                        <a:pt x="119210" y="111841"/>
                        <a:pt x="113130" y="108674"/>
                        <a:pt x="104641" y="109434"/>
                      </a:cubicBezTo>
                      <a:cubicBezTo>
                        <a:pt x="86019" y="111081"/>
                        <a:pt x="70437" y="122989"/>
                        <a:pt x="51815" y="125016"/>
                      </a:cubicBezTo>
                      <a:cubicBezTo>
                        <a:pt x="33066" y="127170"/>
                        <a:pt x="19764" y="122483"/>
                        <a:pt x="8490" y="107281"/>
                      </a:cubicBezTo>
                      <a:cubicBezTo>
                        <a:pt x="4309" y="101580"/>
                        <a:pt x="-885" y="93852"/>
                        <a:pt x="128" y="86505"/>
                      </a:cubicBezTo>
                      <a:cubicBezTo>
                        <a:pt x="1142" y="79664"/>
                        <a:pt x="7856" y="78270"/>
                        <a:pt x="13557" y="78904"/>
                      </a:cubicBezTo>
                      <a:cubicBezTo>
                        <a:pt x="18751" y="79410"/>
                        <a:pt x="24831" y="84351"/>
                        <a:pt x="29772" y="83844"/>
                      </a:cubicBezTo>
                      <a:cubicBezTo>
                        <a:pt x="36359" y="83084"/>
                        <a:pt x="38640" y="72190"/>
                        <a:pt x="40287" y="67122"/>
                      </a:cubicBezTo>
                      <a:cubicBezTo>
                        <a:pt x="42693" y="59141"/>
                        <a:pt x="44974" y="51287"/>
                        <a:pt x="50422" y="4469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3" name="Полилиния: фигура 482">
                  <a:extLst>
                    <a:ext uri="{FF2B5EF4-FFF2-40B4-BE49-F238E27FC236}">
                      <a16:creationId xmlns:a16="http://schemas.microsoft.com/office/drawing/2014/main" id="{0BF2280D-60A9-4B70-B81D-73138F8F6FCB}"/>
                    </a:ext>
                  </a:extLst>
                </p:cNvPr>
                <p:cNvSpPr/>
                <p:nvPr/>
              </p:nvSpPr>
              <p:spPr>
                <a:xfrm>
                  <a:off x="9557106" y="1498976"/>
                  <a:ext cx="32701" cy="52651"/>
                </a:xfrm>
                <a:custGeom>
                  <a:avLst/>
                  <a:gdLst>
                    <a:gd name="connsiteX0" fmla="*/ 538 w 32701"/>
                    <a:gd name="connsiteY0" fmla="*/ 35578 h 52651"/>
                    <a:gd name="connsiteX1" fmla="*/ 3959 w 32701"/>
                    <a:gd name="connsiteY1" fmla="*/ 25570 h 52651"/>
                    <a:gd name="connsiteX2" fmla="*/ 3451 w 32701"/>
                    <a:gd name="connsiteY2" fmla="*/ 15435 h 52651"/>
                    <a:gd name="connsiteX3" fmla="*/ 16880 w 32701"/>
                    <a:gd name="connsiteY3" fmla="*/ 360 h 52651"/>
                    <a:gd name="connsiteX4" fmla="*/ 32462 w 32701"/>
                    <a:gd name="connsiteY4" fmla="*/ 22276 h 52651"/>
                    <a:gd name="connsiteX5" fmla="*/ 17766 w 32701"/>
                    <a:gd name="connsiteY5" fmla="*/ 52046 h 52651"/>
                    <a:gd name="connsiteX6" fmla="*/ 538 w 32701"/>
                    <a:gd name="connsiteY6" fmla="*/ 35578 h 5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01" h="52651">
                      <a:moveTo>
                        <a:pt x="538" y="35578"/>
                      </a:moveTo>
                      <a:cubicBezTo>
                        <a:pt x="1425" y="32157"/>
                        <a:pt x="3578" y="29117"/>
                        <a:pt x="3959" y="25570"/>
                      </a:cubicBezTo>
                      <a:cubicBezTo>
                        <a:pt x="4338" y="22149"/>
                        <a:pt x="3072" y="18856"/>
                        <a:pt x="3451" y="15435"/>
                      </a:cubicBezTo>
                      <a:cubicBezTo>
                        <a:pt x="4085" y="9228"/>
                        <a:pt x="10672" y="1627"/>
                        <a:pt x="16880" y="360"/>
                      </a:cubicBezTo>
                      <a:cubicBezTo>
                        <a:pt x="30688" y="-2554"/>
                        <a:pt x="30942" y="12902"/>
                        <a:pt x="32462" y="22276"/>
                      </a:cubicBezTo>
                      <a:cubicBezTo>
                        <a:pt x="33982" y="32031"/>
                        <a:pt x="28155" y="48879"/>
                        <a:pt x="17766" y="52046"/>
                      </a:cubicBezTo>
                      <a:cubicBezTo>
                        <a:pt x="6999" y="55087"/>
                        <a:pt x="-2376" y="46219"/>
                        <a:pt x="538" y="3557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4" name="Полилиния: фигура 483">
                  <a:extLst>
                    <a:ext uri="{FF2B5EF4-FFF2-40B4-BE49-F238E27FC236}">
                      <a16:creationId xmlns:a16="http://schemas.microsoft.com/office/drawing/2014/main" id="{78C886D6-BBFE-4508-8438-657E9F10D0BC}"/>
                    </a:ext>
                  </a:extLst>
                </p:cNvPr>
                <p:cNvSpPr/>
                <p:nvPr/>
              </p:nvSpPr>
              <p:spPr>
                <a:xfrm>
                  <a:off x="9792767" y="1542281"/>
                  <a:ext cx="14441" cy="16342"/>
                </a:xfrm>
                <a:custGeom>
                  <a:avLst/>
                  <a:gdLst>
                    <a:gd name="connsiteX0" fmla="*/ 14442 w 14441"/>
                    <a:gd name="connsiteY0" fmla="*/ 8234 h 16342"/>
                    <a:gd name="connsiteX1" fmla="*/ 7221 w 14441"/>
                    <a:gd name="connsiteY1" fmla="*/ 16342 h 16342"/>
                    <a:gd name="connsiteX2" fmla="*/ 0 w 14441"/>
                    <a:gd name="connsiteY2" fmla="*/ 8234 h 16342"/>
                    <a:gd name="connsiteX3" fmla="*/ 7221 w 14441"/>
                    <a:gd name="connsiteY3" fmla="*/ 0 h 16342"/>
                    <a:gd name="connsiteX4" fmla="*/ 14442 w 14441"/>
                    <a:gd name="connsiteY4" fmla="*/ 8234 h 16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6342">
                      <a:moveTo>
                        <a:pt x="14442" y="8234"/>
                      </a:moveTo>
                      <a:cubicBezTo>
                        <a:pt x="14442" y="12668"/>
                        <a:pt x="11275" y="16342"/>
                        <a:pt x="7221" y="16342"/>
                      </a:cubicBezTo>
                      <a:cubicBezTo>
                        <a:pt x="3294" y="16342"/>
                        <a:pt x="0" y="12668"/>
                        <a:pt x="0" y="8234"/>
                      </a:cubicBezTo>
                      <a:cubicBezTo>
                        <a:pt x="0" y="3674"/>
                        <a:pt x="3167" y="0"/>
                        <a:pt x="7221" y="0"/>
                      </a:cubicBezTo>
                      <a:cubicBezTo>
                        <a:pt x="11275" y="0"/>
                        <a:pt x="14442" y="3674"/>
                        <a:pt x="14442" y="82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5" name="Полилиния: фигура 484">
                  <a:extLst>
                    <a:ext uri="{FF2B5EF4-FFF2-40B4-BE49-F238E27FC236}">
                      <a16:creationId xmlns:a16="http://schemas.microsoft.com/office/drawing/2014/main" id="{C3BF0555-3558-445F-9B2E-16A66FAD3F32}"/>
                    </a:ext>
                  </a:extLst>
                </p:cNvPr>
                <p:cNvSpPr/>
                <p:nvPr/>
              </p:nvSpPr>
              <p:spPr>
                <a:xfrm>
                  <a:off x="9748934" y="1480460"/>
                  <a:ext cx="28630" cy="23309"/>
                </a:xfrm>
                <a:custGeom>
                  <a:avLst/>
                  <a:gdLst>
                    <a:gd name="connsiteX0" fmla="*/ 28630 w 28630"/>
                    <a:gd name="connsiteY0" fmla="*/ 11655 h 23309"/>
                    <a:gd name="connsiteX1" fmla="*/ 14315 w 28630"/>
                    <a:gd name="connsiteY1" fmla="*/ 23310 h 23309"/>
                    <a:gd name="connsiteX2" fmla="*/ 0 w 28630"/>
                    <a:gd name="connsiteY2" fmla="*/ 11655 h 23309"/>
                    <a:gd name="connsiteX3" fmla="*/ 14315 w 28630"/>
                    <a:gd name="connsiteY3" fmla="*/ 0 h 23309"/>
                    <a:gd name="connsiteX4" fmla="*/ 28630 w 28630"/>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30" h="23309">
                      <a:moveTo>
                        <a:pt x="28630" y="11655"/>
                      </a:moveTo>
                      <a:cubicBezTo>
                        <a:pt x="28630" y="18116"/>
                        <a:pt x="22169" y="23310"/>
                        <a:pt x="14315" y="23310"/>
                      </a:cubicBezTo>
                      <a:cubicBezTo>
                        <a:pt x="6334" y="23310"/>
                        <a:pt x="0" y="18116"/>
                        <a:pt x="0" y="11655"/>
                      </a:cubicBezTo>
                      <a:cubicBezTo>
                        <a:pt x="0" y="5194"/>
                        <a:pt x="6461" y="0"/>
                        <a:pt x="14315" y="0"/>
                      </a:cubicBezTo>
                      <a:cubicBezTo>
                        <a:pt x="22296" y="0"/>
                        <a:pt x="28630" y="5194"/>
                        <a:pt x="28630" y="1165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6" name="Полилиния: фигура 485">
                  <a:extLst>
                    <a:ext uri="{FF2B5EF4-FFF2-40B4-BE49-F238E27FC236}">
                      <a16:creationId xmlns:a16="http://schemas.microsoft.com/office/drawing/2014/main" id="{329C59B8-7F24-483F-93D0-2EA07C3496F3}"/>
                    </a:ext>
                  </a:extLst>
                </p:cNvPr>
                <p:cNvSpPr/>
                <p:nvPr/>
              </p:nvSpPr>
              <p:spPr>
                <a:xfrm>
                  <a:off x="9821017" y="1230515"/>
                  <a:ext cx="13428" cy="14441"/>
                </a:xfrm>
                <a:custGeom>
                  <a:avLst/>
                  <a:gdLst>
                    <a:gd name="connsiteX0" fmla="*/ 13428 w 13428"/>
                    <a:gd name="connsiteY0" fmla="*/ 7221 h 14441"/>
                    <a:gd name="connsiteX1" fmla="*/ 6715 w 13428"/>
                    <a:gd name="connsiteY1" fmla="*/ 14442 h 14441"/>
                    <a:gd name="connsiteX2" fmla="*/ 0 w 13428"/>
                    <a:gd name="connsiteY2" fmla="*/ 7221 h 14441"/>
                    <a:gd name="connsiteX3" fmla="*/ 6715 w 13428"/>
                    <a:gd name="connsiteY3" fmla="*/ 0 h 14441"/>
                    <a:gd name="connsiteX4" fmla="*/ 13428 w 13428"/>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8" h="14441">
                      <a:moveTo>
                        <a:pt x="13428" y="7221"/>
                      </a:moveTo>
                      <a:cubicBezTo>
                        <a:pt x="13428" y="11148"/>
                        <a:pt x="10388" y="14442"/>
                        <a:pt x="6715" y="14442"/>
                      </a:cubicBezTo>
                      <a:cubicBezTo>
                        <a:pt x="3040" y="14442"/>
                        <a:pt x="0" y="11275"/>
                        <a:pt x="0" y="7221"/>
                      </a:cubicBezTo>
                      <a:cubicBezTo>
                        <a:pt x="0" y="3294"/>
                        <a:pt x="3040" y="0"/>
                        <a:pt x="6715" y="0"/>
                      </a:cubicBezTo>
                      <a:cubicBezTo>
                        <a:pt x="10515" y="0"/>
                        <a:pt x="13428" y="3167"/>
                        <a:pt x="13428" y="72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7" name="Полилиния: фигура 486">
                  <a:extLst>
                    <a:ext uri="{FF2B5EF4-FFF2-40B4-BE49-F238E27FC236}">
                      <a16:creationId xmlns:a16="http://schemas.microsoft.com/office/drawing/2014/main" id="{D4093C31-82B4-4522-853E-0DD566FE6C56}"/>
                    </a:ext>
                  </a:extLst>
                </p:cNvPr>
                <p:cNvSpPr/>
                <p:nvPr/>
              </p:nvSpPr>
              <p:spPr>
                <a:xfrm>
                  <a:off x="8780954" y="2697119"/>
                  <a:ext cx="12921" cy="9627"/>
                </a:xfrm>
                <a:custGeom>
                  <a:avLst/>
                  <a:gdLst>
                    <a:gd name="connsiteX0" fmla="*/ 12922 w 12921"/>
                    <a:gd name="connsiteY0" fmla="*/ 4814 h 9627"/>
                    <a:gd name="connsiteX1" fmla="*/ 6461 w 12921"/>
                    <a:gd name="connsiteY1" fmla="*/ 9628 h 9627"/>
                    <a:gd name="connsiteX2" fmla="*/ 0 w 12921"/>
                    <a:gd name="connsiteY2" fmla="*/ 4814 h 9627"/>
                    <a:gd name="connsiteX3" fmla="*/ 6461 w 12921"/>
                    <a:gd name="connsiteY3" fmla="*/ 0 h 9627"/>
                    <a:gd name="connsiteX4" fmla="*/ 12922 w 12921"/>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9627">
                      <a:moveTo>
                        <a:pt x="12922" y="4814"/>
                      </a:moveTo>
                      <a:cubicBezTo>
                        <a:pt x="12922" y="7474"/>
                        <a:pt x="10008" y="9628"/>
                        <a:pt x="6461" y="9628"/>
                      </a:cubicBezTo>
                      <a:cubicBezTo>
                        <a:pt x="2913" y="9628"/>
                        <a:pt x="0" y="7474"/>
                        <a:pt x="0" y="4814"/>
                      </a:cubicBezTo>
                      <a:cubicBezTo>
                        <a:pt x="0" y="2154"/>
                        <a:pt x="2913" y="0"/>
                        <a:pt x="6461" y="0"/>
                      </a:cubicBezTo>
                      <a:cubicBezTo>
                        <a:pt x="10008" y="0"/>
                        <a:pt x="12922" y="2154"/>
                        <a:pt x="12922" y="48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8" name="Полилиния: фигура 487">
                  <a:extLst>
                    <a:ext uri="{FF2B5EF4-FFF2-40B4-BE49-F238E27FC236}">
                      <a16:creationId xmlns:a16="http://schemas.microsoft.com/office/drawing/2014/main" id="{4272791D-A97F-43EF-83C6-0DB9D621354A}"/>
                    </a:ext>
                  </a:extLst>
                </p:cNvPr>
                <p:cNvSpPr/>
                <p:nvPr/>
              </p:nvSpPr>
              <p:spPr>
                <a:xfrm>
                  <a:off x="8801476" y="2687491"/>
                  <a:ext cx="6840" cy="9627"/>
                </a:xfrm>
                <a:custGeom>
                  <a:avLst/>
                  <a:gdLst>
                    <a:gd name="connsiteX0" fmla="*/ 6841 w 6840"/>
                    <a:gd name="connsiteY0" fmla="*/ 4814 h 9627"/>
                    <a:gd name="connsiteX1" fmla="*/ 3421 w 6840"/>
                    <a:gd name="connsiteY1" fmla="*/ 9628 h 9627"/>
                    <a:gd name="connsiteX2" fmla="*/ 0 w 6840"/>
                    <a:gd name="connsiteY2" fmla="*/ 4814 h 9627"/>
                    <a:gd name="connsiteX3" fmla="*/ 3421 w 6840"/>
                    <a:gd name="connsiteY3" fmla="*/ 0 h 9627"/>
                    <a:gd name="connsiteX4" fmla="*/ 6841 w 6840"/>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9627">
                      <a:moveTo>
                        <a:pt x="6841" y="4814"/>
                      </a:moveTo>
                      <a:cubicBezTo>
                        <a:pt x="6841" y="7474"/>
                        <a:pt x="5320" y="9628"/>
                        <a:pt x="3421" y="9628"/>
                      </a:cubicBezTo>
                      <a:cubicBezTo>
                        <a:pt x="1520" y="9628"/>
                        <a:pt x="0" y="7474"/>
                        <a:pt x="0" y="4814"/>
                      </a:cubicBezTo>
                      <a:cubicBezTo>
                        <a:pt x="0" y="2154"/>
                        <a:pt x="1520" y="0"/>
                        <a:pt x="3421" y="0"/>
                      </a:cubicBezTo>
                      <a:cubicBezTo>
                        <a:pt x="5320" y="0"/>
                        <a:pt x="6841" y="2154"/>
                        <a:pt x="6841" y="48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89" name="Полилиния: фигура 488">
                  <a:extLst>
                    <a:ext uri="{FF2B5EF4-FFF2-40B4-BE49-F238E27FC236}">
                      <a16:creationId xmlns:a16="http://schemas.microsoft.com/office/drawing/2014/main" id="{C1BE98B4-46BE-4334-A589-C8C38BBA2892}"/>
                    </a:ext>
                  </a:extLst>
                </p:cNvPr>
                <p:cNvSpPr/>
                <p:nvPr/>
              </p:nvSpPr>
              <p:spPr>
                <a:xfrm>
                  <a:off x="8792355" y="2602107"/>
                  <a:ext cx="9120" cy="8867"/>
                </a:xfrm>
                <a:custGeom>
                  <a:avLst/>
                  <a:gdLst>
                    <a:gd name="connsiteX0" fmla="*/ 9121 w 9120"/>
                    <a:gd name="connsiteY0" fmla="*/ 4434 h 8867"/>
                    <a:gd name="connsiteX1" fmla="*/ 4560 w 9120"/>
                    <a:gd name="connsiteY1" fmla="*/ 8868 h 8867"/>
                    <a:gd name="connsiteX2" fmla="*/ 0 w 9120"/>
                    <a:gd name="connsiteY2" fmla="*/ 4434 h 8867"/>
                    <a:gd name="connsiteX3" fmla="*/ 4560 w 9120"/>
                    <a:gd name="connsiteY3" fmla="*/ 0 h 8867"/>
                    <a:gd name="connsiteX4" fmla="*/ 9121 w 912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8867">
                      <a:moveTo>
                        <a:pt x="9121" y="4434"/>
                      </a:moveTo>
                      <a:cubicBezTo>
                        <a:pt x="9121" y="6841"/>
                        <a:pt x="7094" y="8868"/>
                        <a:pt x="4560" y="8868"/>
                      </a:cubicBezTo>
                      <a:cubicBezTo>
                        <a:pt x="2027" y="8868"/>
                        <a:pt x="0" y="6841"/>
                        <a:pt x="0" y="4434"/>
                      </a:cubicBezTo>
                      <a:cubicBezTo>
                        <a:pt x="0" y="2027"/>
                        <a:pt x="2027" y="0"/>
                        <a:pt x="4560" y="0"/>
                      </a:cubicBezTo>
                      <a:cubicBezTo>
                        <a:pt x="6967" y="0"/>
                        <a:pt x="9121" y="2027"/>
                        <a:pt x="9121" y="44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0" name="Полилиния: фигура 489">
                  <a:extLst>
                    <a:ext uri="{FF2B5EF4-FFF2-40B4-BE49-F238E27FC236}">
                      <a16:creationId xmlns:a16="http://schemas.microsoft.com/office/drawing/2014/main" id="{F9CDE4D3-65C6-42DC-81C3-CFB2FE9CA1FE}"/>
                    </a:ext>
                  </a:extLst>
                </p:cNvPr>
                <p:cNvSpPr/>
                <p:nvPr/>
              </p:nvSpPr>
              <p:spPr>
                <a:xfrm>
                  <a:off x="8793749" y="2568663"/>
                  <a:ext cx="9627" cy="10641"/>
                </a:xfrm>
                <a:custGeom>
                  <a:avLst/>
                  <a:gdLst>
                    <a:gd name="connsiteX0" fmla="*/ 9628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8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8" y="5321"/>
                      </a:moveTo>
                      <a:cubicBezTo>
                        <a:pt x="9628" y="8234"/>
                        <a:pt x="7474" y="10641"/>
                        <a:pt x="4814" y="10641"/>
                      </a:cubicBezTo>
                      <a:cubicBezTo>
                        <a:pt x="2153" y="10641"/>
                        <a:pt x="0" y="8234"/>
                        <a:pt x="0" y="5321"/>
                      </a:cubicBezTo>
                      <a:cubicBezTo>
                        <a:pt x="0" y="2407"/>
                        <a:pt x="2153" y="0"/>
                        <a:pt x="4814" y="0"/>
                      </a:cubicBezTo>
                      <a:cubicBezTo>
                        <a:pt x="7601" y="127"/>
                        <a:pt x="9628" y="2407"/>
                        <a:pt x="9628" y="53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1" name="Полилиния: фигура 490">
                  <a:extLst>
                    <a:ext uri="{FF2B5EF4-FFF2-40B4-BE49-F238E27FC236}">
                      <a16:creationId xmlns:a16="http://schemas.microsoft.com/office/drawing/2014/main" id="{35151620-E301-4360-8C2A-2B4C43BF0E3A}"/>
                    </a:ext>
                  </a:extLst>
                </p:cNvPr>
                <p:cNvSpPr/>
                <p:nvPr/>
              </p:nvSpPr>
              <p:spPr>
                <a:xfrm>
                  <a:off x="8818325" y="2563849"/>
                  <a:ext cx="5574" cy="6587"/>
                </a:xfrm>
                <a:custGeom>
                  <a:avLst/>
                  <a:gdLst>
                    <a:gd name="connsiteX0" fmla="*/ 5574 w 5574"/>
                    <a:gd name="connsiteY0" fmla="*/ 3294 h 6587"/>
                    <a:gd name="connsiteX1" fmla="*/ 2787 w 5574"/>
                    <a:gd name="connsiteY1" fmla="*/ 6587 h 6587"/>
                    <a:gd name="connsiteX2" fmla="*/ 0 w 5574"/>
                    <a:gd name="connsiteY2" fmla="*/ 3294 h 6587"/>
                    <a:gd name="connsiteX3" fmla="*/ 2787 w 5574"/>
                    <a:gd name="connsiteY3" fmla="*/ 0 h 6587"/>
                    <a:gd name="connsiteX4" fmla="*/ 5574 w 5574"/>
                    <a:gd name="connsiteY4" fmla="*/ 3294 h 6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4" h="6587">
                      <a:moveTo>
                        <a:pt x="5574" y="3294"/>
                      </a:moveTo>
                      <a:cubicBezTo>
                        <a:pt x="5574" y="5067"/>
                        <a:pt x="4307" y="6587"/>
                        <a:pt x="2787" y="6587"/>
                      </a:cubicBezTo>
                      <a:cubicBezTo>
                        <a:pt x="1267" y="6587"/>
                        <a:pt x="0" y="5067"/>
                        <a:pt x="0" y="3294"/>
                      </a:cubicBezTo>
                      <a:cubicBezTo>
                        <a:pt x="0" y="1394"/>
                        <a:pt x="1267" y="0"/>
                        <a:pt x="2787" y="0"/>
                      </a:cubicBezTo>
                      <a:cubicBezTo>
                        <a:pt x="4307" y="0"/>
                        <a:pt x="5574" y="1394"/>
                        <a:pt x="5574" y="329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2" name="Полилиния: фигура 491">
                  <a:extLst>
                    <a:ext uri="{FF2B5EF4-FFF2-40B4-BE49-F238E27FC236}">
                      <a16:creationId xmlns:a16="http://schemas.microsoft.com/office/drawing/2014/main" id="{22A8F236-2DF5-45ED-BC11-667081AB521A}"/>
                    </a:ext>
                  </a:extLst>
                </p:cNvPr>
                <p:cNvSpPr/>
                <p:nvPr/>
              </p:nvSpPr>
              <p:spPr>
                <a:xfrm>
                  <a:off x="8830360" y="2552954"/>
                  <a:ext cx="5066" cy="6840"/>
                </a:xfrm>
                <a:custGeom>
                  <a:avLst/>
                  <a:gdLst>
                    <a:gd name="connsiteX0" fmla="*/ 5067 w 5066"/>
                    <a:gd name="connsiteY0" fmla="*/ 3420 h 6840"/>
                    <a:gd name="connsiteX1" fmla="*/ 2533 w 5066"/>
                    <a:gd name="connsiteY1" fmla="*/ 6841 h 6840"/>
                    <a:gd name="connsiteX2" fmla="*/ 0 w 5066"/>
                    <a:gd name="connsiteY2" fmla="*/ 3420 h 6840"/>
                    <a:gd name="connsiteX3" fmla="*/ 2533 w 5066"/>
                    <a:gd name="connsiteY3" fmla="*/ 0 h 6840"/>
                    <a:gd name="connsiteX4" fmla="*/ 5067 w 5066"/>
                    <a:gd name="connsiteY4" fmla="*/ 3420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6" h="6840">
                      <a:moveTo>
                        <a:pt x="5067" y="3420"/>
                      </a:moveTo>
                      <a:cubicBezTo>
                        <a:pt x="5067" y="5321"/>
                        <a:pt x="3927" y="6841"/>
                        <a:pt x="2533" y="6841"/>
                      </a:cubicBezTo>
                      <a:cubicBezTo>
                        <a:pt x="1140" y="6841"/>
                        <a:pt x="0" y="5321"/>
                        <a:pt x="0" y="3420"/>
                      </a:cubicBezTo>
                      <a:cubicBezTo>
                        <a:pt x="0" y="1520"/>
                        <a:pt x="1140" y="0"/>
                        <a:pt x="2533" y="0"/>
                      </a:cubicBezTo>
                      <a:cubicBezTo>
                        <a:pt x="3927" y="0"/>
                        <a:pt x="5067" y="1520"/>
                        <a:pt x="5067" y="342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3" name="Полилиния: фигура 492">
                  <a:extLst>
                    <a:ext uri="{FF2B5EF4-FFF2-40B4-BE49-F238E27FC236}">
                      <a16:creationId xmlns:a16="http://schemas.microsoft.com/office/drawing/2014/main" id="{EBC4B2E1-0DA3-44DC-BE9C-3EF5BA2046EF}"/>
                    </a:ext>
                  </a:extLst>
                </p:cNvPr>
                <p:cNvSpPr/>
                <p:nvPr/>
              </p:nvSpPr>
              <p:spPr>
                <a:xfrm>
                  <a:off x="8808444" y="2547887"/>
                  <a:ext cx="6587" cy="5067"/>
                </a:xfrm>
                <a:custGeom>
                  <a:avLst/>
                  <a:gdLst>
                    <a:gd name="connsiteX0" fmla="*/ 6588 w 6587"/>
                    <a:gd name="connsiteY0" fmla="*/ 2534 h 5067"/>
                    <a:gd name="connsiteX1" fmla="*/ 3294 w 6587"/>
                    <a:gd name="connsiteY1" fmla="*/ 5067 h 5067"/>
                    <a:gd name="connsiteX2" fmla="*/ 0 w 6587"/>
                    <a:gd name="connsiteY2" fmla="*/ 2534 h 5067"/>
                    <a:gd name="connsiteX3" fmla="*/ 3294 w 6587"/>
                    <a:gd name="connsiteY3" fmla="*/ 0 h 5067"/>
                    <a:gd name="connsiteX4" fmla="*/ 6588 w 6587"/>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7" h="5067">
                      <a:moveTo>
                        <a:pt x="6588" y="2534"/>
                      </a:moveTo>
                      <a:cubicBezTo>
                        <a:pt x="6588" y="3927"/>
                        <a:pt x="5068" y="5067"/>
                        <a:pt x="3294" y="5067"/>
                      </a:cubicBezTo>
                      <a:cubicBezTo>
                        <a:pt x="1393" y="5067"/>
                        <a:pt x="0" y="3927"/>
                        <a:pt x="0" y="2534"/>
                      </a:cubicBezTo>
                      <a:cubicBezTo>
                        <a:pt x="0" y="1140"/>
                        <a:pt x="1520" y="0"/>
                        <a:pt x="3294" y="0"/>
                      </a:cubicBezTo>
                      <a:cubicBezTo>
                        <a:pt x="5068" y="127"/>
                        <a:pt x="6588" y="1140"/>
                        <a:pt x="6588" y="25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4" name="Полилиния: фигура 493">
                  <a:extLst>
                    <a:ext uri="{FF2B5EF4-FFF2-40B4-BE49-F238E27FC236}">
                      <a16:creationId xmlns:a16="http://schemas.microsoft.com/office/drawing/2014/main" id="{1CEC0344-2427-4479-B718-370D38993A02}"/>
                    </a:ext>
                  </a:extLst>
                </p:cNvPr>
                <p:cNvSpPr/>
                <p:nvPr/>
              </p:nvSpPr>
              <p:spPr>
                <a:xfrm>
                  <a:off x="8770312" y="2528504"/>
                  <a:ext cx="13935" cy="7601"/>
                </a:xfrm>
                <a:custGeom>
                  <a:avLst/>
                  <a:gdLst>
                    <a:gd name="connsiteX0" fmla="*/ 13936 w 13935"/>
                    <a:gd name="connsiteY0" fmla="*/ 3801 h 7601"/>
                    <a:gd name="connsiteX1" fmla="*/ 6968 w 13935"/>
                    <a:gd name="connsiteY1" fmla="*/ 7601 h 7601"/>
                    <a:gd name="connsiteX2" fmla="*/ 0 w 13935"/>
                    <a:gd name="connsiteY2" fmla="*/ 3801 h 7601"/>
                    <a:gd name="connsiteX3" fmla="*/ 6968 w 13935"/>
                    <a:gd name="connsiteY3" fmla="*/ 0 h 7601"/>
                    <a:gd name="connsiteX4" fmla="*/ 13936 w 13935"/>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7601">
                      <a:moveTo>
                        <a:pt x="13936" y="3801"/>
                      </a:moveTo>
                      <a:cubicBezTo>
                        <a:pt x="13936" y="5827"/>
                        <a:pt x="10895" y="7601"/>
                        <a:pt x="6968" y="7601"/>
                      </a:cubicBezTo>
                      <a:cubicBezTo>
                        <a:pt x="3167" y="7601"/>
                        <a:pt x="0" y="5954"/>
                        <a:pt x="0" y="3801"/>
                      </a:cubicBezTo>
                      <a:cubicBezTo>
                        <a:pt x="0" y="1647"/>
                        <a:pt x="3167" y="0"/>
                        <a:pt x="6968" y="0"/>
                      </a:cubicBezTo>
                      <a:cubicBezTo>
                        <a:pt x="10895" y="0"/>
                        <a:pt x="13936" y="1647"/>
                        <a:pt x="13936" y="38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5" name="Полилиния: фигура 494">
                  <a:extLst>
                    <a:ext uri="{FF2B5EF4-FFF2-40B4-BE49-F238E27FC236}">
                      <a16:creationId xmlns:a16="http://schemas.microsoft.com/office/drawing/2014/main" id="{36541E4E-5F42-463B-991C-C9DC3BA4D9CB}"/>
                    </a:ext>
                  </a:extLst>
                </p:cNvPr>
                <p:cNvSpPr/>
                <p:nvPr/>
              </p:nvSpPr>
              <p:spPr>
                <a:xfrm>
                  <a:off x="8838088" y="2515709"/>
                  <a:ext cx="19508" cy="19128"/>
                </a:xfrm>
                <a:custGeom>
                  <a:avLst/>
                  <a:gdLst>
                    <a:gd name="connsiteX0" fmla="*/ 19509 w 19508"/>
                    <a:gd name="connsiteY0" fmla="*/ 9501 h 19128"/>
                    <a:gd name="connsiteX1" fmla="*/ 9754 w 19508"/>
                    <a:gd name="connsiteY1" fmla="*/ 19129 h 19128"/>
                    <a:gd name="connsiteX2" fmla="*/ 0 w 19508"/>
                    <a:gd name="connsiteY2" fmla="*/ 9501 h 19128"/>
                    <a:gd name="connsiteX3" fmla="*/ 9754 w 19508"/>
                    <a:gd name="connsiteY3" fmla="*/ 0 h 19128"/>
                    <a:gd name="connsiteX4" fmla="*/ 19509 w 19508"/>
                    <a:gd name="connsiteY4" fmla="*/ 9501 h 19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8" h="19128">
                      <a:moveTo>
                        <a:pt x="19509" y="9501"/>
                      </a:moveTo>
                      <a:cubicBezTo>
                        <a:pt x="19509" y="14822"/>
                        <a:pt x="15075" y="19129"/>
                        <a:pt x="9754" y="19129"/>
                      </a:cubicBezTo>
                      <a:cubicBezTo>
                        <a:pt x="4434" y="19129"/>
                        <a:pt x="0" y="14822"/>
                        <a:pt x="0" y="9501"/>
                      </a:cubicBezTo>
                      <a:cubicBezTo>
                        <a:pt x="0" y="4181"/>
                        <a:pt x="4307" y="0"/>
                        <a:pt x="9754" y="0"/>
                      </a:cubicBezTo>
                      <a:cubicBezTo>
                        <a:pt x="15075" y="0"/>
                        <a:pt x="19509" y="4181"/>
                        <a:pt x="19509" y="95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6" name="Полилиния: фигура 495">
                  <a:extLst>
                    <a:ext uri="{FF2B5EF4-FFF2-40B4-BE49-F238E27FC236}">
                      <a16:creationId xmlns:a16="http://schemas.microsoft.com/office/drawing/2014/main" id="{DA71D2B6-0253-436C-A351-A247C941AE5A}"/>
                    </a:ext>
                  </a:extLst>
                </p:cNvPr>
                <p:cNvSpPr/>
                <p:nvPr/>
              </p:nvSpPr>
              <p:spPr>
                <a:xfrm>
                  <a:off x="8871658" y="2512669"/>
                  <a:ext cx="10641" cy="10641"/>
                </a:xfrm>
                <a:custGeom>
                  <a:avLst/>
                  <a:gdLst>
                    <a:gd name="connsiteX0" fmla="*/ 10642 w 10641"/>
                    <a:gd name="connsiteY0" fmla="*/ 5321 h 10641"/>
                    <a:gd name="connsiteX1" fmla="*/ 5321 w 10641"/>
                    <a:gd name="connsiteY1" fmla="*/ 10641 h 10641"/>
                    <a:gd name="connsiteX2" fmla="*/ 0 w 10641"/>
                    <a:gd name="connsiteY2" fmla="*/ 5321 h 10641"/>
                    <a:gd name="connsiteX3" fmla="*/ 5321 w 10641"/>
                    <a:gd name="connsiteY3" fmla="*/ 0 h 10641"/>
                    <a:gd name="connsiteX4" fmla="*/ 10642 w 10641"/>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0641">
                      <a:moveTo>
                        <a:pt x="10642" y="5321"/>
                      </a:moveTo>
                      <a:cubicBezTo>
                        <a:pt x="10642" y="8234"/>
                        <a:pt x="8235" y="10641"/>
                        <a:pt x="5321" y="10641"/>
                      </a:cubicBezTo>
                      <a:cubicBezTo>
                        <a:pt x="2407" y="10641"/>
                        <a:pt x="0" y="8234"/>
                        <a:pt x="0" y="5321"/>
                      </a:cubicBezTo>
                      <a:cubicBezTo>
                        <a:pt x="0" y="2407"/>
                        <a:pt x="2407" y="0"/>
                        <a:pt x="5321" y="0"/>
                      </a:cubicBezTo>
                      <a:cubicBezTo>
                        <a:pt x="8235" y="0"/>
                        <a:pt x="10642" y="2407"/>
                        <a:pt x="10642" y="53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7" name="Полилиния: фигура 496">
                  <a:extLst>
                    <a:ext uri="{FF2B5EF4-FFF2-40B4-BE49-F238E27FC236}">
                      <a16:creationId xmlns:a16="http://schemas.microsoft.com/office/drawing/2014/main" id="{C72CFAE0-2718-4909-965E-7C2A32A6EAF9}"/>
                    </a:ext>
                  </a:extLst>
                </p:cNvPr>
                <p:cNvSpPr/>
                <p:nvPr/>
              </p:nvSpPr>
              <p:spPr>
                <a:xfrm>
                  <a:off x="8692149" y="2726129"/>
                  <a:ext cx="11908" cy="10134"/>
                </a:xfrm>
                <a:custGeom>
                  <a:avLst/>
                  <a:gdLst>
                    <a:gd name="connsiteX0" fmla="*/ 11908 w 11908"/>
                    <a:gd name="connsiteY0" fmla="*/ 5067 h 10134"/>
                    <a:gd name="connsiteX1" fmla="*/ 5954 w 11908"/>
                    <a:gd name="connsiteY1" fmla="*/ 10135 h 10134"/>
                    <a:gd name="connsiteX2" fmla="*/ 0 w 11908"/>
                    <a:gd name="connsiteY2" fmla="*/ 5067 h 10134"/>
                    <a:gd name="connsiteX3" fmla="*/ 5954 w 11908"/>
                    <a:gd name="connsiteY3" fmla="*/ 0 h 10134"/>
                    <a:gd name="connsiteX4" fmla="*/ 11908 w 11908"/>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0134">
                      <a:moveTo>
                        <a:pt x="11908" y="5067"/>
                      </a:moveTo>
                      <a:cubicBezTo>
                        <a:pt x="11908" y="7854"/>
                        <a:pt x="9248" y="10135"/>
                        <a:pt x="5954" y="10135"/>
                      </a:cubicBezTo>
                      <a:cubicBezTo>
                        <a:pt x="2661" y="10135"/>
                        <a:pt x="0" y="7854"/>
                        <a:pt x="0" y="5067"/>
                      </a:cubicBezTo>
                      <a:cubicBezTo>
                        <a:pt x="0" y="2280"/>
                        <a:pt x="2661" y="0"/>
                        <a:pt x="5954" y="0"/>
                      </a:cubicBezTo>
                      <a:cubicBezTo>
                        <a:pt x="9248" y="0"/>
                        <a:pt x="11908" y="2280"/>
                        <a:pt x="11908" y="506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8" name="Полилиния: фигура 497">
                  <a:extLst>
                    <a:ext uri="{FF2B5EF4-FFF2-40B4-BE49-F238E27FC236}">
                      <a16:creationId xmlns:a16="http://schemas.microsoft.com/office/drawing/2014/main" id="{05F97183-F69C-4AA1-BACF-7B7F2F4EAC70}"/>
                    </a:ext>
                  </a:extLst>
                </p:cNvPr>
                <p:cNvSpPr/>
                <p:nvPr/>
              </p:nvSpPr>
              <p:spPr>
                <a:xfrm>
                  <a:off x="8671500" y="2726256"/>
                  <a:ext cx="9121" cy="7094"/>
                </a:xfrm>
                <a:custGeom>
                  <a:avLst/>
                  <a:gdLst>
                    <a:gd name="connsiteX0" fmla="*/ 9122 w 9121"/>
                    <a:gd name="connsiteY0" fmla="*/ 3547 h 7094"/>
                    <a:gd name="connsiteX1" fmla="*/ 4560 w 9121"/>
                    <a:gd name="connsiteY1" fmla="*/ 7094 h 7094"/>
                    <a:gd name="connsiteX2" fmla="*/ 0 w 9121"/>
                    <a:gd name="connsiteY2" fmla="*/ 3547 h 7094"/>
                    <a:gd name="connsiteX3" fmla="*/ 4560 w 9121"/>
                    <a:gd name="connsiteY3" fmla="*/ 0 h 7094"/>
                    <a:gd name="connsiteX4" fmla="*/ 9122 w 9121"/>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7094">
                      <a:moveTo>
                        <a:pt x="9122" y="3547"/>
                      </a:moveTo>
                      <a:cubicBezTo>
                        <a:pt x="9122" y="5574"/>
                        <a:pt x="7094" y="7094"/>
                        <a:pt x="4560" y="7094"/>
                      </a:cubicBezTo>
                      <a:cubicBezTo>
                        <a:pt x="2027" y="7094"/>
                        <a:pt x="0" y="5447"/>
                        <a:pt x="0" y="3547"/>
                      </a:cubicBezTo>
                      <a:cubicBezTo>
                        <a:pt x="0" y="1520"/>
                        <a:pt x="2027" y="0"/>
                        <a:pt x="4560" y="0"/>
                      </a:cubicBezTo>
                      <a:cubicBezTo>
                        <a:pt x="7094" y="0"/>
                        <a:pt x="9122" y="1520"/>
                        <a:pt x="9122" y="35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499" name="Полилиния: фигура 498">
                  <a:extLst>
                    <a:ext uri="{FF2B5EF4-FFF2-40B4-BE49-F238E27FC236}">
                      <a16:creationId xmlns:a16="http://schemas.microsoft.com/office/drawing/2014/main" id="{08D7CC55-0D1A-4AAB-A256-4C84936B4D59}"/>
                    </a:ext>
                  </a:extLst>
                </p:cNvPr>
                <p:cNvSpPr/>
                <p:nvPr/>
              </p:nvSpPr>
              <p:spPr>
                <a:xfrm>
                  <a:off x="8650598" y="2714221"/>
                  <a:ext cx="12414" cy="14188"/>
                </a:xfrm>
                <a:custGeom>
                  <a:avLst/>
                  <a:gdLst>
                    <a:gd name="connsiteX0" fmla="*/ 12415 w 12414"/>
                    <a:gd name="connsiteY0" fmla="*/ 7094 h 14188"/>
                    <a:gd name="connsiteX1" fmla="*/ 6207 w 12414"/>
                    <a:gd name="connsiteY1" fmla="*/ 14188 h 14188"/>
                    <a:gd name="connsiteX2" fmla="*/ 0 w 12414"/>
                    <a:gd name="connsiteY2" fmla="*/ 7094 h 14188"/>
                    <a:gd name="connsiteX3" fmla="*/ 6207 w 12414"/>
                    <a:gd name="connsiteY3" fmla="*/ 0 h 14188"/>
                    <a:gd name="connsiteX4" fmla="*/ 12415 w 12414"/>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14188">
                      <a:moveTo>
                        <a:pt x="12415" y="7094"/>
                      </a:moveTo>
                      <a:cubicBezTo>
                        <a:pt x="12415" y="11021"/>
                        <a:pt x="9627" y="14188"/>
                        <a:pt x="6207" y="14188"/>
                      </a:cubicBezTo>
                      <a:cubicBezTo>
                        <a:pt x="2787" y="14188"/>
                        <a:pt x="0" y="11021"/>
                        <a:pt x="0" y="7094"/>
                      </a:cubicBezTo>
                      <a:cubicBezTo>
                        <a:pt x="0" y="3167"/>
                        <a:pt x="2787" y="0"/>
                        <a:pt x="6207" y="0"/>
                      </a:cubicBezTo>
                      <a:cubicBezTo>
                        <a:pt x="9627" y="0"/>
                        <a:pt x="12415" y="3167"/>
                        <a:pt x="12415" y="709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00" name="Полилиния: фигура 499">
                  <a:extLst>
                    <a:ext uri="{FF2B5EF4-FFF2-40B4-BE49-F238E27FC236}">
                      <a16:creationId xmlns:a16="http://schemas.microsoft.com/office/drawing/2014/main" id="{05719D79-EE28-40FF-998E-F6795F3980F8}"/>
                    </a:ext>
                  </a:extLst>
                </p:cNvPr>
                <p:cNvSpPr/>
                <p:nvPr/>
              </p:nvSpPr>
              <p:spPr>
                <a:xfrm>
                  <a:off x="8630835" y="2698000"/>
                  <a:ext cx="10894" cy="9632"/>
                </a:xfrm>
                <a:custGeom>
                  <a:avLst/>
                  <a:gdLst>
                    <a:gd name="connsiteX0" fmla="*/ 10895 w 10894"/>
                    <a:gd name="connsiteY0" fmla="*/ 4819 h 9632"/>
                    <a:gd name="connsiteX1" fmla="*/ 5447 w 10894"/>
                    <a:gd name="connsiteY1" fmla="*/ 9633 h 9632"/>
                    <a:gd name="connsiteX2" fmla="*/ 0 w 10894"/>
                    <a:gd name="connsiteY2" fmla="*/ 4819 h 9632"/>
                    <a:gd name="connsiteX3" fmla="*/ 5447 w 10894"/>
                    <a:gd name="connsiteY3" fmla="*/ 5 h 9632"/>
                    <a:gd name="connsiteX4" fmla="*/ 10895 w 10894"/>
                    <a:gd name="connsiteY4" fmla="*/ 4819 h 9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9632">
                      <a:moveTo>
                        <a:pt x="10895" y="4819"/>
                      </a:moveTo>
                      <a:cubicBezTo>
                        <a:pt x="10895" y="7479"/>
                        <a:pt x="8488" y="9633"/>
                        <a:pt x="5447" y="9633"/>
                      </a:cubicBezTo>
                      <a:cubicBezTo>
                        <a:pt x="2406" y="9633"/>
                        <a:pt x="0" y="7479"/>
                        <a:pt x="0" y="4819"/>
                      </a:cubicBezTo>
                      <a:cubicBezTo>
                        <a:pt x="0" y="2159"/>
                        <a:pt x="2406" y="5"/>
                        <a:pt x="5447" y="5"/>
                      </a:cubicBezTo>
                      <a:cubicBezTo>
                        <a:pt x="8488" y="-122"/>
                        <a:pt x="10895" y="2159"/>
                        <a:pt x="10895" y="481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01" name="Полилиния: фигура 500">
                  <a:extLst>
                    <a:ext uri="{FF2B5EF4-FFF2-40B4-BE49-F238E27FC236}">
                      <a16:creationId xmlns:a16="http://schemas.microsoft.com/office/drawing/2014/main" id="{B330B9B9-4341-4788-A2A5-961B205A104A}"/>
                    </a:ext>
                  </a:extLst>
                </p:cNvPr>
                <p:cNvSpPr/>
                <p:nvPr/>
              </p:nvSpPr>
              <p:spPr>
                <a:xfrm>
                  <a:off x="8633622" y="2731196"/>
                  <a:ext cx="9881" cy="5067"/>
                </a:xfrm>
                <a:custGeom>
                  <a:avLst/>
                  <a:gdLst>
                    <a:gd name="connsiteX0" fmla="*/ 9882 w 9881"/>
                    <a:gd name="connsiteY0" fmla="*/ 2534 h 5067"/>
                    <a:gd name="connsiteX1" fmla="*/ 4941 w 9881"/>
                    <a:gd name="connsiteY1" fmla="*/ 5067 h 5067"/>
                    <a:gd name="connsiteX2" fmla="*/ 0 w 9881"/>
                    <a:gd name="connsiteY2" fmla="*/ 2534 h 5067"/>
                    <a:gd name="connsiteX3" fmla="*/ 4941 w 9881"/>
                    <a:gd name="connsiteY3" fmla="*/ 0 h 5067"/>
                    <a:gd name="connsiteX4" fmla="*/ 9882 w 9881"/>
                    <a:gd name="connsiteY4" fmla="*/ 2534 h 50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5067">
                      <a:moveTo>
                        <a:pt x="9882" y="2534"/>
                      </a:moveTo>
                      <a:cubicBezTo>
                        <a:pt x="9882" y="3927"/>
                        <a:pt x="7601" y="5067"/>
                        <a:pt x="4941" y="5067"/>
                      </a:cubicBezTo>
                      <a:cubicBezTo>
                        <a:pt x="2280" y="5067"/>
                        <a:pt x="0" y="3927"/>
                        <a:pt x="0" y="2534"/>
                      </a:cubicBezTo>
                      <a:cubicBezTo>
                        <a:pt x="0" y="1140"/>
                        <a:pt x="2153" y="0"/>
                        <a:pt x="4941" y="0"/>
                      </a:cubicBezTo>
                      <a:cubicBezTo>
                        <a:pt x="7727" y="0"/>
                        <a:pt x="9882" y="1140"/>
                        <a:pt x="9882" y="25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02" name="Полилиния: фигура 501">
                  <a:extLst>
                    <a:ext uri="{FF2B5EF4-FFF2-40B4-BE49-F238E27FC236}">
                      <a16:creationId xmlns:a16="http://schemas.microsoft.com/office/drawing/2014/main" id="{3F59E53D-858D-4641-9DCD-0C2FDFEB65FC}"/>
                    </a:ext>
                  </a:extLst>
                </p:cNvPr>
                <p:cNvSpPr/>
                <p:nvPr/>
              </p:nvSpPr>
              <p:spPr>
                <a:xfrm>
                  <a:off x="8606765" y="2716248"/>
                  <a:ext cx="14441" cy="9881"/>
                </a:xfrm>
                <a:custGeom>
                  <a:avLst/>
                  <a:gdLst>
                    <a:gd name="connsiteX0" fmla="*/ 14442 w 14441"/>
                    <a:gd name="connsiteY0" fmla="*/ 4941 h 9881"/>
                    <a:gd name="connsiteX1" fmla="*/ 7221 w 14441"/>
                    <a:gd name="connsiteY1" fmla="*/ 9881 h 9881"/>
                    <a:gd name="connsiteX2" fmla="*/ 0 w 14441"/>
                    <a:gd name="connsiteY2" fmla="*/ 4941 h 9881"/>
                    <a:gd name="connsiteX3" fmla="*/ 7221 w 14441"/>
                    <a:gd name="connsiteY3" fmla="*/ 0 h 9881"/>
                    <a:gd name="connsiteX4" fmla="*/ 14442 w 14441"/>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9881">
                      <a:moveTo>
                        <a:pt x="14442" y="4941"/>
                      </a:moveTo>
                      <a:cubicBezTo>
                        <a:pt x="14442" y="7601"/>
                        <a:pt x="11275" y="9881"/>
                        <a:pt x="7221" y="9881"/>
                      </a:cubicBezTo>
                      <a:cubicBezTo>
                        <a:pt x="3294" y="9881"/>
                        <a:pt x="0" y="7601"/>
                        <a:pt x="0" y="4941"/>
                      </a:cubicBezTo>
                      <a:cubicBezTo>
                        <a:pt x="0" y="2154"/>
                        <a:pt x="3294" y="0"/>
                        <a:pt x="7221" y="0"/>
                      </a:cubicBezTo>
                      <a:cubicBezTo>
                        <a:pt x="11275" y="0"/>
                        <a:pt x="14442" y="2154"/>
                        <a:pt x="14442" y="49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03" name="Полилиния: фигура 502">
                  <a:extLst>
                    <a:ext uri="{FF2B5EF4-FFF2-40B4-BE49-F238E27FC236}">
                      <a16:creationId xmlns:a16="http://schemas.microsoft.com/office/drawing/2014/main" id="{CF650CFC-ABA8-4A0B-83F6-75996FB939A2}"/>
                    </a:ext>
                  </a:extLst>
                </p:cNvPr>
                <p:cNvSpPr/>
                <p:nvPr/>
              </p:nvSpPr>
              <p:spPr>
                <a:xfrm>
                  <a:off x="8403820" y="2577911"/>
                  <a:ext cx="15202" cy="23436"/>
                </a:xfrm>
                <a:custGeom>
                  <a:avLst/>
                  <a:gdLst>
                    <a:gd name="connsiteX0" fmla="*/ 15202 w 15202"/>
                    <a:gd name="connsiteY0" fmla="*/ 11781 h 23436"/>
                    <a:gd name="connsiteX1" fmla="*/ 7601 w 15202"/>
                    <a:gd name="connsiteY1" fmla="*/ 23436 h 23436"/>
                    <a:gd name="connsiteX2" fmla="*/ 0 w 15202"/>
                    <a:gd name="connsiteY2" fmla="*/ 11781 h 23436"/>
                    <a:gd name="connsiteX3" fmla="*/ 7601 w 15202"/>
                    <a:gd name="connsiteY3" fmla="*/ 0 h 23436"/>
                    <a:gd name="connsiteX4" fmla="*/ 15202 w 15202"/>
                    <a:gd name="connsiteY4" fmla="*/ 11781 h 2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2" h="23436">
                      <a:moveTo>
                        <a:pt x="15202" y="11781"/>
                      </a:moveTo>
                      <a:cubicBezTo>
                        <a:pt x="15202" y="18242"/>
                        <a:pt x="11781" y="23436"/>
                        <a:pt x="7601" y="23436"/>
                      </a:cubicBezTo>
                      <a:cubicBezTo>
                        <a:pt x="3421" y="23436"/>
                        <a:pt x="0" y="18116"/>
                        <a:pt x="0" y="11781"/>
                      </a:cubicBezTo>
                      <a:cubicBezTo>
                        <a:pt x="0" y="5321"/>
                        <a:pt x="3421" y="0"/>
                        <a:pt x="7601" y="0"/>
                      </a:cubicBezTo>
                      <a:cubicBezTo>
                        <a:pt x="11781" y="127"/>
                        <a:pt x="15202" y="5321"/>
                        <a:pt x="15202" y="117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04" name="Полилиния: фигура 503">
                  <a:extLst>
                    <a:ext uri="{FF2B5EF4-FFF2-40B4-BE49-F238E27FC236}">
                      <a16:creationId xmlns:a16="http://schemas.microsoft.com/office/drawing/2014/main" id="{454E7DF4-3785-4692-BB34-AFC7D690007A}"/>
                    </a:ext>
                  </a:extLst>
                </p:cNvPr>
                <p:cNvSpPr/>
                <p:nvPr/>
              </p:nvSpPr>
              <p:spPr>
                <a:xfrm>
                  <a:off x="8213743" y="2577073"/>
                  <a:ext cx="91493" cy="75562"/>
                </a:xfrm>
                <a:custGeom>
                  <a:avLst/>
                  <a:gdLst>
                    <a:gd name="connsiteX0" fmla="*/ 180 w 91493"/>
                    <a:gd name="connsiteY0" fmla="*/ 53411 h 75562"/>
                    <a:gd name="connsiteX1" fmla="*/ 4107 w 91493"/>
                    <a:gd name="connsiteY1" fmla="*/ 45937 h 75562"/>
                    <a:gd name="connsiteX2" fmla="*/ 12341 w 91493"/>
                    <a:gd name="connsiteY2" fmla="*/ 25794 h 75562"/>
                    <a:gd name="connsiteX3" fmla="*/ 9554 w 91493"/>
                    <a:gd name="connsiteY3" fmla="*/ 2991 h 75562"/>
                    <a:gd name="connsiteX4" fmla="*/ 33878 w 91493"/>
                    <a:gd name="connsiteY4" fmla="*/ 7678 h 75562"/>
                    <a:gd name="connsiteX5" fmla="*/ 60481 w 91493"/>
                    <a:gd name="connsiteY5" fmla="*/ 331 h 75562"/>
                    <a:gd name="connsiteX6" fmla="*/ 85817 w 91493"/>
                    <a:gd name="connsiteY6" fmla="*/ 12366 h 75562"/>
                    <a:gd name="connsiteX7" fmla="*/ 88857 w 91493"/>
                    <a:gd name="connsiteY7" fmla="*/ 38082 h 75562"/>
                    <a:gd name="connsiteX8" fmla="*/ 74669 w 91493"/>
                    <a:gd name="connsiteY8" fmla="*/ 65446 h 75562"/>
                    <a:gd name="connsiteX9" fmla="*/ 55033 w 91493"/>
                    <a:gd name="connsiteY9" fmla="*/ 75327 h 75562"/>
                    <a:gd name="connsiteX10" fmla="*/ 43885 w 91493"/>
                    <a:gd name="connsiteY10" fmla="*/ 72793 h 75562"/>
                    <a:gd name="connsiteX11" fmla="*/ 36031 w 91493"/>
                    <a:gd name="connsiteY11" fmla="*/ 66713 h 75562"/>
                    <a:gd name="connsiteX12" fmla="*/ 27669 w 91493"/>
                    <a:gd name="connsiteY12" fmla="*/ 60758 h 75562"/>
                    <a:gd name="connsiteX13" fmla="*/ 21716 w 91493"/>
                    <a:gd name="connsiteY13" fmla="*/ 58605 h 75562"/>
                    <a:gd name="connsiteX14" fmla="*/ 9301 w 91493"/>
                    <a:gd name="connsiteY14" fmla="*/ 57465 h 75562"/>
                    <a:gd name="connsiteX15" fmla="*/ 180 w 91493"/>
                    <a:gd name="connsiteY15" fmla="*/ 53411 h 7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93" h="75562">
                      <a:moveTo>
                        <a:pt x="180" y="53411"/>
                      </a:moveTo>
                      <a:cubicBezTo>
                        <a:pt x="-834" y="50877"/>
                        <a:pt x="2713" y="47584"/>
                        <a:pt x="4107" y="45937"/>
                      </a:cubicBezTo>
                      <a:cubicBezTo>
                        <a:pt x="9047" y="40363"/>
                        <a:pt x="17789" y="33648"/>
                        <a:pt x="12341" y="25794"/>
                      </a:cubicBezTo>
                      <a:cubicBezTo>
                        <a:pt x="7907" y="19333"/>
                        <a:pt x="1446" y="9705"/>
                        <a:pt x="9554" y="2991"/>
                      </a:cubicBezTo>
                      <a:cubicBezTo>
                        <a:pt x="17281" y="-3470"/>
                        <a:pt x="26276" y="5778"/>
                        <a:pt x="33878" y="7678"/>
                      </a:cubicBezTo>
                      <a:cubicBezTo>
                        <a:pt x="43505" y="9959"/>
                        <a:pt x="51486" y="2104"/>
                        <a:pt x="60481" y="331"/>
                      </a:cubicBezTo>
                      <a:cubicBezTo>
                        <a:pt x="70361" y="-1569"/>
                        <a:pt x="79737" y="5018"/>
                        <a:pt x="85817" y="12366"/>
                      </a:cubicBezTo>
                      <a:cubicBezTo>
                        <a:pt x="92405" y="20347"/>
                        <a:pt x="93038" y="28834"/>
                        <a:pt x="88857" y="38082"/>
                      </a:cubicBezTo>
                      <a:cubicBezTo>
                        <a:pt x="84677" y="47330"/>
                        <a:pt x="80116" y="56958"/>
                        <a:pt x="74669" y="65446"/>
                      </a:cubicBezTo>
                      <a:cubicBezTo>
                        <a:pt x="69982" y="72667"/>
                        <a:pt x="63774" y="76594"/>
                        <a:pt x="55033" y="75327"/>
                      </a:cubicBezTo>
                      <a:cubicBezTo>
                        <a:pt x="50979" y="74694"/>
                        <a:pt x="47685" y="74947"/>
                        <a:pt x="43885" y="72793"/>
                      </a:cubicBezTo>
                      <a:cubicBezTo>
                        <a:pt x="40972" y="71146"/>
                        <a:pt x="38818" y="68739"/>
                        <a:pt x="36031" y="66713"/>
                      </a:cubicBezTo>
                      <a:cubicBezTo>
                        <a:pt x="33117" y="64686"/>
                        <a:pt x="31217" y="62025"/>
                        <a:pt x="27669" y="60758"/>
                      </a:cubicBezTo>
                      <a:cubicBezTo>
                        <a:pt x="25770" y="60125"/>
                        <a:pt x="23742" y="59238"/>
                        <a:pt x="21716" y="58605"/>
                      </a:cubicBezTo>
                      <a:cubicBezTo>
                        <a:pt x="17535" y="57338"/>
                        <a:pt x="13481" y="57718"/>
                        <a:pt x="9301" y="57465"/>
                      </a:cubicBezTo>
                      <a:cubicBezTo>
                        <a:pt x="7020" y="57211"/>
                        <a:pt x="1193" y="56071"/>
                        <a:pt x="180" y="5341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grpSp>
          <p:nvGrpSpPr>
            <p:cNvPr id="505" name="Рисунок 388">
              <a:extLst>
                <a:ext uri="{FF2B5EF4-FFF2-40B4-BE49-F238E27FC236}">
                  <a16:creationId xmlns:a16="http://schemas.microsoft.com/office/drawing/2014/main" id="{1DA397FD-DC6E-439E-BB40-D0F80476817D}"/>
                </a:ext>
              </a:extLst>
            </p:cNvPr>
            <p:cNvGrpSpPr/>
            <p:nvPr/>
          </p:nvGrpSpPr>
          <p:grpSpPr>
            <a:xfrm>
              <a:off x="6336578" y="1444736"/>
              <a:ext cx="2029081" cy="2403848"/>
              <a:chOff x="6336578" y="1444736"/>
              <a:chExt cx="2029081" cy="2403848"/>
            </a:xfrm>
            <a:solidFill>
              <a:srgbClr val="E3E8EC"/>
            </a:solidFill>
          </p:grpSpPr>
          <p:sp>
            <p:nvSpPr>
              <p:cNvPr id="506" name="Полилиния: фигура 505">
                <a:extLst>
                  <a:ext uri="{FF2B5EF4-FFF2-40B4-BE49-F238E27FC236}">
                    <a16:creationId xmlns:a16="http://schemas.microsoft.com/office/drawing/2014/main" id="{14D9AF86-F4CB-4072-8323-0337D100D50D}"/>
                  </a:ext>
                </a:extLst>
              </p:cNvPr>
              <p:cNvSpPr/>
              <p:nvPr/>
            </p:nvSpPr>
            <p:spPr>
              <a:xfrm>
                <a:off x="8121174" y="2675203"/>
                <a:ext cx="94395" cy="67690"/>
              </a:xfrm>
              <a:custGeom>
                <a:avLst/>
                <a:gdLst>
                  <a:gd name="connsiteX0" fmla="*/ 90215 w 94395"/>
                  <a:gd name="connsiteY0" fmla="*/ 0 h 67690"/>
                  <a:gd name="connsiteX1" fmla="*/ 60824 w 94395"/>
                  <a:gd name="connsiteY1" fmla="*/ 25590 h 67690"/>
                  <a:gd name="connsiteX2" fmla="*/ 37895 w 94395"/>
                  <a:gd name="connsiteY2" fmla="*/ 9755 h 67690"/>
                  <a:gd name="connsiteX3" fmla="*/ 17372 w 94395"/>
                  <a:gd name="connsiteY3" fmla="*/ 67648 h 67690"/>
                  <a:gd name="connsiteX4" fmla="*/ 64751 w 94395"/>
                  <a:gd name="connsiteY4" fmla="*/ 45732 h 67690"/>
                  <a:gd name="connsiteX5" fmla="*/ 77167 w 94395"/>
                  <a:gd name="connsiteY5" fmla="*/ 53713 h 67690"/>
                  <a:gd name="connsiteX6" fmla="*/ 94395 w 94395"/>
                  <a:gd name="connsiteY6" fmla="*/ 34964 h 67690"/>
                  <a:gd name="connsiteX7" fmla="*/ 90215 w 94395"/>
                  <a:gd name="connsiteY7" fmla="*/ 0 h 67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95" h="67690">
                    <a:moveTo>
                      <a:pt x="90215" y="0"/>
                    </a:moveTo>
                    <a:cubicBezTo>
                      <a:pt x="73366" y="2027"/>
                      <a:pt x="73746" y="19256"/>
                      <a:pt x="60824" y="25590"/>
                    </a:cubicBezTo>
                    <a:cubicBezTo>
                      <a:pt x="43342" y="34204"/>
                      <a:pt x="52843" y="6334"/>
                      <a:pt x="37895" y="9755"/>
                    </a:cubicBezTo>
                    <a:cubicBezTo>
                      <a:pt x="19779" y="13935"/>
                      <a:pt x="-24306" y="69422"/>
                      <a:pt x="17372" y="67648"/>
                    </a:cubicBezTo>
                    <a:cubicBezTo>
                      <a:pt x="37008" y="66762"/>
                      <a:pt x="43342" y="38892"/>
                      <a:pt x="64751" y="45732"/>
                    </a:cubicBezTo>
                    <a:cubicBezTo>
                      <a:pt x="69439" y="47253"/>
                      <a:pt x="74506" y="49913"/>
                      <a:pt x="77167" y="53713"/>
                    </a:cubicBezTo>
                    <a:lnTo>
                      <a:pt x="94395" y="34964"/>
                    </a:lnTo>
                    <a:cubicBezTo>
                      <a:pt x="86668" y="27237"/>
                      <a:pt x="89202" y="11148"/>
                      <a:pt x="90215" y="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07" name="Полилиния: фигура 506">
                <a:extLst>
                  <a:ext uri="{FF2B5EF4-FFF2-40B4-BE49-F238E27FC236}">
                    <a16:creationId xmlns:a16="http://schemas.microsoft.com/office/drawing/2014/main" id="{1812D25E-E519-4689-B6E8-CF21661C9593}"/>
                  </a:ext>
                </a:extLst>
              </p:cNvPr>
              <p:cNvSpPr/>
              <p:nvPr/>
            </p:nvSpPr>
            <p:spPr>
              <a:xfrm>
                <a:off x="6336578" y="2061662"/>
                <a:ext cx="2029081" cy="1786921"/>
              </a:xfrm>
              <a:custGeom>
                <a:avLst/>
                <a:gdLst>
                  <a:gd name="connsiteX0" fmla="*/ 2027717 w 2029081"/>
                  <a:gd name="connsiteY0" fmla="*/ 1100888 h 1786921"/>
                  <a:gd name="connsiteX1" fmla="*/ 1989585 w 2029081"/>
                  <a:gd name="connsiteY1" fmla="*/ 1144973 h 1786921"/>
                  <a:gd name="connsiteX2" fmla="*/ 1950821 w 2029081"/>
                  <a:gd name="connsiteY2" fmla="*/ 1176517 h 1786921"/>
                  <a:gd name="connsiteX3" fmla="*/ 1936759 w 2029081"/>
                  <a:gd name="connsiteY3" fmla="*/ 1205021 h 1786921"/>
                  <a:gd name="connsiteX4" fmla="*/ 1927891 w 2029081"/>
                  <a:gd name="connsiteY4" fmla="*/ 1234031 h 1786921"/>
                  <a:gd name="connsiteX5" fmla="*/ 1905215 w 2029081"/>
                  <a:gd name="connsiteY5" fmla="*/ 1246319 h 1786921"/>
                  <a:gd name="connsiteX6" fmla="*/ 1868984 w 2029081"/>
                  <a:gd name="connsiteY6" fmla="*/ 1294712 h 1786921"/>
                  <a:gd name="connsiteX7" fmla="*/ 1863030 w 2029081"/>
                  <a:gd name="connsiteY7" fmla="*/ 1362994 h 1786921"/>
                  <a:gd name="connsiteX8" fmla="*/ 1806656 w 2029081"/>
                  <a:gd name="connsiteY8" fmla="*/ 1355393 h 1786921"/>
                  <a:gd name="connsiteX9" fmla="*/ 1755350 w 2029081"/>
                  <a:gd name="connsiteY9" fmla="*/ 1397198 h 1786921"/>
                  <a:gd name="connsiteX10" fmla="*/ 1700370 w 2029081"/>
                  <a:gd name="connsiteY10" fmla="*/ 1414047 h 1786921"/>
                  <a:gd name="connsiteX11" fmla="*/ 1677440 w 2029081"/>
                  <a:gd name="connsiteY11" fmla="*/ 1415187 h 1786921"/>
                  <a:gd name="connsiteX12" fmla="*/ 1664012 w 2029081"/>
                  <a:gd name="connsiteY12" fmla="*/ 1417974 h 1786921"/>
                  <a:gd name="connsiteX13" fmla="*/ 1648430 w 2029081"/>
                  <a:gd name="connsiteY13" fmla="*/ 1439510 h 1786921"/>
                  <a:gd name="connsiteX14" fmla="*/ 1594083 w 2029081"/>
                  <a:gd name="connsiteY14" fmla="*/ 1430262 h 1786921"/>
                  <a:gd name="connsiteX15" fmla="*/ 1576728 w 2029081"/>
                  <a:gd name="connsiteY15" fmla="*/ 1449138 h 1786921"/>
                  <a:gd name="connsiteX16" fmla="*/ 1545310 w 2029081"/>
                  <a:gd name="connsiteY16" fmla="*/ 1461426 h 1786921"/>
                  <a:gd name="connsiteX17" fmla="*/ 1529348 w 2029081"/>
                  <a:gd name="connsiteY17" fmla="*/ 1466367 h 1786921"/>
                  <a:gd name="connsiteX18" fmla="*/ 1505785 w 2029081"/>
                  <a:gd name="connsiteY18" fmla="*/ 1467380 h 1786921"/>
                  <a:gd name="connsiteX19" fmla="*/ 1482095 w 2029081"/>
                  <a:gd name="connsiteY19" fmla="*/ 1463073 h 1786921"/>
                  <a:gd name="connsiteX20" fmla="*/ 1437504 w 2029081"/>
                  <a:gd name="connsiteY20" fmla="*/ 1429502 h 1786921"/>
                  <a:gd name="connsiteX21" fmla="*/ 1381130 w 2029081"/>
                  <a:gd name="connsiteY21" fmla="*/ 1421395 h 1786921"/>
                  <a:gd name="connsiteX22" fmla="*/ 1353386 w 2029081"/>
                  <a:gd name="connsiteY22" fmla="*/ 1426335 h 1786921"/>
                  <a:gd name="connsiteX23" fmla="*/ 1326022 w 2029081"/>
                  <a:gd name="connsiteY23" fmla="*/ 1422915 h 1786921"/>
                  <a:gd name="connsiteX24" fmla="*/ 1332231 w 2029081"/>
                  <a:gd name="connsiteY24" fmla="*/ 1402012 h 1786921"/>
                  <a:gd name="connsiteX25" fmla="*/ 1340085 w 2029081"/>
                  <a:gd name="connsiteY25" fmla="*/ 1374395 h 1786921"/>
                  <a:gd name="connsiteX26" fmla="*/ 1303727 w 2029081"/>
                  <a:gd name="connsiteY26" fmla="*/ 1351086 h 1786921"/>
                  <a:gd name="connsiteX27" fmla="*/ 1281304 w 2029081"/>
                  <a:gd name="connsiteY27" fmla="*/ 1353113 h 1786921"/>
                  <a:gd name="connsiteX28" fmla="*/ 1251153 w 2029081"/>
                  <a:gd name="connsiteY28" fmla="*/ 1364894 h 1786921"/>
                  <a:gd name="connsiteX29" fmla="*/ 1228351 w 2029081"/>
                  <a:gd name="connsiteY29" fmla="*/ 1383263 h 1786921"/>
                  <a:gd name="connsiteX30" fmla="*/ 1198707 w 2029081"/>
                  <a:gd name="connsiteY30" fmla="*/ 1387317 h 1786921"/>
                  <a:gd name="connsiteX31" fmla="*/ 1170963 w 2029081"/>
                  <a:gd name="connsiteY31" fmla="*/ 1389724 h 1786921"/>
                  <a:gd name="connsiteX32" fmla="*/ 1147400 w 2029081"/>
                  <a:gd name="connsiteY32" fmla="*/ 1390231 h 1786921"/>
                  <a:gd name="connsiteX33" fmla="*/ 1094194 w 2029081"/>
                  <a:gd name="connsiteY33" fmla="*/ 1411387 h 1786921"/>
                  <a:gd name="connsiteX34" fmla="*/ 1071137 w 2029081"/>
                  <a:gd name="connsiteY34" fmla="*/ 1423928 h 1786921"/>
                  <a:gd name="connsiteX35" fmla="*/ 1042634 w 2029081"/>
                  <a:gd name="connsiteY35" fmla="*/ 1438877 h 1786921"/>
                  <a:gd name="connsiteX36" fmla="*/ 982207 w 2029081"/>
                  <a:gd name="connsiteY36" fmla="*/ 1488156 h 1786921"/>
                  <a:gd name="connsiteX37" fmla="*/ 973212 w 2029081"/>
                  <a:gd name="connsiteY37" fmla="*/ 1518814 h 1786921"/>
                  <a:gd name="connsiteX38" fmla="*/ 977772 w 2029081"/>
                  <a:gd name="connsiteY38" fmla="*/ 1539969 h 1786921"/>
                  <a:gd name="connsiteX39" fmla="*/ 948762 w 2029081"/>
                  <a:gd name="connsiteY39" fmla="*/ 1583295 h 1786921"/>
                  <a:gd name="connsiteX40" fmla="*/ 940148 w 2029081"/>
                  <a:gd name="connsiteY40" fmla="*/ 1605718 h 1786921"/>
                  <a:gd name="connsiteX41" fmla="*/ 913544 w 2029081"/>
                  <a:gd name="connsiteY41" fmla="*/ 1613825 h 1786921"/>
                  <a:gd name="connsiteX42" fmla="*/ 848936 w 2029081"/>
                  <a:gd name="connsiteY42" fmla="*/ 1627634 h 1786921"/>
                  <a:gd name="connsiteX43" fmla="*/ 810172 w 2029081"/>
                  <a:gd name="connsiteY43" fmla="*/ 1664118 h 1786921"/>
                  <a:gd name="connsiteX44" fmla="*/ 776221 w 2029081"/>
                  <a:gd name="connsiteY44" fmla="*/ 1698323 h 1786921"/>
                  <a:gd name="connsiteX45" fmla="*/ 751137 w 2029081"/>
                  <a:gd name="connsiteY45" fmla="*/ 1724166 h 1786921"/>
                  <a:gd name="connsiteX46" fmla="*/ 732388 w 2029081"/>
                  <a:gd name="connsiteY46" fmla="*/ 1745702 h 1786921"/>
                  <a:gd name="connsiteX47" fmla="*/ 725801 w 2029081"/>
                  <a:gd name="connsiteY47" fmla="*/ 1748869 h 1786921"/>
                  <a:gd name="connsiteX48" fmla="*/ 691977 w 2029081"/>
                  <a:gd name="connsiteY48" fmla="*/ 1752923 h 1786921"/>
                  <a:gd name="connsiteX49" fmla="*/ 648398 w 2029081"/>
                  <a:gd name="connsiteY49" fmla="*/ 1755837 h 1786921"/>
                  <a:gd name="connsiteX50" fmla="*/ 611027 w 2029081"/>
                  <a:gd name="connsiteY50" fmla="*/ 1757103 h 1786921"/>
                  <a:gd name="connsiteX51" fmla="*/ 566941 w 2029081"/>
                  <a:gd name="connsiteY51" fmla="*/ 1743802 h 1786921"/>
                  <a:gd name="connsiteX52" fmla="*/ 497012 w 2029081"/>
                  <a:gd name="connsiteY52" fmla="*/ 1750643 h 1786921"/>
                  <a:gd name="connsiteX53" fmla="*/ 468256 w 2029081"/>
                  <a:gd name="connsiteY53" fmla="*/ 1760904 h 1786921"/>
                  <a:gd name="connsiteX54" fmla="*/ 435951 w 2029081"/>
                  <a:gd name="connsiteY54" fmla="*/ 1776105 h 1786921"/>
                  <a:gd name="connsiteX55" fmla="*/ 394906 w 2029081"/>
                  <a:gd name="connsiteY55" fmla="*/ 1784593 h 1786921"/>
                  <a:gd name="connsiteX56" fmla="*/ 396553 w 2029081"/>
                  <a:gd name="connsiteY56" fmla="*/ 1746335 h 1786921"/>
                  <a:gd name="connsiteX57" fmla="*/ 424043 w 2029081"/>
                  <a:gd name="connsiteY57" fmla="*/ 1697816 h 1786921"/>
                  <a:gd name="connsiteX58" fmla="*/ 420623 w 2029081"/>
                  <a:gd name="connsiteY58" fmla="*/ 1680207 h 1786921"/>
                  <a:gd name="connsiteX59" fmla="*/ 396300 w 2029081"/>
                  <a:gd name="connsiteY59" fmla="*/ 1628014 h 1786921"/>
                  <a:gd name="connsiteX60" fmla="*/ 366403 w 2029081"/>
                  <a:gd name="connsiteY60" fmla="*/ 1592163 h 1786921"/>
                  <a:gd name="connsiteX61" fmla="*/ 340179 w 2029081"/>
                  <a:gd name="connsiteY61" fmla="*/ 1595583 h 1786921"/>
                  <a:gd name="connsiteX62" fmla="*/ 312183 w 2029081"/>
                  <a:gd name="connsiteY62" fmla="*/ 1642202 h 1786921"/>
                  <a:gd name="connsiteX63" fmla="*/ 290267 w 2029081"/>
                  <a:gd name="connsiteY63" fmla="*/ 1691735 h 1786921"/>
                  <a:gd name="connsiteX64" fmla="*/ 270884 w 2029081"/>
                  <a:gd name="connsiteY64" fmla="*/ 1713398 h 1786921"/>
                  <a:gd name="connsiteX65" fmla="*/ 245928 w 2029081"/>
                  <a:gd name="connsiteY65" fmla="*/ 1731007 h 1786921"/>
                  <a:gd name="connsiteX66" fmla="*/ 230092 w 2029081"/>
                  <a:gd name="connsiteY66" fmla="*/ 1677040 h 1786921"/>
                  <a:gd name="connsiteX67" fmla="*/ 207290 w 2029081"/>
                  <a:gd name="connsiteY67" fmla="*/ 1645623 h 1786921"/>
                  <a:gd name="connsiteX68" fmla="*/ 187400 w 2029081"/>
                  <a:gd name="connsiteY68" fmla="*/ 1608885 h 1786921"/>
                  <a:gd name="connsiteX69" fmla="*/ 175999 w 2029081"/>
                  <a:gd name="connsiteY69" fmla="*/ 1589122 h 1786921"/>
                  <a:gd name="connsiteX70" fmla="*/ 180686 w 2029081"/>
                  <a:gd name="connsiteY70" fmla="*/ 1568980 h 1786921"/>
                  <a:gd name="connsiteX71" fmla="*/ 181826 w 2029081"/>
                  <a:gd name="connsiteY71" fmla="*/ 1542883 h 1786921"/>
                  <a:gd name="connsiteX72" fmla="*/ 175872 w 2029081"/>
                  <a:gd name="connsiteY72" fmla="*/ 1530088 h 1786921"/>
                  <a:gd name="connsiteX73" fmla="*/ 168525 w 2029081"/>
                  <a:gd name="connsiteY73" fmla="*/ 1521981 h 1786921"/>
                  <a:gd name="connsiteX74" fmla="*/ 165864 w 2029081"/>
                  <a:gd name="connsiteY74" fmla="*/ 1513239 h 1786921"/>
                  <a:gd name="connsiteX75" fmla="*/ 179926 w 2029081"/>
                  <a:gd name="connsiteY75" fmla="*/ 1477515 h 1786921"/>
                  <a:gd name="connsiteX76" fmla="*/ 186767 w 2029081"/>
                  <a:gd name="connsiteY76" fmla="*/ 1452052 h 1786921"/>
                  <a:gd name="connsiteX77" fmla="*/ 177392 w 2029081"/>
                  <a:gd name="connsiteY77" fmla="*/ 1427982 h 1786921"/>
                  <a:gd name="connsiteX78" fmla="*/ 177139 w 2029081"/>
                  <a:gd name="connsiteY78" fmla="*/ 1376676 h 1786921"/>
                  <a:gd name="connsiteX79" fmla="*/ 162191 w 2029081"/>
                  <a:gd name="connsiteY79" fmla="*/ 1357673 h 1786921"/>
                  <a:gd name="connsiteX80" fmla="*/ 151676 w 2029081"/>
                  <a:gd name="connsiteY80" fmla="*/ 1325369 h 1786921"/>
                  <a:gd name="connsiteX81" fmla="*/ 148382 w 2029081"/>
                  <a:gd name="connsiteY81" fmla="*/ 1315488 h 1786921"/>
                  <a:gd name="connsiteX82" fmla="*/ 136347 w 2029081"/>
                  <a:gd name="connsiteY82" fmla="*/ 1318402 h 1786921"/>
                  <a:gd name="connsiteX83" fmla="*/ 110378 w 2029081"/>
                  <a:gd name="connsiteY83" fmla="*/ 1326509 h 1786921"/>
                  <a:gd name="connsiteX84" fmla="*/ 58691 w 2029081"/>
                  <a:gd name="connsiteY84" fmla="*/ 1324863 h 1786921"/>
                  <a:gd name="connsiteX85" fmla="*/ 31834 w 2029081"/>
                  <a:gd name="connsiteY85" fmla="*/ 1297119 h 1786921"/>
                  <a:gd name="connsiteX86" fmla="*/ 20433 w 2029081"/>
                  <a:gd name="connsiteY86" fmla="*/ 1256581 h 1786921"/>
                  <a:gd name="connsiteX87" fmla="*/ 1177 w 2029081"/>
                  <a:gd name="connsiteY87" fmla="*/ 1219083 h 1786921"/>
                  <a:gd name="connsiteX88" fmla="*/ 11818 w 2029081"/>
                  <a:gd name="connsiteY88" fmla="*/ 1181078 h 1786921"/>
                  <a:gd name="connsiteX89" fmla="*/ 52990 w 2029081"/>
                  <a:gd name="connsiteY89" fmla="*/ 1169423 h 1786921"/>
                  <a:gd name="connsiteX90" fmla="*/ 87575 w 2029081"/>
                  <a:gd name="connsiteY90" fmla="*/ 1140033 h 1786921"/>
                  <a:gd name="connsiteX91" fmla="*/ 115571 w 2029081"/>
                  <a:gd name="connsiteY91" fmla="*/ 1117990 h 1786921"/>
                  <a:gd name="connsiteX92" fmla="*/ 149902 w 2029081"/>
                  <a:gd name="connsiteY92" fmla="*/ 1101648 h 1786921"/>
                  <a:gd name="connsiteX93" fmla="*/ 157377 w 2029081"/>
                  <a:gd name="connsiteY93" fmla="*/ 1048315 h 1786921"/>
                  <a:gd name="connsiteX94" fmla="*/ 152816 w 2029081"/>
                  <a:gd name="connsiteY94" fmla="*/ 998275 h 1786921"/>
                  <a:gd name="connsiteX95" fmla="*/ 129633 w 2029081"/>
                  <a:gd name="connsiteY95" fmla="*/ 955963 h 1786921"/>
                  <a:gd name="connsiteX96" fmla="*/ 106324 w 2029081"/>
                  <a:gd name="connsiteY96" fmla="*/ 918718 h 1786921"/>
                  <a:gd name="connsiteX97" fmla="*/ 127099 w 2029081"/>
                  <a:gd name="connsiteY97" fmla="*/ 896296 h 1786921"/>
                  <a:gd name="connsiteX98" fmla="*/ 158770 w 2029081"/>
                  <a:gd name="connsiteY98" fmla="*/ 878180 h 1786921"/>
                  <a:gd name="connsiteX99" fmla="*/ 176379 w 2029081"/>
                  <a:gd name="connsiteY99" fmla="*/ 834981 h 1786921"/>
                  <a:gd name="connsiteX100" fmla="*/ 173845 w 2029081"/>
                  <a:gd name="connsiteY100" fmla="*/ 815472 h 1786921"/>
                  <a:gd name="connsiteX101" fmla="*/ 154843 w 2029081"/>
                  <a:gd name="connsiteY101" fmla="*/ 808378 h 1786921"/>
                  <a:gd name="connsiteX102" fmla="*/ 121272 w 2029081"/>
                  <a:gd name="connsiteY102" fmla="*/ 765433 h 1786921"/>
                  <a:gd name="connsiteX103" fmla="*/ 161051 w 2029081"/>
                  <a:gd name="connsiteY103" fmla="*/ 773920 h 1786921"/>
                  <a:gd name="connsiteX104" fmla="*/ 230346 w 2029081"/>
                  <a:gd name="connsiteY104" fmla="*/ 860951 h 1786921"/>
                  <a:gd name="connsiteX105" fmla="*/ 274684 w 2029081"/>
                  <a:gd name="connsiteY105" fmla="*/ 932527 h 1786921"/>
                  <a:gd name="connsiteX106" fmla="*/ 331945 w 2029081"/>
                  <a:gd name="connsiteY106" fmla="*/ 967365 h 1786921"/>
                  <a:gd name="connsiteX107" fmla="*/ 310409 w 2029081"/>
                  <a:gd name="connsiteY107" fmla="*/ 996628 h 1786921"/>
                  <a:gd name="connsiteX108" fmla="*/ 273291 w 2029081"/>
                  <a:gd name="connsiteY108" fmla="*/ 1010183 h 1786921"/>
                  <a:gd name="connsiteX109" fmla="*/ 259103 w 2029081"/>
                  <a:gd name="connsiteY109" fmla="*/ 1043627 h 1786921"/>
                  <a:gd name="connsiteX110" fmla="*/ 243014 w 2029081"/>
                  <a:gd name="connsiteY110" fmla="*/ 1088473 h 1786921"/>
                  <a:gd name="connsiteX111" fmla="*/ 259230 w 2029081"/>
                  <a:gd name="connsiteY111" fmla="*/ 1105195 h 1786921"/>
                  <a:gd name="connsiteX112" fmla="*/ 283299 w 2029081"/>
                  <a:gd name="connsiteY112" fmla="*/ 1087333 h 1786921"/>
                  <a:gd name="connsiteX113" fmla="*/ 299895 w 2029081"/>
                  <a:gd name="connsiteY113" fmla="*/ 1072131 h 1786921"/>
                  <a:gd name="connsiteX114" fmla="*/ 295334 w 2029081"/>
                  <a:gd name="connsiteY114" fmla="*/ 1100001 h 1786921"/>
                  <a:gd name="connsiteX115" fmla="*/ 280765 w 2029081"/>
                  <a:gd name="connsiteY115" fmla="*/ 1140666 h 1786921"/>
                  <a:gd name="connsiteX116" fmla="*/ 248335 w 2029081"/>
                  <a:gd name="connsiteY116" fmla="*/ 1201347 h 1786921"/>
                  <a:gd name="connsiteX117" fmla="*/ 261763 w 2029081"/>
                  <a:gd name="connsiteY117" fmla="*/ 1245559 h 1786921"/>
                  <a:gd name="connsiteX118" fmla="*/ 265183 w 2029081"/>
                  <a:gd name="connsiteY118" fmla="*/ 1289392 h 1786921"/>
                  <a:gd name="connsiteX119" fmla="*/ 301668 w 2029081"/>
                  <a:gd name="connsiteY119" fmla="*/ 1332083 h 1786921"/>
                  <a:gd name="connsiteX120" fmla="*/ 323711 w 2029081"/>
                  <a:gd name="connsiteY120" fmla="*/ 1289011 h 1786921"/>
                  <a:gd name="connsiteX121" fmla="*/ 310789 w 2029081"/>
                  <a:gd name="connsiteY121" fmla="*/ 1272543 h 1786921"/>
                  <a:gd name="connsiteX122" fmla="*/ 294700 w 2029081"/>
                  <a:gd name="connsiteY122" fmla="*/ 1257341 h 1786921"/>
                  <a:gd name="connsiteX123" fmla="*/ 299514 w 2029081"/>
                  <a:gd name="connsiteY123" fmla="*/ 1223643 h 1786921"/>
                  <a:gd name="connsiteX124" fmla="*/ 300781 w 2029081"/>
                  <a:gd name="connsiteY124" fmla="*/ 1191973 h 1786921"/>
                  <a:gd name="connsiteX125" fmla="*/ 323584 w 2029081"/>
                  <a:gd name="connsiteY125" fmla="*/ 1162709 h 1786921"/>
                  <a:gd name="connsiteX126" fmla="*/ 331058 w 2029081"/>
                  <a:gd name="connsiteY126" fmla="*/ 1098734 h 1786921"/>
                  <a:gd name="connsiteX127" fmla="*/ 330932 w 2029081"/>
                  <a:gd name="connsiteY127" fmla="*/ 1018418 h 1786921"/>
                  <a:gd name="connsiteX128" fmla="*/ 350948 w 2029081"/>
                  <a:gd name="connsiteY128" fmla="*/ 987000 h 1786921"/>
                  <a:gd name="connsiteX129" fmla="*/ 353735 w 2029081"/>
                  <a:gd name="connsiteY129" fmla="*/ 953176 h 1786921"/>
                  <a:gd name="connsiteX130" fmla="*/ 348667 w 2029081"/>
                  <a:gd name="connsiteY130" fmla="*/ 919859 h 1786921"/>
                  <a:gd name="connsiteX131" fmla="*/ 323204 w 2029081"/>
                  <a:gd name="connsiteY131" fmla="*/ 890848 h 1786921"/>
                  <a:gd name="connsiteX132" fmla="*/ 314210 w 2029081"/>
                  <a:gd name="connsiteY132" fmla="*/ 833841 h 1786921"/>
                  <a:gd name="connsiteX133" fmla="*/ 261763 w 2029081"/>
                  <a:gd name="connsiteY133" fmla="*/ 796850 h 1786921"/>
                  <a:gd name="connsiteX134" fmla="*/ 268350 w 2029081"/>
                  <a:gd name="connsiteY134" fmla="*/ 729582 h 1786921"/>
                  <a:gd name="connsiteX135" fmla="*/ 297361 w 2029081"/>
                  <a:gd name="connsiteY135" fmla="*/ 616327 h 1786921"/>
                  <a:gd name="connsiteX136" fmla="*/ 357408 w 2029081"/>
                  <a:gd name="connsiteY136" fmla="*/ 608853 h 1786921"/>
                  <a:gd name="connsiteX137" fmla="*/ 417456 w 2029081"/>
                  <a:gd name="connsiteY137" fmla="*/ 630896 h 1786921"/>
                  <a:gd name="connsiteX138" fmla="*/ 484344 w 2029081"/>
                  <a:gd name="connsiteY138" fmla="*/ 632669 h 1786921"/>
                  <a:gd name="connsiteX139" fmla="*/ 553006 w 2029081"/>
                  <a:gd name="connsiteY139" fmla="*/ 633810 h 1786921"/>
                  <a:gd name="connsiteX140" fmla="*/ 599372 w 2029081"/>
                  <a:gd name="connsiteY140" fmla="*/ 624055 h 1786921"/>
                  <a:gd name="connsiteX141" fmla="*/ 593291 w 2029081"/>
                  <a:gd name="connsiteY141" fmla="*/ 661806 h 1786921"/>
                  <a:gd name="connsiteX142" fmla="*/ 680195 w 2029081"/>
                  <a:gd name="connsiteY142" fmla="*/ 629249 h 1786921"/>
                  <a:gd name="connsiteX143" fmla="*/ 663093 w 2029081"/>
                  <a:gd name="connsiteY143" fmla="*/ 610500 h 1786921"/>
                  <a:gd name="connsiteX144" fmla="*/ 665500 w 2029081"/>
                  <a:gd name="connsiteY144" fmla="*/ 584150 h 1786921"/>
                  <a:gd name="connsiteX145" fmla="*/ 661447 w 2029081"/>
                  <a:gd name="connsiteY145" fmla="*/ 554380 h 1786921"/>
                  <a:gd name="connsiteX146" fmla="*/ 671708 w 2029081"/>
                  <a:gd name="connsiteY146" fmla="*/ 517515 h 1786921"/>
                  <a:gd name="connsiteX147" fmla="*/ 637250 w 2029081"/>
                  <a:gd name="connsiteY147" fmla="*/ 452274 h 1786921"/>
                  <a:gd name="connsiteX148" fmla="*/ 694384 w 2029081"/>
                  <a:gd name="connsiteY148" fmla="*/ 472163 h 1786921"/>
                  <a:gd name="connsiteX149" fmla="*/ 716680 w 2029081"/>
                  <a:gd name="connsiteY149" fmla="*/ 436058 h 1786921"/>
                  <a:gd name="connsiteX150" fmla="*/ 702871 w 2029081"/>
                  <a:gd name="connsiteY150" fmla="*/ 418449 h 1786921"/>
                  <a:gd name="connsiteX151" fmla="*/ 731375 w 2029081"/>
                  <a:gd name="connsiteY151" fmla="*/ 415535 h 1786921"/>
                  <a:gd name="connsiteX152" fmla="*/ 755191 w 2029081"/>
                  <a:gd name="connsiteY152" fmla="*/ 404641 h 1786921"/>
                  <a:gd name="connsiteX153" fmla="*/ 773687 w 2029081"/>
                  <a:gd name="connsiteY153" fmla="*/ 383358 h 1786921"/>
                  <a:gd name="connsiteX154" fmla="*/ 801050 w 2029081"/>
                  <a:gd name="connsiteY154" fmla="*/ 370310 h 1786921"/>
                  <a:gd name="connsiteX155" fmla="*/ 848176 w 2029081"/>
                  <a:gd name="connsiteY155" fmla="*/ 367650 h 1786921"/>
                  <a:gd name="connsiteX156" fmla="*/ 870725 w 2029081"/>
                  <a:gd name="connsiteY156" fmla="*/ 348901 h 1786921"/>
                  <a:gd name="connsiteX157" fmla="*/ 895809 w 2029081"/>
                  <a:gd name="connsiteY157" fmla="*/ 353588 h 1786921"/>
                  <a:gd name="connsiteX158" fmla="*/ 924313 w 2029081"/>
                  <a:gd name="connsiteY158" fmla="*/ 349914 h 1786921"/>
                  <a:gd name="connsiteX159" fmla="*/ 949902 w 2029081"/>
                  <a:gd name="connsiteY159" fmla="*/ 338893 h 1786921"/>
                  <a:gd name="connsiteX160" fmla="*/ 959784 w 2029081"/>
                  <a:gd name="connsiteY160" fmla="*/ 350421 h 1786921"/>
                  <a:gd name="connsiteX161" fmla="*/ 971185 w 2029081"/>
                  <a:gd name="connsiteY161" fmla="*/ 343326 h 1786921"/>
                  <a:gd name="connsiteX162" fmla="*/ 998929 w 2029081"/>
                  <a:gd name="connsiteY162" fmla="*/ 326858 h 1786921"/>
                  <a:gd name="connsiteX163" fmla="*/ 1021351 w 2029081"/>
                  <a:gd name="connsiteY163" fmla="*/ 316090 h 1786921"/>
                  <a:gd name="connsiteX164" fmla="*/ 996522 w 2029081"/>
                  <a:gd name="connsiteY164" fmla="*/ 299748 h 1786921"/>
                  <a:gd name="connsiteX165" fmla="*/ 1016664 w 2029081"/>
                  <a:gd name="connsiteY165" fmla="*/ 292020 h 1786921"/>
                  <a:gd name="connsiteX166" fmla="*/ 1041621 w 2029081"/>
                  <a:gd name="connsiteY166" fmla="*/ 282646 h 1786921"/>
                  <a:gd name="connsiteX167" fmla="*/ 1068604 w 2029081"/>
                  <a:gd name="connsiteY167" fmla="*/ 286066 h 1786921"/>
                  <a:gd name="connsiteX168" fmla="*/ 1095841 w 2029081"/>
                  <a:gd name="connsiteY168" fmla="*/ 293414 h 1786921"/>
                  <a:gd name="connsiteX169" fmla="*/ 1122951 w 2029081"/>
                  <a:gd name="connsiteY169" fmla="*/ 299874 h 1786921"/>
                  <a:gd name="connsiteX170" fmla="*/ 1121937 w 2029081"/>
                  <a:gd name="connsiteY170" fmla="*/ 323564 h 1786921"/>
                  <a:gd name="connsiteX171" fmla="*/ 1151074 w 2029081"/>
                  <a:gd name="connsiteY171" fmla="*/ 325844 h 1786921"/>
                  <a:gd name="connsiteX172" fmla="*/ 1165009 w 2029081"/>
                  <a:gd name="connsiteY172" fmla="*/ 329392 h 1786921"/>
                  <a:gd name="connsiteX173" fmla="*/ 1175271 w 2029081"/>
                  <a:gd name="connsiteY173" fmla="*/ 321410 h 1786921"/>
                  <a:gd name="connsiteX174" fmla="*/ 1201874 w 2029081"/>
                  <a:gd name="connsiteY174" fmla="*/ 312543 h 1786921"/>
                  <a:gd name="connsiteX175" fmla="*/ 1212008 w 2029081"/>
                  <a:gd name="connsiteY175" fmla="*/ 287840 h 1786921"/>
                  <a:gd name="connsiteX176" fmla="*/ 1235572 w 2029081"/>
                  <a:gd name="connsiteY176" fmla="*/ 276945 h 1786921"/>
                  <a:gd name="connsiteX177" fmla="*/ 1266989 w 2029081"/>
                  <a:gd name="connsiteY177" fmla="*/ 287713 h 1786921"/>
                  <a:gd name="connsiteX178" fmla="*/ 1296126 w 2029081"/>
                  <a:gd name="connsiteY178" fmla="*/ 296707 h 1786921"/>
                  <a:gd name="connsiteX179" fmla="*/ 1272182 w 2029081"/>
                  <a:gd name="connsiteY179" fmla="*/ 260096 h 1786921"/>
                  <a:gd name="connsiteX180" fmla="*/ 1264455 w 2029081"/>
                  <a:gd name="connsiteY180" fmla="*/ 227032 h 1786921"/>
                  <a:gd name="connsiteX181" fmla="*/ 1305247 w 2029081"/>
                  <a:gd name="connsiteY181" fmla="*/ 227159 h 1786921"/>
                  <a:gd name="connsiteX182" fmla="*/ 1345532 w 2029081"/>
                  <a:gd name="connsiteY182" fmla="*/ 239447 h 1786921"/>
                  <a:gd name="connsiteX183" fmla="*/ 1389238 w 2029081"/>
                  <a:gd name="connsiteY183" fmla="*/ 255029 h 1786921"/>
                  <a:gd name="connsiteX184" fmla="*/ 1377203 w 2029081"/>
                  <a:gd name="connsiteY184" fmla="*/ 229186 h 1786921"/>
                  <a:gd name="connsiteX185" fmla="*/ 1356046 w 2029081"/>
                  <a:gd name="connsiteY185" fmla="*/ 201822 h 1786921"/>
                  <a:gd name="connsiteX186" fmla="*/ 1358960 w 2029081"/>
                  <a:gd name="connsiteY186" fmla="*/ 181806 h 1786921"/>
                  <a:gd name="connsiteX187" fmla="*/ 1346292 w 2029081"/>
                  <a:gd name="connsiteY187" fmla="*/ 165338 h 1786921"/>
                  <a:gd name="connsiteX188" fmla="*/ 1357947 w 2029081"/>
                  <a:gd name="connsiteY188" fmla="*/ 136581 h 1786921"/>
                  <a:gd name="connsiteX189" fmla="*/ 1387337 w 2029081"/>
                  <a:gd name="connsiteY189" fmla="*/ 78180 h 1786921"/>
                  <a:gd name="connsiteX190" fmla="*/ 1422048 w 2029081"/>
                  <a:gd name="connsiteY190" fmla="*/ 68806 h 1786921"/>
                  <a:gd name="connsiteX191" fmla="*/ 1432056 w 2029081"/>
                  <a:gd name="connsiteY191" fmla="*/ 37262 h 1786921"/>
                  <a:gd name="connsiteX192" fmla="*/ 1457773 w 2029081"/>
                  <a:gd name="connsiteY192" fmla="*/ 20159 h 1786921"/>
                  <a:gd name="connsiteX193" fmla="*/ 1481082 w 2029081"/>
                  <a:gd name="connsiteY193" fmla="*/ 524 h 1786921"/>
                  <a:gd name="connsiteX194" fmla="*/ 1506925 w 2029081"/>
                  <a:gd name="connsiteY194" fmla="*/ 27761 h 1786921"/>
                  <a:gd name="connsiteX195" fmla="*/ 1537330 w 2029081"/>
                  <a:gd name="connsiteY195" fmla="*/ 38655 h 1786921"/>
                  <a:gd name="connsiteX196" fmla="*/ 1552024 w 2029081"/>
                  <a:gd name="connsiteY196" fmla="*/ 65385 h 1786921"/>
                  <a:gd name="connsiteX197" fmla="*/ 1520354 w 2029081"/>
                  <a:gd name="connsiteY197" fmla="*/ 88441 h 1786921"/>
                  <a:gd name="connsiteX198" fmla="*/ 1504772 w 2029081"/>
                  <a:gd name="connsiteY198" fmla="*/ 114791 h 1786921"/>
                  <a:gd name="connsiteX199" fmla="*/ 1542650 w 2029081"/>
                  <a:gd name="connsiteY199" fmla="*/ 119985 h 1786921"/>
                  <a:gd name="connsiteX200" fmla="*/ 1566086 w 2029081"/>
                  <a:gd name="connsiteY200" fmla="*/ 131007 h 1786921"/>
                  <a:gd name="connsiteX201" fmla="*/ 1593069 w 2029081"/>
                  <a:gd name="connsiteY201" fmla="*/ 127333 h 1786921"/>
                  <a:gd name="connsiteX202" fmla="*/ 1605991 w 2029081"/>
                  <a:gd name="connsiteY202" fmla="*/ 207270 h 1786921"/>
                  <a:gd name="connsiteX203" fmla="*/ 1659451 w 2029081"/>
                  <a:gd name="connsiteY203" fmla="*/ 192701 h 1786921"/>
                  <a:gd name="connsiteX204" fmla="*/ 1642729 w 2029081"/>
                  <a:gd name="connsiteY204" fmla="*/ 166731 h 1786921"/>
                  <a:gd name="connsiteX205" fmla="*/ 1661731 w 2029081"/>
                  <a:gd name="connsiteY205" fmla="*/ 158370 h 1786921"/>
                  <a:gd name="connsiteX206" fmla="*/ 1719372 w 2029081"/>
                  <a:gd name="connsiteY206" fmla="*/ 168505 h 1786921"/>
                  <a:gd name="connsiteX207" fmla="*/ 1774225 w 2029081"/>
                  <a:gd name="connsiteY207" fmla="*/ 144942 h 1786921"/>
                  <a:gd name="connsiteX208" fmla="*/ 1801462 w 2029081"/>
                  <a:gd name="connsiteY208" fmla="*/ 143928 h 1786921"/>
                  <a:gd name="connsiteX209" fmla="*/ 1812484 w 2029081"/>
                  <a:gd name="connsiteY209" fmla="*/ 168125 h 1786921"/>
                  <a:gd name="connsiteX210" fmla="*/ 1820591 w 2029081"/>
                  <a:gd name="connsiteY210" fmla="*/ 203469 h 1786921"/>
                  <a:gd name="connsiteX211" fmla="*/ 1833260 w 2029081"/>
                  <a:gd name="connsiteY211" fmla="*/ 209930 h 1786921"/>
                  <a:gd name="connsiteX212" fmla="*/ 1859736 w 2029081"/>
                  <a:gd name="connsiteY212" fmla="*/ 206763 h 1786921"/>
                  <a:gd name="connsiteX213" fmla="*/ 1860496 w 2029081"/>
                  <a:gd name="connsiteY213" fmla="*/ 239700 h 1786921"/>
                  <a:gd name="connsiteX214" fmla="*/ 1876331 w 2029081"/>
                  <a:gd name="connsiteY214" fmla="*/ 252242 h 1786921"/>
                  <a:gd name="connsiteX215" fmla="*/ 1880766 w 2029081"/>
                  <a:gd name="connsiteY215" fmla="*/ 240587 h 1786921"/>
                  <a:gd name="connsiteX216" fmla="*/ 1894321 w 2029081"/>
                  <a:gd name="connsiteY216" fmla="*/ 221838 h 1786921"/>
                  <a:gd name="connsiteX217" fmla="*/ 1904455 w 2029081"/>
                  <a:gd name="connsiteY217" fmla="*/ 246161 h 1786921"/>
                  <a:gd name="connsiteX218" fmla="*/ 1927258 w 2029081"/>
                  <a:gd name="connsiteY218" fmla="*/ 301775 h 1786921"/>
                  <a:gd name="connsiteX219" fmla="*/ 1913703 w 2029081"/>
                  <a:gd name="connsiteY219" fmla="*/ 320017 h 1786921"/>
                  <a:gd name="connsiteX220" fmla="*/ 1903568 w 2029081"/>
                  <a:gd name="connsiteY220" fmla="*/ 313936 h 1786921"/>
                  <a:gd name="connsiteX221" fmla="*/ 1893053 w 2029081"/>
                  <a:gd name="connsiteY221" fmla="*/ 307982 h 1786921"/>
                  <a:gd name="connsiteX222" fmla="*/ 1875571 w 2029081"/>
                  <a:gd name="connsiteY222" fmla="*/ 311149 h 1786921"/>
                  <a:gd name="connsiteX223" fmla="*/ 1936759 w 2029081"/>
                  <a:gd name="connsiteY223" fmla="*/ 361695 h 1786921"/>
                  <a:gd name="connsiteX224" fmla="*/ 1946641 w 2029081"/>
                  <a:gd name="connsiteY224" fmla="*/ 395520 h 1786921"/>
                  <a:gd name="connsiteX225" fmla="*/ 1920670 w 2029081"/>
                  <a:gd name="connsiteY225" fmla="*/ 442392 h 1786921"/>
                  <a:gd name="connsiteX226" fmla="*/ 1907369 w 2029081"/>
                  <a:gd name="connsiteY226" fmla="*/ 451767 h 1786921"/>
                  <a:gd name="connsiteX227" fmla="*/ 1901542 w 2029081"/>
                  <a:gd name="connsiteY227" fmla="*/ 453414 h 1786921"/>
                  <a:gd name="connsiteX228" fmla="*/ 1899514 w 2029081"/>
                  <a:gd name="connsiteY228" fmla="*/ 466335 h 1786921"/>
                  <a:gd name="connsiteX229" fmla="*/ 1896094 w 2029081"/>
                  <a:gd name="connsiteY229" fmla="*/ 483184 h 1786921"/>
                  <a:gd name="connsiteX230" fmla="*/ 1888239 w 2029081"/>
                  <a:gd name="connsiteY230" fmla="*/ 493065 h 1786921"/>
                  <a:gd name="connsiteX231" fmla="*/ 1883299 w 2029081"/>
                  <a:gd name="connsiteY231" fmla="*/ 488631 h 1786921"/>
                  <a:gd name="connsiteX232" fmla="*/ 1869364 w 2029081"/>
                  <a:gd name="connsiteY232" fmla="*/ 491672 h 1786921"/>
                  <a:gd name="connsiteX233" fmla="*/ 1859990 w 2029081"/>
                  <a:gd name="connsiteY233" fmla="*/ 518908 h 1786921"/>
                  <a:gd name="connsiteX234" fmla="*/ 1837947 w 2029081"/>
                  <a:gd name="connsiteY234" fmla="*/ 536771 h 1786921"/>
                  <a:gd name="connsiteX235" fmla="*/ 1818184 w 2029081"/>
                  <a:gd name="connsiteY235" fmla="*/ 558180 h 1786921"/>
                  <a:gd name="connsiteX236" fmla="*/ 1780433 w 2029081"/>
                  <a:gd name="connsiteY236" fmla="*/ 593651 h 1786921"/>
                  <a:gd name="connsiteX237" fmla="*/ 1797662 w 2029081"/>
                  <a:gd name="connsiteY237" fmla="*/ 618227 h 1786921"/>
                  <a:gd name="connsiteX238" fmla="*/ 1774352 w 2029081"/>
                  <a:gd name="connsiteY238" fmla="*/ 636850 h 1786921"/>
                  <a:gd name="connsiteX239" fmla="*/ 1754590 w 2029081"/>
                  <a:gd name="connsiteY239" fmla="*/ 662566 h 1786921"/>
                  <a:gd name="connsiteX240" fmla="*/ 1744582 w 2029081"/>
                  <a:gd name="connsiteY240" fmla="*/ 673968 h 1786921"/>
                  <a:gd name="connsiteX241" fmla="*/ 1741034 w 2029081"/>
                  <a:gd name="connsiteY241" fmla="*/ 689550 h 1786921"/>
                  <a:gd name="connsiteX242" fmla="*/ 1681494 w 2029081"/>
                  <a:gd name="connsiteY242" fmla="*/ 713746 h 1786921"/>
                  <a:gd name="connsiteX243" fmla="*/ 1679594 w 2029081"/>
                  <a:gd name="connsiteY243" fmla="*/ 743263 h 1786921"/>
                  <a:gd name="connsiteX244" fmla="*/ 1654891 w 2029081"/>
                  <a:gd name="connsiteY244" fmla="*/ 767333 h 1786921"/>
                  <a:gd name="connsiteX245" fmla="*/ 1625754 w 2029081"/>
                  <a:gd name="connsiteY245" fmla="*/ 788742 h 1786921"/>
                  <a:gd name="connsiteX246" fmla="*/ 1621573 w 2029081"/>
                  <a:gd name="connsiteY246" fmla="*/ 819146 h 1786921"/>
                  <a:gd name="connsiteX247" fmla="*/ 1589902 w 2029081"/>
                  <a:gd name="connsiteY247" fmla="*/ 872479 h 1786921"/>
                  <a:gd name="connsiteX248" fmla="*/ 1628414 w 2029081"/>
                  <a:gd name="connsiteY248" fmla="*/ 851830 h 1786921"/>
                  <a:gd name="connsiteX249" fmla="*/ 1635761 w 2029081"/>
                  <a:gd name="connsiteY249" fmla="*/ 831561 h 1786921"/>
                  <a:gd name="connsiteX250" fmla="*/ 1648810 w 2029081"/>
                  <a:gd name="connsiteY250" fmla="*/ 810278 h 1786921"/>
                  <a:gd name="connsiteX251" fmla="*/ 1699863 w 2029081"/>
                  <a:gd name="connsiteY251" fmla="*/ 796090 h 1786921"/>
                  <a:gd name="connsiteX252" fmla="*/ 1730646 w 2029081"/>
                  <a:gd name="connsiteY252" fmla="*/ 788236 h 1786921"/>
                  <a:gd name="connsiteX253" fmla="*/ 1739261 w 2029081"/>
                  <a:gd name="connsiteY253" fmla="*/ 773794 h 1786921"/>
                  <a:gd name="connsiteX254" fmla="*/ 1743695 w 2029081"/>
                  <a:gd name="connsiteY254" fmla="*/ 759732 h 1786921"/>
                  <a:gd name="connsiteX255" fmla="*/ 1774859 w 2029081"/>
                  <a:gd name="connsiteY255" fmla="*/ 736676 h 1786921"/>
                  <a:gd name="connsiteX256" fmla="*/ 1764978 w 2029081"/>
                  <a:gd name="connsiteY256" fmla="*/ 709439 h 1786921"/>
                  <a:gd name="connsiteX257" fmla="*/ 1783980 w 2029081"/>
                  <a:gd name="connsiteY257" fmla="*/ 703738 h 1786921"/>
                  <a:gd name="connsiteX258" fmla="*/ 1817677 w 2029081"/>
                  <a:gd name="connsiteY258" fmla="*/ 733255 h 1786921"/>
                  <a:gd name="connsiteX259" fmla="*/ 1841494 w 2029081"/>
                  <a:gd name="connsiteY259" fmla="*/ 698544 h 1786921"/>
                  <a:gd name="connsiteX260" fmla="*/ 1845928 w 2029081"/>
                  <a:gd name="connsiteY260" fmla="*/ 695504 h 1786921"/>
                  <a:gd name="connsiteX261" fmla="*/ 1846688 w 2029081"/>
                  <a:gd name="connsiteY261" fmla="*/ 718687 h 1786921"/>
                  <a:gd name="connsiteX262" fmla="*/ 1857836 w 2029081"/>
                  <a:gd name="connsiteY262" fmla="*/ 734015 h 1786921"/>
                  <a:gd name="connsiteX263" fmla="*/ 1871771 w 2029081"/>
                  <a:gd name="connsiteY263" fmla="*/ 754791 h 1786921"/>
                  <a:gd name="connsiteX264" fmla="*/ 1863283 w 2029081"/>
                  <a:gd name="connsiteY264" fmla="*/ 795456 h 1786921"/>
                  <a:gd name="connsiteX265" fmla="*/ 1872911 w 2029081"/>
                  <a:gd name="connsiteY265" fmla="*/ 819906 h 1786921"/>
                  <a:gd name="connsiteX266" fmla="*/ 1885199 w 2029081"/>
                  <a:gd name="connsiteY266" fmla="*/ 844102 h 1786921"/>
                  <a:gd name="connsiteX267" fmla="*/ 1899008 w 2029081"/>
                  <a:gd name="connsiteY267" fmla="*/ 890722 h 1786921"/>
                  <a:gd name="connsiteX268" fmla="*/ 1940813 w 2029081"/>
                  <a:gd name="connsiteY268" fmla="*/ 924166 h 1786921"/>
                  <a:gd name="connsiteX269" fmla="*/ 1976790 w 2029081"/>
                  <a:gd name="connsiteY269" fmla="*/ 961284 h 1786921"/>
                  <a:gd name="connsiteX270" fmla="*/ 1983632 w 2029081"/>
                  <a:gd name="connsiteY270" fmla="*/ 1017784 h 1786921"/>
                  <a:gd name="connsiteX271" fmla="*/ 2008588 w 2029081"/>
                  <a:gd name="connsiteY271" fmla="*/ 1054649 h 1786921"/>
                  <a:gd name="connsiteX272" fmla="*/ 2027717 w 2029081"/>
                  <a:gd name="connsiteY272" fmla="*/ 1100888 h 1786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2029081" h="1786921">
                    <a:moveTo>
                      <a:pt x="2027717" y="1100888"/>
                    </a:moveTo>
                    <a:cubicBezTo>
                      <a:pt x="2022143" y="1118243"/>
                      <a:pt x="2001620" y="1132305"/>
                      <a:pt x="1989585" y="1144973"/>
                    </a:cubicBezTo>
                    <a:cubicBezTo>
                      <a:pt x="1977931" y="1157262"/>
                      <a:pt x="1964503" y="1166763"/>
                      <a:pt x="1950821" y="1176517"/>
                    </a:cubicBezTo>
                    <a:cubicBezTo>
                      <a:pt x="1940307" y="1183992"/>
                      <a:pt x="1937139" y="1192479"/>
                      <a:pt x="1936759" y="1205021"/>
                    </a:cubicBezTo>
                    <a:cubicBezTo>
                      <a:pt x="1936379" y="1215536"/>
                      <a:pt x="1936253" y="1226557"/>
                      <a:pt x="1927891" y="1234031"/>
                    </a:cubicBezTo>
                    <a:cubicBezTo>
                      <a:pt x="1921557" y="1239732"/>
                      <a:pt x="1912689" y="1242392"/>
                      <a:pt x="1905215" y="1246319"/>
                    </a:cubicBezTo>
                    <a:cubicBezTo>
                      <a:pt x="1883679" y="1257341"/>
                      <a:pt x="1871644" y="1270009"/>
                      <a:pt x="1868984" y="1294712"/>
                    </a:cubicBezTo>
                    <a:cubicBezTo>
                      <a:pt x="1866830" y="1314855"/>
                      <a:pt x="1882539" y="1348172"/>
                      <a:pt x="1863030" y="1362994"/>
                    </a:cubicBezTo>
                    <a:cubicBezTo>
                      <a:pt x="1845674" y="1376169"/>
                      <a:pt x="1825405" y="1352859"/>
                      <a:pt x="1806656" y="1355393"/>
                    </a:cubicBezTo>
                    <a:cubicBezTo>
                      <a:pt x="1782713" y="1358560"/>
                      <a:pt x="1772452" y="1383643"/>
                      <a:pt x="1755350" y="1397198"/>
                    </a:cubicBezTo>
                    <a:cubicBezTo>
                      <a:pt x="1739641" y="1409486"/>
                      <a:pt x="1719752" y="1413034"/>
                      <a:pt x="1700370" y="1414047"/>
                    </a:cubicBezTo>
                    <a:cubicBezTo>
                      <a:pt x="1693149" y="1414427"/>
                      <a:pt x="1685168" y="1414427"/>
                      <a:pt x="1677440" y="1415187"/>
                    </a:cubicBezTo>
                    <a:cubicBezTo>
                      <a:pt x="1672752" y="1415694"/>
                      <a:pt x="1668192" y="1416581"/>
                      <a:pt x="1664012" y="1417974"/>
                    </a:cubicBezTo>
                    <a:cubicBezTo>
                      <a:pt x="1653877" y="1421395"/>
                      <a:pt x="1652737" y="1430896"/>
                      <a:pt x="1648430" y="1439510"/>
                    </a:cubicBezTo>
                    <a:cubicBezTo>
                      <a:pt x="1633481" y="1469281"/>
                      <a:pt x="1614859" y="1427475"/>
                      <a:pt x="1594083" y="1430262"/>
                    </a:cubicBezTo>
                    <a:cubicBezTo>
                      <a:pt x="1583315" y="1431783"/>
                      <a:pt x="1581542" y="1441411"/>
                      <a:pt x="1576728" y="1449138"/>
                    </a:cubicBezTo>
                    <a:cubicBezTo>
                      <a:pt x="1569633" y="1460666"/>
                      <a:pt x="1556712" y="1458893"/>
                      <a:pt x="1545310" y="1461426"/>
                    </a:cubicBezTo>
                    <a:cubicBezTo>
                      <a:pt x="1539736" y="1462693"/>
                      <a:pt x="1535175" y="1465480"/>
                      <a:pt x="1529348" y="1466367"/>
                    </a:cubicBezTo>
                    <a:cubicBezTo>
                      <a:pt x="1521494" y="1467634"/>
                      <a:pt x="1513639" y="1467507"/>
                      <a:pt x="1505785" y="1467380"/>
                    </a:cubicBezTo>
                    <a:cubicBezTo>
                      <a:pt x="1497044" y="1467127"/>
                      <a:pt x="1489950" y="1467887"/>
                      <a:pt x="1482095" y="1463073"/>
                    </a:cubicBezTo>
                    <a:cubicBezTo>
                      <a:pt x="1466387" y="1453319"/>
                      <a:pt x="1453845" y="1438117"/>
                      <a:pt x="1437504" y="1429502"/>
                    </a:cubicBezTo>
                    <a:cubicBezTo>
                      <a:pt x="1419895" y="1420255"/>
                      <a:pt x="1400385" y="1418861"/>
                      <a:pt x="1381130" y="1421395"/>
                    </a:cubicBezTo>
                    <a:cubicBezTo>
                      <a:pt x="1371755" y="1422661"/>
                      <a:pt x="1362634" y="1424435"/>
                      <a:pt x="1353386" y="1426335"/>
                    </a:cubicBezTo>
                    <a:cubicBezTo>
                      <a:pt x="1346039" y="1427855"/>
                      <a:pt x="1331217" y="1430642"/>
                      <a:pt x="1326022" y="1422915"/>
                    </a:cubicBezTo>
                    <a:cubicBezTo>
                      <a:pt x="1321842" y="1416707"/>
                      <a:pt x="1329570" y="1407459"/>
                      <a:pt x="1332231" y="1402012"/>
                    </a:cubicBezTo>
                    <a:cubicBezTo>
                      <a:pt x="1335777" y="1394665"/>
                      <a:pt x="1342745" y="1382756"/>
                      <a:pt x="1340085" y="1374395"/>
                    </a:cubicBezTo>
                    <a:cubicBezTo>
                      <a:pt x="1336158" y="1362234"/>
                      <a:pt x="1314748" y="1353999"/>
                      <a:pt x="1303727" y="1351086"/>
                    </a:cubicBezTo>
                    <a:cubicBezTo>
                      <a:pt x="1295492" y="1348806"/>
                      <a:pt x="1289412" y="1350579"/>
                      <a:pt x="1281304" y="1353113"/>
                    </a:cubicBezTo>
                    <a:cubicBezTo>
                      <a:pt x="1271169" y="1356280"/>
                      <a:pt x="1259641" y="1358180"/>
                      <a:pt x="1251153" y="1364894"/>
                    </a:cubicBezTo>
                    <a:cubicBezTo>
                      <a:pt x="1243299" y="1371102"/>
                      <a:pt x="1237852" y="1379083"/>
                      <a:pt x="1228351" y="1383263"/>
                    </a:cubicBezTo>
                    <a:cubicBezTo>
                      <a:pt x="1218976" y="1387444"/>
                      <a:pt x="1208715" y="1387064"/>
                      <a:pt x="1198707" y="1387317"/>
                    </a:cubicBezTo>
                    <a:cubicBezTo>
                      <a:pt x="1189332" y="1387570"/>
                      <a:pt x="1180212" y="1388964"/>
                      <a:pt x="1170963" y="1389724"/>
                    </a:cubicBezTo>
                    <a:cubicBezTo>
                      <a:pt x="1163109" y="1390357"/>
                      <a:pt x="1155255" y="1389091"/>
                      <a:pt x="1147400" y="1390231"/>
                    </a:cubicBezTo>
                    <a:cubicBezTo>
                      <a:pt x="1127765" y="1393145"/>
                      <a:pt x="1112816" y="1406446"/>
                      <a:pt x="1094194" y="1411387"/>
                    </a:cubicBezTo>
                    <a:cubicBezTo>
                      <a:pt x="1085453" y="1413667"/>
                      <a:pt x="1078739" y="1419241"/>
                      <a:pt x="1071137" y="1423928"/>
                    </a:cubicBezTo>
                    <a:cubicBezTo>
                      <a:pt x="1062017" y="1429502"/>
                      <a:pt x="1052515" y="1434696"/>
                      <a:pt x="1042634" y="1438877"/>
                    </a:cubicBezTo>
                    <a:cubicBezTo>
                      <a:pt x="1019577" y="1448631"/>
                      <a:pt x="994875" y="1466114"/>
                      <a:pt x="982207" y="1488156"/>
                    </a:cubicBezTo>
                    <a:cubicBezTo>
                      <a:pt x="977012" y="1497151"/>
                      <a:pt x="971819" y="1508172"/>
                      <a:pt x="973212" y="1518814"/>
                    </a:cubicBezTo>
                    <a:cubicBezTo>
                      <a:pt x="974226" y="1525908"/>
                      <a:pt x="977012" y="1532748"/>
                      <a:pt x="977772" y="1539969"/>
                    </a:cubicBezTo>
                    <a:cubicBezTo>
                      <a:pt x="980306" y="1561759"/>
                      <a:pt x="955603" y="1565433"/>
                      <a:pt x="948762" y="1583295"/>
                    </a:cubicBezTo>
                    <a:cubicBezTo>
                      <a:pt x="945975" y="1590642"/>
                      <a:pt x="945215" y="1599384"/>
                      <a:pt x="940148" y="1605718"/>
                    </a:cubicBezTo>
                    <a:cubicBezTo>
                      <a:pt x="933941" y="1613699"/>
                      <a:pt x="922666" y="1613825"/>
                      <a:pt x="913544" y="1613825"/>
                    </a:cubicBezTo>
                    <a:cubicBezTo>
                      <a:pt x="892388" y="1613825"/>
                      <a:pt x="868699" y="1620159"/>
                      <a:pt x="848936" y="1627634"/>
                    </a:cubicBezTo>
                    <a:cubicBezTo>
                      <a:pt x="832087" y="1633968"/>
                      <a:pt x="818913" y="1648790"/>
                      <a:pt x="810172" y="1664118"/>
                    </a:cubicBezTo>
                    <a:cubicBezTo>
                      <a:pt x="801557" y="1679067"/>
                      <a:pt x="789776" y="1687808"/>
                      <a:pt x="776221" y="1698323"/>
                    </a:cubicBezTo>
                    <a:cubicBezTo>
                      <a:pt x="766466" y="1705797"/>
                      <a:pt x="758358" y="1714285"/>
                      <a:pt x="751137" y="1724166"/>
                    </a:cubicBezTo>
                    <a:cubicBezTo>
                      <a:pt x="745564" y="1731893"/>
                      <a:pt x="740369" y="1740508"/>
                      <a:pt x="732388" y="1745702"/>
                    </a:cubicBezTo>
                    <a:cubicBezTo>
                      <a:pt x="730362" y="1746969"/>
                      <a:pt x="728208" y="1748109"/>
                      <a:pt x="725801" y="1748869"/>
                    </a:cubicBezTo>
                    <a:cubicBezTo>
                      <a:pt x="715287" y="1752416"/>
                      <a:pt x="702998" y="1751403"/>
                      <a:pt x="691977" y="1752923"/>
                    </a:cubicBezTo>
                    <a:cubicBezTo>
                      <a:pt x="677282" y="1754950"/>
                      <a:pt x="663093" y="1754823"/>
                      <a:pt x="648398" y="1755837"/>
                    </a:cubicBezTo>
                    <a:cubicBezTo>
                      <a:pt x="635983" y="1756723"/>
                      <a:pt x="623315" y="1759890"/>
                      <a:pt x="611027" y="1757103"/>
                    </a:cubicBezTo>
                    <a:cubicBezTo>
                      <a:pt x="595698" y="1753683"/>
                      <a:pt x="583030" y="1745068"/>
                      <a:pt x="566941" y="1743802"/>
                    </a:cubicBezTo>
                    <a:cubicBezTo>
                      <a:pt x="544392" y="1742028"/>
                      <a:pt x="518422" y="1742788"/>
                      <a:pt x="497012" y="1750643"/>
                    </a:cubicBezTo>
                    <a:cubicBezTo>
                      <a:pt x="487131" y="1754316"/>
                      <a:pt x="478770" y="1759004"/>
                      <a:pt x="468256" y="1760904"/>
                    </a:cubicBezTo>
                    <a:cubicBezTo>
                      <a:pt x="455587" y="1763311"/>
                      <a:pt x="447100" y="1769898"/>
                      <a:pt x="435951" y="1776105"/>
                    </a:cubicBezTo>
                    <a:cubicBezTo>
                      <a:pt x="426197" y="1781553"/>
                      <a:pt x="405928" y="1791434"/>
                      <a:pt x="394906" y="1784593"/>
                    </a:cubicBezTo>
                    <a:cubicBezTo>
                      <a:pt x="382618" y="1777119"/>
                      <a:pt x="391106" y="1755330"/>
                      <a:pt x="396553" y="1746335"/>
                    </a:cubicBezTo>
                    <a:cubicBezTo>
                      <a:pt x="406181" y="1730373"/>
                      <a:pt x="419736" y="1716565"/>
                      <a:pt x="424043" y="1697816"/>
                    </a:cubicBezTo>
                    <a:cubicBezTo>
                      <a:pt x="425690" y="1690848"/>
                      <a:pt x="423536" y="1686414"/>
                      <a:pt x="420623" y="1680207"/>
                    </a:cubicBezTo>
                    <a:cubicBezTo>
                      <a:pt x="412389" y="1662852"/>
                      <a:pt x="404534" y="1645243"/>
                      <a:pt x="396300" y="1628014"/>
                    </a:cubicBezTo>
                    <a:cubicBezTo>
                      <a:pt x="389712" y="1614332"/>
                      <a:pt x="381351" y="1598117"/>
                      <a:pt x="366403" y="1592163"/>
                    </a:cubicBezTo>
                    <a:cubicBezTo>
                      <a:pt x="357662" y="1588742"/>
                      <a:pt x="348287" y="1591023"/>
                      <a:pt x="340179" y="1595583"/>
                    </a:cubicBezTo>
                    <a:cubicBezTo>
                      <a:pt x="322824" y="1605338"/>
                      <a:pt x="315603" y="1623706"/>
                      <a:pt x="312183" y="1642202"/>
                    </a:cubicBezTo>
                    <a:cubicBezTo>
                      <a:pt x="308636" y="1660951"/>
                      <a:pt x="302428" y="1677040"/>
                      <a:pt x="290267" y="1691735"/>
                    </a:cubicBezTo>
                    <a:cubicBezTo>
                      <a:pt x="284059" y="1699209"/>
                      <a:pt x="277598" y="1706430"/>
                      <a:pt x="270884" y="1713398"/>
                    </a:cubicBezTo>
                    <a:cubicBezTo>
                      <a:pt x="264803" y="1719732"/>
                      <a:pt x="255429" y="1730626"/>
                      <a:pt x="245928" y="1731007"/>
                    </a:cubicBezTo>
                    <a:cubicBezTo>
                      <a:pt x="228192" y="1731767"/>
                      <a:pt x="233386" y="1688061"/>
                      <a:pt x="230092" y="1677040"/>
                    </a:cubicBezTo>
                    <a:cubicBezTo>
                      <a:pt x="226292" y="1664118"/>
                      <a:pt x="213877" y="1657024"/>
                      <a:pt x="207290" y="1645623"/>
                    </a:cubicBezTo>
                    <a:cubicBezTo>
                      <a:pt x="200195" y="1633461"/>
                      <a:pt x="195508" y="1620539"/>
                      <a:pt x="187400" y="1608885"/>
                    </a:cubicBezTo>
                    <a:cubicBezTo>
                      <a:pt x="183093" y="1602804"/>
                      <a:pt x="177519" y="1596597"/>
                      <a:pt x="175999" y="1589122"/>
                    </a:cubicBezTo>
                    <a:cubicBezTo>
                      <a:pt x="174479" y="1581775"/>
                      <a:pt x="177772" y="1575441"/>
                      <a:pt x="180686" y="1568980"/>
                    </a:cubicBezTo>
                    <a:cubicBezTo>
                      <a:pt x="184613" y="1560365"/>
                      <a:pt x="184993" y="1551751"/>
                      <a:pt x="181826" y="1542883"/>
                    </a:cubicBezTo>
                    <a:cubicBezTo>
                      <a:pt x="180306" y="1538703"/>
                      <a:pt x="178279" y="1533762"/>
                      <a:pt x="175872" y="1530088"/>
                    </a:cubicBezTo>
                    <a:cubicBezTo>
                      <a:pt x="173719" y="1526921"/>
                      <a:pt x="170552" y="1525148"/>
                      <a:pt x="168525" y="1521981"/>
                    </a:cubicBezTo>
                    <a:cubicBezTo>
                      <a:pt x="166751" y="1519194"/>
                      <a:pt x="165864" y="1516280"/>
                      <a:pt x="165864" y="1513239"/>
                    </a:cubicBezTo>
                    <a:cubicBezTo>
                      <a:pt x="165358" y="1501205"/>
                      <a:pt x="175745" y="1487270"/>
                      <a:pt x="179926" y="1477515"/>
                    </a:cubicBezTo>
                    <a:cubicBezTo>
                      <a:pt x="183346" y="1469661"/>
                      <a:pt x="187020" y="1460793"/>
                      <a:pt x="186767" y="1452052"/>
                    </a:cubicBezTo>
                    <a:cubicBezTo>
                      <a:pt x="186514" y="1443057"/>
                      <a:pt x="180559" y="1436090"/>
                      <a:pt x="177392" y="1427982"/>
                    </a:cubicBezTo>
                    <a:cubicBezTo>
                      <a:pt x="171058" y="1411513"/>
                      <a:pt x="177012" y="1393651"/>
                      <a:pt x="177139" y="1376676"/>
                    </a:cubicBezTo>
                    <a:cubicBezTo>
                      <a:pt x="177139" y="1365781"/>
                      <a:pt x="169918" y="1363374"/>
                      <a:pt x="162191" y="1357673"/>
                    </a:cubicBezTo>
                    <a:cubicBezTo>
                      <a:pt x="150536" y="1349312"/>
                      <a:pt x="152183" y="1338291"/>
                      <a:pt x="151676" y="1325369"/>
                    </a:cubicBezTo>
                    <a:cubicBezTo>
                      <a:pt x="151549" y="1322456"/>
                      <a:pt x="151296" y="1316628"/>
                      <a:pt x="148382" y="1315488"/>
                    </a:cubicBezTo>
                    <a:cubicBezTo>
                      <a:pt x="145849" y="1314475"/>
                      <a:pt x="138881" y="1317768"/>
                      <a:pt x="136347" y="1318402"/>
                    </a:cubicBezTo>
                    <a:cubicBezTo>
                      <a:pt x="127606" y="1320935"/>
                      <a:pt x="118992" y="1324102"/>
                      <a:pt x="110378" y="1326509"/>
                    </a:cubicBezTo>
                    <a:cubicBezTo>
                      <a:pt x="93275" y="1331450"/>
                      <a:pt x="74906" y="1333984"/>
                      <a:pt x="58691" y="1324863"/>
                    </a:cubicBezTo>
                    <a:cubicBezTo>
                      <a:pt x="47416" y="1318529"/>
                      <a:pt x="36775" y="1309281"/>
                      <a:pt x="31834" y="1297119"/>
                    </a:cubicBezTo>
                    <a:cubicBezTo>
                      <a:pt x="26387" y="1284071"/>
                      <a:pt x="25880" y="1269629"/>
                      <a:pt x="20433" y="1256581"/>
                    </a:cubicBezTo>
                    <a:cubicBezTo>
                      <a:pt x="14985" y="1243786"/>
                      <a:pt x="4598" y="1232764"/>
                      <a:pt x="1177" y="1219083"/>
                    </a:cubicBezTo>
                    <a:cubicBezTo>
                      <a:pt x="-2243" y="1206034"/>
                      <a:pt x="1937" y="1190453"/>
                      <a:pt x="11818" y="1181078"/>
                    </a:cubicBezTo>
                    <a:cubicBezTo>
                      <a:pt x="22966" y="1170437"/>
                      <a:pt x="39055" y="1172337"/>
                      <a:pt x="52990" y="1169423"/>
                    </a:cubicBezTo>
                    <a:cubicBezTo>
                      <a:pt x="70219" y="1166003"/>
                      <a:pt x="80354" y="1155615"/>
                      <a:pt x="87575" y="1140033"/>
                    </a:cubicBezTo>
                    <a:cubicBezTo>
                      <a:pt x="94162" y="1126098"/>
                      <a:pt x="99356" y="1119004"/>
                      <a:pt x="115571" y="1117990"/>
                    </a:cubicBezTo>
                    <a:cubicBezTo>
                      <a:pt x="128873" y="1117230"/>
                      <a:pt x="145215" y="1116850"/>
                      <a:pt x="149902" y="1101648"/>
                    </a:cubicBezTo>
                    <a:cubicBezTo>
                      <a:pt x="155097" y="1084673"/>
                      <a:pt x="156490" y="1065924"/>
                      <a:pt x="157377" y="1048315"/>
                    </a:cubicBezTo>
                    <a:cubicBezTo>
                      <a:pt x="158264" y="1032226"/>
                      <a:pt x="160670" y="1013097"/>
                      <a:pt x="152816" y="998275"/>
                    </a:cubicBezTo>
                    <a:cubicBezTo>
                      <a:pt x="145215" y="983707"/>
                      <a:pt x="135207" y="971798"/>
                      <a:pt x="129633" y="955963"/>
                    </a:cubicBezTo>
                    <a:cubicBezTo>
                      <a:pt x="124692" y="941901"/>
                      <a:pt x="113291" y="931767"/>
                      <a:pt x="106324" y="918718"/>
                    </a:cubicBezTo>
                    <a:cubicBezTo>
                      <a:pt x="98089" y="903010"/>
                      <a:pt x="115318" y="899209"/>
                      <a:pt x="127099" y="896296"/>
                    </a:cubicBezTo>
                    <a:cubicBezTo>
                      <a:pt x="139514" y="893255"/>
                      <a:pt x="150916" y="888568"/>
                      <a:pt x="158770" y="878180"/>
                    </a:cubicBezTo>
                    <a:cubicBezTo>
                      <a:pt x="168651" y="865385"/>
                      <a:pt x="175365" y="851450"/>
                      <a:pt x="176379" y="834981"/>
                    </a:cubicBezTo>
                    <a:cubicBezTo>
                      <a:pt x="176759" y="829027"/>
                      <a:pt x="177392" y="820666"/>
                      <a:pt x="173845" y="815472"/>
                    </a:cubicBezTo>
                    <a:cubicBezTo>
                      <a:pt x="169665" y="809518"/>
                      <a:pt x="161431" y="809265"/>
                      <a:pt x="154843" y="808378"/>
                    </a:cubicBezTo>
                    <a:cubicBezTo>
                      <a:pt x="136601" y="806098"/>
                      <a:pt x="119118" y="784562"/>
                      <a:pt x="121272" y="765433"/>
                    </a:cubicBezTo>
                    <a:cubicBezTo>
                      <a:pt x="135080" y="764799"/>
                      <a:pt x="148256" y="767333"/>
                      <a:pt x="161051" y="773920"/>
                    </a:cubicBezTo>
                    <a:cubicBezTo>
                      <a:pt x="195888" y="791656"/>
                      <a:pt x="219071" y="824340"/>
                      <a:pt x="230346" y="860951"/>
                    </a:cubicBezTo>
                    <a:cubicBezTo>
                      <a:pt x="239340" y="889962"/>
                      <a:pt x="239594" y="924799"/>
                      <a:pt x="274684" y="932527"/>
                    </a:cubicBezTo>
                    <a:cubicBezTo>
                      <a:pt x="299895" y="938101"/>
                      <a:pt x="340179" y="929106"/>
                      <a:pt x="331945" y="967365"/>
                    </a:cubicBezTo>
                    <a:cubicBezTo>
                      <a:pt x="329158" y="980286"/>
                      <a:pt x="322951" y="991434"/>
                      <a:pt x="310409" y="996628"/>
                    </a:cubicBezTo>
                    <a:cubicBezTo>
                      <a:pt x="298248" y="1001695"/>
                      <a:pt x="283806" y="1001315"/>
                      <a:pt x="273291" y="1010183"/>
                    </a:cubicBezTo>
                    <a:cubicBezTo>
                      <a:pt x="263283" y="1018671"/>
                      <a:pt x="262143" y="1031593"/>
                      <a:pt x="259103" y="1043627"/>
                    </a:cubicBezTo>
                    <a:cubicBezTo>
                      <a:pt x="255176" y="1059083"/>
                      <a:pt x="247195" y="1073144"/>
                      <a:pt x="243014" y="1088473"/>
                    </a:cubicBezTo>
                    <a:cubicBezTo>
                      <a:pt x="239087" y="1102915"/>
                      <a:pt x="243394" y="1112669"/>
                      <a:pt x="259230" y="1105195"/>
                    </a:cubicBezTo>
                    <a:cubicBezTo>
                      <a:pt x="268224" y="1101015"/>
                      <a:pt x="275951" y="1093920"/>
                      <a:pt x="283299" y="1087333"/>
                    </a:cubicBezTo>
                    <a:cubicBezTo>
                      <a:pt x="286466" y="1084419"/>
                      <a:pt x="295334" y="1072511"/>
                      <a:pt x="299895" y="1072131"/>
                    </a:cubicBezTo>
                    <a:cubicBezTo>
                      <a:pt x="306735" y="1071624"/>
                      <a:pt x="296854" y="1095061"/>
                      <a:pt x="295334" y="1100001"/>
                    </a:cubicBezTo>
                    <a:cubicBezTo>
                      <a:pt x="291280" y="1113683"/>
                      <a:pt x="287860" y="1128125"/>
                      <a:pt x="280765" y="1140666"/>
                    </a:cubicBezTo>
                    <a:cubicBezTo>
                      <a:pt x="270124" y="1159289"/>
                      <a:pt x="241240" y="1177531"/>
                      <a:pt x="248335" y="1201347"/>
                    </a:cubicBezTo>
                    <a:cubicBezTo>
                      <a:pt x="252769" y="1216042"/>
                      <a:pt x="258089" y="1230484"/>
                      <a:pt x="261763" y="1245559"/>
                    </a:cubicBezTo>
                    <a:cubicBezTo>
                      <a:pt x="265437" y="1260508"/>
                      <a:pt x="264930" y="1274190"/>
                      <a:pt x="265183" y="1289392"/>
                    </a:cubicBezTo>
                    <a:cubicBezTo>
                      <a:pt x="265564" y="1309281"/>
                      <a:pt x="280639" y="1330943"/>
                      <a:pt x="301668" y="1332083"/>
                    </a:cubicBezTo>
                    <a:cubicBezTo>
                      <a:pt x="331945" y="1333857"/>
                      <a:pt x="333339" y="1311814"/>
                      <a:pt x="323711" y="1289011"/>
                    </a:cubicBezTo>
                    <a:cubicBezTo>
                      <a:pt x="320797" y="1282044"/>
                      <a:pt x="316870" y="1276976"/>
                      <a:pt x="310789" y="1272543"/>
                    </a:cubicBezTo>
                    <a:cubicBezTo>
                      <a:pt x="305089" y="1268362"/>
                      <a:pt x="296221" y="1265322"/>
                      <a:pt x="294700" y="1257341"/>
                    </a:cubicBezTo>
                    <a:cubicBezTo>
                      <a:pt x="292294" y="1244673"/>
                      <a:pt x="305722" y="1237452"/>
                      <a:pt x="299514" y="1223643"/>
                    </a:cubicBezTo>
                    <a:cubicBezTo>
                      <a:pt x="293814" y="1210848"/>
                      <a:pt x="293940" y="1205021"/>
                      <a:pt x="300781" y="1191973"/>
                    </a:cubicBezTo>
                    <a:cubicBezTo>
                      <a:pt x="306735" y="1180571"/>
                      <a:pt x="315223" y="1172210"/>
                      <a:pt x="323584" y="1162709"/>
                    </a:cubicBezTo>
                    <a:cubicBezTo>
                      <a:pt x="337772" y="1146494"/>
                      <a:pt x="333845" y="1119004"/>
                      <a:pt x="331058" y="1098734"/>
                    </a:cubicBezTo>
                    <a:cubicBezTo>
                      <a:pt x="327638" y="1073398"/>
                      <a:pt x="317250" y="1041981"/>
                      <a:pt x="330932" y="1018418"/>
                    </a:cubicBezTo>
                    <a:cubicBezTo>
                      <a:pt x="337139" y="1007776"/>
                      <a:pt x="346387" y="998782"/>
                      <a:pt x="350948" y="987000"/>
                    </a:cubicBezTo>
                    <a:cubicBezTo>
                      <a:pt x="355128" y="976106"/>
                      <a:pt x="353735" y="964578"/>
                      <a:pt x="353735" y="953176"/>
                    </a:cubicBezTo>
                    <a:cubicBezTo>
                      <a:pt x="353735" y="941901"/>
                      <a:pt x="354368" y="930120"/>
                      <a:pt x="348667" y="919859"/>
                    </a:cubicBezTo>
                    <a:cubicBezTo>
                      <a:pt x="342333" y="908331"/>
                      <a:pt x="328525" y="902883"/>
                      <a:pt x="323204" y="890848"/>
                    </a:cubicBezTo>
                    <a:cubicBezTo>
                      <a:pt x="313070" y="867919"/>
                      <a:pt x="345627" y="846003"/>
                      <a:pt x="314210" y="833841"/>
                    </a:cubicBezTo>
                    <a:cubicBezTo>
                      <a:pt x="296221" y="826874"/>
                      <a:pt x="273544" y="812559"/>
                      <a:pt x="261763" y="796850"/>
                    </a:cubicBezTo>
                    <a:cubicBezTo>
                      <a:pt x="247575" y="777848"/>
                      <a:pt x="261763" y="748710"/>
                      <a:pt x="268350" y="729582"/>
                    </a:cubicBezTo>
                    <a:cubicBezTo>
                      <a:pt x="280765" y="692970"/>
                      <a:pt x="262903" y="644831"/>
                      <a:pt x="297361" y="616327"/>
                    </a:cubicBezTo>
                    <a:cubicBezTo>
                      <a:pt x="313070" y="603279"/>
                      <a:pt x="338659" y="604293"/>
                      <a:pt x="357408" y="608853"/>
                    </a:cubicBezTo>
                    <a:cubicBezTo>
                      <a:pt x="378564" y="614047"/>
                      <a:pt x="395286" y="628996"/>
                      <a:pt x="417456" y="630896"/>
                    </a:cubicBezTo>
                    <a:cubicBezTo>
                      <a:pt x="440005" y="632796"/>
                      <a:pt x="461668" y="628869"/>
                      <a:pt x="484344" y="632669"/>
                    </a:cubicBezTo>
                    <a:cubicBezTo>
                      <a:pt x="504613" y="635963"/>
                      <a:pt x="532990" y="640524"/>
                      <a:pt x="553006" y="633810"/>
                    </a:cubicBezTo>
                    <a:cubicBezTo>
                      <a:pt x="567955" y="628869"/>
                      <a:pt x="582143" y="612400"/>
                      <a:pt x="599372" y="624055"/>
                    </a:cubicBezTo>
                    <a:cubicBezTo>
                      <a:pt x="615588" y="635203"/>
                      <a:pt x="591644" y="649518"/>
                      <a:pt x="593291" y="661806"/>
                    </a:cubicBezTo>
                    <a:cubicBezTo>
                      <a:pt x="597472" y="692844"/>
                      <a:pt x="699324" y="651418"/>
                      <a:pt x="680195" y="629249"/>
                    </a:cubicBezTo>
                    <a:cubicBezTo>
                      <a:pt x="673988" y="622155"/>
                      <a:pt x="662586" y="622788"/>
                      <a:pt x="663093" y="610500"/>
                    </a:cubicBezTo>
                    <a:cubicBezTo>
                      <a:pt x="663600" y="600745"/>
                      <a:pt x="668794" y="594538"/>
                      <a:pt x="665500" y="584150"/>
                    </a:cubicBezTo>
                    <a:cubicBezTo>
                      <a:pt x="662207" y="573509"/>
                      <a:pt x="654479" y="565528"/>
                      <a:pt x="661447" y="554380"/>
                    </a:cubicBezTo>
                    <a:cubicBezTo>
                      <a:pt x="669174" y="542091"/>
                      <a:pt x="679816" y="532844"/>
                      <a:pt x="671708" y="517515"/>
                    </a:cubicBezTo>
                    <a:cubicBezTo>
                      <a:pt x="659040" y="492938"/>
                      <a:pt x="634336" y="484198"/>
                      <a:pt x="637250" y="452274"/>
                    </a:cubicBezTo>
                    <a:cubicBezTo>
                      <a:pt x="660939" y="450373"/>
                      <a:pt x="667273" y="482297"/>
                      <a:pt x="694384" y="472163"/>
                    </a:cubicBezTo>
                    <a:cubicBezTo>
                      <a:pt x="707306" y="467349"/>
                      <a:pt x="741763" y="447079"/>
                      <a:pt x="716680" y="436058"/>
                    </a:cubicBezTo>
                    <a:cubicBezTo>
                      <a:pt x="710092" y="433145"/>
                      <a:pt x="691597" y="428964"/>
                      <a:pt x="702871" y="418449"/>
                    </a:cubicBezTo>
                    <a:cubicBezTo>
                      <a:pt x="709079" y="412622"/>
                      <a:pt x="723647" y="415535"/>
                      <a:pt x="731375" y="415535"/>
                    </a:cubicBezTo>
                    <a:cubicBezTo>
                      <a:pt x="742016" y="415535"/>
                      <a:pt x="749744" y="414775"/>
                      <a:pt x="755191" y="404641"/>
                    </a:cubicBezTo>
                    <a:cubicBezTo>
                      <a:pt x="760638" y="394633"/>
                      <a:pt x="763045" y="389312"/>
                      <a:pt x="773687" y="383358"/>
                    </a:cubicBezTo>
                    <a:cubicBezTo>
                      <a:pt x="782301" y="378671"/>
                      <a:pt x="791676" y="373097"/>
                      <a:pt x="801050" y="370310"/>
                    </a:cubicBezTo>
                    <a:cubicBezTo>
                      <a:pt x="816885" y="365496"/>
                      <a:pt x="832595" y="369423"/>
                      <a:pt x="848176" y="367650"/>
                    </a:cubicBezTo>
                    <a:cubicBezTo>
                      <a:pt x="860464" y="366256"/>
                      <a:pt x="862365" y="355615"/>
                      <a:pt x="870725" y="348901"/>
                    </a:cubicBezTo>
                    <a:cubicBezTo>
                      <a:pt x="880101" y="341426"/>
                      <a:pt x="886814" y="350167"/>
                      <a:pt x="895809" y="353588"/>
                    </a:cubicBezTo>
                    <a:cubicBezTo>
                      <a:pt x="906323" y="357515"/>
                      <a:pt x="915191" y="356248"/>
                      <a:pt x="924313" y="349914"/>
                    </a:cubicBezTo>
                    <a:cubicBezTo>
                      <a:pt x="931026" y="345353"/>
                      <a:pt x="940781" y="334839"/>
                      <a:pt x="949902" y="338893"/>
                    </a:cubicBezTo>
                    <a:cubicBezTo>
                      <a:pt x="954590" y="340919"/>
                      <a:pt x="955096" y="349027"/>
                      <a:pt x="959784" y="350421"/>
                    </a:cubicBezTo>
                    <a:cubicBezTo>
                      <a:pt x="965104" y="352068"/>
                      <a:pt x="968018" y="346620"/>
                      <a:pt x="971185" y="343326"/>
                    </a:cubicBezTo>
                    <a:cubicBezTo>
                      <a:pt x="978659" y="335346"/>
                      <a:pt x="987527" y="327238"/>
                      <a:pt x="998929" y="326858"/>
                    </a:cubicBezTo>
                    <a:cubicBezTo>
                      <a:pt x="1005769" y="326604"/>
                      <a:pt x="1025659" y="329645"/>
                      <a:pt x="1021351" y="316090"/>
                    </a:cubicBezTo>
                    <a:cubicBezTo>
                      <a:pt x="1017804" y="305322"/>
                      <a:pt x="999435" y="310896"/>
                      <a:pt x="996522" y="299748"/>
                    </a:cubicBezTo>
                    <a:cubicBezTo>
                      <a:pt x="992848" y="286066"/>
                      <a:pt x="1010076" y="290880"/>
                      <a:pt x="1016664" y="292020"/>
                    </a:cubicBezTo>
                    <a:cubicBezTo>
                      <a:pt x="1030092" y="294427"/>
                      <a:pt x="1031233" y="288220"/>
                      <a:pt x="1041621" y="282646"/>
                    </a:cubicBezTo>
                    <a:cubicBezTo>
                      <a:pt x="1049728" y="278338"/>
                      <a:pt x="1060749" y="282519"/>
                      <a:pt x="1068604" y="286066"/>
                    </a:cubicBezTo>
                    <a:cubicBezTo>
                      <a:pt x="1078992" y="290500"/>
                      <a:pt x="1084313" y="293287"/>
                      <a:pt x="1095841" y="293414"/>
                    </a:cubicBezTo>
                    <a:cubicBezTo>
                      <a:pt x="1102428" y="293540"/>
                      <a:pt x="1119403" y="291893"/>
                      <a:pt x="1122951" y="299874"/>
                    </a:cubicBezTo>
                    <a:cubicBezTo>
                      <a:pt x="1126498" y="308109"/>
                      <a:pt x="1109522" y="316596"/>
                      <a:pt x="1121937" y="323564"/>
                    </a:cubicBezTo>
                    <a:cubicBezTo>
                      <a:pt x="1129158" y="327618"/>
                      <a:pt x="1142586" y="323691"/>
                      <a:pt x="1151074" y="325844"/>
                    </a:cubicBezTo>
                    <a:cubicBezTo>
                      <a:pt x="1155381" y="326985"/>
                      <a:pt x="1160449" y="330278"/>
                      <a:pt x="1165009" y="329392"/>
                    </a:cubicBezTo>
                    <a:cubicBezTo>
                      <a:pt x="1170076" y="328505"/>
                      <a:pt x="1171344" y="324197"/>
                      <a:pt x="1175271" y="321410"/>
                    </a:cubicBezTo>
                    <a:cubicBezTo>
                      <a:pt x="1183379" y="315583"/>
                      <a:pt x="1194906" y="320397"/>
                      <a:pt x="1201874" y="312543"/>
                    </a:cubicBezTo>
                    <a:cubicBezTo>
                      <a:pt x="1208461" y="305195"/>
                      <a:pt x="1203774" y="294554"/>
                      <a:pt x="1212008" y="287840"/>
                    </a:cubicBezTo>
                    <a:cubicBezTo>
                      <a:pt x="1217203" y="283659"/>
                      <a:pt x="1229111" y="277958"/>
                      <a:pt x="1235572" y="276945"/>
                    </a:cubicBezTo>
                    <a:cubicBezTo>
                      <a:pt x="1244059" y="275678"/>
                      <a:pt x="1259134" y="283659"/>
                      <a:pt x="1266989" y="287713"/>
                    </a:cubicBezTo>
                    <a:cubicBezTo>
                      <a:pt x="1274463" y="291513"/>
                      <a:pt x="1287892" y="307475"/>
                      <a:pt x="1296126" y="296707"/>
                    </a:cubicBezTo>
                    <a:cubicBezTo>
                      <a:pt x="1306894" y="282519"/>
                      <a:pt x="1279277" y="268457"/>
                      <a:pt x="1272182" y="260096"/>
                    </a:cubicBezTo>
                    <a:cubicBezTo>
                      <a:pt x="1265722" y="252495"/>
                      <a:pt x="1253054" y="235266"/>
                      <a:pt x="1264455" y="227032"/>
                    </a:cubicBezTo>
                    <a:cubicBezTo>
                      <a:pt x="1273323" y="220698"/>
                      <a:pt x="1294986" y="226145"/>
                      <a:pt x="1305247" y="227159"/>
                    </a:cubicBezTo>
                    <a:cubicBezTo>
                      <a:pt x="1319435" y="228426"/>
                      <a:pt x="1331977" y="235393"/>
                      <a:pt x="1345532" y="239447"/>
                    </a:cubicBezTo>
                    <a:cubicBezTo>
                      <a:pt x="1357567" y="243121"/>
                      <a:pt x="1376569" y="259083"/>
                      <a:pt x="1389238" y="255029"/>
                    </a:cubicBezTo>
                    <a:cubicBezTo>
                      <a:pt x="1405833" y="249708"/>
                      <a:pt x="1383030" y="233620"/>
                      <a:pt x="1377203" y="229186"/>
                    </a:cubicBezTo>
                    <a:cubicBezTo>
                      <a:pt x="1367954" y="222218"/>
                      <a:pt x="1353893" y="214997"/>
                      <a:pt x="1356046" y="201822"/>
                    </a:cubicBezTo>
                    <a:cubicBezTo>
                      <a:pt x="1357187" y="194601"/>
                      <a:pt x="1361874" y="189407"/>
                      <a:pt x="1358960" y="181806"/>
                    </a:cubicBezTo>
                    <a:cubicBezTo>
                      <a:pt x="1356680" y="175979"/>
                      <a:pt x="1346672" y="171672"/>
                      <a:pt x="1346292" y="165338"/>
                    </a:cubicBezTo>
                    <a:cubicBezTo>
                      <a:pt x="1345659" y="152669"/>
                      <a:pt x="1380497" y="148996"/>
                      <a:pt x="1357947" y="136581"/>
                    </a:cubicBezTo>
                    <a:cubicBezTo>
                      <a:pt x="1374162" y="119732"/>
                      <a:pt x="1360481" y="87935"/>
                      <a:pt x="1387337" y="78180"/>
                    </a:cubicBezTo>
                    <a:cubicBezTo>
                      <a:pt x="1398485" y="74126"/>
                      <a:pt x="1413687" y="79574"/>
                      <a:pt x="1422048" y="68806"/>
                    </a:cubicBezTo>
                    <a:cubicBezTo>
                      <a:pt x="1429269" y="59431"/>
                      <a:pt x="1422302" y="44863"/>
                      <a:pt x="1432056" y="37262"/>
                    </a:cubicBezTo>
                    <a:cubicBezTo>
                      <a:pt x="1441684" y="29661"/>
                      <a:pt x="1451945" y="33208"/>
                      <a:pt x="1457773" y="20159"/>
                    </a:cubicBezTo>
                    <a:cubicBezTo>
                      <a:pt x="1462713" y="9138"/>
                      <a:pt x="1465880" y="-2643"/>
                      <a:pt x="1481082" y="524"/>
                    </a:cubicBezTo>
                    <a:cubicBezTo>
                      <a:pt x="1495777" y="3564"/>
                      <a:pt x="1498944" y="17626"/>
                      <a:pt x="1506925" y="27761"/>
                    </a:cubicBezTo>
                    <a:cubicBezTo>
                      <a:pt x="1515286" y="38275"/>
                      <a:pt x="1525674" y="35615"/>
                      <a:pt x="1537330" y="38655"/>
                    </a:cubicBezTo>
                    <a:cubicBezTo>
                      <a:pt x="1549998" y="41822"/>
                      <a:pt x="1555825" y="52717"/>
                      <a:pt x="1552024" y="65385"/>
                    </a:cubicBezTo>
                    <a:cubicBezTo>
                      <a:pt x="1547464" y="80334"/>
                      <a:pt x="1533782" y="85528"/>
                      <a:pt x="1520354" y="88441"/>
                    </a:cubicBezTo>
                    <a:cubicBezTo>
                      <a:pt x="1506925" y="91355"/>
                      <a:pt x="1498691" y="100856"/>
                      <a:pt x="1504772" y="114791"/>
                    </a:cubicBezTo>
                    <a:cubicBezTo>
                      <a:pt x="1512373" y="132020"/>
                      <a:pt x="1531121" y="109977"/>
                      <a:pt x="1542650" y="119985"/>
                    </a:cubicBezTo>
                    <a:cubicBezTo>
                      <a:pt x="1551518" y="127840"/>
                      <a:pt x="1552531" y="132274"/>
                      <a:pt x="1566086" y="131007"/>
                    </a:cubicBezTo>
                    <a:cubicBezTo>
                      <a:pt x="1575081" y="130120"/>
                      <a:pt x="1584075" y="128473"/>
                      <a:pt x="1593069" y="127333"/>
                    </a:cubicBezTo>
                    <a:cubicBezTo>
                      <a:pt x="1672879" y="117578"/>
                      <a:pt x="1564059" y="196248"/>
                      <a:pt x="1605991" y="207270"/>
                    </a:cubicBezTo>
                    <a:cubicBezTo>
                      <a:pt x="1618533" y="210690"/>
                      <a:pt x="1657931" y="210817"/>
                      <a:pt x="1659451" y="192701"/>
                    </a:cubicBezTo>
                    <a:cubicBezTo>
                      <a:pt x="1660465" y="180666"/>
                      <a:pt x="1643996" y="177499"/>
                      <a:pt x="1642729" y="166731"/>
                    </a:cubicBezTo>
                    <a:cubicBezTo>
                      <a:pt x="1641335" y="154696"/>
                      <a:pt x="1654130" y="155836"/>
                      <a:pt x="1661731" y="158370"/>
                    </a:cubicBezTo>
                    <a:cubicBezTo>
                      <a:pt x="1681874" y="164958"/>
                      <a:pt x="1697963" y="172685"/>
                      <a:pt x="1719372" y="168505"/>
                    </a:cubicBezTo>
                    <a:cubicBezTo>
                      <a:pt x="1740401" y="164451"/>
                      <a:pt x="1754716" y="152796"/>
                      <a:pt x="1774225" y="144942"/>
                    </a:cubicBezTo>
                    <a:cubicBezTo>
                      <a:pt x="1782460" y="141648"/>
                      <a:pt x="1794622" y="135567"/>
                      <a:pt x="1801462" y="143928"/>
                    </a:cubicBezTo>
                    <a:cubicBezTo>
                      <a:pt x="1806530" y="150136"/>
                      <a:pt x="1808050" y="161030"/>
                      <a:pt x="1812484" y="168125"/>
                    </a:cubicBezTo>
                    <a:cubicBezTo>
                      <a:pt x="1819324" y="178766"/>
                      <a:pt x="1814637" y="192828"/>
                      <a:pt x="1820591" y="203469"/>
                    </a:cubicBezTo>
                    <a:cubicBezTo>
                      <a:pt x="1823505" y="208663"/>
                      <a:pt x="1827178" y="210563"/>
                      <a:pt x="1833260" y="209930"/>
                    </a:cubicBezTo>
                    <a:cubicBezTo>
                      <a:pt x="1835920" y="209676"/>
                      <a:pt x="1859103" y="201696"/>
                      <a:pt x="1859736" y="206763"/>
                    </a:cubicBezTo>
                    <a:cubicBezTo>
                      <a:pt x="1861256" y="220191"/>
                      <a:pt x="1852389" y="226652"/>
                      <a:pt x="1860496" y="239700"/>
                    </a:cubicBezTo>
                    <a:cubicBezTo>
                      <a:pt x="1863537" y="244768"/>
                      <a:pt x="1869364" y="253129"/>
                      <a:pt x="1876331" y="252242"/>
                    </a:cubicBezTo>
                    <a:cubicBezTo>
                      <a:pt x="1883933" y="251355"/>
                      <a:pt x="1881272" y="246414"/>
                      <a:pt x="1880766" y="240587"/>
                    </a:cubicBezTo>
                    <a:cubicBezTo>
                      <a:pt x="1880006" y="230959"/>
                      <a:pt x="1881399" y="218544"/>
                      <a:pt x="1894321" y="221838"/>
                    </a:cubicBezTo>
                    <a:cubicBezTo>
                      <a:pt x="1906229" y="225005"/>
                      <a:pt x="1901288" y="236913"/>
                      <a:pt x="1904455" y="246161"/>
                    </a:cubicBezTo>
                    <a:cubicBezTo>
                      <a:pt x="1911296" y="265797"/>
                      <a:pt x="1928018" y="279099"/>
                      <a:pt x="1927258" y="301775"/>
                    </a:cubicBezTo>
                    <a:cubicBezTo>
                      <a:pt x="1927004" y="310262"/>
                      <a:pt x="1924471" y="324704"/>
                      <a:pt x="1913703" y="320017"/>
                    </a:cubicBezTo>
                    <a:cubicBezTo>
                      <a:pt x="1909776" y="318243"/>
                      <a:pt x="1908256" y="315330"/>
                      <a:pt x="1903568" y="313936"/>
                    </a:cubicBezTo>
                    <a:cubicBezTo>
                      <a:pt x="1897488" y="312163"/>
                      <a:pt x="1897488" y="312796"/>
                      <a:pt x="1893053" y="307982"/>
                    </a:cubicBezTo>
                    <a:cubicBezTo>
                      <a:pt x="1886213" y="300635"/>
                      <a:pt x="1876712" y="297594"/>
                      <a:pt x="1875571" y="311149"/>
                    </a:cubicBezTo>
                    <a:cubicBezTo>
                      <a:pt x="1872658" y="345353"/>
                      <a:pt x="1923584" y="339526"/>
                      <a:pt x="1936759" y="361695"/>
                    </a:cubicBezTo>
                    <a:cubicBezTo>
                      <a:pt x="1943220" y="372717"/>
                      <a:pt x="1942840" y="383612"/>
                      <a:pt x="1946641" y="395520"/>
                    </a:cubicBezTo>
                    <a:cubicBezTo>
                      <a:pt x="1954241" y="420223"/>
                      <a:pt x="1940940" y="432131"/>
                      <a:pt x="1920670" y="442392"/>
                    </a:cubicBezTo>
                    <a:cubicBezTo>
                      <a:pt x="1915856" y="444799"/>
                      <a:pt x="1912309" y="449233"/>
                      <a:pt x="1907369" y="451767"/>
                    </a:cubicBezTo>
                    <a:cubicBezTo>
                      <a:pt x="1905469" y="452780"/>
                      <a:pt x="1903315" y="451513"/>
                      <a:pt x="1901542" y="453414"/>
                    </a:cubicBezTo>
                    <a:cubicBezTo>
                      <a:pt x="1898248" y="456834"/>
                      <a:pt x="1899514" y="461775"/>
                      <a:pt x="1899514" y="466335"/>
                    </a:cubicBezTo>
                    <a:cubicBezTo>
                      <a:pt x="1899514" y="473049"/>
                      <a:pt x="1898501" y="476850"/>
                      <a:pt x="1896094" y="483184"/>
                    </a:cubicBezTo>
                    <a:cubicBezTo>
                      <a:pt x="1894827" y="486478"/>
                      <a:pt x="1892041" y="492685"/>
                      <a:pt x="1888239" y="493065"/>
                    </a:cubicBezTo>
                    <a:cubicBezTo>
                      <a:pt x="1888239" y="492938"/>
                      <a:pt x="1884566" y="489011"/>
                      <a:pt x="1883299" y="488631"/>
                    </a:cubicBezTo>
                    <a:cubicBezTo>
                      <a:pt x="1879372" y="487491"/>
                      <a:pt x="1872658" y="489645"/>
                      <a:pt x="1869364" y="491672"/>
                    </a:cubicBezTo>
                    <a:cubicBezTo>
                      <a:pt x="1859736" y="497752"/>
                      <a:pt x="1862016" y="508774"/>
                      <a:pt x="1859990" y="518908"/>
                    </a:cubicBezTo>
                    <a:cubicBezTo>
                      <a:pt x="1856442" y="536517"/>
                      <a:pt x="1853655" y="534110"/>
                      <a:pt x="1837947" y="536771"/>
                    </a:cubicBezTo>
                    <a:cubicBezTo>
                      <a:pt x="1825658" y="538924"/>
                      <a:pt x="1825025" y="550072"/>
                      <a:pt x="1818184" y="558180"/>
                    </a:cubicBezTo>
                    <a:cubicBezTo>
                      <a:pt x="1807923" y="570342"/>
                      <a:pt x="1765231" y="566034"/>
                      <a:pt x="1780433" y="593651"/>
                    </a:cubicBezTo>
                    <a:cubicBezTo>
                      <a:pt x="1784740" y="601505"/>
                      <a:pt x="1798042" y="609613"/>
                      <a:pt x="1797662" y="618227"/>
                    </a:cubicBezTo>
                    <a:cubicBezTo>
                      <a:pt x="1797029" y="630516"/>
                      <a:pt x="1782460" y="632036"/>
                      <a:pt x="1774352" y="636850"/>
                    </a:cubicBezTo>
                    <a:cubicBezTo>
                      <a:pt x="1764597" y="642677"/>
                      <a:pt x="1760924" y="653952"/>
                      <a:pt x="1754590" y="662566"/>
                    </a:cubicBezTo>
                    <a:cubicBezTo>
                      <a:pt x="1751676" y="666620"/>
                      <a:pt x="1747242" y="669787"/>
                      <a:pt x="1744582" y="673968"/>
                    </a:cubicBezTo>
                    <a:cubicBezTo>
                      <a:pt x="1740908" y="679669"/>
                      <a:pt x="1742681" y="683469"/>
                      <a:pt x="1741034" y="689550"/>
                    </a:cubicBezTo>
                    <a:cubicBezTo>
                      <a:pt x="1733561" y="717293"/>
                      <a:pt x="1695429" y="695377"/>
                      <a:pt x="1681494" y="713746"/>
                    </a:cubicBezTo>
                    <a:cubicBezTo>
                      <a:pt x="1675033" y="722234"/>
                      <a:pt x="1681874" y="733509"/>
                      <a:pt x="1679594" y="743263"/>
                    </a:cubicBezTo>
                    <a:cubicBezTo>
                      <a:pt x="1676933" y="754158"/>
                      <a:pt x="1664265" y="762772"/>
                      <a:pt x="1654891" y="767333"/>
                    </a:cubicBezTo>
                    <a:cubicBezTo>
                      <a:pt x="1642476" y="773287"/>
                      <a:pt x="1631201" y="774807"/>
                      <a:pt x="1625754" y="788742"/>
                    </a:cubicBezTo>
                    <a:cubicBezTo>
                      <a:pt x="1621700" y="799130"/>
                      <a:pt x="1626641" y="808885"/>
                      <a:pt x="1621573" y="819146"/>
                    </a:cubicBezTo>
                    <a:cubicBezTo>
                      <a:pt x="1613212" y="836248"/>
                      <a:pt x="1582935" y="850690"/>
                      <a:pt x="1589902" y="872479"/>
                    </a:cubicBezTo>
                    <a:cubicBezTo>
                      <a:pt x="1602697" y="874506"/>
                      <a:pt x="1621827" y="862218"/>
                      <a:pt x="1628414" y="851830"/>
                    </a:cubicBezTo>
                    <a:cubicBezTo>
                      <a:pt x="1632088" y="846003"/>
                      <a:pt x="1632721" y="837768"/>
                      <a:pt x="1635761" y="831561"/>
                    </a:cubicBezTo>
                    <a:cubicBezTo>
                      <a:pt x="1639182" y="824213"/>
                      <a:pt x="1643996" y="816866"/>
                      <a:pt x="1648810" y="810278"/>
                    </a:cubicBezTo>
                    <a:cubicBezTo>
                      <a:pt x="1662112" y="792289"/>
                      <a:pt x="1679847" y="795963"/>
                      <a:pt x="1699863" y="796090"/>
                    </a:cubicBezTo>
                    <a:cubicBezTo>
                      <a:pt x="1710504" y="796216"/>
                      <a:pt x="1722286" y="795456"/>
                      <a:pt x="1730646" y="788236"/>
                    </a:cubicBezTo>
                    <a:cubicBezTo>
                      <a:pt x="1735208" y="784435"/>
                      <a:pt x="1737867" y="779494"/>
                      <a:pt x="1739261" y="773794"/>
                    </a:cubicBezTo>
                    <a:cubicBezTo>
                      <a:pt x="1740528" y="768853"/>
                      <a:pt x="1739135" y="762772"/>
                      <a:pt x="1743695" y="759732"/>
                    </a:cubicBezTo>
                    <a:cubicBezTo>
                      <a:pt x="1753956" y="753018"/>
                      <a:pt x="1784486" y="760112"/>
                      <a:pt x="1774859" y="736676"/>
                    </a:cubicBezTo>
                    <a:cubicBezTo>
                      <a:pt x="1771185" y="727808"/>
                      <a:pt x="1761684" y="720334"/>
                      <a:pt x="1764978" y="709439"/>
                    </a:cubicBezTo>
                    <a:cubicBezTo>
                      <a:pt x="1767764" y="700444"/>
                      <a:pt x="1776379" y="700698"/>
                      <a:pt x="1783980" y="703738"/>
                    </a:cubicBezTo>
                    <a:cubicBezTo>
                      <a:pt x="1798549" y="709566"/>
                      <a:pt x="1800449" y="738449"/>
                      <a:pt x="1817677" y="733255"/>
                    </a:cubicBezTo>
                    <a:cubicBezTo>
                      <a:pt x="1835286" y="727935"/>
                      <a:pt x="1829079" y="708299"/>
                      <a:pt x="1841494" y="698544"/>
                    </a:cubicBezTo>
                    <a:cubicBezTo>
                      <a:pt x="1842761" y="697531"/>
                      <a:pt x="1844281" y="696517"/>
                      <a:pt x="1845928" y="695504"/>
                    </a:cubicBezTo>
                    <a:cubicBezTo>
                      <a:pt x="1845421" y="703358"/>
                      <a:pt x="1845295" y="711339"/>
                      <a:pt x="1846688" y="718687"/>
                    </a:cubicBezTo>
                    <a:cubicBezTo>
                      <a:pt x="1847955" y="725401"/>
                      <a:pt x="1853529" y="728821"/>
                      <a:pt x="1857836" y="734015"/>
                    </a:cubicBezTo>
                    <a:cubicBezTo>
                      <a:pt x="1863157" y="740476"/>
                      <a:pt x="1867971" y="747317"/>
                      <a:pt x="1871771" y="754791"/>
                    </a:cubicBezTo>
                    <a:cubicBezTo>
                      <a:pt x="1880385" y="771640"/>
                      <a:pt x="1864170" y="779748"/>
                      <a:pt x="1863283" y="795456"/>
                    </a:cubicBezTo>
                    <a:cubicBezTo>
                      <a:pt x="1862776" y="804451"/>
                      <a:pt x="1868604" y="812559"/>
                      <a:pt x="1872911" y="819906"/>
                    </a:cubicBezTo>
                    <a:cubicBezTo>
                      <a:pt x="1877599" y="827760"/>
                      <a:pt x="1881653" y="835741"/>
                      <a:pt x="1885199" y="844102"/>
                    </a:cubicBezTo>
                    <a:cubicBezTo>
                      <a:pt x="1891407" y="859304"/>
                      <a:pt x="1893180" y="875646"/>
                      <a:pt x="1899008" y="890722"/>
                    </a:cubicBezTo>
                    <a:cubicBezTo>
                      <a:pt x="1905342" y="907190"/>
                      <a:pt x="1927385" y="914665"/>
                      <a:pt x="1940813" y="924166"/>
                    </a:cubicBezTo>
                    <a:cubicBezTo>
                      <a:pt x="1954875" y="934047"/>
                      <a:pt x="1971597" y="943802"/>
                      <a:pt x="1976790" y="961284"/>
                    </a:cubicBezTo>
                    <a:cubicBezTo>
                      <a:pt x="1982238" y="979526"/>
                      <a:pt x="1978945" y="999288"/>
                      <a:pt x="1983632" y="1017784"/>
                    </a:cubicBezTo>
                    <a:cubicBezTo>
                      <a:pt x="1987559" y="1033239"/>
                      <a:pt x="1997820" y="1043501"/>
                      <a:pt x="2008588" y="1054649"/>
                    </a:cubicBezTo>
                    <a:cubicBezTo>
                      <a:pt x="2019483" y="1066684"/>
                      <a:pt x="2033545" y="1082772"/>
                      <a:pt x="2027717" y="110088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508" name="Рисунок 388">
                <a:extLst>
                  <a:ext uri="{FF2B5EF4-FFF2-40B4-BE49-F238E27FC236}">
                    <a16:creationId xmlns:a16="http://schemas.microsoft.com/office/drawing/2014/main" id="{1DA397FD-DC6E-439E-BB40-D0F80476817D}"/>
                  </a:ext>
                </a:extLst>
              </p:cNvPr>
              <p:cNvGrpSpPr/>
              <p:nvPr/>
            </p:nvGrpSpPr>
            <p:grpSpPr>
              <a:xfrm>
                <a:off x="6505233" y="1444736"/>
                <a:ext cx="1715783" cy="1765994"/>
                <a:chOff x="6505233" y="1444736"/>
                <a:chExt cx="1715783" cy="1765994"/>
              </a:xfrm>
              <a:solidFill>
                <a:srgbClr val="E3E8EC"/>
              </a:solidFill>
            </p:grpSpPr>
            <p:sp>
              <p:nvSpPr>
                <p:cNvPr id="509" name="Полилиния: фигура 508">
                  <a:extLst>
                    <a:ext uri="{FF2B5EF4-FFF2-40B4-BE49-F238E27FC236}">
                      <a16:creationId xmlns:a16="http://schemas.microsoft.com/office/drawing/2014/main" id="{D1F444CF-BBF7-4492-A1A3-C74BA1653029}"/>
                    </a:ext>
                  </a:extLst>
                </p:cNvPr>
                <p:cNvSpPr/>
                <p:nvPr/>
              </p:nvSpPr>
              <p:spPr>
                <a:xfrm>
                  <a:off x="8210629" y="2244609"/>
                  <a:ext cx="10388" cy="9374"/>
                </a:xfrm>
                <a:custGeom>
                  <a:avLst/>
                  <a:gdLst>
                    <a:gd name="connsiteX0" fmla="*/ 10388 w 10388"/>
                    <a:gd name="connsiteY0" fmla="*/ 4687 h 9374"/>
                    <a:gd name="connsiteX1" fmla="*/ 5194 w 10388"/>
                    <a:gd name="connsiteY1" fmla="*/ 9374 h 9374"/>
                    <a:gd name="connsiteX2" fmla="*/ 0 w 10388"/>
                    <a:gd name="connsiteY2" fmla="*/ 4687 h 9374"/>
                    <a:gd name="connsiteX3" fmla="*/ 5194 w 10388"/>
                    <a:gd name="connsiteY3" fmla="*/ 0 h 9374"/>
                    <a:gd name="connsiteX4" fmla="*/ 10388 w 10388"/>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9374">
                      <a:moveTo>
                        <a:pt x="10388" y="4687"/>
                      </a:moveTo>
                      <a:cubicBezTo>
                        <a:pt x="10388" y="7347"/>
                        <a:pt x="8108" y="9374"/>
                        <a:pt x="5194" y="9374"/>
                      </a:cubicBezTo>
                      <a:cubicBezTo>
                        <a:pt x="2280" y="9374"/>
                        <a:pt x="0" y="7221"/>
                        <a:pt x="0" y="4687"/>
                      </a:cubicBezTo>
                      <a:cubicBezTo>
                        <a:pt x="0" y="2154"/>
                        <a:pt x="2280" y="0"/>
                        <a:pt x="5194" y="0"/>
                      </a:cubicBezTo>
                      <a:cubicBezTo>
                        <a:pt x="8108" y="0"/>
                        <a:pt x="10388" y="2027"/>
                        <a:pt x="10388" y="46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0" name="Полилиния: фигура 509">
                  <a:extLst>
                    <a:ext uri="{FF2B5EF4-FFF2-40B4-BE49-F238E27FC236}">
                      <a16:creationId xmlns:a16="http://schemas.microsoft.com/office/drawing/2014/main" id="{DE059019-94CA-4F13-8EBD-C52A04AAD48C}"/>
                    </a:ext>
                  </a:extLst>
                </p:cNvPr>
                <p:cNvSpPr/>
                <p:nvPr/>
              </p:nvSpPr>
              <p:spPr>
                <a:xfrm>
                  <a:off x="8165530" y="2229660"/>
                  <a:ext cx="23816" cy="14821"/>
                </a:xfrm>
                <a:custGeom>
                  <a:avLst/>
                  <a:gdLst>
                    <a:gd name="connsiteX0" fmla="*/ 23816 w 23816"/>
                    <a:gd name="connsiteY0" fmla="*/ 7474 h 14821"/>
                    <a:gd name="connsiteX1" fmla="*/ 11908 w 23816"/>
                    <a:gd name="connsiteY1" fmla="*/ 14822 h 14821"/>
                    <a:gd name="connsiteX2" fmla="*/ 0 w 23816"/>
                    <a:gd name="connsiteY2" fmla="*/ 7474 h 14821"/>
                    <a:gd name="connsiteX3" fmla="*/ 11908 w 23816"/>
                    <a:gd name="connsiteY3" fmla="*/ 0 h 14821"/>
                    <a:gd name="connsiteX4" fmla="*/ 23816 w 23816"/>
                    <a:gd name="connsiteY4" fmla="*/ 7474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821">
                      <a:moveTo>
                        <a:pt x="23816" y="7474"/>
                      </a:moveTo>
                      <a:cubicBezTo>
                        <a:pt x="23816" y="11528"/>
                        <a:pt x="18496" y="14822"/>
                        <a:pt x="11908" y="14822"/>
                      </a:cubicBezTo>
                      <a:cubicBezTo>
                        <a:pt x="5320" y="14822"/>
                        <a:pt x="0" y="11528"/>
                        <a:pt x="0" y="7474"/>
                      </a:cubicBezTo>
                      <a:cubicBezTo>
                        <a:pt x="0" y="3420"/>
                        <a:pt x="5320" y="0"/>
                        <a:pt x="11908" y="0"/>
                      </a:cubicBezTo>
                      <a:cubicBezTo>
                        <a:pt x="18496" y="0"/>
                        <a:pt x="23816" y="3420"/>
                        <a:pt x="23816" y="74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1" name="Полилиния: фигура 510">
                  <a:extLst>
                    <a:ext uri="{FF2B5EF4-FFF2-40B4-BE49-F238E27FC236}">
                      <a16:creationId xmlns:a16="http://schemas.microsoft.com/office/drawing/2014/main" id="{02C1C46B-BC5D-4D7A-A955-818F577A10D3}"/>
                    </a:ext>
                  </a:extLst>
                </p:cNvPr>
                <p:cNvSpPr/>
                <p:nvPr/>
              </p:nvSpPr>
              <p:spPr>
                <a:xfrm>
                  <a:off x="8155269" y="2207491"/>
                  <a:ext cx="10388" cy="7854"/>
                </a:xfrm>
                <a:custGeom>
                  <a:avLst/>
                  <a:gdLst>
                    <a:gd name="connsiteX0" fmla="*/ 10388 w 10388"/>
                    <a:gd name="connsiteY0" fmla="*/ 3927 h 7854"/>
                    <a:gd name="connsiteX1" fmla="*/ 5194 w 10388"/>
                    <a:gd name="connsiteY1" fmla="*/ 7854 h 7854"/>
                    <a:gd name="connsiteX2" fmla="*/ 0 w 10388"/>
                    <a:gd name="connsiteY2" fmla="*/ 3927 h 7854"/>
                    <a:gd name="connsiteX3" fmla="*/ 5194 w 10388"/>
                    <a:gd name="connsiteY3" fmla="*/ 0 h 7854"/>
                    <a:gd name="connsiteX4" fmla="*/ 10388 w 10388"/>
                    <a:gd name="connsiteY4" fmla="*/ 3927 h 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54">
                      <a:moveTo>
                        <a:pt x="10388" y="3927"/>
                      </a:moveTo>
                      <a:cubicBezTo>
                        <a:pt x="10388" y="6081"/>
                        <a:pt x="8108" y="7854"/>
                        <a:pt x="5194" y="7854"/>
                      </a:cubicBezTo>
                      <a:cubicBezTo>
                        <a:pt x="2280" y="7854"/>
                        <a:pt x="0" y="6081"/>
                        <a:pt x="0" y="3927"/>
                      </a:cubicBezTo>
                      <a:cubicBezTo>
                        <a:pt x="0" y="1774"/>
                        <a:pt x="2280" y="0"/>
                        <a:pt x="5194" y="0"/>
                      </a:cubicBezTo>
                      <a:cubicBezTo>
                        <a:pt x="8108" y="0"/>
                        <a:pt x="10388" y="1774"/>
                        <a:pt x="10388" y="392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2" name="Полилиния: фигура 511">
                  <a:extLst>
                    <a:ext uri="{FF2B5EF4-FFF2-40B4-BE49-F238E27FC236}">
                      <a16:creationId xmlns:a16="http://schemas.microsoft.com/office/drawing/2014/main" id="{34BD51A3-17B0-4FD9-AF63-8ABB9068B6A8}"/>
                    </a:ext>
                  </a:extLst>
                </p:cNvPr>
                <p:cNvSpPr/>
                <p:nvPr/>
              </p:nvSpPr>
              <p:spPr>
                <a:xfrm>
                  <a:off x="8139054" y="2191149"/>
                  <a:ext cx="6840" cy="5827"/>
                </a:xfrm>
                <a:custGeom>
                  <a:avLst/>
                  <a:gdLst>
                    <a:gd name="connsiteX0" fmla="*/ 6841 w 6840"/>
                    <a:gd name="connsiteY0" fmla="*/ 2914 h 5827"/>
                    <a:gd name="connsiteX1" fmla="*/ 3420 w 6840"/>
                    <a:gd name="connsiteY1" fmla="*/ 5827 h 5827"/>
                    <a:gd name="connsiteX2" fmla="*/ 0 w 6840"/>
                    <a:gd name="connsiteY2" fmla="*/ 2914 h 5827"/>
                    <a:gd name="connsiteX3" fmla="*/ 3420 w 6840"/>
                    <a:gd name="connsiteY3" fmla="*/ 0 h 5827"/>
                    <a:gd name="connsiteX4" fmla="*/ 6841 w 6840"/>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5827">
                      <a:moveTo>
                        <a:pt x="6841" y="2914"/>
                      </a:moveTo>
                      <a:cubicBezTo>
                        <a:pt x="6841" y="4561"/>
                        <a:pt x="5320" y="5827"/>
                        <a:pt x="3420" y="5827"/>
                      </a:cubicBezTo>
                      <a:cubicBezTo>
                        <a:pt x="1520" y="5827"/>
                        <a:pt x="0" y="4561"/>
                        <a:pt x="0" y="2914"/>
                      </a:cubicBezTo>
                      <a:cubicBezTo>
                        <a:pt x="0" y="1267"/>
                        <a:pt x="1520" y="0"/>
                        <a:pt x="3420" y="0"/>
                      </a:cubicBezTo>
                      <a:cubicBezTo>
                        <a:pt x="5194" y="0"/>
                        <a:pt x="6841" y="1267"/>
                        <a:pt x="6841" y="29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3" name="Полилиния: фигура 512">
                  <a:extLst>
                    <a:ext uri="{FF2B5EF4-FFF2-40B4-BE49-F238E27FC236}">
                      <a16:creationId xmlns:a16="http://schemas.microsoft.com/office/drawing/2014/main" id="{1CB060BC-BBF5-4C53-A4E6-932E5783C831}"/>
                    </a:ext>
                  </a:extLst>
                </p:cNvPr>
                <p:cNvSpPr/>
                <p:nvPr/>
              </p:nvSpPr>
              <p:spPr>
                <a:xfrm>
                  <a:off x="7995395" y="2183288"/>
                  <a:ext cx="10388" cy="7860"/>
                </a:xfrm>
                <a:custGeom>
                  <a:avLst/>
                  <a:gdLst>
                    <a:gd name="connsiteX0" fmla="*/ 10388 w 10388"/>
                    <a:gd name="connsiteY0" fmla="*/ 3934 h 7860"/>
                    <a:gd name="connsiteX1" fmla="*/ 5194 w 10388"/>
                    <a:gd name="connsiteY1" fmla="*/ 7861 h 7860"/>
                    <a:gd name="connsiteX2" fmla="*/ 0 w 10388"/>
                    <a:gd name="connsiteY2" fmla="*/ 3934 h 7860"/>
                    <a:gd name="connsiteX3" fmla="*/ 5194 w 10388"/>
                    <a:gd name="connsiteY3" fmla="*/ 6 h 7860"/>
                    <a:gd name="connsiteX4" fmla="*/ 10388 w 10388"/>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7860">
                      <a:moveTo>
                        <a:pt x="10388" y="3934"/>
                      </a:moveTo>
                      <a:cubicBezTo>
                        <a:pt x="10388" y="6087"/>
                        <a:pt x="8108" y="7861"/>
                        <a:pt x="5194" y="7861"/>
                      </a:cubicBezTo>
                      <a:cubicBezTo>
                        <a:pt x="2280" y="7861"/>
                        <a:pt x="0" y="6087"/>
                        <a:pt x="0" y="3934"/>
                      </a:cubicBezTo>
                      <a:cubicBezTo>
                        <a:pt x="0" y="1780"/>
                        <a:pt x="2280" y="6"/>
                        <a:pt x="5194" y="6"/>
                      </a:cubicBezTo>
                      <a:cubicBezTo>
                        <a:pt x="8108" y="-120"/>
                        <a:pt x="10388" y="1653"/>
                        <a:pt x="10388" y="39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4" name="Полилиния: фигура 513">
                  <a:extLst>
                    <a:ext uri="{FF2B5EF4-FFF2-40B4-BE49-F238E27FC236}">
                      <a16:creationId xmlns:a16="http://schemas.microsoft.com/office/drawing/2014/main" id="{8D479659-94C5-41F3-AD96-F574D4E64C00}"/>
                    </a:ext>
                  </a:extLst>
                </p:cNvPr>
                <p:cNvSpPr/>
                <p:nvPr/>
              </p:nvSpPr>
              <p:spPr>
                <a:xfrm>
                  <a:off x="7971706" y="2191149"/>
                  <a:ext cx="14821" cy="14821"/>
                </a:xfrm>
                <a:custGeom>
                  <a:avLst/>
                  <a:gdLst>
                    <a:gd name="connsiteX0" fmla="*/ 14822 w 14821"/>
                    <a:gd name="connsiteY0" fmla="*/ 7347 h 14821"/>
                    <a:gd name="connsiteX1" fmla="*/ 7475 w 14821"/>
                    <a:gd name="connsiteY1" fmla="*/ 14822 h 14821"/>
                    <a:gd name="connsiteX2" fmla="*/ 0 w 14821"/>
                    <a:gd name="connsiteY2" fmla="*/ 7347 h 14821"/>
                    <a:gd name="connsiteX3" fmla="*/ 7475 w 14821"/>
                    <a:gd name="connsiteY3" fmla="*/ 0 h 14821"/>
                    <a:gd name="connsiteX4" fmla="*/ 14822 w 14821"/>
                    <a:gd name="connsiteY4" fmla="*/ 7347 h 14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1" h="14821">
                      <a:moveTo>
                        <a:pt x="14822" y="7347"/>
                      </a:moveTo>
                      <a:cubicBezTo>
                        <a:pt x="14822" y="11401"/>
                        <a:pt x="11528" y="14822"/>
                        <a:pt x="7475" y="14822"/>
                      </a:cubicBezTo>
                      <a:cubicBezTo>
                        <a:pt x="3421" y="14822"/>
                        <a:pt x="0" y="11528"/>
                        <a:pt x="0" y="7347"/>
                      </a:cubicBezTo>
                      <a:cubicBezTo>
                        <a:pt x="0" y="3294"/>
                        <a:pt x="3294" y="0"/>
                        <a:pt x="7475" y="0"/>
                      </a:cubicBezTo>
                      <a:cubicBezTo>
                        <a:pt x="11402" y="0"/>
                        <a:pt x="14822" y="3294"/>
                        <a:pt x="14822" y="73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5" name="Полилиния: фигура 514">
                  <a:extLst>
                    <a:ext uri="{FF2B5EF4-FFF2-40B4-BE49-F238E27FC236}">
                      <a16:creationId xmlns:a16="http://schemas.microsoft.com/office/drawing/2014/main" id="{A61FDF80-081A-4DFD-919B-42AFC1CFE4C7}"/>
                    </a:ext>
                  </a:extLst>
                </p:cNvPr>
                <p:cNvSpPr/>
                <p:nvPr/>
              </p:nvSpPr>
              <p:spPr>
                <a:xfrm>
                  <a:off x="7979054" y="2167839"/>
                  <a:ext cx="9880" cy="9374"/>
                </a:xfrm>
                <a:custGeom>
                  <a:avLst/>
                  <a:gdLst>
                    <a:gd name="connsiteX0" fmla="*/ 9881 w 9880"/>
                    <a:gd name="connsiteY0" fmla="*/ 4687 h 9374"/>
                    <a:gd name="connsiteX1" fmla="*/ 4940 w 9880"/>
                    <a:gd name="connsiteY1" fmla="*/ 9375 h 9374"/>
                    <a:gd name="connsiteX2" fmla="*/ 0 w 9880"/>
                    <a:gd name="connsiteY2" fmla="*/ 4687 h 9374"/>
                    <a:gd name="connsiteX3" fmla="*/ 4940 w 9880"/>
                    <a:gd name="connsiteY3" fmla="*/ 0 h 9374"/>
                    <a:gd name="connsiteX4" fmla="*/ 9881 w 9880"/>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374">
                      <a:moveTo>
                        <a:pt x="9881" y="4687"/>
                      </a:moveTo>
                      <a:cubicBezTo>
                        <a:pt x="9881" y="7221"/>
                        <a:pt x="7727" y="9375"/>
                        <a:pt x="4940" y="9375"/>
                      </a:cubicBezTo>
                      <a:cubicBezTo>
                        <a:pt x="2153" y="9375"/>
                        <a:pt x="0" y="7221"/>
                        <a:pt x="0" y="4687"/>
                      </a:cubicBezTo>
                      <a:cubicBezTo>
                        <a:pt x="0" y="2027"/>
                        <a:pt x="2153" y="0"/>
                        <a:pt x="4940" y="0"/>
                      </a:cubicBezTo>
                      <a:cubicBezTo>
                        <a:pt x="7727" y="0"/>
                        <a:pt x="9881" y="2154"/>
                        <a:pt x="9881" y="46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6" name="Полилиния: фигура 515">
                  <a:extLst>
                    <a:ext uri="{FF2B5EF4-FFF2-40B4-BE49-F238E27FC236}">
                      <a16:creationId xmlns:a16="http://schemas.microsoft.com/office/drawing/2014/main" id="{4171F8FA-2185-474B-A313-7AE6A85EFB87}"/>
                    </a:ext>
                  </a:extLst>
                </p:cNvPr>
                <p:cNvSpPr/>
                <p:nvPr/>
              </p:nvSpPr>
              <p:spPr>
                <a:xfrm>
                  <a:off x="7986527" y="2150104"/>
                  <a:ext cx="8867" cy="7347"/>
                </a:xfrm>
                <a:custGeom>
                  <a:avLst/>
                  <a:gdLst>
                    <a:gd name="connsiteX0" fmla="*/ 8868 w 8867"/>
                    <a:gd name="connsiteY0" fmla="*/ 3674 h 7347"/>
                    <a:gd name="connsiteX1" fmla="*/ 4434 w 8867"/>
                    <a:gd name="connsiteY1" fmla="*/ 7348 h 7347"/>
                    <a:gd name="connsiteX2" fmla="*/ 0 w 8867"/>
                    <a:gd name="connsiteY2" fmla="*/ 3674 h 7347"/>
                    <a:gd name="connsiteX3" fmla="*/ 4434 w 8867"/>
                    <a:gd name="connsiteY3" fmla="*/ 0 h 7347"/>
                    <a:gd name="connsiteX4" fmla="*/ 8868 w 8867"/>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7347">
                      <a:moveTo>
                        <a:pt x="8868" y="3674"/>
                      </a:moveTo>
                      <a:cubicBezTo>
                        <a:pt x="8868" y="5701"/>
                        <a:pt x="6841" y="7348"/>
                        <a:pt x="4434" y="7348"/>
                      </a:cubicBezTo>
                      <a:cubicBezTo>
                        <a:pt x="2027" y="7348"/>
                        <a:pt x="0" y="5701"/>
                        <a:pt x="0" y="3674"/>
                      </a:cubicBezTo>
                      <a:cubicBezTo>
                        <a:pt x="0" y="1647"/>
                        <a:pt x="2027" y="0"/>
                        <a:pt x="4434" y="0"/>
                      </a:cubicBezTo>
                      <a:cubicBezTo>
                        <a:pt x="6841" y="0"/>
                        <a:pt x="8868" y="1647"/>
                        <a:pt x="8868" y="36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7" name="Полилиния: фигура 516">
                  <a:extLst>
                    <a:ext uri="{FF2B5EF4-FFF2-40B4-BE49-F238E27FC236}">
                      <a16:creationId xmlns:a16="http://schemas.microsoft.com/office/drawing/2014/main" id="{132A3698-B152-4894-9813-62478630911D}"/>
                    </a:ext>
                  </a:extLst>
                </p:cNvPr>
                <p:cNvSpPr/>
                <p:nvPr/>
              </p:nvSpPr>
              <p:spPr>
                <a:xfrm>
                  <a:off x="7988934" y="2112986"/>
                  <a:ext cx="11655" cy="15328"/>
                </a:xfrm>
                <a:custGeom>
                  <a:avLst/>
                  <a:gdLst>
                    <a:gd name="connsiteX0" fmla="*/ 11655 w 11655"/>
                    <a:gd name="connsiteY0" fmla="*/ 7601 h 15328"/>
                    <a:gd name="connsiteX1" fmla="*/ 5828 w 11655"/>
                    <a:gd name="connsiteY1" fmla="*/ 15329 h 15328"/>
                    <a:gd name="connsiteX2" fmla="*/ 0 w 11655"/>
                    <a:gd name="connsiteY2" fmla="*/ 7601 h 15328"/>
                    <a:gd name="connsiteX3" fmla="*/ 5828 w 11655"/>
                    <a:gd name="connsiteY3" fmla="*/ 0 h 15328"/>
                    <a:gd name="connsiteX4" fmla="*/ 11655 w 11655"/>
                    <a:gd name="connsiteY4" fmla="*/ 7601 h 15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5" h="15328">
                      <a:moveTo>
                        <a:pt x="11655" y="7601"/>
                      </a:moveTo>
                      <a:cubicBezTo>
                        <a:pt x="11655" y="11908"/>
                        <a:pt x="8995" y="15329"/>
                        <a:pt x="5828" y="15329"/>
                      </a:cubicBezTo>
                      <a:cubicBezTo>
                        <a:pt x="2661" y="15329"/>
                        <a:pt x="0" y="11908"/>
                        <a:pt x="0" y="7601"/>
                      </a:cubicBezTo>
                      <a:cubicBezTo>
                        <a:pt x="0" y="3420"/>
                        <a:pt x="2661" y="0"/>
                        <a:pt x="5828" y="0"/>
                      </a:cubicBezTo>
                      <a:cubicBezTo>
                        <a:pt x="8995" y="0"/>
                        <a:pt x="11655" y="3420"/>
                        <a:pt x="11655" y="76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8" name="Полилиния: фигура 517">
                  <a:extLst>
                    <a:ext uri="{FF2B5EF4-FFF2-40B4-BE49-F238E27FC236}">
                      <a16:creationId xmlns:a16="http://schemas.microsoft.com/office/drawing/2014/main" id="{D448F27D-1F01-4DD2-9DD5-DF1E32FF7678}"/>
                    </a:ext>
                  </a:extLst>
                </p:cNvPr>
                <p:cNvSpPr/>
                <p:nvPr/>
              </p:nvSpPr>
              <p:spPr>
                <a:xfrm>
                  <a:off x="7936995" y="2132241"/>
                  <a:ext cx="18369" cy="13935"/>
                </a:xfrm>
                <a:custGeom>
                  <a:avLst/>
                  <a:gdLst>
                    <a:gd name="connsiteX0" fmla="*/ 18369 w 18369"/>
                    <a:gd name="connsiteY0" fmla="*/ 6968 h 13935"/>
                    <a:gd name="connsiteX1" fmla="*/ 9248 w 18369"/>
                    <a:gd name="connsiteY1" fmla="*/ 13935 h 13935"/>
                    <a:gd name="connsiteX2" fmla="*/ 0 w 18369"/>
                    <a:gd name="connsiteY2" fmla="*/ 6968 h 13935"/>
                    <a:gd name="connsiteX3" fmla="*/ 9248 w 18369"/>
                    <a:gd name="connsiteY3" fmla="*/ 0 h 13935"/>
                    <a:gd name="connsiteX4" fmla="*/ 18369 w 18369"/>
                    <a:gd name="connsiteY4" fmla="*/ 6968 h 13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9" h="13935">
                      <a:moveTo>
                        <a:pt x="18369" y="6968"/>
                      </a:moveTo>
                      <a:cubicBezTo>
                        <a:pt x="18369" y="10768"/>
                        <a:pt x="14315" y="13935"/>
                        <a:pt x="9248" y="13935"/>
                      </a:cubicBezTo>
                      <a:cubicBezTo>
                        <a:pt x="4181" y="13935"/>
                        <a:pt x="0" y="10895"/>
                        <a:pt x="0" y="6968"/>
                      </a:cubicBezTo>
                      <a:cubicBezTo>
                        <a:pt x="0" y="3167"/>
                        <a:pt x="4054" y="0"/>
                        <a:pt x="9248" y="0"/>
                      </a:cubicBezTo>
                      <a:cubicBezTo>
                        <a:pt x="14188" y="0"/>
                        <a:pt x="18369" y="3040"/>
                        <a:pt x="18369" y="696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19" name="Полилиния: фигура 518">
                  <a:extLst>
                    <a:ext uri="{FF2B5EF4-FFF2-40B4-BE49-F238E27FC236}">
                      <a16:creationId xmlns:a16="http://schemas.microsoft.com/office/drawing/2014/main" id="{6AD1EAD6-2336-4710-A81B-FABD771B33FB}"/>
                    </a:ext>
                  </a:extLst>
                </p:cNvPr>
                <p:cNvSpPr/>
                <p:nvPr/>
              </p:nvSpPr>
              <p:spPr>
                <a:xfrm>
                  <a:off x="7913179" y="2107032"/>
                  <a:ext cx="21789" cy="13681"/>
                </a:xfrm>
                <a:custGeom>
                  <a:avLst/>
                  <a:gdLst>
                    <a:gd name="connsiteX0" fmla="*/ 21789 w 21789"/>
                    <a:gd name="connsiteY0" fmla="*/ 6841 h 13681"/>
                    <a:gd name="connsiteX1" fmla="*/ 10895 w 21789"/>
                    <a:gd name="connsiteY1" fmla="*/ 13682 h 13681"/>
                    <a:gd name="connsiteX2" fmla="*/ 0 w 21789"/>
                    <a:gd name="connsiteY2" fmla="*/ 6841 h 13681"/>
                    <a:gd name="connsiteX3" fmla="*/ 10895 w 21789"/>
                    <a:gd name="connsiteY3" fmla="*/ 0 h 13681"/>
                    <a:gd name="connsiteX4" fmla="*/ 21789 w 21789"/>
                    <a:gd name="connsiteY4" fmla="*/ 6841 h 136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13681">
                      <a:moveTo>
                        <a:pt x="21789" y="6841"/>
                      </a:moveTo>
                      <a:cubicBezTo>
                        <a:pt x="21789" y="10641"/>
                        <a:pt x="16849" y="13682"/>
                        <a:pt x="10895" y="13682"/>
                      </a:cubicBezTo>
                      <a:cubicBezTo>
                        <a:pt x="4941" y="13682"/>
                        <a:pt x="0" y="10641"/>
                        <a:pt x="0" y="6841"/>
                      </a:cubicBezTo>
                      <a:cubicBezTo>
                        <a:pt x="0" y="3040"/>
                        <a:pt x="4941" y="0"/>
                        <a:pt x="10895" y="0"/>
                      </a:cubicBezTo>
                      <a:cubicBezTo>
                        <a:pt x="16975" y="0"/>
                        <a:pt x="21789" y="3040"/>
                        <a:pt x="21789" y="68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0" name="Полилиния: фигура 519">
                  <a:extLst>
                    <a:ext uri="{FF2B5EF4-FFF2-40B4-BE49-F238E27FC236}">
                      <a16:creationId xmlns:a16="http://schemas.microsoft.com/office/drawing/2014/main" id="{DA113266-19BF-4E4E-852C-92FD982C5667}"/>
                    </a:ext>
                  </a:extLst>
                </p:cNvPr>
                <p:cNvSpPr/>
                <p:nvPr/>
              </p:nvSpPr>
              <p:spPr>
                <a:xfrm>
                  <a:off x="7898357" y="2136169"/>
                  <a:ext cx="12414" cy="9881"/>
                </a:xfrm>
                <a:custGeom>
                  <a:avLst/>
                  <a:gdLst>
                    <a:gd name="connsiteX0" fmla="*/ 12415 w 12414"/>
                    <a:gd name="connsiteY0" fmla="*/ 4941 h 9881"/>
                    <a:gd name="connsiteX1" fmla="*/ 6207 w 12414"/>
                    <a:gd name="connsiteY1" fmla="*/ 9881 h 9881"/>
                    <a:gd name="connsiteX2" fmla="*/ 0 w 12414"/>
                    <a:gd name="connsiteY2" fmla="*/ 4941 h 9881"/>
                    <a:gd name="connsiteX3" fmla="*/ 6207 w 12414"/>
                    <a:gd name="connsiteY3" fmla="*/ 0 h 9881"/>
                    <a:gd name="connsiteX4" fmla="*/ 12415 w 12414"/>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4" h="9881">
                      <a:moveTo>
                        <a:pt x="12415" y="4941"/>
                      </a:moveTo>
                      <a:cubicBezTo>
                        <a:pt x="12415" y="7728"/>
                        <a:pt x="9627" y="9881"/>
                        <a:pt x="6207" y="9881"/>
                      </a:cubicBezTo>
                      <a:cubicBezTo>
                        <a:pt x="2787" y="9881"/>
                        <a:pt x="0" y="7601"/>
                        <a:pt x="0" y="4941"/>
                      </a:cubicBezTo>
                      <a:cubicBezTo>
                        <a:pt x="0" y="2154"/>
                        <a:pt x="2787" y="0"/>
                        <a:pt x="6207" y="0"/>
                      </a:cubicBezTo>
                      <a:cubicBezTo>
                        <a:pt x="9627" y="0"/>
                        <a:pt x="12415" y="2280"/>
                        <a:pt x="12415" y="49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1" name="Полилиния: фигура 520">
                  <a:extLst>
                    <a:ext uri="{FF2B5EF4-FFF2-40B4-BE49-F238E27FC236}">
                      <a16:creationId xmlns:a16="http://schemas.microsoft.com/office/drawing/2014/main" id="{FCB1BBA1-5498-4A6E-98AA-992AAAF59935}"/>
                    </a:ext>
                  </a:extLst>
                </p:cNvPr>
                <p:cNvSpPr/>
                <p:nvPr/>
              </p:nvSpPr>
              <p:spPr>
                <a:xfrm>
                  <a:off x="7886955" y="2153777"/>
                  <a:ext cx="13934" cy="11148"/>
                </a:xfrm>
                <a:custGeom>
                  <a:avLst/>
                  <a:gdLst>
                    <a:gd name="connsiteX0" fmla="*/ 13935 w 13934"/>
                    <a:gd name="connsiteY0" fmla="*/ 5574 h 11148"/>
                    <a:gd name="connsiteX1" fmla="*/ 6967 w 13934"/>
                    <a:gd name="connsiteY1" fmla="*/ 11148 h 11148"/>
                    <a:gd name="connsiteX2" fmla="*/ 0 w 13934"/>
                    <a:gd name="connsiteY2" fmla="*/ 5574 h 11148"/>
                    <a:gd name="connsiteX3" fmla="*/ 6967 w 13934"/>
                    <a:gd name="connsiteY3" fmla="*/ 0 h 11148"/>
                    <a:gd name="connsiteX4" fmla="*/ 13935 w 13934"/>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4" h="11148">
                      <a:moveTo>
                        <a:pt x="13935" y="5574"/>
                      </a:moveTo>
                      <a:cubicBezTo>
                        <a:pt x="13935" y="8615"/>
                        <a:pt x="10895" y="11148"/>
                        <a:pt x="6967" y="11148"/>
                      </a:cubicBezTo>
                      <a:cubicBezTo>
                        <a:pt x="3167" y="11148"/>
                        <a:pt x="0" y="8615"/>
                        <a:pt x="0" y="5574"/>
                      </a:cubicBezTo>
                      <a:cubicBezTo>
                        <a:pt x="0" y="2534"/>
                        <a:pt x="3040" y="0"/>
                        <a:pt x="6967" y="0"/>
                      </a:cubicBezTo>
                      <a:cubicBezTo>
                        <a:pt x="10768" y="0"/>
                        <a:pt x="13935" y="2534"/>
                        <a:pt x="13935" y="55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2" name="Полилиния: фигура 521">
                  <a:extLst>
                    <a:ext uri="{FF2B5EF4-FFF2-40B4-BE49-F238E27FC236}">
                      <a16:creationId xmlns:a16="http://schemas.microsoft.com/office/drawing/2014/main" id="{D8181D9B-ED09-4C86-8B1F-514404450CEA}"/>
                    </a:ext>
                  </a:extLst>
                </p:cNvPr>
                <p:cNvSpPr/>
                <p:nvPr/>
              </p:nvSpPr>
              <p:spPr>
                <a:xfrm>
                  <a:off x="7934968" y="1992131"/>
                  <a:ext cx="11148" cy="10894"/>
                </a:xfrm>
                <a:custGeom>
                  <a:avLst/>
                  <a:gdLst>
                    <a:gd name="connsiteX0" fmla="*/ 11148 w 11148"/>
                    <a:gd name="connsiteY0" fmla="*/ 5447 h 10894"/>
                    <a:gd name="connsiteX1" fmla="*/ 5574 w 11148"/>
                    <a:gd name="connsiteY1" fmla="*/ 10895 h 10894"/>
                    <a:gd name="connsiteX2" fmla="*/ 0 w 11148"/>
                    <a:gd name="connsiteY2" fmla="*/ 5447 h 10894"/>
                    <a:gd name="connsiteX3" fmla="*/ 5574 w 11148"/>
                    <a:gd name="connsiteY3" fmla="*/ 0 h 10894"/>
                    <a:gd name="connsiteX4" fmla="*/ 11148 w 11148"/>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10894">
                      <a:moveTo>
                        <a:pt x="11148" y="5447"/>
                      </a:moveTo>
                      <a:cubicBezTo>
                        <a:pt x="11148" y="8488"/>
                        <a:pt x="8615" y="10895"/>
                        <a:pt x="5574" y="10895"/>
                      </a:cubicBezTo>
                      <a:cubicBezTo>
                        <a:pt x="2534" y="10895"/>
                        <a:pt x="0" y="8488"/>
                        <a:pt x="0" y="5447"/>
                      </a:cubicBezTo>
                      <a:cubicBezTo>
                        <a:pt x="0" y="2407"/>
                        <a:pt x="2534" y="0"/>
                        <a:pt x="5574" y="0"/>
                      </a:cubicBezTo>
                      <a:cubicBezTo>
                        <a:pt x="8615" y="0"/>
                        <a:pt x="11148" y="2407"/>
                        <a:pt x="11148" y="54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3" name="Полилиния: фигура 522">
                  <a:extLst>
                    <a:ext uri="{FF2B5EF4-FFF2-40B4-BE49-F238E27FC236}">
                      <a16:creationId xmlns:a16="http://schemas.microsoft.com/office/drawing/2014/main" id="{4FBD6B08-5F84-4FE3-B173-72A42F3879F7}"/>
                    </a:ext>
                  </a:extLst>
                </p:cNvPr>
                <p:cNvSpPr/>
                <p:nvPr/>
              </p:nvSpPr>
              <p:spPr>
                <a:xfrm>
                  <a:off x="7893923" y="1987697"/>
                  <a:ext cx="23309" cy="9881"/>
                </a:xfrm>
                <a:custGeom>
                  <a:avLst/>
                  <a:gdLst>
                    <a:gd name="connsiteX0" fmla="*/ 23310 w 23309"/>
                    <a:gd name="connsiteY0" fmla="*/ 4941 h 9881"/>
                    <a:gd name="connsiteX1" fmla="*/ 11655 w 23309"/>
                    <a:gd name="connsiteY1" fmla="*/ 9881 h 9881"/>
                    <a:gd name="connsiteX2" fmla="*/ 0 w 23309"/>
                    <a:gd name="connsiteY2" fmla="*/ 4941 h 9881"/>
                    <a:gd name="connsiteX3" fmla="*/ 11655 w 23309"/>
                    <a:gd name="connsiteY3" fmla="*/ 0 h 9881"/>
                    <a:gd name="connsiteX4" fmla="*/ 23310 w 23309"/>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9881">
                      <a:moveTo>
                        <a:pt x="23310" y="4941"/>
                      </a:moveTo>
                      <a:cubicBezTo>
                        <a:pt x="23310" y="7728"/>
                        <a:pt x="18116" y="9881"/>
                        <a:pt x="11655" y="9881"/>
                      </a:cubicBezTo>
                      <a:cubicBezTo>
                        <a:pt x="5194" y="9881"/>
                        <a:pt x="0" y="7728"/>
                        <a:pt x="0" y="4941"/>
                      </a:cubicBezTo>
                      <a:cubicBezTo>
                        <a:pt x="0" y="2154"/>
                        <a:pt x="5194" y="0"/>
                        <a:pt x="11655" y="0"/>
                      </a:cubicBezTo>
                      <a:cubicBezTo>
                        <a:pt x="18116" y="0"/>
                        <a:pt x="23310" y="2280"/>
                        <a:pt x="23310" y="49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4" name="Полилиния: фигура 523">
                  <a:extLst>
                    <a:ext uri="{FF2B5EF4-FFF2-40B4-BE49-F238E27FC236}">
                      <a16:creationId xmlns:a16="http://schemas.microsoft.com/office/drawing/2014/main" id="{495EB4E9-2158-4346-89D0-0CF6E2FCFCA3}"/>
                    </a:ext>
                  </a:extLst>
                </p:cNvPr>
                <p:cNvSpPr/>
                <p:nvPr/>
              </p:nvSpPr>
              <p:spPr>
                <a:xfrm>
                  <a:off x="7904564" y="1965021"/>
                  <a:ext cx="8614" cy="7347"/>
                </a:xfrm>
                <a:custGeom>
                  <a:avLst/>
                  <a:gdLst>
                    <a:gd name="connsiteX0" fmla="*/ 8614 w 8614"/>
                    <a:gd name="connsiteY0" fmla="*/ 3674 h 7347"/>
                    <a:gd name="connsiteX1" fmla="*/ 4307 w 8614"/>
                    <a:gd name="connsiteY1" fmla="*/ 7348 h 7347"/>
                    <a:gd name="connsiteX2" fmla="*/ 0 w 8614"/>
                    <a:gd name="connsiteY2" fmla="*/ 3674 h 7347"/>
                    <a:gd name="connsiteX3" fmla="*/ 4307 w 8614"/>
                    <a:gd name="connsiteY3" fmla="*/ 0 h 7347"/>
                    <a:gd name="connsiteX4" fmla="*/ 8614 w 8614"/>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7347">
                      <a:moveTo>
                        <a:pt x="8614" y="3674"/>
                      </a:moveTo>
                      <a:cubicBezTo>
                        <a:pt x="8614" y="5701"/>
                        <a:pt x="6714" y="7348"/>
                        <a:pt x="4307" y="7348"/>
                      </a:cubicBezTo>
                      <a:cubicBezTo>
                        <a:pt x="1900" y="7348"/>
                        <a:pt x="0" y="5701"/>
                        <a:pt x="0" y="3674"/>
                      </a:cubicBezTo>
                      <a:cubicBezTo>
                        <a:pt x="0" y="1647"/>
                        <a:pt x="1900" y="0"/>
                        <a:pt x="4307" y="0"/>
                      </a:cubicBezTo>
                      <a:cubicBezTo>
                        <a:pt x="6714" y="0"/>
                        <a:pt x="8614" y="1647"/>
                        <a:pt x="8614" y="36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5" name="Полилиния: фигура 524">
                  <a:extLst>
                    <a:ext uri="{FF2B5EF4-FFF2-40B4-BE49-F238E27FC236}">
                      <a16:creationId xmlns:a16="http://schemas.microsoft.com/office/drawing/2014/main" id="{76605AEF-B3A9-44FE-9869-774FE7B457B6}"/>
                    </a:ext>
                  </a:extLst>
                </p:cNvPr>
                <p:cNvSpPr/>
                <p:nvPr/>
              </p:nvSpPr>
              <p:spPr>
                <a:xfrm>
                  <a:off x="7891389" y="1952099"/>
                  <a:ext cx="2533" cy="7347"/>
                </a:xfrm>
                <a:custGeom>
                  <a:avLst/>
                  <a:gdLst>
                    <a:gd name="connsiteX0" fmla="*/ 2534 w 2533"/>
                    <a:gd name="connsiteY0" fmla="*/ 3674 h 7347"/>
                    <a:gd name="connsiteX1" fmla="*/ 1267 w 2533"/>
                    <a:gd name="connsiteY1" fmla="*/ 7348 h 7347"/>
                    <a:gd name="connsiteX2" fmla="*/ 0 w 2533"/>
                    <a:gd name="connsiteY2" fmla="*/ 3674 h 7347"/>
                    <a:gd name="connsiteX3" fmla="*/ 1267 w 2533"/>
                    <a:gd name="connsiteY3" fmla="*/ 0 h 7347"/>
                    <a:gd name="connsiteX4" fmla="*/ 2534 w 2533"/>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 h="7347">
                      <a:moveTo>
                        <a:pt x="2534" y="3674"/>
                      </a:moveTo>
                      <a:cubicBezTo>
                        <a:pt x="2534" y="5701"/>
                        <a:pt x="1901" y="7348"/>
                        <a:pt x="1267" y="7348"/>
                      </a:cubicBezTo>
                      <a:cubicBezTo>
                        <a:pt x="634" y="7348"/>
                        <a:pt x="0" y="5701"/>
                        <a:pt x="0" y="3674"/>
                      </a:cubicBezTo>
                      <a:cubicBezTo>
                        <a:pt x="0" y="1647"/>
                        <a:pt x="634" y="0"/>
                        <a:pt x="1267" y="0"/>
                      </a:cubicBezTo>
                      <a:cubicBezTo>
                        <a:pt x="2027" y="0"/>
                        <a:pt x="2534" y="1647"/>
                        <a:pt x="2534" y="36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6" name="Полилиния: фигура 525">
                  <a:extLst>
                    <a:ext uri="{FF2B5EF4-FFF2-40B4-BE49-F238E27FC236}">
                      <a16:creationId xmlns:a16="http://schemas.microsoft.com/office/drawing/2014/main" id="{528E19F7-6B0B-46C0-A250-1C0E27CB46D0}"/>
                    </a:ext>
                  </a:extLst>
                </p:cNvPr>
                <p:cNvSpPr/>
                <p:nvPr/>
              </p:nvSpPr>
              <p:spPr>
                <a:xfrm>
                  <a:off x="7877581" y="1972368"/>
                  <a:ext cx="9374" cy="9374"/>
                </a:xfrm>
                <a:custGeom>
                  <a:avLst/>
                  <a:gdLst>
                    <a:gd name="connsiteX0" fmla="*/ 9374 w 9374"/>
                    <a:gd name="connsiteY0" fmla="*/ 4687 h 9374"/>
                    <a:gd name="connsiteX1" fmla="*/ 4687 w 9374"/>
                    <a:gd name="connsiteY1" fmla="*/ 9374 h 9374"/>
                    <a:gd name="connsiteX2" fmla="*/ 0 w 9374"/>
                    <a:gd name="connsiteY2" fmla="*/ 4687 h 9374"/>
                    <a:gd name="connsiteX3" fmla="*/ 4687 w 9374"/>
                    <a:gd name="connsiteY3" fmla="*/ 0 h 9374"/>
                    <a:gd name="connsiteX4" fmla="*/ 9374 w 9374"/>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9374">
                      <a:moveTo>
                        <a:pt x="9374" y="4687"/>
                      </a:moveTo>
                      <a:cubicBezTo>
                        <a:pt x="9374" y="7221"/>
                        <a:pt x="7221" y="9374"/>
                        <a:pt x="4687" y="9374"/>
                      </a:cubicBezTo>
                      <a:cubicBezTo>
                        <a:pt x="2153" y="9374"/>
                        <a:pt x="0" y="7221"/>
                        <a:pt x="0" y="4687"/>
                      </a:cubicBezTo>
                      <a:cubicBezTo>
                        <a:pt x="0" y="2027"/>
                        <a:pt x="2153" y="0"/>
                        <a:pt x="4687" y="0"/>
                      </a:cubicBezTo>
                      <a:cubicBezTo>
                        <a:pt x="7348" y="0"/>
                        <a:pt x="9374" y="2154"/>
                        <a:pt x="9374" y="46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7" name="Полилиния: фигура 526">
                  <a:extLst>
                    <a:ext uri="{FF2B5EF4-FFF2-40B4-BE49-F238E27FC236}">
                      <a16:creationId xmlns:a16="http://schemas.microsoft.com/office/drawing/2014/main" id="{6A9E4526-0DC9-495B-85D0-0CF34A99ABBA}"/>
                    </a:ext>
                  </a:extLst>
                </p:cNvPr>
                <p:cNvSpPr/>
                <p:nvPr/>
              </p:nvSpPr>
              <p:spPr>
                <a:xfrm>
                  <a:off x="7696931" y="2092210"/>
                  <a:ext cx="8867" cy="9374"/>
                </a:xfrm>
                <a:custGeom>
                  <a:avLst/>
                  <a:gdLst>
                    <a:gd name="connsiteX0" fmla="*/ 8868 w 8867"/>
                    <a:gd name="connsiteY0" fmla="*/ 4687 h 9374"/>
                    <a:gd name="connsiteX1" fmla="*/ 4434 w 8867"/>
                    <a:gd name="connsiteY1" fmla="*/ 9375 h 9374"/>
                    <a:gd name="connsiteX2" fmla="*/ 0 w 8867"/>
                    <a:gd name="connsiteY2" fmla="*/ 4687 h 9374"/>
                    <a:gd name="connsiteX3" fmla="*/ 4434 w 8867"/>
                    <a:gd name="connsiteY3" fmla="*/ 0 h 9374"/>
                    <a:gd name="connsiteX4" fmla="*/ 8868 w 8867"/>
                    <a:gd name="connsiteY4" fmla="*/ 4687 h 9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9374">
                      <a:moveTo>
                        <a:pt x="8868" y="4687"/>
                      </a:moveTo>
                      <a:cubicBezTo>
                        <a:pt x="8868" y="7348"/>
                        <a:pt x="6841" y="9375"/>
                        <a:pt x="4434" y="9375"/>
                      </a:cubicBezTo>
                      <a:cubicBezTo>
                        <a:pt x="2027" y="9375"/>
                        <a:pt x="0" y="7221"/>
                        <a:pt x="0" y="4687"/>
                      </a:cubicBezTo>
                      <a:cubicBezTo>
                        <a:pt x="0" y="2154"/>
                        <a:pt x="2027" y="0"/>
                        <a:pt x="4434" y="0"/>
                      </a:cubicBezTo>
                      <a:cubicBezTo>
                        <a:pt x="6967" y="0"/>
                        <a:pt x="8868" y="2027"/>
                        <a:pt x="8868" y="46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8" name="Полилиния: фигура 527">
                  <a:extLst>
                    <a:ext uri="{FF2B5EF4-FFF2-40B4-BE49-F238E27FC236}">
                      <a16:creationId xmlns:a16="http://schemas.microsoft.com/office/drawing/2014/main" id="{16D89170-2F5F-4B45-A3A2-3058130F0E5B}"/>
                    </a:ext>
                  </a:extLst>
                </p:cNvPr>
                <p:cNvSpPr/>
                <p:nvPr/>
              </p:nvSpPr>
              <p:spPr>
                <a:xfrm>
                  <a:off x="7661334" y="2153777"/>
                  <a:ext cx="8360" cy="8107"/>
                </a:xfrm>
                <a:custGeom>
                  <a:avLst/>
                  <a:gdLst>
                    <a:gd name="connsiteX0" fmla="*/ 8361 w 8360"/>
                    <a:gd name="connsiteY0" fmla="*/ 4054 h 8107"/>
                    <a:gd name="connsiteX1" fmla="*/ 4181 w 8360"/>
                    <a:gd name="connsiteY1" fmla="*/ 8108 h 8107"/>
                    <a:gd name="connsiteX2" fmla="*/ 0 w 8360"/>
                    <a:gd name="connsiteY2" fmla="*/ 4054 h 8107"/>
                    <a:gd name="connsiteX3" fmla="*/ 4181 w 8360"/>
                    <a:gd name="connsiteY3" fmla="*/ 0 h 8107"/>
                    <a:gd name="connsiteX4" fmla="*/ 8361 w 8360"/>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107">
                      <a:moveTo>
                        <a:pt x="8361" y="4054"/>
                      </a:moveTo>
                      <a:cubicBezTo>
                        <a:pt x="8361" y="6334"/>
                        <a:pt x="6461" y="8108"/>
                        <a:pt x="4181" y="8108"/>
                      </a:cubicBezTo>
                      <a:cubicBezTo>
                        <a:pt x="1901" y="8108"/>
                        <a:pt x="0" y="6334"/>
                        <a:pt x="0" y="4054"/>
                      </a:cubicBezTo>
                      <a:cubicBezTo>
                        <a:pt x="0" y="1774"/>
                        <a:pt x="1901" y="0"/>
                        <a:pt x="4181" y="0"/>
                      </a:cubicBezTo>
                      <a:cubicBezTo>
                        <a:pt x="6461" y="0"/>
                        <a:pt x="8361" y="1774"/>
                        <a:pt x="8361" y="405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29" name="Полилиния: фигура 528">
                  <a:extLst>
                    <a:ext uri="{FF2B5EF4-FFF2-40B4-BE49-F238E27FC236}">
                      <a16:creationId xmlns:a16="http://schemas.microsoft.com/office/drawing/2014/main" id="{38CA15DF-07AF-4BF5-8300-83FC6B0F9661}"/>
                    </a:ext>
                  </a:extLst>
                </p:cNvPr>
                <p:cNvSpPr/>
                <p:nvPr/>
              </p:nvSpPr>
              <p:spPr>
                <a:xfrm>
                  <a:off x="7647399" y="2177340"/>
                  <a:ext cx="11908" cy="5827"/>
                </a:xfrm>
                <a:custGeom>
                  <a:avLst/>
                  <a:gdLst>
                    <a:gd name="connsiteX0" fmla="*/ 11908 w 11908"/>
                    <a:gd name="connsiteY0" fmla="*/ 2914 h 5827"/>
                    <a:gd name="connsiteX1" fmla="*/ 5954 w 11908"/>
                    <a:gd name="connsiteY1" fmla="*/ 5827 h 5827"/>
                    <a:gd name="connsiteX2" fmla="*/ 0 w 11908"/>
                    <a:gd name="connsiteY2" fmla="*/ 2914 h 5827"/>
                    <a:gd name="connsiteX3" fmla="*/ 5954 w 11908"/>
                    <a:gd name="connsiteY3" fmla="*/ 0 h 5827"/>
                    <a:gd name="connsiteX4" fmla="*/ 11908 w 11908"/>
                    <a:gd name="connsiteY4" fmla="*/ 2914 h 58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5827">
                      <a:moveTo>
                        <a:pt x="11908" y="2914"/>
                      </a:moveTo>
                      <a:cubicBezTo>
                        <a:pt x="11908" y="4561"/>
                        <a:pt x="9248" y="5827"/>
                        <a:pt x="5954" y="5827"/>
                      </a:cubicBezTo>
                      <a:cubicBezTo>
                        <a:pt x="2660" y="5827"/>
                        <a:pt x="0" y="4561"/>
                        <a:pt x="0" y="2914"/>
                      </a:cubicBezTo>
                      <a:cubicBezTo>
                        <a:pt x="0" y="1267"/>
                        <a:pt x="2660" y="0"/>
                        <a:pt x="5954" y="0"/>
                      </a:cubicBezTo>
                      <a:cubicBezTo>
                        <a:pt x="9248" y="0"/>
                        <a:pt x="11908" y="1267"/>
                        <a:pt x="11908" y="29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0" name="Полилиния: фигура 529">
                  <a:extLst>
                    <a:ext uri="{FF2B5EF4-FFF2-40B4-BE49-F238E27FC236}">
                      <a16:creationId xmlns:a16="http://schemas.microsoft.com/office/drawing/2014/main" id="{90F4F49B-A358-4868-87BC-2078000D2A83}"/>
                    </a:ext>
                  </a:extLst>
                </p:cNvPr>
                <p:cNvSpPr/>
                <p:nvPr/>
              </p:nvSpPr>
              <p:spPr>
                <a:xfrm>
                  <a:off x="7665388" y="2216865"/>
                  <a:ext cx="4306" cy="10387"/>
                </a:xfrm>
                <a:custGeom>
                  <a:avLst/>
                  <a:gdLst>
                    <a:gd name="connsiteX0" fmla="*/ 4307 w 4306"/>
                    <a:gd name="connsiteY0" fmla="*/ 5194 h 10387"/>
                    <a:gd name="connsiteX1" fmla="*/ 2153 w 4306"/>
                    <a:gd name="connsiteY1" fmla="*/ 10388 h 10387"/>
                    <a:gd name="connsiteX2" fmla="*/ 0 w 4306"/>
                    <a:gd name="connsiteY2" fmla="*/ 5194 h 10387"/>
                    <a:gd name="connsiteX3" fmla="*/ 2153 w 4306"/>
                    <a:gd name="connsiteY3" fmla="*/ 0 h 10387"/>
                    <a:gd name="connsiteX4" fmla="*/ 4307 w 4306"/>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6" h="10387">
                      <a:moveTo>
                        <a:pt x="4307" y="5194"/>
                      </a:moveTo>
                      <a:cubicBezTo>
                        <a:pt x="4307" y="8108"/>
                        <a:pt x="3421" y="10388"/>
                        <a:pt x="2153" y="10388"/>
                      </a:cubicBezTo>
                      <a:cubicBezTo>
                        <a:pt x="1014" y="10388"/>
                        <a:pt x="0" y="8108"/>
                        <a:pt x="0" y="5194"/>
                      </a:cubicBezTo>
                      <a:cubicBezTo>
                        <a:pt x="0" y="2407"/>
                        <a:pt x="887" y="0"/>
                        <a:pt x="2153" y="0"/>
                      </a:cubicBezTo>
                      <a:cubicBezTo>
                        <a:pt x="3421" y="0"/>
                        <a:pt x="4307" y="2280"/>
                        <a:pt x="4307" y="519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1" name="Полилиния: фигура 530">
                  <a:extLst>
                    <a:ext uri="{FF2B5EF4-FFF2-40B4-BE49-F238E27FC236}">
                      <a16:creationId xmlns:a16="http://schemas.microsoft.com/office/drawing/2014/main" id="{864BD02B-DBD8-4067-B45A-A3F26C285268}"/>
                    </a:ext>
                  </a:extLst>
                </p:cNvPr>
                <p:cNvSpPr/>
                <p:nvPr/>
              </p:nvSpPr>
              <p:spPr>
                <a:xfrm>
                  <a:off x="7528063" y="2223326"/>
                  <a:ext cx="14948" cy="12921"/>
                </a:xfrm>
                <a:custGeom>
                  <a:avLst/>
                  <a:gdLst>
                    <a:gd name="connsiteX0" fmla="*/ 14948 w 14948"/>
                    <a:gd name="connsiteY0" fmla="*/ 6461 h 12921"/>
                    <a:gd name="connsiteX1" fmla="*/ 7475 w 14948"/>
                    <a:gd name="connsiteY1" fmla="*/ 12922 h 12921"/>
                    <a:gd name="connsiteX2" fmla="*/ 0 w 14948"/>
                    <a:gd name="connsiteY2" fmla="*/ 6461 h 12921"/>
                    <a:gd name="connsiteX3" fmla="*/ 7475 w 14948"/>
                    <a:gd name="connsiteY3" fmla="*/ 0 h 12921"/>
                    <a:gd name="connsiteX4" fmla="*/ 14948 w 14948"/>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48" h="12921">
                      <a:moveTo>
                        <a:pt x="14948" y="6461"/>
                      </a:moveTo>
                      <a:cubicBezTo>
                        <a:pt x="14948" y="10008"/>
                        <a:pt x="11655" y="12922"/>
                        <a:pt x="7475" y="12922"/>
                      </a:cubicBezTo>
                      <a:cubicBezTo>
                        <a:pt x="3421" y="12922"/>
                        <a:pt x="0" y="10008"/>
                        <a:pt x="0" y="6461"/>
                      </a:cubicBezTo>
                      <a:cubicBezTo>
                        <a:pt x="0" y="2914"/>
                        <a:pt x="3294" y="0"/>
                        <a:pt x="7475" y="0"/>
                      </a:cubicBezTo>
                      <a:cubicBezTo>
                        <a:pt x="11655" y="0"/>
                        <a:pt x="14948" y="2914"/>
                        <a:pt x="14948" y="646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2" name="Полилиния: фигура 531">
                  <a:extLst>
                    <a:ext uri="{FF2B5EF4-FFF2-40B4-BE49-F238E27FC236}">
                      <a16:creationId xmlns:a16="http://schemas.microsoft.com/office/drawing/2014/main" id="{BE2E5322-D698-495C-97A7-9B1E492BA5F4}"/>
                    </a:ext>
                  </a:extLst>
                </p:cNvPr>
                <p:cNvSpPr/>
                <p:nvPr/>
              </p:nvSpPr>
              <p:spPr>
                <a:xfrm>
                  <a:off x="7525783" y="2271719"/>
                  <a:ext cx="17228" cy="11907"/>
                </a:xfrm>
                <a:custGeom>
                  <a:avLst/>
                  <a:gdLst>
                    <a:gd name="connsiteX0" fmla="*/ 17229 w 17228"/>
                    <a:gd name="connsiteY0" fmla="*/ 5954 h 11907"/>
                    <a:gd name="connsiteX1" fmla="*/ 8614 w 17228"/>
                    <a:gd name="connsiteY1" fmla="*/ 11908 h 11907"/>
                    <a:gd name="connsiteX2" fmla="*/ 0 w 17228"/>
                    <a:gd name="connsiteY2" fmla="*/ 5954 h 11907"/>
                    <a:gd name="connsiteX3" fmla="*/ 8614 w 17228"/>
                    <a:gd name="connsiteY3" fmla="*/ 0 h 11907"/>
                    <a:gd name="connsiteX4" fmla="*/ 17229 w 17228"/>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 h="11907">
                      <a:moveTo>
                        <a:pt x="17229" y="5954"/>
                      </a:moveTo>
                      <a:cubicBezTo>
                        <a:pt x="17229" y="9248"/>
                        <a:pt x="13302" y="11908"/>
                        <a:pt x="8614" y="11908"/>
                      </a:cubicBezTo>
                      <a:cubicBezTo>
                        <a:pt x="3800" y="11908"/>
                        <a:pt x="0" y="9248"/>
                        <a:pt x="0" y="5954"/>
                      </a:cubicBezTo>
                      <a:cubicBezTo>
                        <a:pt x="0" y="2660"/>
                        <a:pt x="3927" y="0"/>
                        <a:pt x="8614" y="0"/>
                      </a:cubicBezTo>
                      <a:cubicBezTo>
                        <a:pt x="13428" y="127"/>
                        <a:pt x="17229" y="2787"/>
                        <a:pt x="17229" y="595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3" name="Полилиния: фигура 532">
                  <a:extLst>
                    <a:ext uri="{FF2B5EF4-FFF2-40B4-BE49-F238E27FC236}">
                      <a16:creationId xmlns:a16="http://schemas.microsoft.com/office/drawing/2014/main" id="{A5935CB3-DA20-40E5-ABA4-3CDB6F3221AE}"/>
                    </a:ext>
                  </a:extLst>
                </p:cNvPr>
                <p:cNvSpPr/>
                <p:nvPr/>
              </p:nvSpPr>
              <p:spPr>
                <a:xfrm>
                  <a:off x="7505514" y="2271719"/>
                  <a:ext cx="7854" cy="11907"/>
                </a:xfrm>
                <a:custGeom>
                  <a:avLst/>
                  <a:gdLst>
                    <a:gd name="connsiteX0" fmla="*/ 7854 w 7854"/>
                    <a:gd name="connsiteY0" fmla="*/ 5954 h 11907"/>
                    <a:gd name="connsiteX1" fmla="*/ 3927 w 7854"/>
                    <a:gd name="connsiteY1" fmla="*/ 11908 h 11907"/>
                    <a:gd name="connsiteX2" fmla="*/ 0 w 7854"/>
                    <a:gd name="connsiteY2" fmla="*/ 5954 h 11907"/>
                    <a:gd name="connsiteX3" fmla="*/ 3927 w 7854"/>
                    <a:gd name="connsiteY3" fmla="*/ 0 h 11907"/>
                    <a:gd name="connsiteX4" fmla="*/ 7854 w 7854"/>
                    <a:gd name="connsiteY4" fmla="*/ 5954 h 11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4" h="11907">
                      <a:moveTo>
                        <a:pt x="7854" y="5954"/>
                      </a:moveTo>
                      <a:cubicBezTo>
                        <a:pt x="7854" y="9248"/>
                        <a:pt x="6081" y="11908"/>
                        <a:pt x="3927" y="11908"/>
                      </a:cubicBezTo>
                      <a:cubicBezTo>
                        <a:pt x="1774" y="11908"/>
                        <a:pt x="0" y="9248"/>
                        <a:pt x="0" y="5954"/>
                      </a:cubicBezTo>
                      <a:cubicBezTo>
                        <a:pt x="0" y="2660"/>
                        <a:pt x="1774" y="0"/>
                        <a:pt x="3927" y="0"/>
                      </a:cubicBezTo>
                      <a:cubicBezTo>
                        <a:pt x="6081" y="127"/>
                        <a:pt x="7854" y="2787"/>
                        <a:pt x="7854" y="595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4" name="Полилиния: фигура 533">
                  <a:extLst>
                    <a:ext uri="{FF2B5EF4-FFF2-40B4-BE49-F238E27FC236}">
                      <a16:creationId xmlns:a16="http://schemas.microsoft.com/office/drawing/2014/main" id="{8A958A97-0AA3-4D53-BC2E-4A3D7E51282F}"/>
                    </a:ext>
                  </a:extLst>
                </p:cNvPr>
                <p:cNvSpPr/>
                <p:nvPr/>
              </p:nvSpPr>
              <p:spPr>
                <a:xfrm>
                  <a:off x="7510581" y="2328473"/>
                  <a:ext cx="10388" cy="10387"/>
                </a:xfrm>
                <a:custGeom>
                  <a:avLst/>
                  <a:gdLst>
                    <a:gd name="connsiteX0" fmla="*/ 10388 w 10388"/>
                    <a:gd name="connsiteY0" fmla="*/ 5194 h 10387"/>
                    <a:gd name="connsiteX1" fmla="*/ 5194 w 10388"/>
                    <a:gd name="connsiteY1" fmla="*/ 10388 h 10387"/>
                    <a:gd name="connsiteX2" fmla="*/ 0 w 10388"/>
                    <a:gd name="connsiteY2" fmla="*/ 5194 h 10387"/>
                    <a:gd name="connsiteX3" fmla="*/ 5194 w 10388"/>
                    <a:gd name="connsiteY3" fmla="*/ 0 h 10387"/>
                    <a:gd name="connsiteX4" fmla="*/ 10388 w 10388"/>
                    <a:gd name="connsiteY4" fmla="*/ 5194 h 10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0387">
                      <a:moveTo>
                        <a:pt x="10388" y="5194"/>
                      </a:moveTo>
                      <a:cubicBezTo>
                        <a:pt x="10388" y="7981"/>
                        <a:pt x="8108" y="10388"/>
                        <a:pt x="5194" y="10388"/>
                      </a:cubicBezTo>
                      <a:cubicBezTo>
                        <a:pt x="2281" y="10388"/>
                        <a:pt x="0" y="8108"/>
                        <a:pt x="0" y="5194"/>
                      </a:cubicBezTo>
                      <a:cubicBezTo>
                        <a:pt x="0" y="2280"/>
                        <a:pt x="2281" y="0"/>
                        <a:pt x="5194" y="0"/>
                      </a:cubicBezTo>
                      <a:cubicBezTo>
                        <a:pt x="8108" y="0"/>
                        <a:pt x="10388" y="2280"/>
                        <a:pt x="10388" y="519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5" name="Полилиния: фигура 534">
                  <a:extLst>
                    <a:ext uri="{FF2B5EF4-FFF2-40B4-BE49-F238E27FC236}">
                      <a16:creationId xmlns:a16="http://schemas.microsoft.com/office/drawing/2014/main" id="{53373F6C-8D36-4EB6-8ABC-C2BEE4B61792}"/>
                    </a:ext>
                  </a:extLst>
                </p:cNvPr>
                <p:cNvSpPr/>
                <p:nvPr/>
              </p:nvSpPr>
              <p:spPr>
                <a:xfrm>
                  <a:off x="7493986" y="2303390"/>
                  <a:ext cx="14188" cy="14188"/>
                </a:xfrm>
                <a:custGeom>
                  <a:avLst/>
                  <a:gdLst>
                    <a:gd name="connsiteX0" fmla="*/ 14188 w 14188"/>
                    <a:gd name="connsiteY0" fmla="*/ 7094 h 14188"/>
                    <a:gd name="connsiteX1" fmla="*/ 7094 w 14188"/>
                    <a:gd name="connsiteY1" fmla="*/ 14188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1"/>
                        <a:pt x="11021" y="14188"/>
                        <a:pt x="7094" y="14188"/>
                      </a:cubicBezTo>
                      <a:cubicBezTo>
                        <a:pt x="3167" y="14188"/>
                        <a:pt x="0" y="11021"/>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6" name="Полилиния: фигура 535">
                  <a:extLst>
                    <a:ext uri="{FF2B5EF4-FFF2-40B4-BE49-F238E27FC236}">
                      <a16:creationId xmlns:a16="http://schemas.microsoft.com/office/drawing/2014/main" id="{E6D16874-618A-4033-A669-4236B487DB8B}"/>
                    </a:ext>
                  </a:extLst>
                </p:cNvPr>
                <p:cNvSpPr/>
                <p:nvPr/>
              </p:nvSpPr>
              <p:spPr>
                <a:xfrm>
                  <a:off x="7483851" y="2288435"/>
                  <a:ext cx="10134" cy="8367"/>
                </a:xfrm>
                <a:custGeom>
                  <a:avLst/>
                  <a:gdLst>
                    <a:gd name="connsiteX0" fmla="*/ 10134 w 10134"/>
                    <a:gd name="connsiteY0" fmla="*/ 4187 h 8367"/>
                    <a:gd name="connsiteX1" fmla="*/ 5068 w 10134"/>
                    <a:gd name="connsiteY1" fmla="*/ 8367 h 8367"/>
                    <a:gd name="connsiteX2" fmla="*/ 0 w 10134"/>
                    <a:gd name="connsiteY2" fmla="*/ 4187 h 8367"/>
                    <a:gd name="connsiteX3" fmla="*/ 5068 w 10134"/>
                    <a:gd name="connsiteY3" fmla="*/ 6 h 8367"/>
                    <a:gd name="connsiteX4" fmla="*/ 10134 w 10134"/>
                    <a:gd name="connsiteY4" fmla="*/ 4187 h 83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8367">
                      <a:moveTo>
                        <a:pt x="10134" y="4187"/>
                      </a:moveTo>
                      <a:cubicBezTo>
                        <a:pt x="10134" y="6467"/>
                        <a:pt x="7854" y="8367"/>
                        <a:pt x="5068" y="8367"/>
                      </a:cubicBezTo>
                      <a:cubicBezTo>
                        <a:pt x="2280" y="8367"/>
                        <a:pt x="0" y="6467"/>
                        <a:pt x="0" y="4187"/>
                      </a:cubicBezTo>
                      <a:cubicBezTo>
                        <a:pt x="0" y="1906"/>
                        <a:pt x="2280" y="6"/>
                        <a:pt x="5068" y="6"/>
                      </a:cubicBezTo>
                      <a:cubicBezTo>
                        <a:pt x="7854" y="-121"/>
                        <a:pt x="10134" y="1780"/>
                        <a:pt x="10134" y="41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7" name="Полилиния: фигура 536">
                  <a:extLst>
                    <a:ext uri="{FF2B5EF4-FFF2-40B4-BE49-F238E27FC236}">
                      <a16:creationId xmlns:a16="http://schemas.microsoft.com/office/drawing/2014/main" id="{2F2851C1-6039-4421-A7F2-830FC30C3F9B}"/>
                    </a:ext>
                  </a:extLst>
                </p:cNvPr>
                <p:cNvSpPr/>
                <p:nvPr/>
              </p:nvSpPr>
              <p:spPr>
                <a:xfrm>
                  <a:off x="7453828" y="2286667"/>
                  <a:ext cx="12921" cy="10134"/>
                </a:xfrm>
                <a:custGeom>
                  <a:avLst/>
                  <a:gdLst>
                    <a:gd name="connsiteX0" fmla="*/ 12922 w 12921"/>
                    <a:gd name="connsiteY0" fmla="*/ 5067 h 10134"/>
                    <a:gd name="connsiteX1" fmla="*/ 6461 w 12921"/>
                    <a:gd name="connsiteY1" fmla="*/ 10135 h 10134"/>
                    <a:gd name="connsiteX2" fmla="*/ 0 w 12921"/>
                    <a:gd name="connsiteY2" fmla="*/ 5067 h 10134"/>
                    <a:gd name="connsiteX3" fmla="*/ 6461 w 12921"/>
                    <a:gd name="connsiteY3" fmla="*/ 0 h 10134"/>
                    <a:gd name="connsiteX4" fmla="*/ 12922 w 12921"/>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0134">
                      <a:moveTo>
                        <a:pt x="12922" y="5067"/>
                      </a:moveTo>
                      <a:cubicBezTo>
                        <a:pt x="12922" y="7854"/>
                        <a:pt x="10008" y="10135"/>
                        <a:pt x="6461" y="10135"/>
                      </a:cubicBezTo>
                      <a:cubicBezTo>
                        <a:pt x="2913" y="10135"/>
                        <a:pt x="0" y="7854"/>
                        <a:pt x="0" y="5067"/>
                      </a:cubicBezTo>
                      <a:cubicBezTo>
                        <a:pt x="0" y="2280"/>
                        <a:pt x="2913" y="0"/>
                        <a:pt x="6461" y="0"/>
                      </a:cubicBezTo>
                      <a:cubicBezTo>
                        <a:pt x="10134" y="0"/>
                        <a:pt x="12922" y="2280"/>
                        <a:pt x="12922" y="506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8" name="Полилиния: фигура 537">
                  <a:extLst>
                    <a:ext uri="{FF2B5EF4-FFF2-40B4-BE49-F238E27FC236}">
                      <a16:creationId xmlns:a16="http://schemas.microsoft.com/office/drawing/2014/main" id="{D756B88A-AB7B-4181-9D86-D999CFDA17E1}"/>
                    </a:ext>
                  </a:extLst>
                </p:cNvPr>
                <p:cNvSpPr/>
                <p:nvPr/>
              </p:nvSpPr>
              <p:spPr>
                <a:xfrm>
                  <a:off x="7479545" y="2321505"/>
                  <a:ext cx="15708" cy="23309"/>
                </a:xfrm>
                <a:custGeom>
                  <a:avLst/>
                  <a:gdLst>
                    <a:gd name="connsiteX0" fmla="*/ 15709 w 15708"/>
                    <a:gd name="connsiteY0" fmla="*/ 11655 h 23309"/>
                    <a:gd name="connsiteX1" fmla="*/ 7854 w 15708"/>
                    <a:gd name="connsiteY1" fmla="*/ 23310 h 23309"/>
                    <a:gd name="connsiteX2" fmla="*/ 0 w 15708"/>
                    <a:gd name="connsiteY2" fmla="*/ 11655 h 23309"/>
                    <a:gd name="connsiteX3" fmla="*/ 7854 w 15708"/>
                    <a:gd name="connsiteY3" fmla="*/ 0 h 23309"/>
                    <a:gd name="connsiteX4" fmla="*/ 15709 w 15708"/>
                    <a:gd name="connsiteY4" fmla="*/ 11655 h 233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08" h="23309">
                      <a:moveTo>
                        <a:pt x="15709" y="11655"/>
                      </a:moveTo>
                      <a:cubicBezTo>
                        <a:pt x="15709" y="18116"/>
                        <a:pt x="12161" y="23310"/>
                        <a:pt x="7854" y="23310"/>
                      </a:cubicBezTo>
                      <a:cubicBezTo>
                        <a:pt x="3547" y="23310"/>
                        <a:pt x="0" y="18116"/>
                        <a:pt x="0" y="11655"/>
                      </a:cubicBezTo>
                      <a:cubicBezTo>
                        <a:pt x="0" y="5194"/>
                        <a:pt x="3420" y="0"/>
                        <a:pt x="7854" y="0"/>
                      </a:cubicBezTo>
                      <a:cubicBezTo>
                        <a:pt x="12288" y="0"/>
                        <a:pt x="15709" y="5321"/>
                        <a:pt x="15709" y="1165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39" name="Полилиния: фигура 538">
                  <a:extLst>
                    <a:ext uri="{FF2B5EF4-FFF2-40B4-BE49-F238E27FC236}">
                      <a16:creationId xmlns:a16="http://schemas.microsoft.com/office/drawing/2014/main" id="{13E3C4EF-0546-4E76-8131-0C68F7FBFF93}"/>
                    </a:ext>
                  </a:extLst>
                </p:cNvPr>
                <p:cNvSpPr/>
                <p:nvPr/>
              </p:nvSpPr>
              <p:spPr>
                <a:xfrm>
                  <a:off x="7477138" y="2363817"/>
                  <a:ext cx="33443" cy="10641"/>
                </a:xfrm>
                <a:custGeom>
                  <a:avLst/>
                  <a:gdLst>
                    <a:gd name="connsiteX0" fmla="*/ 33444 w 33443"/>
                    <a:gd name="connsiteY0" fmla="*/ 5321 h 10641"/>
                    <a:gd name="connsiteX1" fmla="*/ 16722 w 33443"/>
                    <a:gd name="connsiteY1" fmla="*/ 10641 h 10641"/>
                    <a:gd name="connsiteX2" fmla="*/ 0 w 33443"/>
                    <a:gd name="connsiteY2" fmla="*/ 5321 h 10641"/>
                    <a:gd name="connsiteX3" fmla="*/ 16722 w 33443"/>
                    <a:gd name="connsiteY3" fmla="*/ 0 h 10641"/>
                    <a:gd name="connsiteX4" fmla="*/ 33444 w 33443"/>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3" h="10641">
                      <a:moveTo>
                        <a:pt x="33444" y="5321"/>
                      </a:moveTo>
                      <a:cubicBezTo>
                        <a:pt x="33444" y="8234"/>
                        <a:pt x="25970" y="10641"/>
                        <a:pt x="16722" y="10641"/>
                      </a:cubicBezTo>
                      <a:cubicBezTo>
                        <a:pt x="7474" y="10641"/>
                        <a:pt x="0" y="8234"/>
                        <a:pt x="0" y="5321"/>
                      </a:cubicBezTo>
                      <a:cubicBezTo>
                        <a:pt x="0" y="2407"/>
                        <a:pt x="7474" y="0"/>
                        <a:pt x="16722" y="0"/>
                      </a:cubicBezTo>
                      <a:cubicBezTo>
                        <a:pt x="25970" y="0"/>
                        <a:pt x="33444" y="2407"/>
                        <a:pt x="33444" y="53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0" name="Полилиния: фигура 539">
                  <a:extLst>
                    <a:ext uri="{FF2B5EF4-FFF2-40B4-BE49-F238E27FC236}">
                      <a16:creationId xmlns:a16="http://schemas.microsoft.com/office/drawing/2014/main" id="{48767794-8F2D-49ED-B40F-2DBB0E3F15C6}"/>
                    </a:ext>
                  </a:extLst>
                </p:cNvPr>
                <p:cNvSpPr/>
                <p:nvPr/>
              </p:nvSpPr>
              <p:spPr>
                <a:xfrm>
                  <a:off x="7444960" y="2323402"/>
                  <a:ext cx="23816" cy="14318"/>
                </a:xfrm>
                <a:custGeom>
                  <a:avLst/>
                  <a:gdLst>
                    <a:gd name="connsiteX0" fmla="*/ 23816 w 23816"/>
                    <a:gd name="connsiteY0" fmla="*/ 7098 h 14318"/>
                    <a:gd name="connsiteX1" fmla="*/ 11908 w 23816"/>
                    <a:gd name="connsiteY1" fmla="*/ 14319 h 14318"/>
                    <a:gd name="connsiteX2" fmla="*/ 0 w 23816"/>
                    <a:gd name="connsiteY2" fmla="*/ 7098 h 14318"/>
                    <a:gd name="connsiteX3" fmla="*/ 11908 w 23816"/>
                    <a:gd name="connsiteY3" fmla="*/ 4 h 14318"/>
                    <a:gd name="connsiteX4" fmla="*/ 23816 w 23816"/>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6" h="14318">
                      <a:moveTo>
                        <a:pt x="23816" y="7098"/>
                      </a:moveTo>
                      <a:cubicBezTo>
                        <a:pt x="23816" y="11025"/>
                        <a:pt x="18496" y="14319"/>
                        <a:pt x="11908" y="14319"/>
                      </a:cubicBezTo>
                      <a:cubicBezTo>
                        <a:pt x="5321" y="14319"/>
                        <a:pt x="0" y="11152"/>
                        <a:pt x="0" y="7098"/>
                      </a:cubicBezTo>
                      <a:cubicBezTo>
                        <a:pt x="0" y="3171"/>
                        <a:pt x="5321" y="4"/>
                        <a:pt x="11908" y="4"/>
                      </a:cubicBezTo>
                      <a:cubicBezTo>
                        <a:pt x="18496" y="-123"/>
                        <a:pt x="23816" y="3044"/>
                        <a:pt x="23816" y="709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1" name="Полилиния: фигура 540">
                  <a:extLst>
                    <a:ext uri="{FF2B5EF4-FFF2-40B4-BE49-F238E27FC236}">
                      <a16:creationId xmlns:a16="http://schemas.microsoft.com/office/drawing/2014/main" id="{01D33769-87DA-4737-A5A5-465EF1C1926A}"/>
                    </a:ext>
                  </a:extLst>
                </p:cNvPr>
                <p:cNvSpPr/>
                <p:nvPr/>
              </p:nvSpPr>
              <p:spPr>
                <a:xfrm>
                  <a:off x="7399734" y="2323402"/>
                  <a:ext cx="27743" cy="14318"/>
                </a:xfrm>
                <a:custGeom>
                  <a:avLst/>
                  <a:gdLst>
                    <a:gd name="connsiteX0" fmla="*/ 27743 w 27743"/>
                    <a:gd name="connsiteY0" fmla="*/ 7098 h 14318"/>
                    <a:gd name="connsiteX1" fmla="*/ 13936 w 27743"/>
                    <a:gd name="connsiteY1" fmla="*/ 14319 h 14318"/>
                    <a:gd name="connsiteX2" fmla="*/ 0 w 27743"/>
                    <a:gd name="connsiteY2" fmla="*/ 7098 h 14318"/>
                    <a:gd name="connsiteX3" fmla="*/ 13936 w 27743"/>
                    <a:gd name="connsiteY3" fmla="*/ 4 h 14318"/>
                    <a:gd name="connsiteX4" fmla="*/ 27743 w 27743"/>
                    <a:gd name="connsiteY4" fmla="*/ 7098 h 14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3" h="14318">
                      <a:moveTo>
                        <a:pt x="27743" y="7098"/>
                      </a:moveTo>
                      <a:cubicBezTo>
                        <a:pt x="27743" y="11025"/>
                        <a:pt x="21536" y="14319"/>
                        <a:pt x="13936" y="14319"/>
                      </a:cubicBezTo>
                      <a:cubicBezTo>
                        <a:pt x="6208" y="14319"/>
                        <a:pt x="0" y="11152"/>
                        <a:pt x="0" y="7098"/>
                      </a:cubicBezTo>
                      <a:cubicBezTo>
                        <a:pt x="0" y="3171"/>
                        <a:pt x="6208" y="4"/>
                        <a:pt x="13936" y="4"/>
                      </a:cubicBezTo>
                      <a:cubicBezTo>
                        <a:pt x="21536" y="-123"/>
                        <a:pt x="27743" y="3044"/>
                        <a:pt x="27743" y="709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2" name="Полилиния: фигура 541">
                  <a:extLst>
                    <a:ext uri="{FF2B5EF4-FFF2-40B4-BE49-F238E27FC236}">
                      <a16:creationId xmlns:a16="http://schemas.microsoft.com/office/drawing/2014/main" id="{FC9581C3-FBD1-437F-9FB8-CF5BF3385753}"/>
                    </a:ext>
                  </a:extLst>
                </p:cNvPr>
                <p:cNvSpPr/>
                <p:nvPr/>
              </p:nvSpPr>
              <p:spPr>
                <a:xfrm>
                  <a:off x="7421903" y="2250310"/>
                  <a:ext cx="12921" cy="15708"/>
                </a:xfrm>
                <a:custGeom>
                  <a:avLst/>
                  <a:gdLst>
                    <a:gd name="connsiteX0" fmla="*/ 12922 w 12921"/>
                    <a:gd name="connsiteY0" fmla="*/ 7854 h 15708"/>
                    <a:gd name="connsiteX1" fmla="*/ 6461 w 12921"/>
                    <a:gd name="connsiteY1" fmla="*/ 15709 h 15708"/>
                    <a:gd name="connsiteX2" fmla="*/ 0 w 12921"/>
                    <a:gd name="connsiteY2" fmla="*/ 7854 h 15708"/>
                    <a:gd name="connsiteX3" fmla="*/ 6461 w 12921"/>
                    <a:gd name="connsiteY3" fmla="*/ 0 h 15708"/>
                    <a:gd name="connsiteX4" fmla="*/ 12922 w 12921"/>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5708">
                      <a:moveTo>
                        <a:pt x="12922" y="7854"/>
                      </a:moveTo>
                      <a:cubicBezTo>
                        <a:pt x="12922" y="12288"/>
                        <a:pt x="10008" y="15709"/>
                        <a:pt x="6461" y="15709"/>
                      </a:cubicBezTo>
                      <a:cubicBezTo>
                        <a:pt x="2914" y="15709"/>
                        <a:pt x="0" y="12161"/>
                        <a:pt x="0" y="7854"/>
                      </a:cubicBezTo>
                      <a:cubicBezTo>
                        <a:pt x="0" y="3547"/>
                        <a:pt x="2914" y="0"/>
                        <a:pt x="6461" y="0"/>
                      </a:cubicBezTo>
                      <a:cubicBezTo>
                        <a:pt x="10135" y="0"/>
                        <a:pt x="12922" y="3547"/>
                        <a:pt x="12922" y="785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3" name="Полилиния: фигура 542">
                  <a:extLst>
                    <a:ext uri="{FF2B5EF4-FFF2-40B4-BE49-F238E27FC236}">
                      <a16:creationId xmlns:a16="http://schemas.microsoft.com/office/drawing/2014/main" id="{B5574599-DDC9-41DC-8CF1-3DA118584963}"/>
                    </a:ext>
                  </a:extLst>
                </p:cNvPr>
                <p:cNvSpPr/>
                <p:nvPr/>
              </p:nvSpPr>
              <p:spPr>
                <a:xfrm>
                  <a:off x="7460415" y="2250183"/>
                  <a:ext cx="33444" cy="26096"/>
                </a:xfrm>
                <a:custGeom>
                  <a:avLst/>
                  <a:gdLst>
                    <a:gd name="connsiteX0" fmla="*/ 33444 w 33444"/>
                    <a:gd name="connsiteY0" fmla="*/ 13048 h 26096"/>
                    <a:gd name="connsiteX1" fmla="*/ 16722 w 33444"/>
                    <a:gd name="connsiteY1" fmla="*/ 26097 h 26096"/>
                    <a:gd name="connsiteX2" fmla="*/ 0 w 33444"/>
                    <a:gd name="connsiteY2" fmla="*/ 13048 h 26096"/>
                    <a:gd name="connsiteX3" fmla="*/ 16722 w 33444"/>
                    <a:gd name="connsiteY3" fmla="*/ 0 h 26096"/>
                    <a:gd name="connsiteX4" fmla="*/ 33444 w 33444"/>
                    <a:gd name="connsiteY4" fmla="*/ 13048 h 26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 h="26096">
                      <a:moveTo>
                        <a:pt x="33444" y="13048"/>
                      </a:moveTo>
                      <a:cubicBezTo>
                        <a:pt x="33444" y="20269"/>
                        <a:pt x="25970" y="26097"/>
                        <a:pt x="16722" y="26097"/>
                      </a:cubicBezTo>
                      <a:cubicBezTo>
                        <a:pt x="7474" y="26097"/>
                        <a:pt x="0" y="20269"/>
                        <a:pt x="0" y="13048"/>
                      </a:cubicBezTo>
                      <a:cubicBezTo>
                        <a:pt x="0" y="5827"/>
                        <a:pt x="7474" y="0"/>
                        <a:pt x="16722" y="0"/>
                      </a:cubicBezTo>
                      <a:cubicBezTo>
                        <a:pt x="25970" y="127"/>
                        <a:pt x="33444" y="5954"/>
                        <a:pt x="33444" y="1304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4" name="Полилиния: фигура 543">
                  <a:extLst>
                    <a:ext uri="{FF2B5EF4-FFF2-40B4-BE49-F238E27FC236}">
                      <a16:creationId xmlns:a16="http://schemas.microsoft.com/office/drawing/2014/main" id="{8A6F0B10-78F6-4B96-9043-F4625207E00A}"/>
                    </a:ext>
                  </a:extLst>
                </p:cNvPr>
                <p:cNvSpPr/>
                <p:nvPr/>
              </p:nvSpPr>
              <p:spPr>
                <a:xfrm>
                  <a:off x="7458515" y="2215216"/>
                  <a:ext cx="49659" cy="17485"/>
                </a:xfrm>
                <a:custGeom>
                  <a:avLst/>
                  <a:gdLst>
                    <a:gd name="connsiteX0" fmla="*/ 49659 w 49659"/>
                    <a:gd name="connsiteY0" fmla="*/ 8744 h 17485"/>
                    <a:gd name="connsiteX1" fmla="*/ 24830 w 49659"/>
                    <a:gd name="connsiteY1" fmla="*/ 17485 h 17485"/>
                    <a:gd name="connsiteX2" fmla="*/ 0 w 49659"/>
                    <a:gd name="connsiteY2" fmla="*/ 8744 h 17485"/>
                    <a:gd name="connsiteX3" fmla="*/ 24830 w 49659"/>
                    <a:gd name="connsiteY3" fmla="*/ 3 h 17485"/>
                    <a:gd name="connsiteX4" fmla="*/ 49659 w 49659"/>
                    <a:gd name="connsiteY4" fmla="*/ 8744 h 17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9" h="17485">
                      <a:moveTo>
                        <a:pt x="49659" y="8744"/>
                      </a:moveTo>
                      <a:cubicBezTo>
                        <a:pt x="49659" y="13558"/>
                        <a:pt x="38512" y="17485"/>
                        <a:pt x="24830" y="17485"/>
                      </a:cubicBezTo>
                      <a:cubicBezTo>
                        <a:pt x="11148" y="17485"/>
                        <a:pt x="0" y="13558"/>
                        <a:pt x="0" y="8744"/>
                      </a:cubicBezTo>
                      <a:cubicBezTo>
                        <a:pt x="0" y="3930"/>
                        <a:pt x="11148" y="3"/>
                        <a:pt x="24830" y="3"/>
                      </a:cubicBezTo>
                      <a:cubicBezTo>
                        <a:pt x="38512" y="-124"/>
                        <a:pt x="49659" y="3803"/>
                        <a:pt x="49659" y="874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5" name="Полилиния: фигура 544">
                  <a:extLst>
                    <a:ext uri="{FF2B5EF4-FFF2-40B4-BE49-F238E27FC236}">
                      <a16:creationId xmlns:a16="http://schemas.microsoft.com/office/drawing/2014/main" id="{3292436F-C7DB-41D3-89F8-622C2F906674}"/>
                    </a:ext>
                  </a:extLst>
                </p:cNvPr>
                <p:cNvSpPr/>
                <p:nvPr/>
              </p:nvSpPr>
              <p:spPr>
                <a:xfrm>
                  <a:off x="7418103" y="2227507"/>
                  <a:ext cx="10388" cy="8614"/>
                </a:xfrm>
                <a:custGeom>
                  <a:avLst/>
                  <a:gdLst>
                    <a:gd name="connsiteX0" fmla="*/ 10388 w 10388"/>
                    <a:gd name="connsiteY0" fmla="*/ 4307 h 8614"/>
                    <a:gd name="connsiteX1" fmla="*/ 5194 w 10388"/>
                    <a:gd name="connsiteY1" fmla="*/ 8614 h 8614"/>
                    <a:gd name="connsiteX2" fmla="*/ 0 w 10388"/>
                    <a:gd name="connsiteY2" fmla="*/ 4307 h 8614"/>
                    <a:gd name="connsiteX3" fmla="*/ 5194 w 10388"/>
                    <a:gd name="connsiteY3" fmla="*/ 0 h 8614"/>
                    <a:gd name="connsiteX4" fmla="*/ 10388 w 10388"/>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614">
                      <a:moveTo>
                        <a:pt x="10388" y="4307"/>
                      </a:moveTo>
                      <a:cubicBezTo>
                        <a:pt x="10388" y="6714"/>
                        <a:pt x="8108" y="8614"/>
                        <a:pt x="5194" y="8614"/>
                      </a:cubicBezTo>
                      <a:cubicBezTo>
                        <a:pt x="2280" y="8614"/>
                        <a:pt x="0" y="6714"/>
                        <a:pt x="0" y="4307"/>
                      </a:cubicBezTo>
                      <a:cubicBezTo>
                        <a:pt x="0" y="1900"/>
                        <a:pt x="2280" y="0"/>
                        <a:pt x="5194" y="0"/>
                      </a:cubicBezTo>
                      <a:cubicBezTo>
                        <a:pt x="8108" y="0"/>
                        <a:pt x="10388" y="1900"/>
                        <a:pt x="10388" y="430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6" name="Полилиния: фигура 545">
                  <a:extLst>
                    <a:ext uri="{FF2B5EF4-FFF2-40B4-BE49-F238E27FC236}">
                      <a16:creationId xmlns:a16="http://schemas.microsoft.com/office/drawing/2014/main" id="{38534FD3-4230-4EC0-BEAF-911EB851FDB2}"/>
                    </a:ext>
                  </a:extLst>
                </p:cNvPr>
                <p:cNvSpPr/>
                <p:nvPr/>
              </p:nvSpPr>
              <p:spPr>
                <a:xfrm>
                  <a:off x="7393780" y="2232701"/>
                  <a:ext cx="10134" cy="13428"/>
                </a:xfrm>
                <a:custGeom>
                  <a:avLst/>
                  <a:gdLst>
                    <a:gd name="connsiteX0" fmla="*/ 10134 w 10134"/>
                    <a:gd name="connsiteY0" fmla="*/ 6714 h 13428"/>
                    <a:gd name="connsiteX1" fmla="*/ 5068 w 10134"/>
                    <a:gd name="connsiteY1" fmla="*/ 13428 h 13428"/>
                    <a:gd name="connsiteX2" fmla="*/ 0 w 10134"/>
                    <a:gd name="connsiteY2" fmla="*/ 6714 h 13428"/>
                    <a:gd name="connsiteX3" fmla="*/ 5068 w 10134"/>
                    <a:gd name="connsiteY3" fmla="*/ 0 h 13428"/>
                    <a:gd name="connsiteX4" fmla="*/ 10134 w 10134"/>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428">
                      <a:moveTo>
                        <a:pt x="10134" y="6714"/>
                      </a:moveTo>
                      <a:cubicBezTo>
                        <a:pt x="10134" y="10388"/>
                        <a:pt x="7854" y="13428"/>
                        <a:pt x="5068" y="13428"/>
                      </a:cubicBezTo>
                      <a:cubicBezTo>
                        <a:pt x="2280" y="13428"/>
                        <a:pt x="0" y="10388"/>
                        <a:pt x="0" y="6714"/>
                      </a:cubicBezTo>
                      <a:cubicBezTo>
                        <a:pt x="0" y="3040"/>
                        <a:pt x="2280" y="0"/>
                        <a:pt x="5068" y="0"/>
                      </a:cubicBezTo>
                      <a:cubicBezTo>
                        <a:pt x="7854" y="0"/>
                        <a:pt x="10134" y="3040"/>
                        <a:pt x="10134" y="67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7" name="Полилиния: фигура 546">
                  <a:extLst>
                    <a:ext uri="{FF2B5EF4-FFF2-40B4-BE49-F238E27FC236}">
                      <a16:creationId xmlns:a16="http://schemas.microsoft.com/office/drawing/2014/main" id="{D5300EBE-2C65-4044-8636-18B424CECCA3}"/>
                    </a:ext>
                  </a:extLst>
                </p:cNvPr>
                <p:cNvSpPr/>
                <p:nvPr/>
              </p:nvSpPr>
              <p:spPr>
                <a:xfrm>
                  <a:off x="7380225" y="2263231"/>
                  <a:ext cx="25463" cy="15708"/>
                </a:xfrm>
                <a:custGeom>
                  <a:avLst/>
                  <a:gdLst>
                    <a:gd name="connsiteX0" fmla="*/ 25463 w 25463"/>
                    <a:gd name="connsiteY0" fmla="*/ 7854 h 15708"/>
                    <a:gd name="connsiteX1" fmla="*/ 12795 w 25463"/>
                    <a:gd name="connsiteY1" fmla="*/ 15709 h 15708"/>
                    <a:gd name="connsiteX2" fmla="*/ 0 w 25463"/>
                    <a:gd name="connsiteY2" fmla="*/ 7854 h 15708"/>
                    <a:gd name="connsiteX3" fmla="*/ 12795 w 25463"/>
                    <a:gd name="connsiteY3" fmla="*/ 0 h 15708"/>
                    <a:gd name="connsiteX4" fmla="*/ 25463 w 25463"/>
                    <a:gd name="connsiteY4" fmla="*/ 7854 h 157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63" h="15708">
                      <a:moveTo>
                        <a:pt x="25463" y="7854"/>
                      </a:moveTo>
                      <a:cubicBezTo>
                        <a:pt x="25463" y="12162"/>
                        <a:pt x="19762" y="15709"/>
                        <a:pt x="12795" y="15709"/>
                      </a:cubicBezTo>
                      <a:cubicBezTo>
                        <a:pt x="5701" y="15709"/>
                        <a:pt x="0" y="12162"/>
                        <a:pt x="0" y="7854"/>
                      </a:cubicBezTo>
                      <a:cubicBezTo>
                        <a:pt x="0" y="3547"/>
                        <a:pt x="5701" y="0"/>
                        <a:pt x="12795" y="0"/>
                      </a:cubicBezTo>
                      <a:cubicBezTo>
                        <a:pt x="19762" y="0"/>
                        <a:pt x="25463" y="3547"/>
                        <a:pt x="25463" y="785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8" name="Полилиния: фигура 547">
                  <a:extLst>
                    <a:ext uri="{FF2B5EF4-FFF2-40B4-BE49-F238E27FC236}">
                      <a16:creationId xmlns:a16="http://schemas.microsoft.com/office/drawing/2014/main" id="{38FE762F-6B91-49D4-8ECD-532533952C27}"/>
                    </a:ext>
                  </a:extLst>
                </p:cNvPr>
                <p:cNvSpPr/>
                <p:nvPr/>
              </p:nvSpPr>
              <p:spPr>
                <a:xfrm>
                  <a:off x="7283187" y="2340888"/>
                  <a:ext cx="9627" cy="10641"/>
                </a:xfrm>
                <a:custGeom>
                  <a:avLst/>
                  <a:gdLst>
                    <a:gd name="connsiteX0" fmla="*/ 9627 w 9627"/>
                    <a:gd name="connsiteY0" fmla="*/ 5321 h 10641"/>
                    <a:gd name="connsiteX1" fmla="*/ 4814 w 9627"/>
                    <a:gd name="connsiteY1" fmla="*/ 10641 h 10641"/>
                    <a:gd name="connsiteX2" fmla="*/ 0 w 9627"/>
                    <a:gd name="connsiteY2" fmla="*/ 5321 h 10641"/>
                    <a:gd name="connsiteX3" fmla="*/ 4814 w 9627"/>
                    <a:gd name="connsiteY3" fmla="*/ 0 h 10641"/>
                    <a:gd name="connsiteX4" fmla="*/ 9627 w 9627"/>
                    <a:gd name="connsiteY4" fmla="*/ 5321 h 106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0641">
                      <a:moveTo>
                        <a:pt x="9627" y="5321"/>
                      </a:moveTo>
                      <a:cubicBezTo>
                        <a:pt x="9627" y="8234"/>
                        <a:pt x="7474" y="10641"/>
                        <a:pt x="4814" y="10641"/>
                      </a:cubicBezTo>
                      <a:cubicBezTo>
                        <a:pt x="2153" y="10641"/>
                        <a:pt x="0" y="8361"/>
                        <a:pt x="0" y="5321"/>
                      </a:cubicBezTo>
                      <a:cubicBezTo>
                        <a:pt x="0" y="2407"/>
                        <a:pt x="2153" y="0"/>
                        <a:pt x="4814" y="0"/>
                      </a:cubicBezTo>
                      <a:cubicBezTo>
                        <a:pt x="7347" y="0"/>
                        <a:pt x="9627" y="2407"/>
                        <a:pt x="9627" y="53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49" name="Полилиния: фигура 548">
                  <a:extLst>
                    <a:ext uri="{FF2B5EF4-FFF2-40B4-BE49-F238E27FC236}">
                      <a16:creationId xmlns:a16="http://schemas.microsoft.com/office/drawing/2014/main" id="{CABE849A-FDAD-4E06-80DB-8A4B0C6DDD6A}"/>
                    </a:ext>
                  </a:extLst>
                </p:cNvPr>
                <p:cNvSpPr/>
                <p:nvPr/>
              </p:nvSpPr>
              <p:spPr>
                <a:xfrm>
                  <a:off x="7256203" y="2348736"/>
                  <a:ext cx="11148" cy="9379"/>
                </a:xfrm>
                <a:custGeom>
                  <a:avLst/>
                  <a:gdLst>
                    <a:gd name="connsiteX0" fmla="*/ 11148 w 11148"/>
                    <a:gd name="connsiteY0" fmla="*/ 4693 h 9379"/>
                    <a:gd name="connsiteX1" fmla="*/ 5574 w 11148"/>
                    <a:gd name="connsiteY1" fmla="*/ 9380 h 9379"/>
                    <a:gd name="connsiteX2" fmla="*/ 0 w 11148"/>
                    <a:gd name="connsiteY2" fmla="*/ 4693 h 9379"/>
                    <a:gd name="connsiteX3" fmla="*/ 5574 w 11148"/>
                    <a:gd name="connsiteY3" fmla="*/ 5 h 9379"/>
                    <a:gd name="connsiteX4" fmla="*/ 11148 w 11148"/>
                    <a:gd name="connsiteY4" fmla="*/ 4693 h 9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379">
                      <a:moveTo>
                        <a:pt x="11148" y="4693"/>
                      </a:moveTo>
                      <a:cubicBezTo>
                        <a:pt x="11148" y="7226"/>
                        <a:pt x="8614" y="9380"/>
                        <a:pt x="5574" y="9380"/>
                      </a:cubicBezTo>
                      <a:cubicBezTo>
                        <a:pt x="2533" y="9380"/>
                        <a:pt x="0" y="7226"/>
                        <a:pt x="0" y="4693"/>
                      </a:cubicBezTo>
                      <a:cubicBezTo>
                        <a:pt x="0" y="2159"/>
                        <a:pt x="2533" y="5"/>
                        <a:pt x="5574" y="5"/>
                      </a:cubicBezTo>
                      <a:cubicBezTo>
                        <a:pt x="8741" y="-121"/>
                        <a:pt x="11148" y="2032"/>
                        <a:pt x="11148" y="469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0" name="Полилиния: фигура 549">
                  <a:extLst>
                    <a:ext uri="{FF2B5EF4-FFF2-40B4-BE49-F238E27FC236}">
                      <a16:creationId xmlns:a16="http://schemas.microsoft.com/office/drawing/2014/main" id="{D0B08787-9C0D-4762-BC2E-9CCEB1A4BF7A}"/>
                    </a:ext>
                  </a:extLst>
                </p:cNvPr>
                <p:cNvSpPr/>
                <p:nvPr/>
              </p:nvSpPr>
              <p:spPr>
                <a:xfrm>
                  <a:off x="7235427" y="2356216"/>
                  <a:ext cx="11908" cy="11654"/>
                </a:xfrm>
                <a:custGeom>
                  <a:avLst/>
                  <a:gdLst>
                    <a:gd name="connsiteX0" fmla="*/ 11908 w 11908"/>
                    <a:gd name="connsiteY0" fmla="*/ 5827 h 11654"/>
                    <a:gd name="connsiteX1" fmla="*/ 5954 w 11908"/>
                    <a:gd name="connsiteY1" fmla="*/ 11655 h 11654"/>
                    <a:gd name="connsiteX2" fmla="*/ 0 w 11908"/>
                    <a:gd name="connsiteY2" fmla="*/ 5827 h 11654"/>
                    <a:gd name="connsiteX3" fmla="*/ 5954 w 11908"/>
                    <a:gd name="connsiteY3" fmla="*/ 0 h 11654"/>
                    <a:gd name="connsiteX4" fmla="*/ 11908 w 11908"/>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11654">
                      <a:moveTo>
                        <a:pt x="11908" y="5827"/>
                      </a:moveTo>
                      <a:cubicBezTo>
                        <a:pt x="11908" y="8994"/>
                        <a:pt x="9248" y="11655"/>
                        <a:pt x="5954" y="11655"/>
                      </a:cubicBezTo>
                      <a:cubicBezTo>
                        <a:pt x="2661" y="11655"/>
                        <a:pt x="0" y="9121"/>
                        <a:pt x="0" y="5827"/>
                      </a:cubicBezTo>
                      <a:cubicBezTo>
                        <a:pt x="0" y="2660"/>
                        <a:pt x="2661" y="0"/>
                        <a:pt x="5954" y="0"/>
                      </a:cubicBezTo>
                      <a:cubicBezTo>
                        <a:pt x="9374" y="0"/>
                        <a:pt x="11908" y="2660"/>
                        <a:pt x="11908" y="582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1" name="Полилиния: фигура 550">
                  <a:extLst>
                    <a:ext uri="{FF2B5EF4-FFF2-40B4-BE49-F238E27FC236}">
                      <a16:creationId xmlns:a16="http://schemas.microsoft.com/office/drawing/2014/main" id="{0D2878F3-88A2-4EB1-92AF-744CF0832F7F}"/>
                    </a:ext>
                  </a:extLst>
                </p:cNvPr>
                <p:cNvSpPr/>
                <p:nvPr/>
              </p:nvSpPr>
              <p:spPr>
                <a:xfrm>
                  <a:off x="7172846" y="2388900"/>
                  <a:ext cx="9880" cy="9881"/>
                </a:xfrm>
                <a:custGeom>
                  <a:avLst/>
                  <a:gdLst>
                    <a:gd name="connsiteX0" fmla="*/ 9881 w 9880"/>
                    <a:gd name="connsiteY0" fmla="*/ 4941 h 9881"/>
                    <a:gd name="connsiteX1" fmla="*/ 4941 w 9880"/>
                    <a:gd name="connsiteY1" fmla="*/ 9881 h 9881"/>
                    <a:gd name="connsiteX2" fmla="*/ 0 w 9880"/>
                    <a:gd name="connsiteY2" fmla="*/ 4941 h 9881"/>
                    <a:gd name="connsiteX3" fmla="*/ 4941 w 9880"/>
                    <a:gd name="connsiteY3" fmla="*/ 0 h 9881"/>
                    <a:gd name="connsiteX4" fmla="*/ 9881 w 9880"/>
                    <a:gd name="connsiteY4" fmla="*/ 4941 h 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0" h="9881">
                      <a:moveTo>
                        <a:pt x="9881" y="4941"/>
                      </a:moveTo>
                      <a:cubicBezTo>
                        <a:pt x="9881" y="7601"/>
                        <a:pt x="7727" y="9881"/>
                        <a:pt x="4941" y="9881"/>
                      </a:cubicBezTo>
                      <a:cubicBezTo>
                        <a:pt x="2153" y="9881"/>
                        <a:pt x="0" y="7601"/>
                        <a:pt x="0" y="4941"/>
                      </a:cubicBezTo>
                      <a:cubicBezTo>
                        <a:pt x="0" y="2154"/>
                        <a:pt x="2153" y="0"/>
                        <a:pt x="4941" y="0"/>
                      </a:cubicBezTo>
                      <a:cubicBezTo>
                        <a:pt x="7727" y="0"/>
                        <a:pt x="9881" y="2154"/>
                        <a:pt x="9881" y="49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2" name="Полилиния: фигура 551">
                  <a:extLst>
                    <a:ext uri="{FF2B5EF4-FFF2-40B4-BE49-F238E27FC236}">
                      <a16:creationId xmlns:a16="http://schemas.microsoft.com/office/drawing/2014/main" id="{C998071D-A4D9-4326-B3AA-130750E104F7}"/>
                    </a:ext>
                  </a:extLst>
                </p:cNvPr>
                <p:cNvSpPr/>
                <p:nvPr/>
              </p:nvSpPr>
              <p:spPr>
                <a:xfrm>
                  <a:off x="7160178" y="2404102"/>
                  <a:ext cx="14441" cy="14441"/>
                </a:xfrm>
                <a:custGeom>
                  <a:avLst/>
                  <a:gdLst>
                    <a:gd name="connsiteX0" fmla="*/ 14442 w 14441"/>
                    <a:gd name="connsiteY0" fmla="*/ 7221 h 14441"/>
                    <a:gd name="connsiteX1" fmla="*/ 7221 w 14441"/>
                    <a:gd name="connsiteY1" fmla="*/ 14442 h 14441"/>
                    <a:gd name="connsiteX2" fmla="*/ 0 w 14441"/>
                    <a:gd name="connsiteY2" fmla="*/ 7221 h 14441"/>
                    <a:gd name="connsiteX3" fmla="*/ 7221 w 14441"/>
                    <a:gd name="connsiteY3" fmla="*/ 0 h 14441"/>
                    <a:gd name="connsiteX4" fmla="*/ 14442 w 14441"/>
                    <a:gd name="connsiteY4" fmla="*/ 7221 h 14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1" h="14441">
                      <a:moveTo>
                        <a:pt x="14442" y="7221"/>
                      </a:moveTo>
                      <a:cubicBezTo>
                        <a:pt x="14442" y="11148"/>
                        <a:pt x="11148" y="14442"/>
                        <a:pt x="7221" y="14442"/>
                      </a:cubicBezTo>
                      <a:cubicBezTo>
                        <a:pt x="3294" y="14442"/>
                        <a:pt x="0" y="11275"/>
                        <a:pt x="0" y="7221"/>
                      </a:cubicBezTo>
                      <a:cubicBezTo>
                        <a:pt x="0" y="3294"/>
                        <a:pt x="3167" y="0"/>
                        <a:pt x="7221" y="0"/>
                      </a:cubicBezTo>
                      <a:cubicBezTo>
                        <a:pt x="11148" y="127"/>
                        <a:pt x="14442" y="3294"/>
                        <a:pt x="14442" y="72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3" name="Полилиния: фигура 552">
                  <a:extLst>
                    <a:ext uri="{FF2B5EF4-FFF2-40B4-BE49-F238E27FC236}">
                      <a16:creationId xmlns:a16="http://schemas.microsoft.com/office/drawing/2014/main" id="{3738CBA5-F9A4-4259-A035-B42892DBCA3D}"/>
                    </a:ext>
                  </a:extLst>
                </p:cNvPr>
                <p:cNvSpPr/>
                <p:nvPr/>
              </p:nvSpPr>
              <p:spPr>
                <a:xfrm>
                  <a:off x="7151183" y="2386620"/>
                  <a:ext cx="7601" cy="7601"/>
                </a:xfrm>
                <a:custGeom>
                  <a:avLst/>
                  <a:gdLst>
                    <a:gd name="connsiteX0" fmla="*/ 7601 w 7601"/>
                    <a:gd name="connsiteY0" fmla="*/ 3801 h 7601"/>
                    <a:gd name="connsiteX1" fmla="*/ 3801 w 7601"/>
                    <a:gd name="connsiteY1" fmla="*/ 7601 h 7601"/>
                    <a:gd name="connsiteX2" fmla="*/ 0 w 7601"/>
                    <a:gd name="connsiteY2" fmla="*/ 3801 h 7601"/>
                    <a:gd name="connsiteX3" fmla="*/ 3801 w 7601"/>
                    <a:gd name="connsiteY3" fmla="*/ 0 h 7601"/>
                    <a:gd name="connsiteX4" fmla="*/ 7601 w 7601"/>
                    <a:gd name="connsiteY4" fmla="*/ 3801 h 7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1" h="7601">
                      <a:moveTo>
                        <a:pt x="7601" y="3801"/>
                      </a:moveTo>
                      <a:cubicBezTo>
                        <a:pt x="7601" y="5954"/>
                        <a:pt x="5828" y="7601"/>
                        <a:pt x="3801" y="7601"/>
                      </a:cubicBezTo>
                      <a:cubicBezTo>
                        <a:pt x="1774" y="7601"/>
                        <a:pt x="0" y="5827"/>
                        <a:pt x="0" y="3801"/>
                      </a:cubicBezTo>
                      <a:cubicBezTo>
                        <a:pt x="0" y="1647"/>
                        <a:pt x="1774" y="0"/>
                        <a:pt x="3801" y="0"/>
                      </a:cubicBezTo>
                      <a:cubicBezTo>
                        <a:pt x="5828"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4" name="Полилиния: фигура 553">
                  <a:extLst>
                    <a:ext uri="{FF2B5EF4-FFF2-40B4-BE49-F238E27FC236}">
                      <a16:creationId xmlns:a16="http://schemas.microsoft.com/office/drawing/2014/main" id="{D8736D49-7B70-4E90-ADC7-D0089C321519}"/>
                    </a:ext>
                  </a:extLst>
                </p:cNvPr>
                <p:cNvSpPr/>
                <p:nvPr/>
              </p:nvSpPr>
              <p:spPr>
                <a:xfrm>
                  <a:off x="7134208" y="2401442"/>
                  <a:ext cx="9627" cy="9627"/>
                </a:xfrm>
                <a:custGeom>
                  <a:avLst/>
                  <a:gdLst>
                    <a:gd name="connsiteX0" fmla="*/ 9628 w 9627"/>
                    <a:gd name="connsiteY0" fmla="*/ 4814 h 9627"/>
                    <a:gd name="connsiteX1" fmla="*/ 4814 w 9627"/>
                    <a:gd name="connsiteY1" fmla="*/ 9628 h 9627"/>
                    <a:gd name="connsiteX2" fmla="*/ 0 w 9627"/>
                    <a:gd name="connsiteY2" fmla="*/ 4814 h 9627"/>
                    <a:gd name="connsiteX3" fmla="*/ 4814 w 9627"/>
                    <a:gd name="connsiteY3" fmla="*/ 0 h 9627"/>
                    <a:gd name="connsiteX4" fmla="*/ 9628 w 9627"/>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9627">
                      <a:moveTo>
                        <a:pt x="9628" y="4814"/>
                      </a:moveTo>
                      <a:cubicBezTo>
                        <a:pt x="9628" y="7474"/>
                        <a:pt x="7474" y="9628"/>
                        <a:pt x="4814" y="9628"/>
                      </a:cubicBezTo>
                      <a:cubicBezTo>
                        <a:pt x="2153" y="9628"/>
                        <a:pt x="0" y="7474"/>
                        <a:pt x="0" y="4814"/>
                      </a:cubicBezTo>
                      <a:cubicBezTo>
                        <a:pt x="0" y="2154"/>
                        <a:pt x="2153" y="0"/>
                        <a:pt x="4814" y="0"/>
                      </a:cubicBezTo>
                      <a:cubicBezTo>
                        <a:pt x="7474" y="0"/>
                        <a:pt x="9628" y="2154"/>
                        <a:pt x="9628" y="48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5" name="Полилиния: фигура 554">
                  <a:extLst>
                    <a:ext uri="{FF2B5EF4-FFF2-40B4-BE49-F238E27FC236}">
                      <a16:creationId xmlns:a16="http://schemas.microsoft.com/office/drawing/2014/main" id="{8593AD22-8380-458E-B447-8BE65F557AA5}"/>
                    </a:ext>
                  </a:extLst>
                </p:cNvPr>
                <p:cNvSpPr/>
                <p:nvPr/>
              </p:nvSpPr>
              <p:spPr>
                <a:xfrm>
                  <a:off x="7119893" y="2383706"/>
                  <a:ext cx="8107" cy="8107"/>
                </a:xfrm>
                <a:custGeom>
                  <a:avLst/>
                  <a:gdLst>
                    <a:gd name="connsiteX0" fmla="*/ 8108 w 8107"/>
                    <a:gd name="connsiteY0" fmla="*/ 4054 h 8107"/>
                    <a:gd name="connsiteX1" fmla="*/ 4054 w 8107"/>
                    <a:gd name="connsiteY1" fmla="*/ 8108 h 8107"/>
                    <a:gd name="connsiteX2" fmla="*/ 0 w 8107"/>
                    <a:gd name="connsiteY2" fmla="*/ 4054 h 8107"/>
                    <a:gd name="connsiteX3" fmla="*/ 4054 w 8107"/>
                    <a:gd name="connsiteY3" fmla="*/ 0 h 8107"/>
                    <a:gd name="connsiteX4" fmla="*/ 8108 w 8107"/>
                    <a:gd name="connsiteY4" fmla="*/ 4054 h 8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7" h="8107">
                      <a:moveTo>
                        <a:pt x="8108" y="4054"/>
                      </a:moveTo>
                      <a:cubicBezTo>
                        <a:pt x="8108" y="6334"/>
                        <a:pt x="6334" y="8108"/>
                        <a:pt x="4054" y="8108"/>
                      </a:cubicBezTo>
                      <a:cubicBezTo>
                        <a:pt x="1774" y="8108"/>
                        <a:pt x="0" y="6334"/>
                        <a:pt x="0" y="4054"/>
                      </a:cubicBezTo>
                      <a:cubicBezTo>
                        <a:pt x="0" y="1774"/>
                        <a:pt x="1774" y="0"/>
                        <a:pt x="4054" y="0"/>
                      </a:cubicBezTo>
                      <a:cubicBezTo>
                        <a:pt x="6334" y="0"/>
                        <a:pt x="8108" y="1774"/>
                        <a:pt x="8108" y="405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6" name="Полилиния: фигура 555">
                  <a:extLst>
                    <a:ext uri="{FF2B5EF4-FFF2-40B4-BE49-F238E27FC236}">
                      <a16:creationId xmlns:a16="http://schemas.microsoft.com/office/drawing/2014/main" id="{1D88296E-8849-46C5-93A9-ABA7A4DA908F}"/>
                    </a:ext>
                  </a:extLst>
                </p:cNvPr>
                <p:cNvSpPr/>
                <p:nvPr/>
              </p:nvSpPr>
              <p:spPr>
                <a:xfrm>
                  <a:off x="7107098" y="2370025"/>
                  <a:ext cx="8867" cy="18748"/>
                </a:xfrm>
                <a:custGeom>
                  <a:avLst/>
                  <a:gdLst>
                    <a:gd name="connsiteX0" fmla="*/ 8868 w 8867"/>
                    <a:gd name="connsiteY0" fmla="*/ 9375 h 18748"/>
                    <a:gd name="connsiteX1" fmla="*/ 4434 w 8867"/>
                    <a:gd name="connsiteY1" fmla="*/ 18749 h 18748"/>
                    <a:gd name="connsiteX2" fmla="*/ 0 w 8867"/>
                    <a:gd name="connsiteY2" fmla="*/ 9375 h 18748"/>
                    <a:gd name="connsiteX3" fmla="*/ 4434 w 8867"/>
                    <a:gd name="connsiteY3" fmla="*/ 0 h 18748"/>
                    <a:gd name="connsiteX4" fmla="*/ 8868 w 8867"/>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8748">
                      <a:moveTo>
                        <a:pt x="8868" y="9375"/>
                      </a:moveTo>
                      <a:cubicBezTo>
                        <a:pt x="8868" y="14568"/>
                        <a:pt x="6841" y="18749"/>
                        <a:pt x="4434" y="18749"/>
                      </a:cubicBezTo>
                      <a:cubicBezTo>
                        <a:pt x="2027" y="18749"/>
                        <a:pt x="0" y="14568"/>
                        <a:pt x="0" y="9375"/>
                      </a:cubicBezTo>
                      <a:cubicBezTo>
                        <a:pt x="0" y="4181"/>
                        <a:pt x="2027" y="0"/>
                        <a:pt x="4434" y="0"/>
                      </a:cubicBezTo>
                      <a:cubicBezTo>
                        <a:pt x="6841" y="0"/>
                        <a:pt x="8868" y="4181"/>
                        <a:pt x="8868" y="937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7" name="Полилиния: фигура 556">
                  <a:extLst>
                    <a:ext uri="{FF2B5EF4-FFF2-40B4-BE49-F238E27FC236}">
                      <a16:creationId xmlns:a16="http://schemas.microsoft.com/office/drawing/2014/main" id="{E41061D7-1531-4A83-BF57-CFD7732A5C5C}"/>
                    </a:ext>
                  </a:extLst>
                </p:cNvPr>
                <p:cNvSpPr/>
                <p:nvPr/>
              </p:nvSpPr>
              <p:spPr>
                <a:xfrm>
                  <a:off x="7081761" y="2391814"/>
                  <a:ext cx="7600" cy="7600"/>
                </a:xfrm>
                <a:custGeom>
                  <a:avLst/>
                  <a:gdLst>
                    <a:gd name="connsiteX0" fmla="*/ 7601 w 7600"/>
                    <a:gd name="connsiteY0" fmla="*/ 3801 h 7600"/>
                    <a:gd name="connsiteX1" fmla="*/ 3800 w 7600"/>
                    <a:gd name="connsiteY1" fmla="*/ 7601 h 7600"/>
                    <a:gd name="connsiteX2" fmla="*/ 0 w 7600"/>
                    <a:gd name="connsiteY2" fmla="*/ 3801 h 7600"/>
                    <a:gd name="connsiteX3" fmla="*/ 3800 w 7600"/>
                    <a:gd name="connsiteY3" fmla="*/ 0 h 7600"/>
                    <a:gd name="connsiteX4" fmla="*/ 7601 w 7600"/>
                    <a:gd name="connsiteY4" fmla="*/ 3801 h 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00" h="7600">
                      <a:moveTo>
                        <a:pt x="7601" y="3801"/>
                      </a:moveTo>
                      <a:cubicBezTo>
                        <a:pt x="7601" y="5954"/>
                        <a:pt x="5954" y="7601"/>
                        <a:pt x="3800" y="7601"/>
                      </a:cubicBezTo>
                      <a:cubicBezTo>
                        <a:pt x="1647" y="7601"/>
                        <a:pt x="0" y="5827"/>
                        <a:pt x="0" y="3801"/>
                      </a:cubicBezTo>
                      <a:cubicBezTo>
                        <a:pt x="0" y="1647"/>
                        <a:pt x="1647" y="0"/>
                        <a:pt x="3800" y="0"/>
                      </a:cubicBezTo>
                      <a:cubicBezTo>
                        <a:pt x="5954" y="0"/>
                        <a:pt x="7601" y="1774"/>
                        <a:pt x="7601" y="38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8" name="Полилиния: фигура 557">
                  <a:extLst>
                    <a:ext uri="{FF2B5EF4-FFF2-40B4-BE49-F238E27FC236}">
                      <a16:creationId xmlns:a16="http://schemas.microsoft.com/office/drawing/2014/main" id="{E6A13818-267D-4775-9E6C-5F016A031AA6}"/>
                    </a:ext>
                  </a:extLst>
                </p:cNvPr>
                <p:cNvSpPr/>
                <p:nvPr/>
              </p:nvSpPr>
              <p:spPr>
                <a:xfrm>
                  <a:off x="7001318" y="2435139"/>
                  <a:ext cx="16088" cy="14568"/>
                </a:xfrm>
                <a:custGeom>
                  <a:avLst/>
                  <a:gdLst>
                    <a:gd name="connsiteX0" fmla="*/ 16088 w 16088"/>
                    <a:gd name="connsiteY0" fmla="*/ 7221 h 14568"/>
                    <a:gd name="connsiteX1" fmla="*/ 7981 w 16088"/>
                    <a:gd name="connsiteY1" fmla="*/ 14568 h 14568"/>
                    <a:gd name="connsiteX2" fmla="*/ 0 w 16088"/>
                    <a:gd name="connsiteY2" fmla="*/ 7221 h 14568"/>
                    <a:gd name="connsiteX3" fmla="*/ 7981 w 16088"/>
                    <a:gd name="connsiteY3" fmla="*/ 0 h 14568"/>
                    <a:gd name="connsiteX4" fmla="*/ 16088 w 16088"/>
                    <a:gd name="connsiteY4" fmla="*/ 7221 h 14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88" h="14568">
                      <a:moveTo>
                        <a:pt x="16088" y="7221"/>
                      </a:moveTo>
                      <a:cubicBezTo>
                        <a:pt x="16088" y="11275"/>
                        <a:pt x="12415" y="14568"/>
                        <a:pt x="7981" y="14568"/>
                      </a:cubicBezTo>
                      <a:cubicBezTo>
                        <a:pt x="3547" y="14568"/>
                        <a:pt x="0" y="11275"/>
                        <a:pt x="0" y="7221"/>
                      </a:cubicBezTo>
                      <a:cubicBezTo>
                        <a:pt x="0" y="3167"/>
                        <a:pt x="3674" y="0"/>
                        <a:pt x="7981" y="0"/>
                      </a:cubicBezTo>
                      <a:cubicBezTo>
                        <a:pt x="12541" y="0"/>
                        <a:pt x="16088" y="3294"/>
                        <a:pt x="16088" y="72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59" name="Полилиния: фигура 558">
                  <a:extLst>
                    <a:ext uri="{FF2B5EF4-FFF2-40B4-BE49-F238E27FC236}">
                      <a16:creationId xmlns:a16="http://schemas.microsoft.com/office/drawing/2014/main" id="{D3AC923D-C49B-43E2-A3E6-76D95AEFB038}"/>
                    </a:ext>
                  </a:extLst>
                </p:cNvPr>
                <p:cNvSpPr/>
                <p:nvPr/>
              </p:nvSpPr>
              <p:spPr>
                <a:xfrm>
                  <a:off x="7004485" y="2500127"/>
                  <a:ext cx="23309" cy="14948"/>
                </a:xfrm>
                <a:custGeom>
                  <a:avLst/>
                  <a:gdLst>
                    <a:gd name="connsiteX0" fmla="*/ 23309 w 23309"/>
                    <a:gd name="connsiteY0" fmla="*/ 7474 h 14948"/>
                    <a:gd name="connsiteX1" fmla="*/ 11655 w 23309"/>
                    <a:gd name="connsiteY1" fmla="*/ 14948 h 14948"/>
                    <a:gd name="connsiteX2" fmla="*/ 0 w 23309"/>
                    <a:gd name="connsiteY2" fmla="*/ 7474 h 14948"/>
                    <a:gd name="connsiteX3" fmla="*/ 11655 w 23309"/>
                    <a:gd name="connsiteY3" fmla="*/ 0 h 14948"/>
                    <a:gd name="connsiteX4" fmla="*/ 23309 w 23309"/>
                    <a:gd name="connsiteY4" fmla="*/ 7474 h 149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09" h="14948">
                      <a:moveTo>
                        <a:pt x="23309" y="7474"/>
                      </a:moveTo>
                      <a:cubicBezTo>
                        <a:pt x="23309" y="11528"/>
                        <a:pt x="18116" y="14948"/>
                        <a:pt x="11655" y="14948"/>
                      </a:cubicBezTo>
                      <a:cubicBezTo>
                        <a:pt x="5194" y="14948"/>
                        <a:pt x="0" y="11655"/>
                        <a:pt x="0" y="7474"/>
                      </a:cubicBezTo>
                      <a:cubicBezTo>
                        <a:pt x="0" y="3420"/>
                        <a:pt x="5194" y="0"/>
                        <a:pt x="11655" y="0"/>
                      </a:cubicBezTo>
                      <a:cubicBezTo>
                        <a:pt x="18116" y="127"/>
                        <a:pt x="23309" y="3420"/>
                        <a:pt x="23309" y="74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0" name="Полилиния: фигура 559">
                  <a:extLst>
                    <a:ext uri="{FF2B5EF4-FFF2-40B4-BE49-F238E27FC236}">
                      <a16:creationId xmlns:a16="http://schemas.microsoft.com/office/drawing/2014/main" id="{B894E463-B92C-47F0-B13A-8A564CCBCFFB}"/>
                    </a:ext>
                  </a:extLst>
                </p:cNvPr>
                <p:cNvSpPr/>
                <p:nvPr/>
              </p:nvSpPr>
              <p:spPr>
                <a:xfrm>
                  <a:off x="6975601" y="2701173"/>
                  <a:ext cx="8614" cy="8614"/>
                </a:xfrm>
                <a:custGeom>
                  <a:avLst/>
                  <a:gdLst>
                    <a:gd name="connsiteX0" fmla="*/ 8614 w 8614"/>
                    <a:gd name="connsiteY0" fmla="*/ 4307 h 8614"/>
                    <a:gd name="connsiteX1" fmla="*/ 4308 w 8614"/>
                    <a:gd name="connsiteY1" fmla="*/ 8614 h 8614"/>
                    <a:gd name="connsiteX2" fmla="*/ 0 w 8614"/>
                    <a:gd name="connsiteY2" fmla="*/ 4307 h 8614"/>
                    <a:gd name="connsiteX3" fmla="*/ 4308 w 8614"/>
                    <a:gd name="connsiteY3" fmla="*/ 0 h 8614"/>
                    <a:gd name="connsiteX4" fmla="*/ 8614 w 8614"/>
                    <a:gd name="connsiteY4" fmla="*/ 4307 h 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8614">
                      <a:moveTo>
                        <a:pt x="8614" y="4307"/>
                      </a:moveTo>
                      <a:cubicBezTo>
                        <a:pt x="8614" y="6714"/>
                        <a:pt x="6715" y="8614"/>
                        <a:pt x="4308" y="8614"/>
                      </a:cubicBezTo>
                      <a:cubicBezTo>
                        <a:pt x="1901" y="8614"/>
                        <a:pt x="0" y="6714"/>
                        <a:pt x="0" y="4307"/>
                      </a:cubicBezTo>
                      <a:cubicBezTo>
                        <a:pt x="0" y="1900"/>
                        <a:pt x="1901" y="0"/>
                        <a:pt x="4308" y="0"/>
                      </a:cubicBezTo>
                      <a:cubicBezTo>
                        <a:pt x="6715" y="0"/>
                        <a:pt x="8614" y="1900"/>
                        <a:pt x="8614" y="430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1" name="Полилиния: фигура 560">
                  <a:extLst>
                    <a:ext uri="{FF2B5EF4-FFF2-40B4-BE49-F238E27FC236}">
                      <a16:creationId xmlns:a16="http://schemas.microsoft.com/office/drawing/2014/main" id="{7D194C9A-ABBF-4BCA-9F76-97C482863B5C}"/>
                    </a:ext>
                  </a:extLst>
                </p:cNvPr>
                <p:cNvSpPr/>
                <p:nvPr/>
              </p:nvSpPr>
              <p:spPr>
                <a:xfrm>
                  <a:off x="6971547" y="2667475"/>
                  <a:ext cx="11908" cy="8361"/>
                </a:xfrm>
                <a:custGeom>
                  <a:avLst/>
                  <a:gdLst>
                    <a:gd name="connsiteX0" fmla="*/ 11908 w 11908"/>
                    <a:gd name="connsiteY0" fmla="*/ 4181 h 8361"/>
                    <a:gd name="connsiteX1" fmla="*/ 5954 w 11908"/>
                    <a:gd name="connsiteY1" fmla="*/ 8361 h 8361"/>
                    <a:gd name="connsiteX2" fmla="*/ 0 w 11908"/>
                    <a:gd name="connsiteY2" fmla="*/ 4181 h 8361"/>
                    <a:gd name="connsiteX3" fmla="*/ 5954 w 11908"/>
                    <a:gd name="connsiteY3" fmla="*/ 0 h 8361"/>
                    <a:gd name="connsiteX4" fmla="*/ 11908 w 11908"/>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8361">
                      <a:moveTo>
                        <a:pt x="11908" y="4181"/>
                      </a:moveTo>
                      <a:cubicBezTo>
                        <a:pt x="11908" y="6461"/>
                        <a:pt x="9248" y="8361"/>
                        <a:pt x="5954" y="8361"/>
                      </a:cubicBezTo>
                      <a:cubicBezTo>
                        <a:pt x="2661" y="8361"/>
                        <a:pt x="0" y="6461"/>
                        <a:pt x="0" y="4181"/>
                      </a:cubicBezTo>
                      <a:cubicBezTo>
                        <a:pt x="0" y="1774"/>
                        <a:pt x="2661" y="0"/>
                        <a:pt x="5954" y="0"/>
                      </a:cubicBezTo>
                      <a:cubicBezTo>
                        <a:pt x="9122" y="0"/>
                        <a:pt x="11908" y="1900"/>
                        <a:pt x="11908" y="41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2" name="Полилиния: фигура 561">
                  <a:extLst>
                    <a:ext uri="{FF2B5EF4-FFF2-40B4-BE49-F238E27FC236}">
                      <a16:creationId xmlns:a16="http://schemas.microsoft.com/office/drawing/2014/main" id="{CF73BA7D-3A3B-46D1-92AD-1C7A08ACDB12}"/>
                    </a:ext>
                  </a:extLst>
                </p:cNvPr>
                <p:cNvSpPr/>
                <p:nvPr/>
              </p:nvSpPr>
              <p:spPr>
                <a:xfrm>
                  <a:off x="6916694" y="2664308"/>
                  <a:ext cx="10134" cy="10134"/>
                </a:xfrm>
                <a:custGeom>
                  <a:avLst/>
                  <a:gdLst>
                    <a:gd name="connsiteX0" fmla="*/ 10134 w 10134"/>
                    <a:gd name="connsiteY0" fmla="*/ 5067 h 10134"/>
                    <a:gd name="connsiteX1" fmla="*/ 5067 w 10134"/>
                    <a:gd name="connsiteY1" fmla="*/ 10135 h 10134"/>
                    <a:gd name="connsiteX2" fmla="*/ 0 w 10134"/>
                    <a:gd name="connsiteY2" fmla="*/ 5067 h 10134"/>
                    <a:gd name="connsiteX3" fmla="*/ 5067 w 10134"/>
                    <a:gd name="connsiteY3" fmla="*/ 0 h 10134"/>
                    <a:gd name="connsiteX4" fmla="*/ 10134 w 10134"/>
                    <a:gd name="connsiteY4" fmla="*/ 5067 h 10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0134">
                      <a:moveTo>
                        <a:pt x="10134" y="5067"/>
                      </a:moveTo>
                      <a:cubicBezTo>
                        <a:pt x="10134" y="7854"/>
                        <a:pt x="7854" y="10135"/>
                        <a:pt x="5067" y="10135"/>
                      </a:cubicBezTo>
                      <a:cubicBezTo>
                        <a:pt x="2280" y="10135"/>
                        <a:pt x="0" y="7854"/>
                        <a:pt x="0" y="5067"/>
                      </a:cubicBezTo>
                      <a:cubicBezTo>
                        <a:pt x="0" y="2280"/>
                        <a:pt x="2280" y="0"/>
                        <a:pt x="5067" y="0"/>
                      </a:cubicBezTo>
                      <a:cubicBezTo>
                        <a:pt x="7854" y="0"/>
                        <a:pt x="10134" y="2280"/>
                        <a:pt x="10134" y="506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3" name="Полилиния: фигура 562">
                  <a:extLst>
                    <a:ext uri="{FF2B5EF4-FFF2-40B4-BE49-F238E27FC236}">
                      <a16:creationId xmlns:a16="http://schemas.microsoft.com/office/drawing/2014/main" id="{DAE47CF4-D044-4495-96B0-9515913EFC9D}"/>
                    </a:ext>
                  </a:extLst>
                </p:cNvPr>
                <p:cNvSpPr/>
                <p:nvPr/>
              </p:nvSpPr>
              <p:spPr>
                <a:xfrm>
                  <a:off x="6893004" y="2615282"/>
                  <a:ext cx="17482" cy="20522"/>
                </a:xfrm>
                <a:custGeom>
                  <a:avLst/>
                  <a:gdLst>
                    <a:gd name="connsiteX0" fmla="*/ 17482 w 17482"/>
                    <a:gd name="connsiteY0" fmla="*/ 10261 h 20522"/>
                    <a:gd name="connsiteX1" fmla="*/ 8741 w 17482"/>
                    <a:gd name="connsiteY1" fmla="*/ 20523 h 20522"/>
                    <a:gd name="connsiteX2" fmla="*/ 0 w 17482"/>
                    <a:gd name="connsiteY2" fmla="*/ 10261 h 20522"/>
                    <a:gd name="connsiteX3" fmla="*/ 8741 w 17482"/>
                    <a:gd name="connsiteY3" fmla="*/ 0 h 20522"/>
                    <a:gd name="connsiteX4" fmla="*/ 17482 w 17482"/>
                    <a:gd name="connsiteY4" fmla="*/ 10261 h 20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0522">
                      <a:moveTo>
                        <a:pt x="17482" y="10261"/>
                      </a:moveTo>
                      <a:cubicBezTo>
                        <a:pt x="17482" y="15962"/>
                        <a:pt x="13555" y="20523"/>
                        <a:pt x="8741" y="20523"/>
                      </a:cubicBezTo>
                      <a:cubicBezTo>
                        <a:pt x="3927" y="20523"/>
                        <a:pt x="0" y="15962"/>
                        <a:pt x="0" y="10261"/>
                      </a:cubicBezTo>
                      <a:cubicBezTo>
                        <a:pt x="0" y="4561"/>
                        <a:pt x="3927" y="0"/>
                        <a:pt x="8741" y="0"/>
                      </a:cubicBezTo>
                      <a:cubicBezTo>
                        <a:pt x="13555" y="0"/>
                        <a:pt x="17482" y="4561"/>
                        <a:pt x="17482" y="1026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4" name="Полилиния: фигура 563">
                  <a:extLst>
                    <a:ext uri="{FF2B5EF4-FFF2-40B4-BE49-F238E27FC236}">
                      <a16:creationId xmlns:a16="http://schemas.microsoft.com/office/drawing/2014/main" id="{367B44CA-38FC-4369-BABA-69A519027A0F}"/>
                    </a:ext>
                  </a:extLst>
                </p:cNvPr>
                <p:cNvSpPr/>
                <p:nvPr/>
              </p:nvSpPr>
              <p:spPr>
                <a:xfrm>
                  <a:off x="6919101" y="2564989"/>
                  <a:ext cx="13175" cy="13174"/>
                </a:xfrm>
                <a:custGeom>
                  <a:avLst/>
                  <a:gdLst>
                    <a:gd name="connsiteX0" fmla="*/ 13175 w 13175"/>
                    <a:gd name="connsiteY0" fmla="*/ 6588 h 13174"/>
                    <a:gd name="connsiteX1" fmla="*/ 6587 w 13175"/>
                    <a:gd name="connsiteY1" fmla="*/ 13175 h 13174"/>
                    <a:gd name="connsiteX2" fmla="*/ 0 w 13175"/>
                    <a:gd name="connsiteY2" fmla="*/ 6588 h 13174"/>
                    <a:gd name="connsiteX3" fmla="*/ 6587 w 13175"/>
                    <a:gd name="connsiteY3" fmla="*/ 0 h 13174"/>
                    <a:gd name="connsiteX4" fmla="*/ 13175 w 13175"/>
                    <a:gd name="connsiteY4" fmla="*/ 6588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3174">
                      <a:moveTo>
                        <a:pt x="13175" y="6588"/>
                      </a:moveTo>
                      <a:cubicBezTo>
                        <a:pt x="13175" y="10261"/>
                        <a:pt x="10261" y="13175"/>
                        <a:pt x="6587" y="13175"/>
                      </a:cubicBezTo>
                      <a:cubicBezTo>
                        <a:pt x="2914" y="13175"/>
                        <a:pt x="0" y="10261"/>
                        <a:pt x="0" y="6588"/>
                      </a:cubicBezTo>
                      <a:cubicBezTo>
                        <a:pt x="0" y="3040"/>
                        <a:pt x="2914" y="0"/>
                        <a:pt x="6587" y="0"/>
                      </a:cubicBezTo>
                      <a:cubicBezTo>
                        <a:pt x="10261" y="0"/>
                        <a:pt x="13175" y="3040"/>
                        <a:pt x="13175" y="658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5" name="Полилиния: фигура 564">
                  <a:extLst>
                    <a:ext uri="{FF2B5EF4-FFF2-40B4-BE49-F238E27FC236}">
                      <a16:creationId xmlns:a16="http://schemas.microsoft.com/office/drawing/2014/main" id="{DFAEDC16-BEA7-40A4-A60A-9C8C1548FB34}"/>
                    </a:ext>
                  </a:extLst>
                </p:cNvPr>
                <p:cNvSpPr/>
                <p:nvPr/>
              </p:nvSpPr>
              <p:spPr>
                <a:xfrm>
                  <a:off x="6910487" y="2520397"/>
                  <a:ext cx="14188" cy="14188"/>
                </a:xfrm>
                <a:custGeom>
                  <a:avLst/>
                  <a:gdLst>
                    <a:gd name="connsiteX0" fmla="*/ 14188 w 14188"/>
                    <a:gd name="connsiteY0" fmla="*/ 7094 h 14188"/>
                    <a:gd name="connsiteX1" fmla="*/ 7094 w 14188"/>
                    <a:gd name="connsiteY1" fmla="*/ 14189 h 14188"/>
                    <a:gd name="connsiteX2" fmla="*/ 0 w 14188"/>
                    <a:gd name="connsiteY2" fmla="*/ 7094 h 14188"/>
                    <a:gd name="connsiteX3" fmla="*/ 7094 w 14188"/>
                    <a:gd name="connsiteY3" fmla="*/ 0 h 14188"/>
                    <a:gd name="connsiteX4" fmla="*/ 14188 w 14188"/>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8" h="14188">
                      <a:moveTo>
                        <a:pt x="14188" y="7094"/>
                      </a:moveTo>
                      <a:cubicBezTo>
                        <a:pt x="14188" y="11022"/>
                        <a:pt x="11021" y="14189"/>
                        <a:pt x="7094" y="14189"/>
                      </a:cubicBezTo>
                      <a:cubicBezTo>
                        <a:pt x="3167" y="14189"/>
                        <a:pt x="0" y="11022"/>
                        <a:pt x="0" y="7094"/>
                      </a:cubicBezTo>
                      <a:cubicBezTo>
                        <a:pt x="0" y="3167"/>
                        <a:pt x="3167" y="0"/>
                        <a:pt x="7094" y="0"/>
                      </a:cubicBezTo>
                      <a:cubicBezTo>
                        <a:pt x="11021" y="127"/>
                        <a:pt x="14188" y="3294"/>
                        <a:pt x="14188" y="709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6" name="Полилиния: фигура 565">
                  <a:extLst>
                    <a:ext uri="{FF2B5EF4-FFF2-40B4-BE49-F238E27FC236}">
                      <a16:creationId xmlns:a16="http://schemas.microsoft.com/office/drawing/2014/main" id="{42150FF6-6EEC-46E1-AE9A-FECE734A8E2C}"/>
                    </a:ext>
                  </a:extLst>
                </p:cNvPr>
                <p:cNvSpPr/>
                <p:nvPr/>
              </p:nvSpPr>
              <p:spPr>
                <a:xfrm>
                  <a:off x="6889584" y="2555991"/>
                  <a:ext cx="17735" cy="17738"/>
                </a:xfrm>
                <a:custGeom>
                  <a:avLst/>
                  <a:gdLst>
                    <a:gd name="connsiteX0" fmla="*/ 17736 w 17735"/>
                    <a:gd name="connsiteY0" fmla="*/ 8871 h 17738"/>
                    <a:gd name="connsiteX1" fmla="*/ 8868 w 17735"/>
                    <a:gd name="connsiteY1" fmla="*/ 17739 h 17738"/>
                    <a:gd name="connsiteX2" fmla="*/ 0 w 17735"/>
                    <a:gd name="connsiteY2" fmla="*/ 8871 h 17738"/>
                    <a:gd name="connsiteX3" fmla="*/ 8868 w 17735"/>
                    <a:gd name="connsiteY3" fmla="*/ 3 h 17738"/>
                    <a:gd name="connsiteX4" fmla="*/ 17736 w 17735"/>
                    <a:gd name="connsiteY4" fmla="*/ 8871 h 17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17738">
                      <a:moveTo>
                        <a:pt x="17736" y="8871"/>
                      </a:moveTo>
                      <a:cubicBezTo>
                        <a:pt x="17736" y="13811"/>
                        <a:pt x="13809" y="17739"/>
                        <a:pt x="8868" y="17739"/>
                      </a:cubicBezTo>
                      <a:cubicBezTo>
                        <a:pt x="3928" y="17739"/>
                        <a:pt x="0" y="13685"/>
                        <a:pt x="0" y="8871"/>
                      </a:cubicBezTo>
                      <a:cubicBezTo>
                        <a:pt x="0" y="3930"/>
                        <a:pt x="3928" y="3"/>
                        <a:pt x="8868" y="3"/>
                      </a:cubicBezTo>
                      <a:cubicBezTo>
                        <a:pt x="13682" y="-124"/>
                        <a:pt x="17736" y="3930"/>
                        <a:pt x="17736" y="887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7" name="Полилиния: фигура 566">
                  <a:extLst>
                    <a:ext uri="{FF2B5EF4-FFF2-40B4-BE49-F238E27FC236}">
                      <a16:creationId xmlns:a16="http://schemas.microsoft.com/office/drawing/2014/main" id="{A4AAD62D-C7E1-41AD-8DE8-32353F1AA532}"/>
                    </a:ext>
                  </a:extLst>
                </p:cNvPr>
                <p:cNvSpPr/>
                <p:nvPr/>
              </p:nvSpPr>
              <p:spPr>
                <a:xfrm>
                  <a:off x="6872228" y="2635804"/>
                  <a:ext cx="7094" cy="7094"/>
                </a:xfrm>
                <a:custGeom>
                  <a:avLst/>
                  <a:gdLst>
                    <a:gd name="connsiteX0" fmla="*/ 7094 w 7094"/>
                    <a:gd name="connsiteY0" fmla="*/ 3547 h 7094"/>
                    <a:gd name="connsiteX1" fmla="*/ 3547 w 7094"/>
                    <a:gd name="connsiteY1" fmla="*/ 7094 h 7094"/>
                    <a:gd name="connsiteX2" fmla="*/ 0 w 7094"/>
                    <a:gd name="connsiteY2" fmla="*/ 3547 h 7094"/>
                    <a:gd name="connsiteX3" fmla="*/ 3547 w 7094"/>
                    <a:gd name="connsiteY3" fmla="*/ 0 h 7094"/>
                    <a:gd name="connsiteX4" fmla="*/ 7094 w 7094"/>
                    <a:gd name="connsiteY4" fmla="*/ 3547 h 7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4" h="7094">
                      <a:moveTo>
                        <a:pt x="7094" y="3547"/>
                      </a:moveTo>
                      <a:cubicBezTo>
                        <a:pt x="7094" y="5574"/>
                        <a:pt x="5448" y="7094"/>
                        <a:pt x="3547" y="7094"/>
                      </a:cubicBezTo>
                      <a:cubicBezTo>
                        <a:pt x="1520" y="7094"/>
                        <a:pt x="0" y="5447"/>
                        <a:pt x="0" y="3547"/>
                      </a:cubicBezTo>
                      <a:cubicBezTo>
                        <a:pt x="0" y="1520"/>
                        <a:pt x="1647" y="0"/>
                        <a:pt x="3547" y="0"/>
                      </a:cubicBezTo>
                      <a:cubicBezTo>
                        <a:pt x="5574" y="0"/>
                        <a:pt x="7094" y="1647"/>
                        <a:pt x="7094" y="35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8" name="Полилиния: фигура 567">
                  <a:extLst>
                    <a:ext uri="{FF2B5EF4-FFF2-40B4-BE49-F238E27FC236}">
                      <a16:creationId xmlns:a16="http://schemas.microsoft.com/office/drawing/2014/main" id="{A1A020F0-7FA2-4BE5-8115-0EAA36D5A843}"/>
                    </a:ext>
                  </a:extLst>
                </p:cNvPr>
                <p:cNvSpPr/>
                <p:nvPr/>
              </p:nvSpPr>
              <p:spPr>
                <a:xfrm>
                  <a:off x="6852593" y="2618956"/>
                  <a:ext cx="9627" cy="14188"/>
                </a:xfrm>
                <a:custGeom>
                  <a:avLst/>
                  <a:gdLst>
                    <a:gd name="connsiteX0" fmla="*/ 9628 w 9627"/>
                    <a:gd name="connsiteY0" fmla="*/ 7094 h 14188"/>
                    <a:gd name="connsiteX1" fmla="*/ 4814 w 9627"/>
                    <a:gd name="connsiteY1" fmla="*/ 14189 h 14188"/>
                    <a:gd name="connsiteX2" fmla="*/ 0 w 9627"/>
                    <a:gd name="connsiteY2" fmla="*/ 7094 h 14188"/>
                    <a:gd name="connsiteX3" fmla="*/ 4814 w 9627"/>
                    <a:gd name="connsiteY3" fmla="*/ 0 h 14188"/>
                    <a:gd name="connsiteX4" fmla="*/ 9628 w 9627"/>
                    <a:gd name="connsiteY4" fmla="*/ 7094 h 14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 h="14188">
                      <a:moveTo>
                        <a:pt x="9628" y="7094"/>
                      </a:moveTo>
                      <a:cubicBezTo>
                        <a:pt x="9628" y="11022"/>
                        <a:pt x="7474" y="14189"/>
                        <a:pt x="4814" y="14189"/>
                      </a:cubicBezTo>
                      <a:cubicBezTo>
                        <a:pt x="2153" y="14189"/>
                        <a:pt x="0" y="11022"/>
                        <a:pt x="0" y="7094"/>
                      </a:cubicBezTo>
                      <a:cubicBezTo>
                        <a:pt x="0" y="3167"/>
                        <a:pt x="2153" y="0"/>
                        <a:pt x="4814" y="0"/>
                      </a:cubicBezTo>
                      <a:cubicBezTo>
                        <a:pt x="7474" y="0"/>
                        <a:pt x="9628" y="3167"/>
                        <a:pt x="9628" y="709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69" name="Полилиния: фигура 568">
                  <a:extLst>
                    <a:ext uri="{FF2B5EF4-FFF2-40B4-BE49-F238E27FC236}">
                      <a16:creationId xmlns:a16="http://schemas.microsoft.com/office/drawing/2014/main" id="{CEE86663-DC39-4300-A551-430EC7B30DFB}"/>
                    </a:ext>
                  </a:extLst>
                </p:cNvPr>
                <p:cNvSpPr/>
                <p:nvPr/>
              </p:nvSpPr>
              <p:spPr>
                <a:xfrm>
                  <a:off x="6818768" y="2633144"/>
                  <a:ext cx="20522" cy="15201"/>
                </a:xfrm>
                <a:custGeom>
                  <a:avLst/>
                  <a:gdLst>
                    <a:gd name="connsiteX0" fmla="*/ 20523 w 20522"/>
                    <a:gd name="connsiteY0" fmla="*/ 7601 h 15201"/>
                    <a:gd name="connsiteX1" fmla="*/ 10261 w 20522"/>
                    <a:gd name="connsiteY1" fmla="*/ 15202 h 15201"/>
                    <a:gd name="connsiteX2" fmla="*/ 0 w 20522"/>
                    <a:gd name="connsiteY2" fmla="*/ 7601 h 15201"/>
                    <a:gd name="connsiteX3" fmla="*/ 10261 w 20522"/>
                    <a:gd name="connsiteY3" fmla="*/ 0 h 15201"/>
                    <a:gd name="connsiteX4" fmla="*/ 20523 w 20522"/>
                    <a:gd name="connsiteY4" fmla="*/ 7601 h 1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22" h="15201">
                      <a:moveTo>
                        <a:pt x="20523" y="7601"/>
                      </a:moveTo>
                      <a:cubicBezTo>
                        <a:pt x="20523" y="11781"/>
                        <a:pt x="15962" y="15202"/>
                        <a:pt x="10261" y="15202"/>
                      </a:cubicBezTo>
                      <a:cubicBezTo>
                        <a:pt x="4561" y="15202"/>
                        <a:pt x="0" y="11781"/>
                        <a:pt x="0" y="7601"/>
                      </a:cubicBezTo>
                      <a:cubicBezTo>
                        <a:pt x="0" y="3420"/>
                        <a:pt x="4561" y="0"/>
                        <a:pt x="10261" y="0"/>
                      </a:cubicBezTo>
                      <a:cubicBezTo>
                        <a:pt x="15835" y="0"/>
                        <a:pt x="20523" y="3420"/>
                        <a:pt x="20523" y="76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0" name="Полилиния: фигура 569">
                  <a:extLst>
                    <a:ext uri="{FF2B5EF4-FFF2-40B4-BE49-F238E27FC236}">
                      <a16:creationId xmlns:a16="http://schemas.microsoft.com/office/drawing/2014/main" id="{A27C3857-1F76-4E46-B6C6-F07C3258FF69}"/>
                    </a:ext>
                  </a:extLst>
                </p:cNvPr>
                <p:cNvSpPr/>
                <p:nvPr/>
              </p:nvSpPr>
              <p:spPr>
                <a:xfrm>
                  <a:off x="6861080" y="2563595"/>
                  <a:ext cx="14695" cy="14695"/>
                </a:xfrm>
                <a:custGeom>
                  <a:avLst/>
                  <a:gdLst>
                    <a:gd name="connsiteX0" fmla="*/ 14695 w 14695"/>
                    <a:gd name="connsiteY0" fmla="*/ 7348 h 14695"/>
                    <a:gd name="connsiteX1" fmla="*/ 7348 w 14695"/>
                    <a:gd name="connsiteY1" fmla="*/ 14695 h 14695"/>
                    <a:gd name="connsiteX2" fmla="*/ 0 w 14695"/>
                    <a:gd name="connsiteY2" fmla="*/ 7348 h 14695"/>
                    <a:gd name="connsiteX3" fmla="*/ 7348 w 14695"/>
                    <a:gd name="connsiteY3" fmla="*/ 0 h 14695"/>
                    <a:gd name="connsiteX4" fmla="*/ 14695 w 14695"/>
                    <a:gd name="connsiteY4" fmla="*/ 7348 h 14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95" h="14695">
                      <a:moveTo>
                        <a:pt x="14695" y="7348"/>
                      </a:moveTo>
                      <a:cubicBezTo>
                        <a:pt x="14695" y="11401"/>
                        <a:pt x="11402" y="14695"/>
                        <a:pt x="7348" y="14695"/>
                      </a:cubicBezTo>
                      <a:cubicBezTo>
                        <a:pt x="3294" y="14695"/>
                        <a:pt x="0" y="11401"/>
                        <a:pt x="0" y="7348"/>
                      </a:cubicBezTo>
                      <a:cubicBezTo>
                        <a:pt x="0" y="3294"/>
                        <a:pt x="3294" y="0"/>
                        <a:pt x="7348" y="0"/>
                      </a:cubicBezTo>
                      <a:cubicBezTo>
                        <a:pt x="11402" y="0"/>
                        <a:pt x="14695" y="3294"/>
                        <a:pt x="14695" y="734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1" name="Полилиния: фигура 570">
                  <a:extLst>
                    <a:ext uri="{FF2B5EF4-FFF2-40B4-BE49-F238E27FC236}">
                      <a16:creationId xmlns:a16="http://schemas.microsoft.com/office/drawing/2014/main" id="{4A2CEBF0-3CCC-4EEE-A5CF-4233C242613A}"/>
                    </a:ext>
                  </a:extLst>
                </p:cNvPr>
                <p:cNvSpPr/>
                <p:nvPr/>
              </p:nvSpPr>
              <p:spPr>
                <a:xfrm>
                  <a:off x="6852593" y="2524451"/>
                  <a:ext cx="13935" cy="13934"/>
                </a:xfrm>
                <a:custGeom>
                  <a:avLst/>
                  <a:gdLst>
                    <a:gd name="connsiteX0" fmla="*/ 13935 w 13935"/>
                    <a:gd name="connsiteY0" fmla="*/ 6968 h 13934"/>
                    <a:gd name="connsiteX1" fmla="*/ 6967 w 13935"/>
                    <a:gd name="connsiteY1" fmla="*/ 13935 h 13934"/>
                    <a:gd name="connsiteX2" fmla="*/ 0 w 13935"/>
                    <a:gd name="connsiteY2" fmla="*/ 6968 h 13934"/>
                    <a:gd name="connsiteX3" fmla="*/ 6967 w 13935"/>
                    <a:gd name="connsiteY3" fmla="*/ 0 h 13934"/>
                    <a:gd name="connsiteX4" fmla="*/ 13935 w 13935"/>
                    <a:gd name="connsiteY4" fmla="*/ 6968 h 13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3934">
                      <a:moveTo>
                        <a:pt x="13935" y="6968"/>
                      </a:moveTo>
                      <a:cubicBezTo>
                        <a:pt x="13935" y="10768"/>
                        <a:pt x="10895" y="13935"/>
                        <a:pt x="6967" y="13935"/>
                      </a:cubicBezTo>
                      <a:cubicBezTo>
                        <a:pt x="3167" y="13935"/>
                        <a:pt x="0" y="10768"/>
                        <a:pt x="0" y="6968"/>
                      </a:cubicBezTo>
                      <a:cubicBezTo>
                        <a:pt x="0" y="3167"/>
                        <a:pt x="3040" y="0"/>
                        <a:pt x="6967" y="0"/>
                      </a:cubicBezTo>
                      <a:cubicBezTo>
                        <a:pt x="10768" y="0"/>
                        <a:pt x="13935" y="3040"/>
                        <a:pt x="13935" y="696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2" name="Полилиния: фигура 571">
                  <a:extLst>
                    <a:ext uri="{FF2B5EF4-FFF2-40B4-BE49-F238E27FC236}">
                      <a16:creationId xmlns:a16="http://schemas.microsoft.com/office/drawing/2014/main" id="{BB0AADF1-3494-4497-A388-B0AFDEA3FD33}"/>
                    </a:ext>
                  </a:extLst>
                </p:cNvPr>
                <p:cNvSpPr/>
                <p:nvPr/>
              </p:nvSpPr>
              <p:spPr>
                <a:xfrm>
                  <a:off x="6788491" y="2601473"/>
                  <a:ext cx="20775" cy="15581"/>
                </a:xfrm>
                <a:custGeom>
                  <a:avLst/>
                  <a:gdLst>
                    <a:gd name="connsiteX0" fmla="*/ 20776 w 20775"/>
                    <a:gd name="connsiteY0" fmla="*/ 7728 h 15581"/>
                    <a:gd name="connsiteX1" fmla="*/ 10388 w 20775"/>
                    <a:gd name="connsiteY1" fmla="*/ 15582 h 15581"/>
                    <a:gd name="connsiteX2" fmla="*/ 0 w 20775"/>
                    <a:gd name="connsiteY2" fmla="*/ 7728 h 15581"/>
                    <a:gd name="connsiteX3" fmla="*/ 10388 w 20775"/>
                    <a:gd name="connsiteY3" fmla="*/ 0 h 15581"/>
                    <a:gd name="connsiteX4" fmla="*/ 20776 w 20775"/>
                    <a:gd name="connsiteY4" fmla="*/ 7728 h 1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5" h="15581">
                      <a:moveTo>
                        <a:pt x="20776" y="7728"/>
                      </a:moveTo>
                      <a:cubicBezTo>
                        <a:pt x="20776" y="12035"/>
                        <a:pt x="16089" y="15582"/>
                        <a:pt x="10388" y="15582"/>
                      </a:cubicBezTo>
                      <a:cubicBezTo>
                        <a:pt x="4687" y="15582"/>
                        <a:pt x="0" y="12035"/>
                        <a:pt x="0" y="7728"/>
                      </a:cubicBezTo>
                      <a:cubicBezTo>
                        <a:pt x="0" y="3420"/>
                        <a:pt x="4687" y="0"/>
                        <a:pt x="10388" y="0"/>
                      </a:cubicBezTo>
                      <a:cubicBezTo>
                        <a:pt x="16089" y="0"/>
                        <a:pt x="20776" y="3420"/>
                        <a:pt x="20776" y="772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3" name="Полилиния: фигура 572">
                  <a:extLst>
                    <a:ext uri="{FF2B5EF4-FFF2-40B4-BE49-F238E27FC236}">
                      <a16:creationId xmlns:a16="http://schemas.microsoft.com/office/drawing/2014/main" id="{EA101CE4-EEBC-423C-A2A5-DCD22D8AACB8}"/>
                    </a:ext>
                  </a:extLst>
                </p:cNvPr>
                <p:cNvSpPr/>
                <p:nvPr/>
              </p:nvSpPr>
              <p:spPr>
                <a:xfrm>
                  <a:off x="6747446" y="2598433"/>
                  <a:ext cx="23056" cy="12921"/>
                </a:xfrm>
                <a:custGeom>
                  <a:avLst/>
                  <a:gdLst>
                    <a:gd name="connsiteX0" fmla="*/ 23056 w 23056"/>
                    <a:gd name="connsiteY0" fmla="*/ 6461 h 12921"/>
                    <a:gd name="connsiteX1" fmla="*/ 11528 w 23056"/>
                    <a:gd name="connsiteY1" fmla="*/ 12922 h 12921"/>
                    <a:gd name="connsiteX2" fmla="*/ 0 w 23056"/>
                    <a:gd name="connsiteY2" fmla="*/ 6461 h 12921"/>
                    <a:gd name="connsiteX3" fmla="*/ 11528 w 23056"/>
                    <a:gd name="connsiteY3" fmla="*/ 0 h 12921"/>
                    <a:gd name="connsiteX4" fmla="*/ 23056 w 23056"/>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 h="12921">
                      <a:moveTo>
                        <a:pt x="23056" y="6461"/>
                      </a:moveTo>
                      <a:cubicBezTo>
                        <a:pt x="23056" y="10008"/>
                        <a:pt x="17862" y="12922"/>
                        <a:pt x="11528" y="12922"/>
                      </a:cubicBezTo>
                      <a:cubicBezTo>
                        <a:pt x="5194" y="12922"/>
                        <a:pt x="0" y="10008"/>
                        <a:pt x="0" y="6461"/>
                      </a:cubicBezTo>
                      <a:cubicBezTo>
                        <a:pt x="0" y="2914"/>
                        <a:pt x="5194" y="0"/>
                        <a:pt x="11528" y="0"/>
                      </a:cubicBezTo>
                      <a:cubicBezTo>
                        <a:pt x="17862" y="0"/>
                        <a:pt x="23056" y="2914"/>
                        <a:pt x="23056" y="646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4" name="Полилиния: фигура 573">
                  <a:extLst>
                    <a:ext uri="{FF2B5EF4-FFF2-40B4-BE49-F238E27FC236}">
                      <a16:creationId xmlns:a16="http://schemas.microsoft.com/office/drawing/2014/main" id="{44C3305F-5881-491A-8E0C-6A74F7D7AA85}"/>
                    </a:ext>
                  </a:extLst>
                </p:cNvPr>
                <p:cNvSpPr/>
                <p:nvPr/>
              </p:nvSpPr>
              <p:spPr>
                <a:xfrm>
                  <a:off x="6815475" y="2193936"/>
                  <a:ext cx="15201" cy="13554"/>
                </a:xfrm>
                <a:custGeom>
                  <a:avLst/>
                  <a:gdLst>
                    <a:gd name="connsiteX0" fmla="*/ 15202 w 15201"/>
                    <a:gd name="connsiteY0" fmla="*/ 6714 h 13554"/>
                    <a:gd name="connsiteX1" fmla="*/ 7601 w 15201"/>
                    <a:gd name="connsiteY1" fmla="*/ 13555 h 13554"/>
                    <a:gd name="connsiteX2" fmla="*/ 0 w 15201"/>
                    <a:gd name="connsiteY2" fmla="*/ 6714 h 13554"/>
                    <a:gd name="connsiteX3" fmla="*/ 7601 w 15201"/>
                    <a:gd name="connsiteY3" fmla="*/ 0 h 13554"/>
                    <a:gd name="connsiteX4" fmla="*/ 15202 w 15201"/>
                    <a:gd name="connsiteY4" fmla="*/ 6714 h 1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01" h="13554">
                      <a:moveTo>
                        <a:pt x="15202" y="6714"/>
                      </a:moveTo>
                      <a:cubicBezTo>
                        <a:pt x="15202" y="10388"/>
                        <a:pt x="11781" y="13555"/>
                        <a:pt x="7601" y="13555"/>
                      </a:cubicBezTo>
                      <a:cubicBezTo>
                        <a:pt x="3420" y="13555"/>
                        <a:pt x="0" y="10514"/>
                        <a:pt x="0" y="6714"/>
                      </a:cubicBezTo>
                      <a:cubicBezTo>
                        <a:pt x="0" y="3040"/>
                        <a:pt x="3420" y="0"/>
                        <a:pt x="7601" y="0"/>
                      </a:cubicBezTo>
                      <a:cubicBezTo>
                        <a:pt x="11781" y="0"/>
                        <a:pt x="15202" y="3040"/>
                        <a:pt x="15202" y="67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5" name="Полилиния: фигура 574">
                  <a:extLst>
                    <a:ext uri="{FF2B5EF4-FFF2-40B4-BE49-F238E27FC236}">
                      <a16:creationId xmlns:a16="http://schemas.microsoft.com/office/drawing/2014/main" id="{1CAADD22-A924-4C8D-A466-28749421993C}"/>
                    </a:ext>
                  </a:extLst>
                </p:cNvPr>
                <p:cNvSpPr/>
                <p:nvPr/>
              </p:nvSpPr>
              <p:spPr>
                <a:xfrm>
                  <a:off x="6803055" y="2274459"/>
                  <a:ext cx="15622" cy="29011"/>
                </a:xfrm>
                <a:custGeom>
                  <a:avLst/>
                  <a:gdLst>
                    <a:gd name="connsiteX0" fmla="*/ 3679 w 15622"/>
                    <a:gd name="connsiteY0" fmla="*/ 934 h 29011"/>
                    <a:gd name="connsiteX1" fmla="*/ 14447 w 15622"/>
                    <a:gd name="connsiteY1" fmla="*/ 8915 h 29011"/>
                    <a:gd name="connsiteX2" fmla="*/ 15334 w 15622"/>
                    <a:gd name="connsiteY2" fmla="*/ 18162 h 29011"/>
                    <a:gd name="connsiteX3" fmla="*/ 14574 w 15622"/>
                    <a:gd name="connsiteY3" fmla="*/ 26397 h 29011"/>
                    <a:gd name="connsiteX4" fmla="*/ 6213 w 15622"/>
                    <a:gd name="connsiteY4" fmla="*/ 27410 h 29011"/>
                    <a:gd name="connsiteX5" fmla="*/ 2919 w 15622"/>
                    <a:gd name="connsiteY5" fmla="*/ 19556 h 29011"/>
                    <a:gd name="connsiteX6" fmla="*/ 3679 w 15622"/>
                    <a:gd name="connsiteY6" fmla="*/ 934 h 2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2" h="29011">
                      <a:moveTo>
                        <a:pt x="3679" y="934"/>
                      </a:moveTo>
                      <a:cubicBezTo>
                        <a:pt x="9760" y="-2360"/>
                        <a:pt x="13307" y="3721"/>
                        <a:pt x="14447" y="8915"/>
                      </a:cubicBezTo>
                      <a:cubicBezTo>
                        <a:pt x="15080" y="11955"/>
                        <a:pt x="14827" y="15122"/>
                        <a:pt x="15334" y="18162"/>
                      </a:cubicBezTo>
                      <a:cubicBezTo>
                        <a:pt x="15587" y="20696"/>
                        <a:pt x="16094" y="23990"/>
                        <a:pt x="14574" y="26397"/>
                      </a:cubicBezTo>
                      <a:cubicBezTo>
                        <a:pt x="12547" y="29691"/>
                        <a:pt x="9000" y="29691"/>
                        <a:pt x="6213" y="27410"/>
                      </a:cubicBezTo>
                      <a:cubicBezTo>
                        <a:pt x="3552" y="25383"/>
                        <a:pt x="3806" y="22596"/>
                        <a:pt x="2919" y="19556"/>
                      </a:cubicBezTo>
                      <a:cubicBezTo>
                        <a:pt x="1525" y="14108"/>
                        <a:pt x="-3289" y="4861"/>
                        <a:pt x="3679" y="9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6" name="Полилиния: фигура 575">
                  <a:extLst>
                    <a:ext uri="{FF2B5EF4-FFF2-40B4-BE49-F238E27FC236}">
                      <a16:creationId xmlns:a16="http://schemas.microsoft.com/office/drawing/2014/main" id="{D354AC06-1A89-49EF-A4D0-3DEFC1726777}"/>
                    </a:ext>
                  </a:extLst>
                </p:cNvPr>
                <p:cNvSpPr/>
                <p:nvPr/>
              </p:nvSpPr>
              <p:spPr>
                <a:xfrm>
                  <a:off x="6838822" y="2269813"/>
                  <a:ext cx="36766" cy="36690"/>
                </a:xfrm>
                <a:custGeom>
                  <a:avLst/>
                  <a:gdLst>
                    <a:gd name="connsiteX0" fmla="*/ 3003 w 36766"/>
                    <a:gd name="connsiteY0" fmla="*/ 386 h 36690"/>
                    <a:gd name="connsiteX1" fmla="*/ 14784 w 36766"/>
                    <a:gd name="connsiteY1" fmla="*/ 2539 h 36690"/>
                    <a:gd name="connsiteX2" fmla="*/ 25552 w 36766"/>
                    <a:gd name="connsiteY2" fmla="*/ 5200 h 36690"/>
                    <a:gd name="connsiteX3" fmla="*/ 36067 w 36766"/>
                    <a:gd name="connsiteY3" fmla="*/ 22808 h 36690"/>
                    <a:gd name="connsiteX4" fmla="*/ 34293 w 36766"/>
                    <a:gd name="connsiteY4" fmla="*/ 33196 h 36690"/>
                    <a:gd name="connsiteX5" fmla="*/ 14278 w 36766"/>
                    <a:gd name="connsiteY5" fmla="*/ 32816 h 36690"/>
                    <a:gd name="connsiteX6" fmla="*/ 4017 w 36766"/>
                    <a:gd name="connsiteY6" fmla="*/ 14194 h 36690"/>
                    <a:gd name="connsiteX7" fmla="*/ 3003 w 36766"/>
                    <a:gd name="connsiteY7" fmla="*/ 386 h 3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66" h="36690">
                      <a:moveTo>
                        <a:pt x="3003" y="386"/>
                      </a:moveTo>
                      <a:cubicBezTo>
                        <a:pt x="6930" y="-881"/>
                        <a:pt x="11111" y="1272"/>
                        <a:pt x="14784" y="2539"/>
                      </a:cubicBezTo>
                      <a:cubicBezTo>
                        <a:pt x="18205" y="3679"/>
                        <a:pt x="22512" y="3553"/>
                        <a:pt x="25552" y="5200"/>
                      </a:cubicBezTo>
                      <a:cubicBezTo>
                        <a:pt x="32013" y="8747"/>
                        <a:pt x="34927" y="16094"/>
                        <a:pt x="36067" y="22808"/>
                      </a:cubicBezTo>
                      <a:cubicBezTo>
                        <a:pt x="36827" y="26862"/>
                        <a:pt x="37714" y="30156"/>
                        <a:pt x="34293" y="33196"/>
                      </a:cubicBezTo>
                      <a:cubicBezTo>
                        <a:pt x="28339" y="38517"/>
                        <a:pt x="20358" y="37250"/>
                        <a:pt x="14278" y="32816"/>
                      </a:cubicBezTo>
                      <a:cubicBezTo>
                        <a:pt x="7817" y="28129"/>
                        <a:pt x="6550" y="21035"/>
                        <a:pt x="4017" y="14194"/>
                      </a:cubicBezTo>
                      <a:cubicBezTo>
                        <a:pt x="2750" y="10394"/>
                        <a:pt x="-3711" y="2666"/>
                        <a:pt x="3003" y="38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7" name="Полилиния: фигура 576">
                  <a:extLst>
                    <a:ext uri="{FF2B5EF4-FFF2-40B4-BE49-F238E27FC236}">
                      <a16:creationId xmlns:a16="http://schemas.microsoft.com/office/drawing/2014/main" id="{89D3B6BB-41EF-42C9-A02D-F1FC8898FBA7}"/>
                    </a:ext>
                  </a:extLst>
                </p:cNvPr>
                <p:cNvSpPr/>
                <p:nvPr/>
              </p:nvSpPr>
              <p:spPr>
                <a:xfrm>
                  <a:off x="6759129" y="2355619"/>
                  <a:ext cx="48112" cy="38184"/>
                </a:xfrm>
                <a:custGeom>
                  <a:avLst/>
                  <a:gdLst>
                    <a:gd name="connsiteX0" fmla="*/ 40763 w 48112"/>
                    <a:gd name="connsiteY0" fmla="*/ 91 h 38184"/>
                    <a:gd name="connsiteX1" fmla="*/ 48111 w 48112"/>
                    <a:gd name="connsiteY1" fmla="*/ 7818 h 38184"/>
                    <a:gd name="connsiteX2" fmla="*/ 40890 w 48112"/>
                    <a:gd name="connsiteY2" fmla="*/ 22514 h 38184"/>
                    <a:gd name="connsiteX3" fmla="*/ 37596 w 48112"/>
                    <a:gd name="connsiteY3" fmla="*/ 33788 h 38184"/>
                    <a:gd name="connsiteX4" fmla="*/ 16567 w 48112"/>
                    <a:gd name="connsiteY4" fmla="*/ 34802 h 38184"/>
                    <a:gd name="connsiteX5" fmla="*/ 2632 w 48112"/>
                    <a:gd name="connsiteY5" fmla="*/ 33408 h 38184"/>
                    <a:gd name="connsiteX6" fmla="*/ 16314 w 48112"/>
                    <a:gd name="connsiteY6" fmla="*/ 13646 h 38184"/>
                    <a:gd name="connsiteX7" fmla="*/ 40763 w 48112"/>
                    <a:gd name="connsiteY7" fmla="*/ 91 h 3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112" h="38184">
                      <a:moveTo>
                        <a:pt x="40763" y="91"/>
                      </a:moveTo>
                      <a:cubicBezTo>
                        <a:pt x="45197" y="598"/>
                        <a:pt x="48111" y="3131"/>
                        <a:pt x="48111" y="7818"/>
                      </a:cubicBezTo>
                      <a:cubicBezTo>
                        <a:pt x="48238" y="13139"/>
                        <a:pt x="42917" y="17700"/>
                        <a:pt x="40890" y="22514"/>
                      </a:cubicBezTo>
                      <a:cubicBezTo>
                        <a:pt x="39370" y="26187"/>
                        <a:pt x="38990" y="30115"/>
                        <a:pt x="37596" y="33788"/>
                      </a:cubicBezTo>
                      <a:cubicBezTo>
                        <a:pt x="34176" y="42530"/>
                        <a:pt x="22648" y="35689"/>
                        <a:pt x="16567" y="34802"/>
                      </a:cubicBezTo>
                      <a:cubicBezTo>
                        <a:pt x="12387" y="34168"/>
                        <a:pt x="6306" y="35562"/>
                        <a:pt x="2632" y="33408"/>
                      </a:cubicBezTo>
                      <a:cubicBezTo>
                        <a:pt x="-7123" y="27961"/>
                        <a:pt x="13147" y="15926"/>
                        <a:pt x="16314" y="13646"/>
                      </a:cubicBezTo>
                      <a:cubicBezTo>
                        <a:pt x="22648" y="8832"/>
                        <a:pt x="31895" y="-1049"/>
                        <a:pt x="40763" y="9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8" name="Полилиния: фигура 577">
                  <a:extLst>
                    <a:ext uri="{FF2B5EF4-FFF2-40B4-BE49-F238E27FC236}">
                      <a16:creationId xmlns:a16="http://schemas.microsoft.com/office/drawing/2014/main" id="{FF05F2CA-B1D4-4AC9-B308-50C102D52C78}"/>
                    </a:ext>
                  </a:extLst>
                </p:cNvPr>
                <p:cNvSpPr/>
                <p:nvPr/>
              </p:nvSpPr>
              <p:spPr>
                <a:xfrm>
                  <a:off x="6505233" y="2725848"/>
                  <a:ext cx="37655" cy="65387"/>
                </a:xfrm>
                <a:custGeom>
                  <a:avLst/>
                  <a:gdLst>
                    <a:gd name="connsiteX0" fmla="*/ 34960 w 37655"/>
                    <a:gd name="connsiteY0" fmla="*/ 45380 h 65387"/>
                    <a:gd name="connsiteX1" fmla="*/ 28626 w 37655"/>
                    <a:gd name="connsiteY1" fmla="*/ 61468 h 65387"/>
                    <a:gd name="connsiteX2" fmla="*/ 6457 w 37655"/>
                    <a:gd name="connsiteY2" fmla="*/ 52854 h 65387"/>
                    <a:gd name="connsiteX3" fmla="*/ 2149 w 37655"/>
                    <a:gd name="connsiteY3" fmla="*/ 26504 h 65387"/>
                    <a:gd name="connsiteX4" fmla="*/ 11144 w 37655"/>
                    <a:gd name="connsiteY4" fmla="*/ 16116 h 65387"/>
                    <a:gd name="connsiteX5" fmla="*/ 17351 w 37655"/>
                    <a:gd name="connsiteY5" fmla="*/ 6995 h 65387"/>
                    <a:gd name="connsiteX6" fmla="*/ 29513 w 37655"/>
                    <a:gd name="connsiteY6" fmla="*/ 27 h 65387"/>
                    <a:gd name="connsiteX7" fmla="*/ 35847 w 37655"/>
                    <a:gd name="connsiteY7" fmla="*/ 31571 h 65387"/>
                    <a:gd name="connsiteX8" fmla="*/ 34960 w 37655"/>
                    <a:gd name="connsiteY8" fmla="*/ 45380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5" h="65387">
                      <a:moveTo>
                        <a:pt x="34960" y="45380"/>
                      </a:moveTo>
                      <a:cubicBezTo>
                        <a:pt x="33693" y="51080"/>
                        <a:pt x="31413" y="56401"/>
                        <a:pt x="28626" y="61468"/>
                      </a:cubicBezTo>
                      <a:cubicBezTo>
                        <a:pt x="22799" y="72110"/>
                        <a:pt x="10637" y="58301"/>
                        <a:pt x="6457" y="52854"/>
                      </a:cubicBezTo>
                      <a:cubicBezTo>
                        <a:pt x="883" y="45633"/>
                        <a:pt x="-2411" y="35118"/>
                        <a:pt x="2149" y="26504"/>
                      </a:cubicBezTo>
                      <a:cubicBezTo>
                        <a:pt x="4303" y="22450"/>
                        <a:pt x="8104" y="19536"/>
                        <a:pt x="11144" y="16116"/>
                      </a:cubicBezTo>
                      <a:cubicBezTo>
                        <a:pt x="13678" y="13329"/>
                        <a:pt x="15198" y="10035"/>
                        <a:pt x="17351" y="6995"/>
                      </a:cubicBezTo>
                      <a:cubicBezTo>
                        <a:pt x="20012" y="3321"/>
                        <a:pt x="24699" y="-353"/>
                        <a:pt x="29513" y="27"/>
                      </a:cubicBezTo>
                      <a:cubicBezTo>
                        <a:pt x="43574" y="1294"/>
                        <a:pt x="34960" y="23590"/>
                        <a:pt x="35847" y="31571"/>
                      </a:cubicBezTo>
                      <a:cubicBezTo>
                        <a:pt x="36480" y="36512"/>
                        <a:pt x="35973" y="40566"/>
                        <a:pt x="34960" y="4538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79" name="Полилиния: фигура 578">
                  <a:extLst>
                    <a:ext uri="{FF2B5EF4-FFF2-40B4-BE49-F238E27FC236}">
                      <a16:creationId xmlns:a16="http://schemas.microsoft.com/office/drawing/2014/main" id="{945F2931-8788-4D75-BD7A-3B9532EB16BF}"/>
                    </a:ext>
                  </a:extLst>
                </p:cNvPr>
                <p:cNvSpPr/>
                <p:nvPr/>
              </p:nvSpPr>
              <p:spPr>
                <a:xfrm>
                  <a:off x="6521592" y="2695832"/>
                  <a:ext cx="21061" cy="14778"/>
                </a:xfrm>
                <a:custGeom>
                  <a:avLst/>
                  <a:gdLst>
                    <a:gd name="connsiteX0" fmla="*/ 106 w 21061"/>
                    <a:gd name="connsiteY0" fmla="*/ 7241 h 14778"/>
                    <a:gd name="connsiteX1" fmla="*/ 16955 w 21061"/>
                    <a:gd name="connsiteY1" fmla="*/ 653 h 14778"/>
                    <a:gd name="connsiteX2" fmla="*/ 20502 w 21061"/>
                    <a:gd name="connsiteY2" fmla="*/ 11041 h 14778"/>
                    <a:gd name="connsiteX3" fmla="*/ 8721 w 21061"/>
                    <a:gd name="connsiteY3" fmla="*/ 14715 h 14778"/>
                    <a:gd name="connsiteX4" fmla="*/ 106 w 21061"/>
                    <a:gd name="connsiteY4" fmla="*/ 7241 h 14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61" h="14778">
                      <a:moveTo>
                        <a:pt x="106" y="7241"/>
                      </a:moveTo>
                      <a:cubicBezTo>
                        <a:pt x="993" y="1920"/>
                        <a:pt x="12395" y="-1500"/>
                        <a:pt x="16955" y="653"/>
                      </a:cubicBezTo>
                      <a:cubicBezTo>
                        <a:pt x="19489" y="1794"/>
                        <a:pt x="22276" y="8634"/>
                        <a:pt x="20502" y="11041"/>
                      </a:cubicBezTo>
                      <a:cubicBezTo>
                        <a:pt x="18729" y="13448"/>
                        <a:pt x="11635" y="14335"/>
                        <a:pt x="8721" y="14715"/>
                      </a:cubicBezTo>
                      <a:cubicBezTo>
                        <a:pt x="4034" y="15222"/>
                        <a:pt x="-780" y="12688"/>
                        <a:pt x="106" y="72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0" name="Полилиния: фигура 579">
                  <a:extLst>
                    <a:ext uri="{FF2B5EF4-FFF2-40B4-BE49-F238E27FC236}">
                      <a16:creationId xmlns:a16="http://schemas.microsoft.com/office/drawing/2014/main" id="{08B3F11F-3B20-4BC5-B48B-9201783E3624}"/>
                    </a:ext>
                  </a:extLst>
                </p:cNvPr>
                <p:cNvSpPr/>
                <p:nvPr/>
              </p:nvSpPr>
              <p:spPr>
                <a:xfrm>
                  <a:off x="7443698" y="2163438"/>
                  <a:ext cx="46641" cy="41296"/>
                </a:xfrm>
                <a:custGeom>
                  <a:avLst/>
                  <a:gdLst>
                    <a:gd name="connsiteX0" fmla="*/ 15324 w 46641"/>
                    <a:gd name="connsiteY0" fmla="*/ 41266 h 41296"/>
                    <a:gd name="connsiteX1" fmla="*/ 1009 w 46641"/>
                    <a:gd name="connsiteY1" fmla="*/ 33032 h 41296"/>
                    <a:gd name="connsiteX2" fmla="*/ 11777 w 46641"/>
                    <a:gd name="connsiteY2" fmla="*/ 24670 h 41296"/>
                    <a:gd name="connsiteX3" fmla="*/ 20391 w 46641"/>
                    <a:gd name="connsiteY3" fmla="*/ 16056 h 41296"/>
                    <a:gd name="connsiteX4" fmla="*/ 33692 w 46641"/>
                    <a:gd name="connsiteY4" fmla="*/ 981 h 41296"/>
                    <a:gd name="connsiteX5" fmla="*/ 45094 w 46641"/>
                    <a:gd name="connsiteY5" fmla="*/ 4148 h 41296"/>
                    <a:gd name="connsiteX6" fmla="*/ 43828 w 46641"/>
                    <a:gd name="connsiteY6" fmla="*/ 19476 h 41296"/>
                    <a:gd name="connsiteX7" fmla="*/ 31412 w 46641"/>
                    <a:gd name="connsiteY7" fmla="*/ 33538 h 41296"/>
                    <a:gd name="connsiteX8" fmla="*/ 15324 w 46641"/>
                    <a:gd name="connsiteY8" fmla="*/ 41266 h 4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41" h="41296">
                      <a:moveTo>
                        <a:pt x="15324" y="41266"/>
                      </a:moveTo>
                      <a:cubicBezTo>
                        <a:pt x="10636" y="41392"/>
                        <a:pt x="-3932" y="41519"/>
                        <a:pt x="1009" y="33032"/>
                      </a:cubicBezTo>
                      <a:cubicBezTo>
                        <a:pt x="3289" y="29104"/>
                        <a:pt x="8103" y="26951"/>
                        <a:pt x="11777" y="24670"/>
                      </a:cubicBezTo>
                      <a:cubicBezTo>
                        <a:pt x="15450" y="22390"/>
                        <a:pt x="18237" y="19730"/>
                        <a:pt x="20391" y="16056"/>
                      </a:cubicBezTo>
                      <a:cubicBezTo>
                        <a:pt x="24191" y="9849"/>
                        <a:pt x="26598" y="4148"/>
                        <a:pt x="33692" y="981"/>
                      </a:cubicBezTo>
                      <a:cubicBezTo>
                        <a:pt x="38127" y="-919"/>
                        <a:pt x="42560" y="-159"/>
                        <a:pt x="45094" y="4148"/>
                      </a:cubicBezTo>
                      <a:cubicBezTo>
                        <a:pt x="48008" y="9089"/>
                        <a:pt x="46361" y="14789"/>
                        <a:pt x="43828" y="19476"/>
                      </a:cubicBezTo>
                      <a:cubicBezTo>
                        <a:pt x="40787" y="25177"/>
                        <a:pt x="35846" y="28978"/>
                        <a:pt x="31412" y="33538"/>
                      </a:cubicBezTo>
                      <a:cubicBezTo>
                        <a:pt x="26979" y="38225"/>
                        <a:pt x="21658" y="41012"/>
                        <a:pt x="15324" y="4126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1" name="Полилиния: фигура 580">
                  <a:extLst>
                    <a:ext uri="{FF2B5EF4-FFF2-40B4-BE49-F238E27FC236}">
                      <a16:creationId xmlns:a16="http://schemas.microsoft.com/office/drawing/2014/main" id="{9FEDDC1E-BF0D-4349-9A62-E53993A924F1}"/>
                    </a:ext>
                  </a:extLst>
                </p:cNvPr>
                <p:cNvSpPr/>
                <p:nvPr/>
              </p:nvSpPr>
              <p:spPr>
                <a:xfrm>
                  <a:off x="7257343" y="2114126"/>
                  <a:ext cx="10894" cy="13174"/>
                </a:xfrm>
                <a:custGeom>
                  <a:avLst/>
                  <a:gdLst>
                    <a:gd name="connsiteX0" fmla="*/ 10895 w 10894"/>
                    <a:gd name="connsiteY0" fmla="*/ 6587 h 13174"/>
                    <a:gd name="connsiteX1" fmla="*/ 5447 w 10894"/>
                    <a:gd name="connsiteY1" fmla="*/ 13175 h 13174"/>
                    <a:gd name="connsiteX2" fmla="*/ 0 w 10894"/>
                    <a:gd name="connsiteY2" fmla="*/ 6587 h 13174"/>
                    <a:gd name="connsiteX3" fmla="*/ 5447 w 10894"/>
                    <a:gd name="connsiteY3" fmla="*/ 0 h 13174"/>
                    <a:gd name="connsiteX4" fmla="*/ 10895 w 10894"/>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3174">
                      <a:moveTo>
                        <a:pt x="10895" y="6587"/>
                      </a:moveTo>
                      <a:cubicBezTo>
                        <a:pt x="10895" y="10261"/>
                        <a:pt x="8488" y="13175"/>
                        <a:pt x="5447" y="13175"/>
                      </a:cubicBezTo>
                      <a:cubicBezTo>
                        <a:pt x="2407" y="13175"/>
                        <a:pt x="0" y="10261"/>
                        <a:pt x="0" y="6587"/>
                      </a:cubicBezTo>
                      <a:cubicBezTo>
                        <a:pt x="0" y="2914"/>
                        <a:pt x="2407" y="0"/>
                        <a:pt x="5447" y="0"/>
                      </a:cubicBezTo>
                      <a:cubicBezTo>
                        <a:pt x="8361" y="0"/>
                        <a:pt x="10895" y="2914"/>
                        <a:pt x="10895" y="65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2" name="Полилиния: фигура 581">
                  <a:extLst>
                    <a:ext uri="{FF2B5EF4-FFF2-40B4-BE49-F238E27FC236}">
                      <a16:creationId xmlns:a16="http://schemas.microsoft.com/office/drawing/2014/main" id="{152EF78E-C084-4910-ACCE-704DB3C2E8C9}"/>
                    </a:ext>
                  </a:extLst>
                </p:cNvPr>
                <p:cNvSpPr/>
                <p:nvPr/>
              </p:nvSpPr>
              <p:spPr>
                <a:xfrm>
                  <a:off x="7227446" y="2063960"/>
                  <a:ext cx="22549" cy="11148"/>
                </a:xfrm>
                <a:custGeom>
                  <a:avLst/>
                  <a:gdLst>
                    <a:gd name="connsiteX0" fmla="*/ 22550 w 22549"/>
                    <a:gd name="connsiteY0" fmla="*/ 5574 h 11148"/>
                    <a:gd name="connsiteX1" fmla="*/ 11275 w 22549"/>
                    <a:gd name="connsiteY1" fmla="*/ 11148 h 11148"/>
                    <a:gd name="connsiteX2" fmla="*/ 0 w 22549"/>
                    <a:gd name="connsiteY2" fmla="*/ 5574 h 11148"/>
                    <a:gd name="connsiteX3" fmla="*/ 11275 w 22549"/>
                    <a:gd name="connsiteY3" fmla="*/ 0 h 11148"/>
                    <a:gd name="connsiteX4" fmla="*/ 22550 w 22549"/>
                    <a:gd name="connsiteY4" fmla="*/ 5574 h 11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49" h="11148">
                      <a:moveTo>
                        <a:pt x="22550" y="5574"/>
                      </a:moveTo>
                      <a:cubicBezTo>
                        <a:pt x="22550" y="8615"/>
                        <a:pt x="17482" y="11148"/>
                        <a:pt x="11275" y="11148"/>
                      </a:cubicBezTo>
                      <a:cubicBezTo>
                        <a:pt x="5068" y="11148"/>
                        <a:pt x="0" y="8615"/>
                        <a:pt x="0" y="5574"/>
                      </a:cubicBezTo>
                      <a:cubicBezTo>
                        <a:pt x="0" y="2534"/>
                        <a:pt x="5068" y="0"/>
                        <a:pt x="11275" y="0"/>
                      </a:cubicBezTo>
                      <a:cubicBezTo>
                        <a:pt x="17609" y="0"/>
                        <a:pt x="22550" y="2534"/>
                        <a:pt x="22550" y="55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3" name="Полилиния: фигура 582">
                  <a:extLst>
                    <a:ext uri="{FF2B5EF4-FFF2-40B4-BE49-F238E27FC236}">
                      <a16:creationId xmlns:a16="http://schemas.microsoft.com/office/drawing/2014/main" id="{3A2A3910-DCC6-4BBF-AEB8-5DA366F5D16D}"/>
                    </a:ext>
                  </a:extLst>
                </p:cNvPr>
                <p:cNvSpPr/>
                <p:nvPr/>
              </p:nvSpPr>
              <p:spPr>
                <a:xfrm>
                  <a:off x="7301936" y="2061933"/>
                  <a:ext cx="15454" cy="11528"/>
                </a:xfrm>
                <a:custGeom>
                  <a:avLst/>
                  <a:gdLst>
                    <a:gd name="connsiteX0" fmla="*/ 15455 w 15454"/>
                    <a:gd name="connsiteY0" fmla="*/ 5827 h 11528"/>
                    <a:gd name="connsiteX1" fmla="*/ 7727 w 15454"/>
                    <a:gd name="connsiteY1" fmla="*/ 11528 h 11528"/>
                    <a:gd name="connsiteX2" fmla="*/ 0 w 15454"/>
                    <a:gd name="connsiteY2" fmla="*/ 5827 h 11528"/>
                    <a:gd name="connsiteX3" fmla="*/ 7727 w 15454"/>
                    <a:gd name="connsiteY3" fmla="*/ 0 h 11528"/>
                    <a:gd name="connsiteX4" fmla="*/ 15455 w 15454"/>
                    <a:gd name="connsiteY4" fmla="*/ 5827 h 1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54" h="11528">
                      <a:moveTo>
                        <a:pt x="15455" y="5827"/>
                      </a:moveTo>
                      <a:cubicBezTo>
                        <a:pt x="15455" y="8995"/>
                        <a:pt x="12035" y="11528"/>
                        <a:pt x="7727" y="11528"/>
                      </a:cubicBezTo>
                      <a:cubicBezTo>
                        <a:pt x="3421" y="11528"/>
                        <a:pt x="0" y="8995"/>
                        <a:pt x="0" y="5827"/>
                      </a:cubicBezTo>
                      <a:cubicBezTo>
                        <a:pt x="0" y="2660"/>
                        <a:pt x="3547" y="0"/>
                        <a:pt x="7727" y="0"/>
                      </a:cubicBezTo>
                      <a:cubicBezTo>
                        <a:pt x="11908" y="0"/>
                        <a:pt x="15455" y="2660"/>
                        <a:pt x="15455" y="582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4" name="Полилиния: фигура 583">
                  <a:extLst>
                    <a:ext uri="{FF2B5EF4-FFF2-40B4-BE49-F238E27FC236}">
                      <a16:creationId xmlns:a16="http://schemas.microsoft.com/office/drawing/2014/main" id="{D924B49C-C6E7-4FAB-8345-F7DB84DB9947}"/>
                    </a:ext>
                  </a:extLst>
                </p:cNvPr>
                <p:cNvSpPr/>
                <p:nvPr/>
              </p:nvSpPr>
              <p:spPr>
                <a:xfrm>
                  <a:off x="7383646" y="2061933"/>
                  <a:ext cx="10134" cy="13175"/>
                </a:xfrm>
                <a:custGeom>
                  <a:avLst/>
                  <a:gdLst>
                    <a:gd name="connsiteX0" fmla="*/ 10134 w 10134"/>
                    <a:gd name="connsiteY0" fmla="*/ 6588 h 13175"/>
                    <a:gd name="connsiteX1" fmla="*/ 5067 w 10134"/>
                    <a:gd name="connsiteY1" fmla="*/ 13175 h 13175"/>
                    <a:gd name="connsiteX2" fmla="*/ 0 w 10134"/>
                    <a:gd name="connsiteY2" fmla="*/ 6588 h 13175"/>
                    <a:gd name="connsiteX3" fmla="*/ 5067 w 10134"/>
                    <a:gd name="connsiteY3" fmla="*/ 0 h 13175"/>
                    <a:gd name="connsiteX4" fmla="*/ 10134 w 10134"/>
                    <a:gd name="connsiteY4" fmla="*/ 6588 h 13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4" h="13175">
                      <a:moveTo>
                        <a:pt x="10134" y="6588"/>
                      </a:moveTo>
                      <a:cubicBezTo>
                        <a:pt x="10134" y="10261"/>
                        <a:pt x="7854" y="13175"/>
                        <a:pt x="5067" y="13175"/>
                      </a:cubicBezTo>
                      <a:cubicBezTo>
                        <a:pt x="2280" y="13175"/>
                        <a:pt x="0" y="10261"/>
                        <a:pt x="0" y="6588"/>
                      </a:cubicBezTo>
                      <a:cubicBezTo>
                        <a:pt x="0" y="2914"/>
                        <a:pt x="2280" y="0"/>
                        <a:pt x="5067" y="0"/>
                      </a:cubicBezTo>
                      <a:cubicBezTo>
                        <a:pt x="7854" y="0"/>
                        <a:pt x="10134" y="2914"/>
                        <a:pt x="10134" y="658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5" name="Полилиния: фигура 584">
                  <a:extLst>
                    <a:ext uri="{FF2B5EF4-FFF2-40B4-BE49-F238E27FC236}">
                      <a16:creationId xmlns:a16="http://schemas.microsoft.com/office/drawing/2014/main" id="{916D3C73-265F-49B2-962A-FDB7923000CD}"/>
                    </a:ext>
                  </a:extLst>
                </p:cNvPr>
                <p:cNvSpPr/>
                <p:nvPr/>
              </p:nvSpPr>
              <p:spPr>
                <a:xfrm>
                  <a:off x="7187541" y="2120713"/>
                  <a:ext cx="29137" cy="18749"/>
                </a:xfrm>
                <a:custGeom>
                  <a:avLst/>
                  <a:gdLst>
                    <a:gd name="connsiteX0" fmla="*/ 29138 w 29137"/>
                    <a:gd name="connsiteY0" fmla="*/ 9375 h 18749"/>
                    <a:gd name="connsiteX1" fmla="*/ 14569 w 29137"/>
                    <a:gd name="connsiteY1" fmla="*/ 18749 h 18749"/>
                    <a:gd name="connsiteX2" fmla="*/ 0 w 29137"/>
                    <a:gd name="connsiteY2" fmla="*/ 9375 h 18749"/>
                    <a:gd name="connsiteX3" fmla="*/ 14569 w 29137"/>
                    <a:gd name="connsiteY3" fmla="*/ 0 h 18749"/>
                    <a:gd name="connsiteX4" fmla="*/ 29138 w 29137"/>
                    <a:gd name="connsiteY4" fmla="*/ 9375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37" h="18749">
                      <a:moveTo>
                        <a:pt x="29138" y="9375"/>
                      </a:moveTo>
                      <a:cubicBezTo>
                        <a:pt x="29138" y="14569"/>
                        <a:pt x="22677" y="18749"/>
                        <a:pt x="14569" y="18749"/>
                      </a:cubicBezTo>
                      <a:cubicBezTo>
                        <a:pt x="6588" y="18749"/>
                        <a:pt x="0" y="14569"/>
                        <a:pt x="0" y="9375"/>
                      </a:cubicBezTo>
                      <a:cubicBezTo>
                        <a:pt x="0" y="4181"/>
                        <a:pt x="6461" y="0"/>
                        <a:pt x="14569" y="0"/>
                      </a:cubicBezTo>
                      <a:cubicBezTo>
                        <a:pt x="22677" y="0"/>
                        <a:pt x="29138" y="4181"/>
                        <a:pt x="29138" y="937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6" name="Полилиния: фигура 585">
                  <a:extLst>
                    <a:ext uri="{FF2B5EF4-FFF2-40B4-BE49-F238E27FC236}">
                      <a16:creationId xmlns:a16="http://schemas.microsoft.com/office/drawing/2014/main" id="{54C3CDE1-4B12-4157-A756-96DF04500D18}"/>
                    </a:ext>
                  </a:extLst>
                </p:cNvPr>
                <p:cNvSpPr/>
                <p:nvPr/>
              </p:nvSpPr>
              <p:spPr>
                <a:xfrm>
                  <a:off x="7391500" y="1972241"/>
                  <a:ext cx="18242" cy="18749"/>
                </a:xfrm>
                <a:custGeom>
                  <a:avLst/>
                  <a:gdLst>
                    <a:gd name="connsiteX0" fmla="*/ 18242 w 18242"/>
                    <a:gd name="connsiteY0" fmla="*/ 9374 h 18749"/>
                    <a:gd name="connsiteX1" fmla="*/ 9121 w 18242"/>
                    <a:gd name="connsiteY1" fmla="*/ 18749 h 18749"/>
                    <a:gd name="connsiteX2" fmla="*/ 0 w 18242"/>
                    <a:gd name="connsiteY2" fmla="*/ 9374 h 18749"/>
                    <a:gd name="connsiteX3" fmla="*/ 9121 w 18242"/>
                    <a:gd name="connsiteY3" fmla="*/ 0 h 18749"/>
                    <a:gd name="connsiteX4" fmla="*/ 18242 w 18242"/>
                    <a:gd name="connsiteY4" fmla="*/ 9374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 h="18749">
                      <a:moveTo>
                        <a:pt x="18242" y="9374"/>
                      </a:moveTo>
                      <a:cubicBezTo>
                        <a:pt x="18242" y="14569"/>
                        <a:pt x="14188" y="18749"/>
                        <a:pt x="9121" y="18749"/>
                      </a:cubicBezTo>
                      <a:cubicBezTo>
                        <a:pt x="4054" y="18749"/>
                        <a:pt x="0" y="14569"/>
                        <a:pt x="0" y="9374"/>
                      </a:cubicBezTo>
                      <a:cubicBezTo>
                        <a:pt x="0" y="4181"/>
                        <a:pt x="4054" y="0"/>
                        <a:pt x="9121" y="0"/>
                      </a:cubicBezTo>
                      <a:cubicBezTo>
                        <a:pt x="14188" y="0"/>
                        <a:pt x="18242" y="4181"/>
                        <a:pt x="18242" y="93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7" name="Полилиния: фигура 586">
                  <a:extLst>
                    <a:ext uri="{FF2B5EF4-FFF2-40B4-BE49-F238E27FC236}">
                      <a16:creationId xmlns:a16="http://schemas.microsoft.com/office/drawing/2014/main" id="{CB997AC0-92C0-4D82-906C-B9A12D47DEBB}"/>
                    </a:ext>
                  </a:extLst>
                </p:cNvPr>
                <p:cNvSpPr/>
                <p:nvPr/>
              </p:nvSpPr>
              <p:spPr>
                <a:xfrm>
                  <a:off x="7443566" y="1475519"/>
                  <a:ext cx="9881" cy="7347"/>
                </a:xfrm>
                <a:custGeom>
                  <a:avLst/>
                  <a:gdLst>
                    <a:gd name="connsiteX0" fmla="*/ 9882 w 9881"/>
                    <a:gd name="connsiteY0" fmla="*/ 3674 h 7347"/>
                    <a:gd name="connsiteX1" fmla="*/ 4941 w 9881"/>
                    <a:gd name="connsiteY1" fmla="*/ 7348 h 7347"/>
                    <a:gd name="connsiteX2" fmla="*/ 0 w 9881"/>
                    <a:gd name="connsiteY2" fmla="*/ 3674 h 7347"/>
                    <a:gd name="connsiteX3" fmla="*/ 4941 w 9881"/>
                    <a:gd name="connsiteY3" fmla="*/ 0 h 7347"/>
                    <a:gd name="connsiteX4" fmla="*/ 9882 w 9881"/>
                    <a:gd name="connsiteY4" fmla="*/ 3674 h 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7347">
                      <a:moveTo>
                        <a:pt x="9882" y="3674"/>
                      </a:moveTo>
                      <a:cubicBezTo>
                        <a:pt x="9882" y="5701"/>
                        <a:pt x="7601" y="7348"/>
                        <a:pt x="4941" y="7348"/>
                      </a:cubicBezTo>
                      <a:cubicBezTo>
                        <a:pt x="2153" y="7348"/>
                        <a:pt x="0" y="5701"/>
                        <a:pt x="0" y="3674"/>
                      </a:cubicBezTo>
                      <a:cubicBezTo>
                        <a:pt x="0" y="1647"/>
                        <a:pt x="2153" y="0"/>
                        <a:pt x="4941" y="0"/>
                      </a:cubicBezTo>
                      <a:cubicBezTo>
                        <a:pt x="7601" y="0"/>
                        <a:pt x="9882" y="1647"/>
                        <a:pt x="9882" y="367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8" name="Полилиния: фигура 587">
                  <a:extLst>
                    <a:ext uri="{FF2B5EF4-FFF2-40B4-BE49-F238E27FC236}">
                      <a16:creationId xmlns:a16="http://schemas.microsoft.com/office/drawing/2014/main" id="{0A8EEE66-29E2-44F5-828A-58015FC91ED2}"/>
                    </a:ext>
                  </a:extLst>
                </p:cNvPr>
                <p:cNvSpPr/>
                <p:nvPr/>
              </p:nvSpPr>
              <p:spPr>
                <a:xfrm>
                  <a:off x="7571263" y="1572553"/>
                  <a:ext cx="10894" cy="8873"/>
                </a:xfrm>
                <a:custGeom>
                  <a:avLst/>
                  <a:gdLst>
                    <a:gd name="connsiteX0" fmla="*/ 10895 w 10894"/>
                    <a:gd name="connsiteY0" fmla="*/ 4440 h 8873"/>
                    <a:gd name="connsiteX1" fmla="*/ 5447 w 10894"/>
                    <a:gd name="connsiteY1" fmla="*/ 8873 h 8873"/>
                    <a:gd name="connsiteX2" fmla="*/ 0 w 10894"/>
                    <a:gd name="connsiteY2" fmla="*/ 4440 h 8873"/>
                    <a:gd name="connsiteX3" fmla="*/ 5447 w 10894"/>
                    <a:gd name="connsiteY3" fmla="*/ 6 h 8873"/>
                    <a:gd name="connsiteX4" fmla="*/ 10895 w 10894"/>
                    <a:gd name="connsiteY4" fmla="*/ 4440 h 8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8873">
                      <a:moveTo>
                        <a:pt x="10895" y="4440"/>
                      </a:moveTo>
                      <a:cubicBezTo>
                        <a:pt x="10895" y="6846"/>
                        <a:pt x="8488" y="8873"/>
                        <a:pt x="5447" y="8873"/>
                      </a:cubicBezTo>
                      <a:cubicBezTo>
                        <a:pt x="2407" y="8873"/>
                        <a:pt x="0" y="6846"/>
                        <a:pt x="0" y="4440"/>
                      </a:cubicBezTo>
                      <a:cubicBezTo>
                        <a:pt x="0" y="2033"/>
                        <a:pt x="2407" y="6"/>
                        <a:pt x="5447" y="6"/>
                      </a:cubicBezTo>
                      <a:cubicBezTo>
                        <a:pt x="8361" y="-121"/>
                        <a:pt x="10895" y="1906"/>
                        <a:pt x="10895" y="444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89" name="Полилиния: фигура 588">
                  <a:extLst>
                    <a:ext uri="{FF2B5EF4-FFF2-40B4-BE49-F238E27FC236}">
                      <a16:creationId xmlns:a16="http://schemas.microsoft.com/office/drawing/2014/main" id="{60C64996-9FEC-4E41-948C-F840F2A01633}"/>
                    </a:ext>
                  </a:extLst>
                </p:cNvPr>
                <p:cNvSpPr/>
                <p:nvPr/>
              </p:nvSpPr>
              <p:spPr>
                <a:xfrm>
                  <a:off x="7585705" y="1545321"/>
                  <a:ext cx="8360" cy="8867"/>
                </a:xfrm>
                <a:custGeom>
                  <a:avLst/>
                  <a:gdLst>
                    <a:gd name="connsiteX0" fmla="*/ 8361 w 8360"/>
                    <a:gd name="connsiteY0" fmla="*/ 4434 h 8867"/>
                    <a:gd name="connsiteX1" fmla="*/ 4180 w 8360"/>
                    <a:gd name="connsiteY1" fmla="*/ 8868 h 8867"/>
                    <a:gd name="connsiteX2" fmla="*/ 0 w 8360"/>
                    <a:gd name="connsiteY2" fmla="*/ 4434 h 8867"/>
                    <a:gd name="connsiteX3" fmla="*/ 4180 w 8360"/>
                    <a:gd name="connsiteY3" fmla="*/ 0 h 8867"/>
                    <a:gd name="connsiteX4" fmla="*/ 8361 w 8360"/>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8867">
                      <a:moveTo>
                        <a:pt x="8361" y="4434"/>
                      </a:moveTo>
                      <a:cubicBezTo>
                        <a:pt x="8361" y="6967"/>
                        <a:pt x="6460" y="8868"/>
                        <a:pt x="4180" y="8868"/>
                      </a:cubicBezTo>
                      <a:cubicBezTo>
                        <a:pt x="1900" y="8868"/>
                        <a:pt x="0" y="6841"/>
                        <a:pt x="0" y="4434"/>
                      </a:cubicBezTo>
                      <a:cubicBezTo>
                        <a:pt x="0" y="2027"/>
                        <a:pt x="1900" y="0"/>
                        <a:pt x="4180" y="0"/>
                      </a:cubicBezTo>
                      <a:cubicBezTo>
                        <a:pt x="6460" y="0"/>
                        <a:pt x="8361" y="1900"/>
                        <a:pt x="8361" y="44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0" name="Полилиния: фигура 589">
                  <a:extLst>
                    <a:ext uri="{FF2B5EF4-FFF2-40B4-BE49-F238E27FC236}">
                      <a16:creationId xmlns:a16="http://schemas.microsoft.com/office/drawing/2014/main" id="{446CF712-477A-4BF5-B253-865ADC29A989}"/>
                    </a:ext>
                  </a:extLst>
                </p:cNvPr>
                <p:cNvSpPr/>
                <p:nvPr/>
              </p:nvSpPr>
              <p:spPr>
                <a:xfrm>
                  <a:off x="7423298" y="1457657"/>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8107" y="8868"/>
                        <a:pt x="5194" y="8868"/>
                      </a:cubicBezTo>
                      <a:cubicBezTo>
                        <a:pt x="2280" y="8868"/>
                        <a:pt x="0" y="6841"/>
                        <a:pt x="0" y="4434"/>
                      </a:cubicBezTo>
                      <a:cubicBezTo>
                        <a:pt x="0" y="1900"/>
                        <a:pt x="2280" y="0"/>
                        <a:pt x="5194" y="0"/>
                      </a:cubicBezTo>
                      <a:cubicBezTo>
                        <a:pt x="7981" y="0"/>
                        <a:pt x="10388" y="2027"/>
                        <a:pt x="10388" y="44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1" name="Полилиния: фигура 590">
                  <a:extLst>
                    <a:ext uri="{FF2B5EF4-FFF2-40B4-BE49-F238E27FC236}">
                      <a16:creationId xmlns:a16="http://schemas.microsoft.com/office/drawing/2014/main" id="{B8E88C36-81B1-45DC-8571-B8FBD9347CE4}"/>
                    </a:ext>
                  </a:extLst>
                </p:cNvPr>
                <p:cNvSpPr/>
                <p:nvPr/>
              </p:nvSpPr>
              <p:spPr>
                <a:xfrm>
                  <a:off x="7417470" y="1482987"/>
                  <a:ext cx="5827" cy="7860"/>
                </a:xfrm>
                <a:custGeom>
                  <a:avLst/>
                  <a:gdLst>
                    <a:gd name="connsiteX0" fmla="*/ 5828 w 5827"/>
                    <a:gd name="connsiteY0" fmla="*/ 3934 h 7860"/>
                    <a:gd name="connsiteX1" fmla="*/ 2913 w 5827"/>
                    <a:gd name="connsiteY1" fmla="*/ 7861 h 7860"/>
                    <a:gd name="connsiteX2" fmla="*/ 0 w 5827"/>
                    <a:gd name="connsiteY2" fmla="*/ 3934 h 7860"/>
                    <a:gd name="connsiteX3" fmla="*/ 2913 w 5827"/>
                    <a:gd name="connsiteY3" fmla="*/ 6 h 7860"/>
                    <a:gd name="connsiteX4" fmla="*/ 5828 w 5827"/>
                    <a:gd name="connsiteY4" fmla="*/ 3934 h 7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7" h="7860">
                      <a:moveTo>
                        <a:pt x="5828" y="3934"/>
                      </a:moveTo>
                      <a:cubicBezTo>
                        <a:pt x="5828" y="6087"/>
                        <a:pt x="4434" y="7861"/>
                        <a:pt x="2913" y="7861"/>
                      </a:cubicBezTo>
                      <a:cubicBezTo>
                        <a:pt x="1267" y="7861"/>
                        <a:pt x="0" y="6087"/>
                        <a:pt x="0" y="3934"/>
                      </a:cubicBezTo>
                      <a:cubicBezTo>
                        <a:pt x="0" y="1780"/>
                        <a:pt x="1393" y="6"/>
                        <a:pt x="2913" y="6"/>
                      </a:cubicBezTo>
                      <a:cubicBezTo>
                        <a:pt x="4434" y="-120"/>
                        <a:pt x="5828" y="1653"/>
                        <a:pt x="5828" y="39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2" name="Полилиния: фигура 591">
                  <a:extLst>
                    <a:ext uri="{FF2B5EF4-FFF2-40B4-BE49-F238E27FC236}">
                      <a16:creationId xmlns:a16="http://schemas.microsoft.com/office/drawing/2014/main" id="{E4B5A647-5124-450B-883D-58F0FE5EA132}"/>
                    </a:ext>
                  </a:extLst>
                </p:cNvPr>
                <p:cNvSpPr/>
                <p:nvPr/>
              </p:nvSpPr>
              <p:spPr>
                <a:xfrm>
                  <a:off x="7324359" y="1444736"/>
                  <a:ext cx="39524" cy="21789"/>
                </a:xfrm>
                <a:custGeom>
                  <a:avLst/>
                  <a:gdLst>
                    <a:gd name="connsiteX0" fmla="*/ 39525 w 39524"/>
                    <a:gd name="connsiteY0" fmla="*/ 10895 h 21789"/>
                    <a:gd name="connsiteX1" fmla="*/ 19762 w 39524"/>
                    <a:gd name="connsiteY1" fmla="*/ 21789 h 21789"/>
                    <a:gd name="connsiteX2" fmla="*/ 0 w 39524"/>
                    <a:gd name="connsiteY2" fmla="*/ 10895 h 21789"/>
                    <a:gd name="connsiteX3" fmla="*/ 19762 w 39524"/>
                    <a:gd name="connsiteY3" fmla="*/ 0 h 21789"/>
                    <a:gd name="connsiteX4" fmla="*/ 39525 w 39524"/>
                    <a:gd name="connsiteY4" fmla="*/ 10895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24" h="21789">
                      <a:moveTo>
                        <a:pt x="39525" y="10895"/>
                      </a:moveTo>
                      <a:cubicBezTo>
                        <a:pt x="39525" y="16975"/>
                        <a:pt x="30657" y="21789"/>
                        <a:pt x="19762" y="21789"/>
                      </a:cubicBezTo>
                      <a:cubicBezTo>
                        <a:pt x="8867" y="21789"/>
                        <a:pt x="0" y="16975"/>
                        <a:pt x="0" y="10895"/>
                      </a:cubicBezTo>
                      <a:cubicBezTo>
                        <a:pt x="0" y="4941"/>
                        <a:pt x="8867" y="0"/>
                        <a:pt x="19762" y="0"/>
                      </a:cubicBezTo>
                      <a:cubicBezTo>
                        <a:pt x="30657" y="0"/>
                        <a:pt x="39525" y="4941"/>
                        <a:pt x="39525" y="1089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3" name="Полилиния: фигура 592">
                  <a:extLst>
                    <a:ext uri="{FF2B5EF4-FFF2-40B4-BE49-F238E27FC236}">
                      <a16:creationId xmlns:a16="http://schemas.microsoft.com/office/drawing/2014/main" id="{F0BEDC4F-1642-4057-ABC6-FE745BEBC531}"/>
                    </a:ext>
                  </a:extLst>
                </p:cNvPr>
                <p:cNvSpPr/>
                <p:nvPr/>
              </p:nvSpPr>
              <p:spPr>
                <a:xfrm>
                  <a:off x="7379719" y="1762455"/>
                  <a:ext cx="10388" cy="13428"/>
                </a:xfrm>
                <a:custGeom>
                  <a:avLst/>
                  <a:gdLst>
                    <a:gd name="connsiteX0" fmla="*/ 10388 w 10388"/>
                    <a:gd name="connsiteY0" fmla="*/ 6714 h 13428"/>
                    <a:gd name="connsiteX1" fmla="*/ 5194 w 10388"/>
                    <a:gd name="connsiteY1" fmla="*/ 13428 h 13428"/>
                    <a:gd name="connsiteX2" fmla="*/ 0 w 10388"/>
                    <a:gd name="connsiteY2" fmla="*/ 6714 h 13428"/>
                    <a:gd name="connsiteX3" fmla="*/ 5194 w 10388"/>
                    <a:gd name="connsiteY3" fmla="*/ 0 h 13428"/>
                    <a:gd name="connsiteX4" fmla="*/ 10388 w 10388"/>
                    <a:gd name="connsiteY4" fmla="*/ 6714 h 1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13428">
                      <a:moveTo>
                        <a:pt x="10388" y="6714"/>
                      </a:moveTo>
                      <a:cubicBezTo>
                        <a:pt x="10388" y="10388"/>
                        <a:pt x="8107" y="13428"/>
                        <a:pt x="5194" y="13428"/>
                      </a:cubicBezTo>
                      <a:cubicBezTo>
                        <a:pt x="2280" y="13428"/>
                        <a:pt x="0" y="10388"/>
                        <a:pt x="0" y="6714"/>
                      </a:cubicBezTo>
                      <a:cubicBezTo>
                        <a:pt x="0" y="3040"/>
                        <a:pt x="2280" y="0"/>
                        <a:pt x="5194" y="0"/>
                      </a:cubicBezTo>
                      <a:cubicBezTo>
                        <a:pt x="8107" y="0"/>
                        <a:pt x="10388" y="3040"/>
                        <a:pt x="10388" y="67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4" name="Полилиния: фигура 593">
                  <a:extLst>
                    <a:ext uri="{FF2B5EF4-FFF2-40B4-BE49-F238E27FC236}">
                      <a16:creationId xmlns:a16="http://schemas.microsoft.com/office/drawing/2014/main" id="{DDBACD25-331C-40CD-A8AF-B7A0BC8A9213}"/>
                    </a:ext>
                  </a:extLst>
                </p:cNvPr>
                <p:cNvSpPr/>
                <p:nvPr/>
              </p:nvSpPr>
              <p:spPr>
                <a:xfrm>
                  <a:off x="7352988" y="1754094"/>
                  <a:ext cx="8867" cy="8361"/>
                </a:xfrm>
                <a:custGeom>
                  <a:avLst/>
                  <a:gdLst>
                    <a:gd name="connsiteX0" fmla="*/ 8868 w 8867"/>
                    <a:gd name="connsiteY0" fmla="*/ 4181 h 8361"/>
                    <a:gd name="connsiteX1" fmla="*/ 4434 w 8867"/>
                    <a:gd name="connsiteY1" fmla="*/ 8361 h 8361"/>
                    <a:gd name="connsiteX2" fmla="*/ 0 w 8867"/>
                    <a:gd name="connsiteY2" fmla="*/ 4181 h 8361"/>
                    <a:gd name="connsiteX3" fmla="*/ 4434 w 8867"/>
                    <a:gd name="connsiteY3" fmla="*/ 0 h 8361"/>
                    <a:gd name="connsiteX4" fmla="*/ 8868 w 8867"/>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8361">
                      <a:moveTo>
                        <a:pt x="8868" y="4181"/>
                      </a:moveTo>
                      <a:cubicBezTo>
                        <a:pt x="8868" y="6588"/>
                        <a:pt x="6841" y="8361"/>
                        <a:pt x="4434" y="8361"/>
                      </a:cubicBezTo>
                      <a:cubicBezTo>
                        <a:pt x="2027" y="8361"/>
                        <a:pt x="0" y="6461"/>
                        <a:pt x="0" y="4181"/>
                      </a:cubicBezTo>
                      <a:cubicBezTo>
                        <a:pt x="0" y="1900"/>
                        <a:pt x="2027" y="0"/>
                        <a:pt x="4434" y="0"/>
                      </a:cubicBezTo>
                      <a:cubicBezTo>
                        <a:pt x="6841" y="0"/>
                        <a:pt x="8868" y="1900"/>
                        <a:pt x="8868" y="41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5" name="Полилиния: фигура 594">
                  <a:extLst>
                    <a:ext uri="{FF2B5EF4-FFF2-40B4-BE49-F238E27FC236}">
                      <a16:creationId xmlns:a16="http://schemas.microsoft.com/office/drawing/2014/main" id="{A099809C-5A1F-4075-B636-56A4771B0EBC}"/>
                    </a:ext>
                  </a:extLst>
                </p:cNvPr>
                <p:cNvSpPr/>
                <p:nvPr/>
              </p:nvSpPr>
              <p:spPr>
                <a:xfrm>
                  <a:off x="7327272" y="1745226"/>
                  <a:ext cx="8360" cy="13174"/>
                </a:xfrm>
                <a:custGeom>
                  <a:avLst/>
                  <a:gdLst>
                    <a:gd name="connsiteX0" fmla="*/ 8361 w 8360"/>
                    <a:gd name="connsiteY0" fmla="*/ 6587 h 13174"/>
                    <a:gd name="connsiteX1" fmla="*/ 4181 w 8360"/>
                    <a:gd name="connsiteY1" fmla="*/ 13175 h 13174"/>
                    <a:gd name="connsiteX2" fmla="*/ 0 w 8360"/>
                    <a:gd name="connsiteY2" fmla="*/ 6587 h 13174"/>
                    <a:gd name="connsiteX3" fmla="*/ 4181 w 8360"/>
                    <a:gd name="connsiteY3" fmla="*/ 0 h 13174"/>
                    <a:gd name="connsiteX4" fmla="*/ 8361 w 8360"/>
                    <a:gd name="connsiteY4" fmla="*/ 6587 h 1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 h="13174">
                      <a:moveTo>
                        <a:pt x="8361" y="6587"/>
                      </a:moveTo>
                      <a:cubicBezTo>
                        <a:pt x="8361" y="10261"/>
                        <a:pt x="6461" y="13175"/>
                        <a:pt x="4181" y="13175"/>
                      </a:cubicBezTo>
                      <a:cubicBezTo>
                        <a:pt x="1901" y="13175"/>
                        <a:pt x="0" y="10261"/>
                        <a:pt x="0" y="6587"/>
                      </a:cubicBezTo>
                      <a:cubicBezTo>
                        <a:pt x="0" y="2914"/>
                        <a:pt x="1901" y="0"/>
                        <a:pt x="4181" y="0"/>
                      </a:cubicBezTo>
                      <a:cubicBezTo>
                        <a:pt x="6461" y="0"/>
                        <a:pt x="8361" y="2914"/>
                        <a:pt x="8361" y="65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6" name="Полилиния: фигура 595">
                  <a:extLst>
                    <a:ext uri="{FF2B5EF4-FFF2-40B4-BE49-F238E27FC236}">
                      <a16:creationId xmlns:a16="http://schemas.microsoft.com/office/drawing/2014/main" id="{F626B7FB-93BB-4410-A4F0-9907B8862982}"/>
                    </a:ext>
                  </a:extLst>
                </p:cNvPr>
                <p:cNvSpPr/>
                <p:nvPr/>
              </p:nvSpPr>
              <p:spPr>
                <a:xfrm>
                  <a:off x="7317898" y="1727871"/>
                  <a:ext cx="9374" cy="17228"/>
                </a:xfrm>
                <a:custGeom>
                  <a:avLst/>
                  <a:gdLst>
                    <a:gd name="connsiteX0" fmla="*/ 9374 w 9374"/>
                    <a:gd name="connsiteY0" fmla="*/ 8614 h 17228"/>
                    <a:gd name="connsiteX1" fmla="*/ 4687 w 9374"/>
                    <a:gd name="connsiteY1" fmla="*/ 17229 h 17228"/>
                    <a:gd name="connsiteX2" fmla="*/ 0 w 9374"/>
                    <a:gd name="connsiteY2" fmla="*/ 8614 h 17228"/>
                    <a:gd name="connsiteX3" fmla="*/ 4687 w 9374"/>
                    <a:gd name="connsiteY3" fmla="*/ 0 h 17228"/>
                    <a:gd name="connsiteX4" fmla="*/ 9374 w 9374"/>
                    <a:gd name="connsiteY4" fmla="*/ 8614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4" h="17228">
                      <a:moveTo>
                        <a:pt x="9374" y="8614"/>
                      </a:moveTo>
                      <a:cubicBezTo>
                        <a:pt x="9374" y="13428"/>
                        <a:pt x="7221" y="17229"/>
                        <a:pt x="4687" y="17229"/>
                      </a:cubicBezTo>
                      <a:cubicBezTo>
                        <a:pt x="2153" y="17229"/>
                        <a:pt x="0" y="13302"/>
                        <a:pt x="0" y="8614"/>
                      </a:cubicBezTo>
                      <a:cubicBezTo>
                        <a:pt x="0" y="3801"/>
                        <a:pt x="2153" y="0"/>
                        <a:pt x="4687" y="0"/>
                      </a:cubicBezTo>
                      <a:cubicBezTo>
                        <a:pt x="7221" y="0"/>
                        <a:pt x="9374" y="3927"/>
                        <a:pt x="9374" y="86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7" name="Полилиния: фигура 596">
                  <a:extLst>
                    <a:ext uri="{FF2B5EF4-FFF2-40B4-BE49-F238E27FC236}">
                      <a16:creationId xmlns:a16="http://schemas.microsoft.com/office/drawing/2014/main" id="{0AF7ECCA-AF97-42FA-961C-4DB48D11FB68}"/>
                    </a:ext>
                  </a:extLst>
                </p:cNvPr>
                <p:cNvSpPr/>
                <p:nvPr/>
              </p:nvSpPr>
              <p:spPr>
                <a:xfrm>
                  <a:off x="7339180" y="1715076"/>
                  <a:ext cx="10388" cy="8867"/>
                </a:xfrm>
                <a:custGeom>
                  <a:avLst/>
                  <a:gdLst>
                    <a:gd name="connsiteX0" fmla="*/ 10388 w 10388"/>
                    <a:gd name="connsiteY0" fmla="*/ 4434 h 8867"/>
                    <a:gd name="connsiteX1" fmla="*/ 5194 w 10388"/>
                    <a:gd name="connsiteY1" fmla="*/ 8868 h 8867"/>
                    <a:gd name="connsiteX2" fmla="*/ 0 w 10388"/>
                    <a:gd name="connsiteY2" fmla="*/ 4434 h 8867"/>
                    <a:gd name="connsiteX3" fmla="*/ 5194 w 10388"/>
                    <a:gd name="connsiteY3" fmla="*/ 0 h 8867"/>
                    <a:gd name="connsiteX4" fmla="*/ 10388 w 10388"/>
                    <a:gd name="connsiteY4" fmla="*/ 4434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8" h="8867">
                      <a:moveTo>
                        <a:pt x="10388" y="4434"/>
                      </a:moveTo>
                      <a:cubicBezTo>
                        <a:pt x="10388" y="6841"/>
                        <a:pt x="7981" y="8868"/>
                        <a:pt x="5194" y="8868"/>
                      </a:cubicBezTo>
                      <a:cubicBezTo>
                        <a:pt x="2280" y="8868"/>
                        <a:pt x="0" y="6841"/>
                        <a:pt x="0" y="4434"/>
                      </a:cubicBezTo>
                      <a:cubicBezTo>
                        <a:pt x="0" y="2027"/>
                        <a:pt x="2280" y="0"/>
                        <a:pt x="5194" y="0"/>
                      </a:cubicBezTo>
                      <a:cubicBezTo>
                        <a:pt x="7981" y="0"/>
                        <a:pt x="10388" y="1900"/>
                        <a:pt x="10388" y="44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8" name="Полилиния: фигура 597">
                  <a:extLst>
                    <a:ext uri="{FF2B5EF4-FFF2-40B4-BE49-F238E27FC236}">
                      <a16:creationId xmlns:a16="http://schemas.microsoft.com/office/drawing/2014/main" id="{DC66EE30-7C4A-4FA1-8FAC-CEE0877C4187}"/>
                    </a:ext>
                  </a:extLst>
                </p:cNvPr>
                <p:cNvSpPr/>
                <p:nvPr/>
              </p:nvSpPr>
              <p:spPr>
                <a:xfrm>
                  <a:off x="7327513" y="1637602"/>
                  <a:ext cx="88754" cy="87981"/>
                </a:xfrm>
                <a:custGeom>
                  <a:avLst/>
                  <a:gdLst>
                    <a:gd name="connsiteX0" fmla="*/ 7233 w 88754"/>
                    <a:gd name="connsiteY0" fmla="*/ 39343 h 87981"/>
                    <a:gd name="connsiteX1" fmla="*/ 5840 w 88754"/>
                    <a:gd name="connsiteY1" fmla="*/ 3111 h 87981"/>
                    <a:gd name="connsiteX2" fmla="*/ 46378 w 88754"/>
                    <a:gd name="connsiteY2" fmla="*/ 19200 h 87981"/>
                    <a:gd name="connsiteX3" fmla="*/ 63607 w 88754"/>
                    <a:gd name="connsiteY3" fmla="*/ 36682 h 87981"/>
                    <a:gd name="connsiteX4" fmla="*/ 84510 w 88754"/>
                    <a:gd name="connsiteY4" fmla="*/ 50617 h 87981"/>
                    <a:gd name="connsiteX5" fmla="*/ 83876 w 88754"/>
                    <a:gd name="connsiteY5" fmla="*/ 74687 h 87981"/>
                    <a:gd name="connsiteX6" fmla="*/ 69561 w 88754"/>
                    <a:gd name="connsiteY6" fmla="*/ 84568 h 87981"/>
                    <a:gd name="connsiteX7" fmla="*/ 56513 w 88754"/>
                    <a:gd name="connsiteY7" fmla="*/ 87355 h 87981"/>
                    <a:gd name="connsiteX8" fmla="*/ 42197 w 88754"/>
                    <a:gd name="connsiteY8" fmla="*/ 74814 h 87981"/>
                    <a:gd name="connsiteX9" fmla="*/ 31557 w 88754"/>
                    <a:gd name="connsiteY9" fmla="*/ 67086 h 87981"/>
                    <a:gd name="connsiteX10" fmla="*/ 7233 w 88754"/>
                    <a:gd name="connsiteY10" fmla="*/ 39343 h 8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4" h="87981">
                      <a:moveTo>
                        <a:pt x="7233" y="39343"/>
                      </a:moveTo>
                      <a:cubicBezTo>
                        <a:pt x="1026" y="29208"/>
                        <a:pt x="-4675" y="12866"/>
                        <a:pt x="5840" y="3111"/>
                      </a:cubicBezTo>
                      <a:cubicBezTo>
                        <a:pt x="17241" y="-7403"/>
                        <a:pt x="38270" y="11472"/>
                        <a:pt x="46378" y="19200"/>
                      </a:cubicBezTo>
                      <a:cubicBezTo>
                        <a:pt x="52333" y="24901"/>
                        <a:pt x="57273" y="31362"/>
                        <a:pt x="63607" y="36682"/>
                      </a:cubicBezTo>
                      <a:cubicBezTo>
                        <a:pt x="70068" y="42003"/>
                        <a:pt x="78429" y="45043"/>
                        <a:pt x="84510" y="50617"/>
                      </a:cubicBezTo>
                      <a:cubicBezTo>
                        <a:pt x="91604" y="57078"/>
                        <a:pt x="88690" y="67593"/>
                        <a:pt x="83876" y="74687"/>
                      </a:cubicBezTo>
                      <a:cubicBezTo>
                        <a:pt x="80202" y="80134"/>
                        <a:pt x="75642" y="82541"/>
                        <a:pt x="69561" y="84568"/>
                      </a:cubicBezTo>
                      <a:cubicBezTo>
                        <a:pt x="65254" y="85962"/>
                        <a:pt x="60947" y="89382"/>
                        <a:pt x="56513" y="87355"/>
                      </a:cubicBezTo>
                      <a:cubicBezTo>
                        <a:pt x="50559" y="84695"/>
                        <a:pt x="46505" y="79501"/>
                        <a:pt x="42197" y="74814"/>
                      </a:cubicBezTo>
                      <a:cubicBezTo>
                        <a:pt x="38904" y="71393"/>
                        <a:pt x="35230" y="69873"/>
                        <a:pt x="31557" y="67086"/>
                      </a:cubicBezTo>
                      <a:cubicBezTo>
                        <a:pt x="21929" y="60372"/>
                        <a:pt x="13441" y="49351"/>
                        <a:pt x="7233" y="3934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599" name="Полилиния: фигура 598">
                  <a:extLst>
                    <a:ext uri="{FF2B5EF4-FFF2-40B4-BE49-F238E27FC236}">
                      <a16:creationId xmlns:a16="http://schemas.microsoft.com/office/drawing/2014/main" id="{0D54850A-13DD-4BDD-9FA5-D1F83A129100}"/>
                    </a:ext>
                  </a:extLst>
                </p:cNvPr>
                <p:cNvSpPr/>
                <p:nvPr/>
              </p:nvSpPr>
              <p:spPr>
                <a:xfrm>
                  <a:off x="7371720" y="1445619"/>
                  <a:ext cx="198668" cy="221190"/>
                </a:xfrm>
                <a:custGeom>
                  <a:avLst/>
                  <a:gdLst>
                    <a:gd name="connsiteX0" fmla="*/ 31435 w 198668"/>
                    <a:gd name="connsiteY0" fmla="*/ 212830 h 221190"/>
                    <a:gd name="connsiteX1" fmla="*/ 24595 w 198668"/>
                    <a:gd name="connsiteY1" fmla="*/ 187620 h 221190"/>
                    <a:gd name="connsiteX2" fmla="*/ 28014 w 198668"/>
                    <a:gd name="connsiteY2" fmla="*/ 167604 h 221190"/>
                    <a:gd name="connsiteX3" fmla="*/ 16487 w 198668"/>
                    <a:gd name="connsiteY3" fmla="*/ 164564 h 221190"/>
                    <a:gd name="connsiteX4" fmla="*/ 3312 w 198668"/>
                    <a:gd name="connsiteY4" fmla="*/ 158230 h 221190"/>
                    <a:gd name="connsiteX5" fmla="*/ 11673 w 198668"/>
                    <a:gd name="connsiteY5" fmla="*/ 133147 h 221190"/>
                    <a:gd name="connsiteX6" fmla="*/ 33462 w 198668"/>
                    <a:gd name="connsiteY6" fmla="*/ 107683 h 221190"/>
                    <a:gd name="connsiteX7" fmla="*/ 30042 w 198668"/>
                    <a:gd name="connsiteY7" fmla="*/ 80193 h 221190"/>
                    <a:gd name="connsiteX8" fmla="*/ 52845 w 198668"/>
                    <a:gd name="connsiteY8" fmla="*/ 64358 h 221190"/>
                    <a:gd name="connsiteX9" fmla="*/ 79574 w 198668"/>
                    <a:gd name="connsiteY9" fmla="*/ 48143 h 221190"/>
                    <a:gd name="connsiteX10" fmla="*/ 106431 w 198668"/>
                    <a:gd name="connsiteY10" fmla="*/ 38515 h 221190"/>
                    <a:gd name="connsiteX11" fmla="*/ 120746 w 198668"/>
                    <a:gd name="connsiteY11" fmla="*/ 19766 h 221190"/>
                    <a:gd name="connsiteX12" fmla="*/ 134682 w 198668"/>
                    <a:gd name="connsiteY12" fmla="*/ 3 h 221190"/>
                    <a:gd name="connsiteX13" fmla="*/ 155457 w 198668"/>
                    <a:gd name="connsiteY13" fmla="*/ 24833 h 221190"/>
                    <a:gd name="connsiteX14" fmla="*/ 158498 w 198668"/>
                    <a:gd name="connsiteY14" fmla="*/ 64865 h 221190"/>
                    <a:gd name="connsiteX15" fmla="*/ 191055 w 198668"/>
                    <a:gd name="connsiteY15" fmla="*/ 91721 h 221190"/>
                    <a:gd name="connsiteX16" fmla="*/ 192955 w 198668"/>
                    <a:gd name="connsiteY16" fmla="*/ 116805 h 221190"/>
                    <a:gd name="connsiteX17" fmla="*/ 175980 w 198668"/>
                    <a:gd name="connsiteY17" fmla="*/ 149995 h 221190"/>
                    <a:gd name="connsiteX18" fmla="*/ 170659 w 198668"/>
                    <a:gd name="connsiteY18" fmla="*/ 183440 h 221190"/>
                    <a:gd name="connsiteX19" fmla="*/ 142789 w 198668"/>
                    <a:gd name="connsiteY19" fmla="*/ 191927 h 221190"/>
                    <a:gd name="connsiteX20" fmla="*/ 113525 w 198668"/>
                    <a:gd name="connsiteY20" fmla="*/ 196234 h 221190"/>
                    <a:gd name="connsiteX21" fmla="*/ 90470 w 198668"/>
                    <a:gd name="connsiteY21" fmla="*/ 209536 h 221190"/>
                    <a:gd name="connsiteX22" fmla="*/ 62726 w 198668"/>
                    <a:gd name="connsiteY22" fmla="*/ 221191 h 221190"/>
                    <a:gd name="connsiteX23" fmla="*/ 31435 w 198668"/>
                    <a:gd name="connsiteY23" fmla="*/ 212830 h 221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8668" h="221190">
                      <a:moveTo>
                        <a:pt x="31435" y="212830"/>
                      </a:moveTo>
                      <a:cubicBezTo>
                        <a:pt x="21680" y="207256"/>
                        <a:pt x="21428" y="197375"/>
                        <a:pt x="24595" y="187620"/>
                      </a:cubicBezTo>
                      <a:cubicBezTo>
                        <a:pt x="26115" y="182553"/>
                        <a:pt x="33715" y="171785"/>
                        <a:pt x="28014" y="167604"/>
                      </a:cubicBezTo>
                      <a:cubicBezTo>
                        <a:pt x="25101" y="165451"/>
                        <a:pt x="19781" y="165451"/>
                        <a:pt x="16487" y="164564"/>
                      </a:cubicBezTo>
                      <a:cubicBezTo>
                        <a:pt x="11800" y="163424"/>
                        <a:pt x="6732" y="161777"/>
                        <a:pt x="3312" y="158230"/>
                      </a:cubicBezTo>
                      <a:cubicBezTo>
                        <a:pt x="-5303" y="149489"/>
                        <a:pt x="4832" y="138974"/>
                        <a:pt x="11673" y="133147"/>
                      </a:cubicBezTo>
                      <a:cubicBezTo>
                        <a:pt x="19907" y="126179"/>
                        <a:pt x="32195" y="119592"/>
                        <a:pt x="33462" y="107683"/>
                      </a:cubicBezTo>
                      <a:cubicBezTo>
                        <a:pt x="34475" y="98436"/>
                        <a:pt x="27762" y="89188"/>
                        <a:pt x="30042" y="80193"/>
                      </a:cubicBezTo>
                      <a:cubicBezTo>
                        <a:pt x="32449" y="70945"/>
                        <a:pt x="45244" y="67905"/>
                        <a:pt x="52845" y="64358"/>
                      </a:cubicBezTo>
                      <a:cubicBezTo>
                        <a:pt x="62599" y="59924"/>
                        <a:pt x="70580" y="53717"/>
                        <a:pt x="79574" y="48143"/>
                      </a:cubicBezTo>
                      <a:cubicBezTo>
                        <a:pt x="88063" y="42949"/>
                        <a:pt x="97310" y="41682"/>
                        <a:pt x="106431" y="38515"/>
                      </a:cubicBezTo>
                      <a:cubicBezTo>
                        <a:pt x="115932" y="35221"/>
                        <a:pt x="118973" y="29140"/>
                        <a:pt x="120746" y="19766"/>
                      </a:cubicBezTo>
                      <a:cubicBezTo>
                        <a:pt x="122266" y="11531"/>
                        <a:pt x="124167" y="130"/>
                        <a:pt x="134682" y="3"/>
                      </a:cubicBezTo>
                      <a:cubicBezTo>
                        <a:pt x="147477" y="-250"/>
                        <a:pt x="154064" y="14192"/>
                        <a:pt x="155457" y="24833"/>
                      </a:cubicBezTo>
                      <a:cubicBezTo>
                        <a:pt x="157104" y="37881"/>
                        <a:pt x="152164" y="52703"/>
                        <a:pt x="158498" y="64865"/>
                      </a:cubicBezTo>
                      <a:cubicBezTo>
                        <a:pt x="165085" y="77660"/>
                        <a:pt x="180414" y="83107"/>
                        <a:pt x="191055" y="91721"/>
                      </a:cubicBezTo>
                      <a:cubicBezTo>
                        <a:pt x="201063" y="99829"/>
                        <a:pt x="200683" y="107303"/>
                        <a:pt x="192955" y="116805"/>
                      </a:cubicBezTo>
                      <a:cubicBezTo>
                        <a:pt x="184595" y="127193"/>
                        <a:pt x="177500" y="136314"/>
                        <a:pt x="175980" y="149995"/>
                      </a:cubicBezTo>
                      <a:cubicBezTo>
                        <a:pt x="174840" y="160510"/>
                        <a:pt x="177626" y="174572"/>
                        <a:pt x="170659" y="183440"/>
                      </a:cubicBezTo>
                      <a:cubicBezTo>
                        <a:pt x="164325" y="191421"/>
                        <a:pt x="152037" y="191294"/>
                        <a:pt x="142789" y="191927"/>
                      </a:cubicBezTo>
                      <a:cubicBezTo>
                        <a:pt x="133035" y="192687"/>
                        <a:pt x="123153" y="194714"/>
                        <a:pt x="113525" y="196234"/>
                      </a:cubicBezTo>
                      <a:cubicBezTo>
                        <a:pt x="104911" y="197501"/>
                        <a:pt x="97310" y="204596"/>
                        <a:pt x="90470" y="209536"/>
                      </a:cubicBezTo>
                      <a:cubicBezTo>
                        <a:pt x="82362" y="215490"/>
                        <a:pt x="73113" y="220938"/>
                        <a:pt x="62726" y="221191"/>
                      </a:cubicBezTo>
                      <a:cubicBezTo>
                        <a:pt x="52971" y="221191"/>
                        <a:pt x="39797" y="217644"/>
                        <a:pt x="31435" y="21283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00" name="Полилиния: фигура 599">
                  <a:extLst>
                    <a:ext uri="{FF2B5EF4-FFF2-40B4-BE49-F238E27FC236}">
                      <a16:creationId xmlns:a16="http://schemas.microsoft.com/office/drawing/2014/main" id="{305FD5DB-99F5-492D-8B14-8AEBB892E839}"/>
                    </a:ext>
                  </a:extLst>
                </p:cNvPr>
                <p:cNvSpPr/>
                <p:nvPr/>
              </p:nvSpPr>
              <p:spPr>
                <a:xfrm>
                  <a:off x="7402238" y="1651734"/>
                  <a:ext cx="242889" cy="253326"/>
                </a:xfrm>
                <a:custGeom>
                  <a:avLst/>
                  <a:gdLst>
                    <a:gd name="connsiteX0" fmla="*/ 17132 w 242889"/>
                    <a:gd name="connsiteY0" fmla="*/ 105021 h 253326"/>
                    <a:gd name="connsiteX1" fmla="*/ 3956 w 242889"/>
                    <a:gd name="connsiteY1" fmla="*/ 82091 h 253326"/>
                    <a:gd name="connsiteX2" fmla="*/ 44875 w 242889"/>
                    <a:gd name="connsiteY2" fmla="*/ 58781 h 253326"/>
                    <a:gd name="connsiteX3" fmla="*/ 62991 w 242889"/>
                    <a:gd name="connsiteY3" fmla="*/ 28378 h 253326"/>
                    <a:gd name="connsiteX4" fmla="*/ 94788 w 242889"/>
                    <a:gd name="connsiteY4" fmla="*/ 9249 h 253326"/>
                    <a:gd name="connsiteX5" fmla="*/ 135453 w 242889"/>
                    <a:gd name="connsiteY5" fmla="*/ 1 h 253326"/>
                    <a:gd name="connsiteX6" fmla="*/ 152682 w 242889"/>
                    <a:gd name="connsiteY6" fmla="*/ 30278 h 253326"/>
                    <a:gd name="connsiteX7" fmla="*/ 147108 w 242889"/>
                    <a:gd name="connsiteY7" fmla="*/ 57641 h 253326"/>
                    <a:gd name="connsiteX8" fmla="*/ 145714 w 242889"/>
                    <a:gd name="connsiteY8" fmla="*/ 75630 h 253326"/>
                    <a:gd name="connsiteX9" fmla="*/ 166237 w 242889"/>
                    <a:gd name="connsiteY9" fmla="*/ 59795 h 253326"/>
                    <a:gd name="connsiteX10" fmla="*/ 193220 w 242889"/>
                    <a:gd name="connsiteY10" fmla="*/ 31671 h 253326"/>
                    <a:gd name="connsiteX11" fmla="*/ 224384 w 242889"/>
                    <a:gd name="connsiteY11" fmla="*/ 46113 h 253326"/>
                    <a:gd name="connsiteX12" fmla="*/ 242627 w 242889"/>
                    <a:gd name="connsiteY12" fmla="*/ 76517 h 253326"/>
                    <a:gd name="connsiteX13" fmla="*/ 240093 w 242889"/>
                    <a:gd name="connsiteY13" fmla="*/ 114142 h 253326"/>
                    <a:gd name="connsiteX14" fmla="*/ 222991 w 242889"/>
                    <a:gd name="connsiteY14" fmla="*/ 142519 h 253326"/>
                    <a:gd name="connsiteX15" fmla="*/ 210829 w 242889"/>
                    <a:gd name="connsiteY15" fmla="*/ 160888 h 253326"/>
                    <a:gd name="connsiteX16" fmla="*/ 239966 w 242889"/>
                    <a:gd name="connsiteY16" fmla="*/ 189011 h 253326"/>
                    <a:gd name="connsiteX17" fmla="*/ 219824 w 242889"/>
                    <a:gd name="connsiteY17" fmla="*/ 218655 h 253326"/>
                    <a:gd name="connsiteX18" fmla="*/ 200441 w 242889"/>
                    <a:gd name="connsiteY18" fmla="*/ 241711 h 253326"/>
                    <a:gd name="connsiteX19" fmla="*/ 170417 w 242889"/>
                    <a:gd name="connsiteY19" fmla="*/ 246398 h 253326"/>
                    <a:gd name="connsiteX20" fmla="*/ 144321 w 242889"/>
                    <a:gd name="connsiteY20" fmla="*/ 252859 h 253326"/>
                    <a:gd name="connsiteX21" fmla="*/ 130133 w 242889"/>
                    <a:gd name="connsiteY21" fmla="*/ 233223 h 253326"/>
                    <a:gd name="connsiteX22" fmla="*/ 117464 w 242889"/>
                    <a:gd name="connsiteY22" fmla="*/ 214601 h 253326"/>
                    <a:gd name="connsiteX23" fmla="*/ 98589 w 242889"/>
                    <a:gd name="connsiteY23" fmla="*/ 207380 h 253326"/>
                    <a:gd name="connsiteX24" fmla="*/ 80853 w 242889"/>
                    <a:gd name="connsiteY24" fmla="*/ 206747 h 253326"/>
                    <a:gd name="connsiteX25" fmla="*/ 71478 w 242889"/>
                    <a:gd name="connsiteY25" fmla="*/ 192178 h 253326"/>
                    <a:gd name="connsiteX26" fmla="*/ 56403 w 242889"/>
                    <a:gd name="connsiteY26" fmla="*/ 184197 h 253326"/>
                    <a:gd name="connsiteX27" fmla="*/ 44115 w 242889"/>
                    <a:gd name="connsiteY27" fmla="*/ 173302 h 253326"/>
                    <a:gd name="connsiteX28" fmla="*/ 32333 w 242889"/>
                    <a:gd name="connsiteY28" fmla="*/ 131117 h 253326"/>
                    <a:gd name="connsiteX29" fmla="*/ 17132 w 242889"/>
                    <a:gd name="connsiteY29" fmla="*/ 105021 h 25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2889" h="253326">
                      <a:moveTo>
                        <a:pt x="17132" y="105021"/>
                      </a:moveTo>
                      <a:cubicBezTo>
                        <a:pt x="5984" y="100840"/>
                        <a:pt x="-6558" y="95266"/>
                        <a:pt x="3956" y="82091"/>
                      </a:cubicBezTo>
                      <a:cubicBezTo>
                        <a:pt x="14471" y="69043"/>
                        <a:pt x="31067" y="66762"/>
                        <a:pt x="44875" y="58781"/>
                      </a:cubicBezTo>
                      <a:cubicBezTo>
                        <a:pt x="56023" y="52321"/>
                        <a:pt x="57036" y="38639"/>
                        <a:pt x="62991" y="28378"/>
                      </a:cubicBezTo>
                      <a:cubicBezTo>
                        <a:pt x="70212" y="15836"/>
                        <a:pt x="81486" y="12036"/>
                        <a:pt x="94788" y="9249"/>
                      </a:cubicBezTo>
                      <a:cubicBezTo>
                        <a:pt x="108090" y="6588"/>
                        <a:pt x="121898" y="1"/>
                        <a:pt x="135453" y="1"/>
                      </a:cubicBezTo>
                      <a:cubicBezTo>
                        <a:pt x="152556" y="-126"/>
                        <a:pt x="154329" y="16723"/>
                        <a:pt x="152682" y="30278"/>
                      </a:cubicBezTo>
                      <a:cubicBezTo>
                        <a:pt x="151542" y="39526"/>
                        <a:pt x="149008" y="48647"/>
                        <a:pt x="147108" y="57641"/>
                      </a:cubicBezTo>
                      <a:cubicBezTo>
                        <a:pt x="146095" y="62329"/>
                        <a:pt x="143180" y="71070"/>
                        <a:pt x="145714" y="75630"/>
                      </a:cubicBezTo>
                      <a:cubicBezTo>
                        <a:pt x="150782" y="85005"/>
                        <a:pt x="163957" y="63215"/>
                        <a:pt x="166237" y="59795"/>
                      </a:cubicBezTo>
                      <a:cubicBezTo>
                        <a:pt x="172571" y="50167"/>
                        <a:pt x="180172" y="33445"/>
                        <a:pt x="193220" y="31671"/>
                      </a:cubicBezTo>
                      <a:cubicBezTo>
                        <a:pt x="204241" y="30151"/>
                        <a:pt x="216276" y="39652"/>
                        <a:pt x="224384" y="46113"/>
                      </a:cubicBezTo>
                      <a:cubicBezTo>
                        <a:pt x="234139" y="53967"/>
                        <a:pt x="241613" y="63595"/>
                        <a:pt x="242627" y="76517"/>
                      </a:cubicBezTo>
                      <a:cubicBezTo>
                        <a:pt x="243640" y="88805"/>
                        <a:pt x="241486" y="101980"/>
                        <a:pt x="240093" y="114142"/>
                      </a:cubicBezTo>
                      <a:cubicBezTo>
                        <a:pt x="238700" y="126810"/>
                        <a:pt x="234012" y="135678"/>
                        <a:pt x="222991" y="142519"/>
                      </a:cubicBezTo>
                      <a:cubicBezTo>
                        <a:pt x="216023" y="146826"/>
                        <a:pt x="201708" y="151513"/>
                        <a:pt x="210829" y="160888"/>
                      </a:cubicBezTo>
                      <a:cubicBezTo>
                        <a:pt x="219317" y="169502"/>
                        <a:pt x="237686" y="175709"/>
                        <a:pt x="239966" y="189011"/>
                      </a:cubicBezTo>
                      <a:cubicBezTo>
                        <a:pt x="241993" y="200666"/>
                        <a:pt x="226284" y="210927"/>
                        <a:pt x="219824" y="218655"/>
                      </a:cubicBezTo>
                      <a:cubicBezTo>
                        <a:pt x="213616" y="226256"/>
                        <a:pt x="209689" y="237150"/>
                        <a:pt x="200441" y="241711"/>
                      </a:cubicBezTo>
                      <a:cubicBezTo>
                        <a:pt x="190686" y="246398"/>
                        <a:pt x="180679" y="244751"/>
                        <a:pt x="170417" y="246398"/>
                      </a:cubicBezTo>
                      <a:cubicBezTo>
                        <a:pt x="162563" y="247665"/>
                        <a:pt x="152048" y="255266"/>
                        <a:pt x="144321" y="252859"/>
                      </a:cubicBezTo>
                      <a:cubicBezTo>
                        <a:pt x="136973" y="250579"/>
                        <a:pt x="133300" y="239304"/>
                        <a:pt x="130133" y="233223"/>
                      </a:cubicBezTo>
                      <a:cubicBezTo>
                        <a:pt x="126839" y="226762"/>
                        <a:pt x="123292" y="219288"/>
                        <a:pt x="117464" y="214601"/>
                      </a:cubicBezTo>
                      <a:cubicBezTo>
                        <a:pt x="112523" y="210674"/>
                        <a:pt x="104669" y="208647"/>
                        <a:pt x="98589" y="207380"/>
                      </a:cubicBezTo>
                      <a:cubicBezTo>
                        <a:pt x="93267" y="206240"/>
                        <a:pt x="85667" y="209027"/>
                        <a:pt x="80853" y="206747"/>
                      </a:cubicBezTo>
                      <a:cubicBezTo>
                        <a:pt x="75532" y="204340"/>
                        <a:pt x="74899" y="196359"/>
                        <a:pt x="71478" y="192178"/>
                      </a:cubicBezTo>
                      <a:cubicBezTo>
                        <a:pt x="67551" y="187364"/>
                        <a:pt x="61977" y="186097"/>
                        <a:pt x="56403" y="184197"/>
                      </a:cubicBezTo>
                      <a:cubicBezTo>
                        <a:pt x="50450" y="182170"/>
                        <a:pt x="47282" y="178623"/>
                        <a:pt x="44115" y="173302"/>
                      </a:cubicBezTo>
                      <a:cubicBezTo>
                        <a:pt x="36514" y="160888"/>
                        <a:pt x="33347" y="145559"/>
                        <a:pt x="32333" y="131117"/>
                      </a:cubicBezTo>
                      <a:cubicBezTo>
                        <a:pt x="31573" y="119209"/>
                        <a:pt x="30053" y="109835"/>
                        <a:pt x="17132" y="10502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01" name="Полилиния: фигура 600">
                  <a:extLst>
                    <a:ext uri="{FF2B5EF4-FFF2-40B4-BE49-F238E27FC236}">
                      <a16:creationId xmlns:a16="http://schemas.microsoft.com/office/drawing/2014/main" id="{4EDFDCB1-A985-4701-9B11-DAB2E52D54A3}"/>
                    </a:ext>
                  </a:extLst>
                </p:cNvPr>
                <p:cNvSpPr/>
                <p:nvPr/>
              </p:nvSpPr>
              <p:spPr>
                <a:xfrm>
                  <a:off x="7619341" y="1781808"/>
                  <a:ext cx="239916" cy="243868"/>
                </a:xfrm>
                <a:custGeom>
                  <a:avLst/>
                  <a:gdLst>
                    <a:gd name="connsiteX0" fmla="*/ 7789 w 239916"/>
                    <a:gd name="connsiteY0" fmla="*/ 239206 h 243868"/>
                    <a:gd name="connsiteX1" fmla="*/ 9562 w 239916"/>
                    <a:gd name="connsiteY1" fmla="*/ 214883 h 243868"/>
                    <a:gd name="connsiteX2" fmla="*/ 21977 w 239916"/>
                    <a:gd name="connsiteY2" fmla="*/ 168771 h 243868"/>
                    <a:gd name="connsiteX3" fmla="*/ 44146 w 239916"/>
                    <a:gd name="connsiteY3" fmla="*/ 135707 h 243868"/>
                    <a:gd name="connsiteX4" fmla="*/ 66823 w 239916"/>
                    <a:gd name="connsiteY4" fmla="*/ 105303 h 243868"/>
                    <a:gd name="connsiteX5" fmla="*/ 72144 w 239916"/>
                    <a:gd name="connsiteY5" fmla="*/ 67932 h 243868"/>
                    <a:gd name="connsiteX6" fmla="*/ 71763 w 239916"/>
                    <a:gd name="connsiteY6" fmla="*/ 27013 h 243868"/>
                    <a:gd name="connsiteX7" fmla="*/ 77084 w 239916"/>
                    <a:gd name="connsiteY7" fmla="*/ 12191 h 243868"/>
                    <a:gd name="connsiteX8" fmla="*/ 89879 w 239916"/>
                    <a:gd name="connsiteY8" fmla="*/ 16118 h 243868"/>
                    <a:gd name="connsiteX9" fmla="*/ 118889 w 239916"/>
                    <a:gd name="connsiteY9" fmla="*/ 4084 h 243868"/>
                    <a:gd name="connsiteX10" fmla="*/ 140932 w 239916"/>
                    <a:gd name="connsiteY10" fmla="*/ 27647 h 243868"/>
                    <a:gd name="connsiteX11" fmla="*/ 142199 w 239916"/>
                    <a:gd name="connsiteY11" fmla="*/ 55390 h 243868"/>
                    <a:gd name="connsiteX12" fmla="*/ 150560 w 239916"/>
                    <a:gd name="connsiteY12" fmla="*/ 57797 h 243868"/>
                    <a:gd name="connsiteX13" fmla="*/ 193885 w 239916"/>
                    <a:gd name="connsiteY13" fmla="*/ 54377 h 243868"/>
                    <a:gd name="connsiteX14" fmla="*/ 197812 w 239916"/>
                    <a:gd name="connsiteY14" fmla="*/ 90734 h 243868"/>
                    <a:gd name="connsiteX15" fmla="*/ 227456 w 239916"/>
                    <a:gd name="connsiteY15" fmla="*/ 104796 h 243868"/>
                    <a:gd name="connsiteX16" fmla="*/ 238224 w 239916"/>
                    <a:gd name="connsiteY16" fmla="*/ 135327 h 243868"/>
                    <a:gd name="connsiteX17" fmla="*/ 223276 w 239916"/>
                    <a:gd name="connsiteY17" fmla="*/ 177259 h 243868"/>
                    <a:gd name="connsiteX18" fmla="*/ 190718 w 239916"/>
                    <a:gd name="connsiteY18" fmla="*/ 190814 h 243868"/>
                    <a:gd name="connsiteX19" fmla="*/ 123956 w 239916"/>
                    <a:gd name="connsiteY19" fmla="*/ 207789 h 243868"/>
                    <a:gd name="connsiteX20" fmla="*/ 92286 w 239916"/>
                    <a:gd name="connsiteY20" fmla="*/ 216657 h 243868"/>
                    <a:gd name="connsiteX21" fmla="*/ 77718 w 239916"/>
                    <a:gd name="connsiteY21" fmla="*/ 229072 h 243868"/>
                    <a:gd name="connsiteX22" fmla="*/ 44654 w 239916"/>
                    <a:gd name="connsiteY22" fmla="*/ 242373 h 243868"/>
                    <a:gd name="connsiteX23" fmla="*/ 7789 w 239916"/>
                    <a:gd name="connsiteY23" fmla="*/ 239206 h 24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916" h="243868">
                      <a:moveTo>
                        <a:pt x="7789" y="239206"/>
                      </a:moveTo>
                      <a:cubicBezTo>
                        <a:pt x="-6779" y="232492"/>
                        <a:pt x="2215" y="223498"/>
                        <a:pt x="9562" y="214883"/>
                      </a:cubicBezTo>
                      <a:cubicBezTo>
                        <a:pt x="21344" y="200821"/>
                        <a:pt x="21471" y="186253"/>
                        <a:pt x="21977" y="168771"/>
                      </a:cubicBezTo>
                      <a:cubicBezTo>
                        <a:pt x="22357" y="151415"/>
                        <a:pt x="27931" y="142041"/>
                        <a:pt x="44146" y="135707"/>
                      </a:cubicBezTo>
                      <a:cubicBezTo>
                        <a:pt x="59475" y="129753"/>
                        <a:pt x="65049" y="121772"/>
                        <a:pt x="66823" y="105303"/>
                      </a:cubicBezTo>
                      <a:cubicBezTo>
                        <a:pt x="68090" y="92508"/>
                        <a:pt x="69610" y="80473"/>
                        <a:pt x="72144" y="67932"/>
                      </a:cubicBezTo>
                      <a:cubicBezTo>
                        <a:pt x="74804" y="54503"/>
                        <a:pt x="71130" y="40695"/>
                        <a:pt x="71763" y="27013"/>
                      </a:cubicBezTo>
                      <a:cubicBezTo>
                        <a:pt x="72017" y="22579"/>
                        <a:pt x="72017" y="14345"/>
                        <a:pt x="77084" y="12191"/>
                      </a:cubicBezTo>
                      <a:cubicBezTo>
                        <a:pt x="81264" y="10418"/>
                        <a:pt x="86332" y="14472"/>
                        <a:pt x="89879" y="16118"/>
                      </a:cubicBezTo>
                      <a:cubicBezTo>
                        <a:pt x="103687" y="22579"/>
                        <a:pt x="109135" y="12445"/>
                        <a:pt x="118889" y="4084"/>
                      </a:cubicBezTo>
                      <a:cubicBezTo>
                        <a:pt x="135104" y="-9851"/>
                        <a:pt x="139792" y="15358"/>
                        <a:pt x="140932" y="27647"/>
                      </a:cubicBezTo>
                      <a:cubicBezTo>
                        <a:pt x="141692" y="36388"/>
                        <a:pt x="139792" y="47029"/>
                        <a:pt x="142199" y="55390"/>
                      </a:cubicBezTo>
                      <a:cubicBezTo>
                        <a:pt x="143719" y="60964"/>
                        <a:pt x="145619" y="60204"/>
                        <a:pt x="150560" y="57797"/>
                      </a:cubicBezTo>
                      <a:cubicBezTo>
                        <a:pt x="163228" y="51716"/>
                        <a:pt x="181850" y="40822"/>
                        <a:pt x="193885" y="54377"/>
                      </a:cubicBezTo>
                      <a:cubicBezTo>
                        <a:pt x="204146" y="66031"/>
                        <a:pt x="193885" y="78573"/>
                        <a:pt x="197812" y="90734"/>
                      </a:cubicBezTo>
                      <a:cubicBezTo>
                        <a:pt x="200979" y="100489"/>
                        <a:pt x="219602" y="101122"/>
                        <a:pt x="227456" y="104796"/>
                      </a:cubicBezTo>
                      <a:cubicBezTo>
                        <a:pt x="241012" y="111257"/>
                        <a:pt x="241518" y="122025"/>
                        <a:pt x="238224" y="135327"/>
                      </a:cubicBezTo>
                      <a:cubicBezTo>
                        <a:pt x="234930" y="148882"/>
                        <a:pt x="231384" y="165730"/>
                        <a:pt x="223276" y="177259"/>
                      </a:cubicBezTo>
                      <a:cubicBezTo>
                        <a:pt x="215675" y="188027"/>
                        <a:pt x="202626" y="189040"/>
                        <a:pt x="190718" y="190814"/>
                      </a:cubicBezTo>
                      <a:cubicBezTo>
                        <a:pt x="167915" y="194361"/>
                        <a:pt x="146000" y="201328"/>
                        <a:pt x="123956" y="207789"/>
                      </a:cubicBezTo>
                      <a:cubicBezTo>
                        <a:pt x="113695" y="210703"/>
                        <a:pt x="102040" y="212223"/>
                        <a:pt x="92286" y="216657"/>
                      </a:cubicBezTo>
                      <a:cubicBezTo>
                        <a:pt x="86205" y="219444"/>
                        <a:pt x="82784" y="224764"/>
                        <a:pt x="77718" y="229072"/>
                      </a:cubicBezTo>
                      <a:cubicBezTo>
                        <a:pt x="67710" y="237686"/>
                        <a:pt x="57068" y="239713"/>
                        <a:pt x="44654" y="242373"/>
                      </a:cubicBezTo>
                      <a:cubicBezTo>
                        <a:pt x="31985" y="244780"/>
                        <a:pt x="19697" y="244654"/>
                        <a:pt x="7789" y="23920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02" name="Полилиния: фигура 601">
                  <a:extLst>
                    <a:ext uri="{FF2B5EF4-FFF2-40B4-BE49-F238E27FC236}">
                      <a16:creationId xmlns:a16="http://schemas.microsoft.com/office/drawing/2014/main" id="{DA3EEDF8-6B2F-49D1-8D70-BF8FF99DF39A}"/>
                    </a:ext>
                  </a:extLst>
                </p:cNvPr>
                <p:cNvSpPr/>
                <p:nvPr/>
              </p:nvSpPr>
              <p:spPr>
                <a:xfrm>
                  <a:off x="6622306" y="3171212"/>
                  <a:ext cx="33689" cy="39517"/>
                </a:xfrm>
                <a:custGeom>
                  <a:avLst/>
                  <a:gdLst>
                    <a:gd name="connsiteX0" fmla="*/ 2132 w 33689"/>
                    <a:gd name="connsiteY0" fmla="*/ 38211 h 39517"/>
                    <a:gd name="connsiteX1" fmla="*/ 3145 w 33689"/>
                    <a:gd name="connsiteY1" fmla="*/ 24402 h 39517"/>
                    <a:gd name="connsiteX2" fmla="*/ 17334 w 33689"/>
                    <a:gd name="connsiteY2" fmla="*/ 4133 h 39517"/>
                    <a:gd name="connsiteX3" fmla="*/ 30255 w 33689"/>
                    <a:gd name="connsiteY3" fmla="*/ 713 h 39517"/>
                    <a:gd name="connsiteX4" fmla="*/ 28735 w 33689"/>
                    <a:gd name="connsiteY4" fmla="*/ 22249 h 39517"/>
                    <a:gd name="connsiteX5" fmla="*/ 15433 w 33689"/>
                    <a:gd name="connsiteY5" fmla="*/ 37451 h 39517"/>
                    <a:gd name="connsiteX6" fmla="*/ 2132 w 33689"/>
                    <a:gd name="connsiteY6" fmla="*/ 38211 h 39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89" h="39517">
                      <a:moveTo>
                        <a:pt x="2132" y="38211"/>
                      </a:moveTo>
                      <a:cubicBezTo>
                        <a:pt x="-2429" y="35170"/>
                        <a:pt x="1498" y="28076"/>
                        <a:pt x="3145" y="24402"/>
                      </a:cubicBezTo>
                      <a:cubicBezTo>
                        <a:pt x="6439" y="16928"/>
                        <a:pt x="10366" y="8820"/>
                        <a:pt x="17334" y="4133"/>
                      </a:cubicBezTo>
                      <a:cubicBezTo>
                        <a:pt x="21261" y="1346"/>
                        <a:pt x="25441" y="-1314"/>
                        <a:pt x="30255" y="713"/>
                      </a:cubicBezTo>
                      <a:cubicBezTo>
                        <a:pt x="37856" y="3880"/>
                        <a:pt x="30762" y="17562"/>
                        <a:pt x="28735" y="22249"/>
                      </a:cubicBezTo>
                      <a:cubicBezTo>
                        <a:pt x="25568" y="29596"/>
                        <a:pt x="23288" y="33904"/>
                        <a:pt x="15433" y="37451"/>
                      </a:cubicBezTo>
                      <a:cubicBezTo>
                        <a:pt x="11633" y="39098"/>
                        <a:pt x="5932" y="40744"/>
                        <a:pt x="2132" y="3821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03" name="Полилиния: фигура 602">
                  <a:extLst>
                    <a:ext uri="{FF2B5EF4-FFF2-40B4-BE49-F238E27FC236}">
                      <a16:creationId xmlns:a16="http://schemas.microsoft.com/office/drawing/2014/main" id="{D29C3B83-FA7A-43AE-95D4-B3857E40A932}"/>
                    </a:ext>
                  </a:extLst>
                </p:cNvPr>
                <p:cNvSpPr/>
                <p:nvPr/>
              </p:nvSpPr>
              <p:spPr>
                <a:xfrm>
                  <a:off x="6588128" y="3133328"/>
                  <a:ext cx="18877" cy="20305"/>
                </a:xfrm>
                <a:custGeom>
                  <a:avLst/>
                  <a:gdLst>
                    <a:gd name="connsiteX0" fmla="*/ 79 w 18877"/>
                    <a:gd name="connsiteY0" fmla="*/ 9713 h 20305"/>
                    <a:gd name="connsiteX1" fmla="*/ 5906 w 18877"/>
                    <a:gd name="connsiteY1" fmla="*/ 1478 h 20305"/>
                    <a:gd name="connsiteX2" fmla="*/ 16674 w 18877"/>
                    <a:gd name="connsiteY2" fmla="*/ 1478 h 20305"/>
                    <a:gd name="connsiteX3" fmla="*/ 12113 w 18877"/>
                    <a:gd name="connsiteY3" fmla="*/ 19087 h 20305"/>
                    <a:gd name="connsiteX4" fmla="*/ 79 w 18877"/>
                    <a:gd name="connsiteY4" fmla="*/ 9713 h 20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77" h="20305">
                      <a:moveTo>
                        <a:pt x="79" y="9713"/>
                      </a:moveTo>
                      <a:cubicBezTo>
                        <a:pt x="459" y="5659"/>
                        <a:pt x="1979" y="2999"/>
                        <a:pt x="5906" y="1478"/>
                      </a:cubicBezTo>
                      <a:cubicBezTo>
                        <a:pt x="8946" y="338"/>
                        <a:pt x="14014" y="-1182"/>
                        <a:pt x="16674" y="1478"/>
                      </a:cubicBezTo>
                      <a:cubicBezTo>
                        <a:pt x="21614" y="6166"/>
                        <a:pt x="17434" y="16553"/>
                        <a:pt x="12113" y="19087"/>
                      </a:cubicBezTo>
                      <a:cubicBezTo>
                        <a:pt x="4132" y="22761"/>
                        <a:pt x="-682" y="17694"/>
                        <a:pt x="79" y="971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grpSp>
          <p:nvGrpSpPr>
            <p:cNvPr id="604" name="Рисунок 388">
              <a:extLst>
                <a:ext uri="{FF2B5EF4-FFF2-40B4-BE49-F238E27FC236}">
                  <a16:creationId xmlns:a16="http://schemas.microsoft.com/office/drawing/2014/main" id="{1DA397FD-DC6E-439E-BB40-D0F80476817D}"/>
                </a:ext>
              </a:extLst>
            </p:cNvPr>
            <p:cNvGrpSpPr/>
            <p:nvPr/>
          </p:nvGrpSpPr>
          <p:grpSpPr>
            <a:xfrm>
              <a:off x="4966444" y="2491877"/>
              <a:ext cx="1601250" cy="2157039"/>
              <a:chOff x="4966444" y="2491877"/>
              <a:chExt cx="1601250" cy="2157039"/>
            </a:xfrm>
            <a:solidFill>
              <a:srgbClr val="E3E8EC"/>
            </a:solidFill>
          </p:grpSpPr>
          <p:sp>
            <p:nvSpPr>
              <p:cNvPr id="605" name="Полилиния: фигура 604">
                <a:extLst>
                  <a:ext uri="{FF2B5EF4-FFF2-40B4-BE49-F238E27FC236}">
                    <a16:creationId xmlns:a16="http://schemas.microsoft.com/office/drawing/2014/main" id="{D8B75A43-8787-468E-9386-4896ABFC1AB6}"/>
                  </a:ext>
                </a:extLst>
              </p:cNvPr>
              <p:cNvSpPr/>
              <p:nvPr/>
            </p:nvSpPr>
            <p:spPr>
              <a:xfrm>
                <a:off x="4966444" y="2561313"/>
                <a:ext cx="1601250" cy="2087602"/>
              </a:xfrm>
              <a:custGeom>
                <a:avLst/>
                <a:gdLst>
                  <a:gd name="connsiteX0" fmla="*/ 1582111 w 1601250"/>
                  <a:gd name="connsiteY0" fmla="*/ 1779258 h 2087602"/>
                  <a:gd name="connsiteX1" fmla="*/ 1519403 w 1601250"/>
                  <a:gd name="connsiteY1" fmla="*/ 1810295 h 2087602"/>
                  <a:gd name="connsiteX2" fmla="*/ 1494953 w 1601250"/>
                  <a:gd name="connsiteY2" fmla="*/ 1846653 h 2087602"/>
                  <a:gd name="connsiteX3" fmla="*/ 1521303 w 1601250"/>
                  <a:gd name="connsiteY3" fmla="*/ 1896819 h 2087602"/>
                  <a:gd name="connsiteX4" fmla="*/ 1490899 w 1601250"/>
                  <a:gd name="connsiteY4" fmla="*/ 1959527 h 2087602"/>
                  <a:gd name="connsiteX5" fmla="*/ 1484312 w 1601250"/>
                  <a:gd name="connsiteY5" fmla="*/ 1984610 h 2087602"/>
                  <a:gd name="connsiteX6" fmla="*/ 1460495 w 1601250"/>
                  <a:gd name="connsiteY6" fmla="*/ 2023629 h 2087602"/>
                  <a:gd name="connsiteX7" fmla="*/ 1411596 w 1601250"/>
                  <a:gd name="connsiteY7" fmla="*/ 2060620 h 2087602"/>
                  <a:gd name="connsiteX8" fmla="*/ 1394747 w 1601250"/>
                  <a:gd name="connsiteY8" fmla="*/ 2087603 h 2087602"/>
                  <a:gd name="connsiteX9" fmla="*/ 1384866 w 1601250"/>
                  <a:gd name="connsiteY9" fmla="*/ 2054032 h 2087602"/>
                  <a:gd name="connsiteX10" fmla="*/ 1354842 w 1601250"/>
                  <a:gd name="connsiteY10" fmla="*/ 1993352 h 2087602"/>
                  <a:gd name="connsiteX11" fmla="*/ 1296441 w 1601250"/>
                  <a:gd name="connsiteY11" fmla="*/ 2007920 h 2087602"/>
                  <a:gd name="connsiteX12" fmla="*/ 1246909 w 1601250"/>
                  <a:gd name="connsiteY12" fmla="*/ 1927730 h 2087602"/>
                  <a:gd name="connsiteX13" fmla="*/ 1207257 w 1601250"/>
                  <a:gd name="connsiteY13" fmla="*/ 1916835 h 2087602"/>
                  <a:gd name="connsiteX14" fmla="*/ 1176220 w 1601250"/>
                  <a:gd name="connsiteY14" fmla="*/ 1854507 h 2087602"/>
                  <a:gd name="connsiteX15" fmla="*/ 1127067 w 1601250"/>
                  <a:gd name="connsiteY15" fmla="*/ 1859068 h 2087602"/>
                  <a:gd name="connsiteX16" fmla="*/ 1023187 w 1601250"/>
                  <a:gd name="connsiteY16" fmla="*/ 1899986 h 2087602"/>
                  <a:gd name="connsiteX17" fmla="*/ 945658 w 1601250"/>
                  <a:gd name="connsiteY17" fmla="*/ 1870596 h 2087602"/>
                  <a:gd name="connsiteX18" fmla="*/ 893211 w 1601250"/>
                  <a:gd name="connsiteY18" fmla="*/ 1846526 h 2087602"/>
                  <a:gd name="connsiteX19" fmla="*/ 853939 w 1601250"/>
                  <a:gd name="connsiteY19" fmla="*/ 1767983 h 2087602"/>
                  <a:gd name="connsiteX20" fmla="*/ 801746 w 1601250"/>
                  <a:gd name="connsiteY20" fmla="*/ 1759369 h 2087602"/>
                  <a:gd name="connsiteX21" fmla="*/ 762855 w 1601250"/>
                  <a:gd name="connsiteY21" fmla="*/ 1684120 h 2087602"/>
                  <a:gd name="connsiteX22" fmla="*/ 708381 w 1601250"/>
                  <a:gd name="connsiteY22" fmla="*/ 1684120 h 2087602"/>
                  <a:gd name="connsiteX23" fmla="*/ 640353 w 1601250"/>
                  <a:gd name="connsiteY23" fmla="*/ 1636614 h 2087602"/>
                  <a:gd name="connsiteX24" fmla="*/ 578659 w 1601250"/>
                  <a:gd name="connsiteY24" fmla="*/ 1588728 h 2087602"/>
                  <a:gd name="connsiteX25" fmla="*/ 511010 w 1601250"/>
                  <a:gd name="connsiteY25" fmla="*/ 1576819 h 2087602"/>
                  <a:gd name="connsiteX26" fmla="*/ 504042 w 1601250"/>
                  <a:gd name="connsiteY26" fmla="*/ 1525386 h 2087602"/>
                  <a:gd name="connsiteX27" fmla="*/ 461731 w 1601250"/>
                  <a:gd name="connsiteY27" fmla="*/ 1458751 h 2087602"/>
                  <a:gd name="connsiteX28" fmla="*/ 474272 w 1601250"/>
                  <a:gd name="connsiteY28" fmla="*/ 1370327 h 2087602"/>
                  <a:gd name="connsiteX29" fmla="*/ 425373 w 1601250"/>
                  <a:gd name="connsiteY29" fmla="*/ 1314840 h 2087602"/>
                  <a:gd name="connsiteX30" fmla="*/ 403583 w 1601250"/>
                  <a:gd name="connsiteY30" fmla="*/ 1262393 h 2087602"/>
                  <a:gd name="connsiteX31" fmla="*/ 374573 w 1601250"/>
                  <a:gd name="connsiteY31" fmla="*/ 1305972 h 2087602"/>
                  <a:gd name="connsiteX32" fmla="*/ 343282 w 1601250"/>
                  <a:gd name="connsiteY32" fmla="*/ 1297738 h 2087602"/>
                  <a:gd name="connsiteX33" fmla="*/ 315286 w 1601250"/>
                  <a:gd name="connsiteY33" fmla="*/ 1327762 h 2087602"/>
                  <a:gd name="connsiteX34" fmla="*/ 283235 w 1601250"/>
                  <a:gd name="connsiteY34" fmla="*/ 1299004 h 2087602"/>
                  <a:gd name="connsiteX35" fmla="*/ 270060 w 1601250"/>
                  <a:gd name="connsiteY35" fmla="*/ 1278229 h 2087602"/>
                  <a:gd name="connsiteX36" fmla="*/ 232435 w 1601250"/>
                  <a:gd name="connsiteY36" fmla="*/ 1235917 h 2087602"/>
                  <a:gd name="connsiteX37" fmla="*/ 270060 w 1601250"/>
                  <a:gd name="connsiteY37" fmla="*/ 1211467 h 2087602"/>
                  <a:gd name="connsiteX38" fmla="*/ 173781 w 1601250"/>
                  <a:gd name="connsiteY38" fmla="*/ 1130644 h 2087602"/>
                  <a:gd name="connsiteX39" fmla="*/ 89284 w 1601250"/>
                  <a:gd name="connsiteY39" fmla="*/ 1130644 h 2087602"/>
                  <a:gd name="connsiteX40" fmla="*/ 54573 w 1601250"/>
                  <a:gd name="connsiteY40" fmla="*/ 1109108 h 2087602"/>
                  <a:gd name="connsiteX41" fmla="*/ 31390 w 1601250"/>
                  <a:gd name="connsiteY41" fmla="*/ 1071230 h 2087602"/>
                  <a:gd name="connsiteX42" fmla="*/ 6687 w 1601250"/>
                  <a:gd name="connsiteY42" fmla="*/ 1043866 h 2087602"/>
                  <a:gd name="connsiteX43" fmla="*/ 45958 w 1601250"/>
                  <a:gd name="connsiteY43" fmla="*/ 1007001 h 2087602"/>
                  <a:gd name="connsiteX44" fmla="*/ 84217 w 1601250"/>
                  <a:gd name="connsiteY44" fmla="*/ 944674 h 2087602"/>
                  <a:gd name="connsiteX45" fmla="*/ 74336 w 1601250"/>
                  <a:gd name="connsiteY45" fmla="*/ 851055 h 2087602"/>
                  <a:gd name="connsiteX46" fmla="*/ 135016 w 1601250"/>
                  <a:gd name="connsiteY46" fmla="*/ 848142 h 2087602"/>
                  <a:gd name="connsiteX47" fmla="*/ 210519 w 1601250"/>
                  <a:gd name="connsiteY47" fmla="*/ 780113 h 2087602"/>
                  <a:gd name="connsiteX48" fmla="*/ 284248 w 1601250"/>
                  <a:gd name="connsiteY48" fmla="*/ 782520 h 2087602"/>
                  <a:gd name="connsiteX49" fmla="*/ 349870 w 1601250"/>
                  <a:gd name="connsiteY49" fmla="*/ 784167 h 2087602"/>
                  <a:gd name="connsiteX50" fmla="*/ 397122 w 1601250"/>
                  <a:gd name="connsiteY50" fmla="*/ 751483 h 2087602"/>
                  <a:gd name="connsiteX51" fmla="*/ 470725 w 1601250"/>
                  <a:gd name="connsiteY51" fmla="*/ 742235 h 2087602"/>
                  <a:gd name="connsiteX52" fmla="*/ 488840 w 1601250"/>
                  <a:gd name="connsiteY52" fmla="*/ 720446 h 2087602"/>
                  <a:gd name="connsiteX53" fmla="*/ 504042 w 1601250"/>
                  <a:gd name="connsiteY53" fmla="*/ 677880 h 2087602"/>
                  <a:gd name="connsiteX54" fmla="*/ 513797 w 1601250"/>
                  <a:gd name="connsiteY54" fmla="*/ 562599 h 2087602"/>
                  <a:gd name="connsiteX55" fmla="*/ 530773 w 1601250"/>
                  <a:gd name="connsiteY55" fmla="*/ 547397 h 2087602"/>
                  <a:gd name="connsiteX56" fmla="*/ 542174 w 1601250"/>
                  <a:gd name="connsiteY56" fmla="*/ 524594 h 2087602"/>
                  <a:gd name="connsiteX57" fmla="*/ 549648 w 1601250"/>
                  <a:gd name="connsiteY57" fmla="*/ 495711 h 2087602"/>
                  <a:gd name="connsiteX58" fmla="*/ 564597 w 1601250"/>
                  <a:gd name="connsiteY58" fmla="*/ 489123 h 2087602"/>
                  <a:gd name="connsiteX59" fmla="*/ 576632 w 1601250"/>
                  <a:gd name="connsiteY59" fmla="*/ 488997 h 2087602"/>
                  <a:gd name="connsiteX60" fmla="*/ 582206 w 1601250"/>
                  <a:gd name="connsiteY60" fmla="*/ 508633 h 2087602"/>
                  <a:gd name="connsiteX61" fmla="*/ 611216 w 1601250"/>
                  <a:gd name="connsiteY61" fmla="*/ 551325 h 2087602"/>
                  <a:gd name="connsiteX62" fmla="*/ 628572 w 1601250"/>
                  <a:gd name="connsiteY62" fmla="*/ 597817 h 2087602"/>
                  <a:gd name="connsiteX63" fmla="*/ 643520 w 1601250"/>
                  <a:gd name="connsiteY63" fmla="*/ 638989 h 2087602"/>
                  <a:gd name="connsiteX64" fmla="*/ 658595 w 1601250"/>
                  <a:gd name="connsiteY64" fmla="*/ 685735 h 2087602"/>
                  <a:gd name="connsiteX65" fmla="*/ 702681 w 1601250"/>
                  <a:gd name="connsiteY65" fmla="*/ 677120 h 2087602"/>
                  <a:gd name="connsiteX66" fmla="*/ 738405 w 1601250"/>
                  <a:gd name="connsiteY66" fmla="*/ 632021 h 2087602"/>
                  <a:gd name="connsiteX67" fmla="*/ 738912 w 1601250"/>
                  <a:gd name="connsiteY67" fmla="*/ 608458 h 2087602"/>
                  <a:gd name="connsiteX68" fmla="*/ 727511 w 1601250"/>
                  <a:gd name="connsiteY68" fmla="*/ 588696 h 2087602"/>
                  <a:gd name="connsiteX69" fmla="*/ 725230 w 1601250"/>
                  <a:gd name="connsiteY69" fmla="*/ 563866 h 2087602"/>
                  <a:gd name="connsiteX70" fmla="*/ 728397 w 1601250"/>
                  <a:gd name="connsiteY70" fmla="*/ 536756 h 2087602"/>
                  <a:gd name="connsiteX71" fmla="*/ 743852 w 1601250"/>
                  <a:gd name="connsiteY71" fmla="*/ 518260 h 2087602"/>
                  <a:gd name="connsiteX72" fmla="*/ 750820 w 1601250"/>
                  <a:gd name="connsiteY72" fmla="*/ 494951 h 2087602"/>
                  <a:gd name="connsiteX73" fmla="*/ 719403 w 1601250"/>
                  <a:gd name="connsiteY73" fmla="*/ 480509 h 2087602"/>
                  <a:gd name="connsiteX74" fmla="*/ 708255 w 1601250"/>
                  <a:gd name="connsiteY74" fmla="*/ 437817 h 2087602"/>
                  <a:gd name="connsiteX75" fmla="*/ 701667 w 1601250"/>
                  <a:gd name="connsiteY75" fmla="*/ 422995 h 2087602"/>
                  <a:gd name="connsiteX76" fmla="*/ 707368 w 1601250"/>
                  <a:gd name="connsiteY76" fmla="*/ 403866 h 2087602"/>
                  <a:gd name="connsiteX77" fmla="*/ 727131 w 1601250"/>
                  <a:gd name="connsiteY77" fmla="*/ 390438 h 2087602"/>
                  <a:gd name="connsiteX78" fmla="*/ 754620 w 1601250"/>
                  <a:gd name="connsiteY78" fmla="*/ 376883 h 2087602"/>
                  <a:gd name="connsiteX79" fmla="*/ 769569 w 1601250"/>
                  <a:gd name="connsiteY79" fmla="*/ 355347 h 2087602"/>
                  <a:gd name="connsiteX80" fmla="*/ 774256 w 1601250"/>
                  <a:gd name="connsiteY80" fmla="*/ 326210 h 2087602"/>
                  <a:gd name="connsiteX81" fmla="*/ 789205 w 1601250"/>
                  <a:gd name="connsiteY81" fmla="*/ 304547 h 2087602"/>
                  <a:gd name="connsiteX82" fmla="*/ 799086 w 1601250"/>
                  <a:gd name="connsiteY82" fmla="*/ 279211 h 2087602"/>
                  <a:gd name="connsiteX83" fmla="*/ 792498 w 1601250"/>
                  <a:gd name="connsiteY83" fmla="*/ 267936 h 2087602"/>
                  <a:gd name="connsiteX84" fmla="*/ 784011 w 1601250"/>
                  <a:gd name="connsiteY84" fmla="*/ 259321 h 2087602"/>
                  <a:gd name="connsiteX85" fmla="*/ 800353 w 1601250"/>
                  <a:gd name="connsiteY85" fmla="*/ 241079 h 2087602"/>
                  <a:gd name="connsiteX86" fmla="*/ 795412 w 1601250"/>
                  <a:gd name="connsiteY86" fmla="*/ 216123 h 2087602"/>
                  <a:gd name="connsiteX87" fmla="*/ 824803 w 1601250"/>
                  <a:gd name="connsiteY87" fmla="*/ 201934 h 2087602"/>
                  <a:gd name="connsiteX88" fmla="*/ 935143 w 1601250"/>
                  <a:gd name="connsiteY88" fmla="*/ 151768 h 2087602"/>
                  <a:gd name="connsiteX89" fmla="*/ 976948 w 1601250"/>
                  <a:gd name="connsiteY89" fmla="*/ 111483 h 2087602"/>
                  <a:gd name="connsiteX90" fmla="*/ 1017487 w 1601250"/>
                  <a:gd name="connsiteY90" fmla="*/ 73351 h 2087602"/>
                  <a:gd name="connsiteX91" fmla="*/ 1033702 w 1601250"/>
                  <a:gd name="connsiteY91" fmla="*/ 50295 h 2087602"/>
                  <a:gd name="connsiteX92" fmla="*/ 1042063 w 1601250"/>
                  <a:gd name="connsiteY92" fmla="*/ 41174 h 2087602"/>
                  <a:gd name="connsiteX93" fmla="*/ 1055491 w 1601250"/>
                  <a:gd name="connsiteY93" fmla="*/ 30660 h 2087602"/>
                  <a:gd name="connsiteX94" fmla="*/ 1064359 w 1601250"/>
                  <a:gd name="connsiteY94" fmla="*/ 22932 h 2087602"/>
                  <a:gd name="connsiteX95" fmla="*/ 1072467 w 1601250"/>
                  <a:gd name="connsiteY95" fmla="*/ 19765 h 2087602"/>
                  <a:gd name="connsiteX96" fmla="*/ 1090329 w 1601250"/>
                  <a:gd name="connsiteY96" fmla="*/ 4816 h 2087602"/>
                  <a:gd name="connsiteX97" fmla="*/ 1103251 w 1601250"/>
                  <a:gd name="connsiteY97" fmla="*/ 636 h 2087602"/>
                  <a:gd name="connsiteX98" fmla="*/ 1107051 w 1601250"/>
                  <a:gd name="connsiteY98" fmla="*/ 11910 h 2087602"/>
                  <a:gd name="connsiteX99" fmla="*/ 1113005 w 1601250"/>
                  <a:gd name="connsiteY99" fmla="*/ 20905 h 2087602"/>
                  <a:gd name="connsiteX100" fmla="*/ 1138849 w 1601250"/>
                  <a:gd name="connsiteY100" fmla="*/ 35727 h 2087602"/>
                  <a:gd name="connsiteX101" fmla="*/ 1155951 w 1601250"/>
                  <a:gd name="connsiteY101" fmla="*/ 39400 h 2087602"/>
                  <a:gd name="connsiteX102" fmla="*/ 1195476 w 1601250"/>
                  <a:gd name="connsiteY102" fmla="*/ 47888 h 2087602"/>
                  <a:gd name="connsiteX103" fmla="*/ 1210297 w 1601250"/>
                  <a:gd name="connsiteY103" fmla="*/ 133019 h 2087602"/>
                  <a:gd name="connsiteX104" fmla="*/ 1186861 w 1601250"/>
                  <a:gd name="connsiteY104" fmla="*/ 193193 h 2087602"/>
                  <a:gd name="connsiteX105" fmla="*/ 1156457 w 1601250"/>
                  <a:gd name="connsiteY105" fmla="*/ 244753 h 2087602"/>
                  <a:gd name="connsiteX106" fmla="*/ 1126941 w 1601250"/>
                  <a:gd name="connsiteY106" fmla="*/ 276550 h 2087602"/>
                  <a:gd name="connsiteX107" fmla="*/ 1087922 w 1601250"/>
                  <a:gd name="connsiteY107" fmla="*/ 298466 h 2087602"/>
                  <a:gd name="connsiteX108" fmla="*/ 1093876 w 1601250"/>
                  <a:gd name="connsiteY108" fmla="*/ 336218 h 2087602"/>
                  <a:gd name="connsiteX109" fmla="*/ 1100970 w 1601250"/>
                  <a:gd name="connsiteY109" fmla="*/ 393478 h 2087602"/>
                  <a:gd name="connsiteX110" fmla="*/ 1085135 w 1601250"/>
                  <a:gd name="connsiteY110" fmla="*/ 450739 h 2087602"/>
                  <a:gd name="connsiteX111" fmla="*/ 1053718 w 1601250"/>
                  <a:gd name="connsiteY111" fmla="*/ 486337 h 2087602"/>
                  <a:gd name="connsiteX112" fmla="*/ 1037883 w 1601250"/>
                  <a:gd name="connsiteY112" fmla="*/ 547524 h 2087602"/>
                  <a:gd name="connsiteX113" fmla="*/ 1011026 w 1601250"/>
                  <a:gd name="connsiteY113" fmla="*/ 593510 h 2087602"/>
                  <a:gd name="connsiteX114" fmla="*/ 987083 w 1601250"/>
                  <a:gd name="connsiteY114" fmla="*/ 651784 h 2087602"/>
                  <a:gd name="connsiteX115" fmla="*/ 970994 w 1601250"/>
                  <a:gd name="connsiteY115" fmla="*/ 698783 h 2087602"/>
                  <a:gd name="connsiteX116" fmla="*/ 974795 w 1601250"/>
                  <a:gd name="connsiteY116" fmla="*/ 805956 h 2087602"/>
                  <a:gd name="connsiteX117" fmla="*/ 930203 w 1601250"/>
                  <a:gd name="connsiteY117" fmla="*/ 839021 h 2087602"/>
                  <a:gd name="connsiteX118" fmla="*/ 914874 w 1601250"/>
                  <a:gd name="connsiteY118" fmla="*/ 903502 h 2087602"/>
                  <a:gd name="connsiteX119" fmla="*/ 871675 w 1601250"/>
                  <a:gd name="connsiteY119" fmla="*/ 919591 h 2087602"/>
                  <a:gd name="connsiteX120" fmla="*/ 830503 w 1601250"/>
                  <a:gd name="connsiteY120" fmla="*/ 966590 h 2087602"/>
                  <a:gd name="connsiteX121" fmla="*/ 783631 w 1601250"/>
                  <a:gd name="connsiteY121" fmla="*/ 992813 h 2087602"/>
                  <a:gd name="connsiteX122" fmla="*/ 751200 w 1601250"/>
                  <a:gd name="connsiteY122" fmla="*/ 1010675 h 2087602"/>
                  <a:gd name="connsiteX123" fmla="*/ 713322 w 1601250"/>
                  <a:gd name="connsiteY123" fmla="*/ 1042726 h 2087602"/>
                  <a:gd name="connsiteX124" fmla="*/ 656188 w 1601250"/>
                  <a:gd name="connsiteY124" fmla="*/ 1019543 h 2087602"/>
                  <a:gd name="connsiteX125" fmla="*/ 618944 w 1601250"/>
                  <a:gd name="connsiteY125" fmla="*/ 983058 h 2087602"/>
                  <a:gd name="connsiteX126" fmla="*/ 587400 w 1601250"/>
                  <a:gd name="connsiteY126" fmla="*/ 956328 h 2087602"/>
                  <a:gd name="connsiteX127" fmla="*/ 584106 w 1601250"/>
                  <a:gd name="connsiteY127" fmla="*/ 1001934 h 2087602"/>
                  <a:gd name="connsiteX128" fmla="*/ 613116 w 1601250"/>
                  <a:gd name="connsiteY128" fmla="*/ 1036899 h 2087602"/>
                  <a:gd name="connsiteX129" fmla="*/ 644026 w 1601250"/>
                  <a:gd name="connsiteY129" fmla="*/ 1069709 h 2087602"/>
                  <a:gd name="connsiteX130" fmla="*/ 667970 w 1601250"/>
                  <a:gd name="connsiteY130" fmla="*/ 1076297 h 2087602"/>
                  <a:gd name="connsiteX131" fmla="*/ 692039 w 1601250"/>
                  <a:gd name="connsiteY131" fmla="*/ 1086305 h 2087602"/>
                  <a:gd name="connsiteX132" fmla="*/ 745119 w 1601250"/>
                  <a:gd name="connsiteY132" fmla="*/ 1107081 h 2087602"/>
                  <a:gd name="connsiteX133" fmla="*/ 793005 w 1601250"/>
                  <a:gd name="connsiteY133" fmla="*/ 1085545 h 2087602"/>
                  <a:gd name="connsiteX134" fmla="*/ 919054 w 1601250"/>
                  <a:gd name="connsiteY134" fmla="*/ 1028157 h 2087602"/>
                  <a:gd name="connsiteX135" fmla="*/ 965927 w 1601250"/>
                  <a:gd name="connsiteY135" fmla="*/ 967857 h 2087602"/>
                  <a:gd name="connsiteX136" fmla="*/ 1022174 w 1601250"/>
                  <a:gd name="connsiteY136" fmla="*/ 938720 h 2087602"/>
                  <a:gd name="connsiteX137" fmla="*/ 1036489 w 1601250"/>
                  <a:gd name="connsiteY137" fmla="*/ 870945 h 2087602"/>
                  <a:gd name="connsiteX138" fmla="*/ 1046117 w 1601250"/>
                  <a:gd name="connsiteY138" fmla="*/ 807983 h 2087602"/>
                  <a:gd name="connsiteX139" fmla="*/ 1089062 w 1601250"/>
                  <a:gd name="connsiteY139" fmla="*/ 777579 h 2087602"/>
                  <a:gd name="connsiteX140" fmla="*/ 1155064 w 1601250"/>
                  <a:gd name="connsiteY140" fmla="*/ 782267 h 2087602"/>
                  <a:gd name="connsiteX141" fmla="*/ 1192435 w 1601250"/>
                  <a:gd name="connsiteY141" fmla="*/ 813177 h 2087602"/>
                  <a:gd name="connsiteX142" fmla="*/ 1203963 w 1601250"/>
                  <a:gd name="connsiteY142" fmla="*/ 877025 h 2087602"/>
                  <a:gd name="connsiteX143" fmla="*/ 1180527 w 1601250"/>
                  <a:gd name="connsiteY143" fmla="*/ 952908 h 2087602"/>
                  <a:gd name="connsiteX144" fmla="*/ 1160131 w 1601250"/>
                  <a:gd name="connsiteY144" fmla="*/ 990406 h 2087602"/>
                  <a:gd name="connsiteX145" fmla="*/ 1169126 w 1601250"/>
                  <a:gd name="connsiteY145" fmla="*/ 1039306 h 2087602"/>
                  <a:gd name="connsiteX146" fmla="*/ 1210931 w 1601250"/>
                  <a:gd name="connsiteY146" fmla="*/ 1063375 h 2087602"/>
                  <a:gd name="connsiteX147" fmla="*/ 1276933 w 1601250"/>
                  <a:gd name="connsiteY147" fmla="*/ 1149773 h 2087602"/>
                  <a:gd name="connsiteX148" fmla="*/ 1278960 w 1601250"/>
                  <a:gd name="connsiteY148" fmla="*/ 1101760 h 2087602"/>
                  <a:gd name="connsiteX149" fmla="*/ 1266038 w 1601250"/>
                  <a:gd name="connsiteY149" fmla="*/ 1080351 h 2087602"/>
                  <a:gd name="connsiteX150" fmla="*/ 1259450 w 1601250"/>
                  <a:gd name="connsiteY150" fmla="*/ 1056028 h 2087602"/>
                  <a:gd name="connsiteX151" fmla="*/ 1207257 w 1601250"/>
                  <a:gd name="connsiteY151" fmla="*/ 1033858 h 2087602"/>
                  <a:gd name="connsiteX152" fmla="*/ 1202063 w 1601250"/>
                  <a:gd name="connsiteY152" fmla="*/ 1010675 h 2087602"/>
                  <a:gd name="connsiteX153" fmla="*/ 1202190 w 1601250"/>
                  <a:gd name="connsiteY153" fmla="*/ 982298 h 2087602"/>
                  <a:gd name="connsiteX154" fmla="*/ 1207384 w 1601250"/>
                  <a:gd name="connsiteY154" fmla="*/ 950881 h 2087602"/>
                  <a:gd name="connsiteX155" fmla="*/ 1234367 w 1601250"/>
                  <a:gd name="connsiteY155" fmla="*/ 942013 h 2087602"/>
                  <a:gd name="connsiteX156" fmla="*/ 1247162 w 1601250"/>
                  <a:gd name="connsiteY156" fmla="*/ 913890 h 2087602"/>
                  <a:gd name="connsiteX157" fmla="*/ 1255016 w 1601250"/>
                  <a:gd name="connsiteY157" fmla="*/ 885386 h 2087602"/>
                  <a:gd name="connsiteX158" fmla="*/ 1259323 w 1601250"/>
                  <a:gd name="connsiteY158" fmla="*/ 855489 h 2087602"/>
                  <a:gd name="connsiteX159" fmla="*/ 1256536 w 1601250"/>
                  <a:gd name="connsiteY159" fmla="*/ 822045 h 2087602"/>
                  <a:gd name="connsiteX160" fmla="*/ 1225880 w 1601250"/>
                  <a:gd name="connsiteY160" fmla="*/ 798355 h 2087602"/>
                  <a:gd name="connsiteX161" fmla="*/ 1210551 w 1601250"/>
                  <a:gd name="connsiteY161" fmla="*/ 766685 h 2087602"/>
                  <a:gd name="connsiteX162" fmla="*/ 1184834 w 1601250"/>
                  <a:gd name="connsiteY162" fmla="*/ 750216 h 2087602"/>
                  <a:gd name="connsiteX163" fmla="*/ 1163678 w 1601250"/>
                  <a:gd name="connsiteY163" fmla="*/ 726020 h 2087602"/>
                  <a:gd name="connsiteX164" fmla="*/ 1127827 w 1601250"/>
                  <a:gd name="connsiteY164" fmla="*/ 727667 h 2087602"/>
                  <a:gd name="connsiteX165" fmla="*/ 1097297 w 1601250"/>
                  <a:gd name="connsiteY165" fmla="*/ 725386 h 2087602"/>
                  <a:gd name="connsiteX166" fmla="*/ 1070440 w 1601250"/>
                  <a:gd name="connsiteY166" fmla="*/ 707271 h 2087602"/>
                  <a:gd name="connsiteX167" fmla="*/ 1041810 w 1601250"/>
                  <a:gd name="connsiteY167" fmla="*/ 696376 h 2087602"/>
                  <a:gd name="connsiteX168" fmla="*/ 1060305 w 1601250"/>
                  <a:gd name="connsiteY168" fmla="*/ 663439 h 2087602"/>
                  <a:gd name="connsiteX169" fmla="*/ 1062966 w 1601250"/>
                  <a:gd name="connsiteY169" fmla="*/ 630754 h 2087602"/>
                  <a:gd name="connsiteX170" fmla="*/ 1073480 w 1601250"/>
                  <a:gd name="connsiteY170" fmla="*/ 602378 h 2087602"/>
                  <a:gd name="connsiteX171" fmla="*/ 1094130 w 1601250"/>
                  <a:gd name="connsiteY171" fmla="*/ 572607 h 2087602"/>
                  <a:gd name="connsiteX172" fmla="*/ 1103631 w 1601250"/>
                  <a:gd name="connsiteY172" fmla="*/ 540430 h 2087602"/>
                  <a:gd name="connsiteX173" fmla="*/ 1153924 w 1601250"/>
                  <a:gd name="connsiteY173" fmla="*/ 497864 h 2087602"/>
                  <a:gd name="connsiteX174" fmla="*/ 1171279 w 1601250"/>
                  <a:gd name="connsiteY174" fmla="*/ 422108 h 2087602"/>
                  <a:gd name="connsiteX175" fmla="*/ 1166972 w 1601250"/>
                  <a:gd name="connsiteY175" fmla="*/ 401713 h 2087602"/>
                  <a:gd name="connsiteX176" fmla="*/ 1172546 w 1601250"/>
                  <a:gd name="connsiteY176" fmla="*/ 381190 h 2087602"/>
                  <a:gd name="connsiteX177" fmla="*/ 1165325 w 1601250"/>
                  <a:gd name="connsiteY177" fmla="*/ 340778 h 2087602"/>
                  <a:gd name="connsiteX178" fmla="*/ 1161018 w 1601250"/>
                  <a:gd name="connsiteY178" fmla="*/ 310628 h 2087602"/>
                  <a:gd name="connsiteX179" fmla="*/ 1190408 w 1601250"/>
                  <a:gd name="connsiteY179" fmla="*/ 291245 h 2087602"/>
                  <a:gd name="connsiteX180" fmla="*/ 1212198 w 1601250"/>
                  <a:gd name="connsiteY180" fmla="*/ 265149 h 2087602"/>
                  <a:gd name="connsiteX181" fmla="*/ 1271739 w 1601250"/>
                  <a:gd name="connsiteY181" fmla="*/ 254381 h 2087602"/>
                  <a:gd name="connsiteX182" fmla="*/ 1293148 w 1601250"/>
                  <a:gd name="connsiteY182" fmla="*/ 236139 h 2087602"/>
                  <a:gd name="connsiteX183" fmla="*/ 1323805 w 1601250"/>
                  <a:gd name="connsiteY183" fmla="*/ 197880 h 2087602"/>
                  <a:gd name="connsiteX184" fmla="*/ 1334066 w 1601250"/>
                  <a:gd name="connsiteY184" fmla="*/ 154555 h 2087602"/>
                  <a:gd name="connsiteX185" fmla="*/ 1362696 w 1601250"/>
                  <a:gd name="connsiteY185" fmla="*/ 130739 h 2087602"/>
                  <a:gd name="connsiteX186" fmla="*/ 1354969 w 1601250"/>
                  <a:gd name="connsiteY186" fmla="*/ 189393 h 2087602"/>
                  <a:gd name="connsiteX187" fmla="*/ 1344328 w 1601250"/>
                  <a:gd name="connsiteY187" fmla="*/ 245260 h 2087602"/>
                  <a:gd name="connsiteX188" fmla="*/ 1301889 w 1601250"/>
                  <a:gd name="connsiteY188" fmla="*/ 283138 h 2087602"/>
                  <a:gd name="connsiteX189" fmla="*/ 1306069 w 1601250"/>
                  <a:gd name="connsiteY189" fmla="*/ 324056 h 2087602"/>
                  <a:gd name="connsiteX190" fmla="*/ 1295555 w 1601250"/>
                  <a:gd name="connsiteY190" fmla="*/ 394872 h 2087602"/>
                  <a:gd name="connsiteX191" fmla="*/ 1320258 w 1601250"/>
                  <a:gd name="connsiteY191" fmla="*/ 424769 h 2087602"/>
                  <a:gd name="connsiteX192" fmla="*/ 1353322 w 1601250"/>
                  <a:gd name="connsiteY192" fmla="*/ 443518 h 2087602"/>
                  <a:gd name="connsiteX193" fmla="*/ 1386893 w 1601250"/>
                  <a:gd name="connsiteY193" fmla="*/ 464294 h 2087602"/>
                  <a:gd name="connsiteX194" fmla="*/ 1410582 w 1601250"/>
                  <a:gd name="connsiteY194" fmla="*/ 501918 h 2087602"/>
                  <a:gd name="connsiteX195" fmla="*/ 1449854 w 1601250"/>
                  <a:gd name="connsiteY195" fmla="*/ 508506 h 2087602"/>
                  <a:gd name="connsiteX196" fmla="*/ 1428825 w 1601250"/>
                  <a:gd name="connsiteY196" fmla="*/ 480129 h 2087602"/>
                  <a:gd name="connsiteX197" fmla="*/ 1414763 w 1601250"/>
                  <a:gd name="connsiteY197" fmla="*/ 443011 h 2087602"/>
                  <a:gd name="connsiteX198" fmla="*/ 1380306 w 1601250"/>
                  <a:gd name="connsiteY198" fmla="*/ 414888 h 2087602"/>
                  <a:gd name="connsiteX199" fmla="*/ 1342427 w 1601250"/>
                  <a:gd name="connsiteY199" fmla="*/ 348759 h 2087602"/>
                  <a:gd name="connsiteX200" fmla="*/ 1343187 w 1601250"/>
                  <a:gd name="connsiteY200" fmla="*/ 313922 h 2087602"/>
                  <a:gd name="connsiteX201" fmla="*/ 1372071 w 1601250"/>
                  <a:gd name="connsiteY201" fmla="*/ 301633 h 2087602"/>
                  <a:gd name="connsiteX202" fmla="*/ 1398928 w 1601250"/>
                  <a:gd name="connsiteY202" fmla="*/ 294666 h 2087602"/>
                  <a:gd name="connsiteX203" fmla="*/ 1411723 w 1601250"/>
                  <a:gd name="connsiteY203" fmla="*/ 316962 h 2087602"/>
                  <a:gd name="connsiteX204" fmla="*/ 1454794 w 1601250"/>
                  <a:gd name="connsiteY204" fmla="*/ 349519 h 2087602"/>
                  <a:gd name="connsiteX205" fmla="*/ 1447447 w 1601250"/>
                  <a:gd name="connsiteY205" fmla="*/ 279211 h 2087602"/>
                  <a:gd name="connsiteX206" fmla="*/ 1481652 w 1601250"/>
                  <a:gd name="connsiteY206" fmla="*/ 266289 h 2087602"/>
                  <a:gd name="connsiteX207" fmla="*/ 1490899 w 1601250"/>
                  <a:gd name="connsiteY207" fmla="*/ 265529 h 2087602"/>
                  <a:gd name="connsiteX208" fmla="*/ 1524470 w 1601250"/>
                  <a:gd name="connsiteY208" fmla="*/ 308474 h 2087602"/>
                  <a:gd name="connsiteX209" fmla="*/ 1543472 w 1601250"/>
                  <a:gd name="connsiteY209" fmla="*/ 315568 h 2087602"/>
                  <a:gd name="connsiteX210" fmla="*/ 1546006 w 1601250"/>
                  <a:gd name="connsiteY210" fmla="*/ 335078 h 2087602"/>
                  <a:gd name="connsiteX211" fmla="*/ 1528397 w 1601250"/>
                  <a:gd name="connsiteY211" fmla="*/ 378276 h 2087602"/>
                  <a:gd name="connsiteX212" fmla="*/ 1496727 w 1601250"/>
                  <a:gd name="connsiteY212" fmla="*/ 396392 h 2087602"/>
                  <a:gd name="connsiteX213" fmla="*/ 1475951 w 1601250"/>
                  <a:gd name="connsiteY213" fmla="*/ 418815 h 2087602"/>
                  <a:gd name="connsiteX214" fmla="*/ 1499260 w 1601250"/>
                  <a:gd name="connsiteY214" fmla="*/ 456059 h 2087602"/>
                  <a:gd name="connsiteX215" fmla="*/ 1522443 w 1601250"/>
                  <a:gd name="connsiteY215" fmla="*/ 498371 h 2087602"/>
                  <a:gd name="connsiteX216" fmla="*/ 1527004 w 1601250"/>
                  <a:gd name="connsiteY216" fmla="*/ 548411 h 2087602"/>
                  <a:gd name="connsiteX217" fmla="*/ 1519529 w 1601250"/>
                  <a:gd name="connsiteY217" fmla="*/ 601744 h 2087602"/>
                  <a:gd name="connsiteX218" fmla="*/ 1485199 w 1601250"/>
                  <a:gd name="connsiteY218" fmla="*/ 618086 h 2087602"/>
                  <a:gd name="connsiteX219" fmla="*/ 1457201 w 1601250"/>
                  <a:gd name="connsiteY219" fmla="*/ 640129 h 2087602"/>
                  <a:gd name="connsiteX220" fmla="*/ 1422617 w 1601250"/>
                  <a:gd name="connsiteY220" fmla="*/ 669519 h 2087602"/>
                  <a:gd name="connsiteX221" fmla="*/ 1381446 w 1601250"/>
                  <a:gd name="connsiteY221" fmla="*/ 681174 h 2087602"/>
                  <a:gd name="connsiteX222" fmla="*/ 1370804 w 1601250"/>
                  <a:gd name="connsiteY222" fmla="*/ 719179 h 2087602"/>
                  <a:gd name="connsiteX223" fmla="*/ 1390060 w 1601250"/>
                  <a:gd name="connsiteY223" fmla="*/ 756677 h 2087602"/>
                  <a:gd name="connsiteX224" fmla="*/ 1401461 w 1601250"/>
                  <a:gd name="connsiteY224" fmla="*/ 797215 h 2087602"/>
                  <a:gd name="connsiteX225" fmla="*/ 1428318 w 1601250"/>
                  <a:gd name="connsiteY225" fmla="*/ 824959 h 2087602"/>
                  <a:gd name="connsiteX226" fmla="*/ 1480005 w 1601250"/>
                  <a:gd name="connsiteY226" fmla="*/ 826606 h 2087602"/>
                  <a:gd name="connsiteX227" fmla="*/ 1505974 w 1601250"/>
                  <a:gd name="connsiteY227" fmla="*/ 818498 h 2087602"/>
                  <a:gd name="connsiteX228" fmla="*/ 1518009 w 1601250"/>
                  <a:gd name="connsiteY228" fmla="*/ 815584 h 2087602"/>
                  <a:gd name="connsiteX229" fmla="*/ 1521303 w 1601250"/>
                  <a:gd name="connsiteY229" fmla="*/ 825465 h 2087602"/>
                  <a:gd name="connsiteX230" fmla="*/ 1531818 w 1601250"/>
                  <a:gd name="connsiteY230" fmla="*/ 857769 h 2087602"/>
                  <a:gd name="connsiteX231" fmla="*/ 1546766 w 1601250"/>
                  <a:gd name="connsiteY231" fmla="*/ 876772 h 2087602"/>
                  <a:gd name="connsiteX232" fmla="*/ 1547020 w 1601250"/>
                  <a:gd name="connsiteY232" fmla="*/ 928078 h 2087602"/>
                  <a:gd name="connsiteX233" fmla="*/ 1556394 w 1601250"/>
                  <a:gd name="connsiteY233" fmla="*/ 952148 h 2087602"/>
                  <a:gd name="connsiteX234" fmla="*/ 1549553 w 1601250"/>
                  <a:gd name="connsiteY234" fmla="*/ 977611 h 2087602"/>
                  <a:gd name="connsiteX235" fmla="*/ 1535492 w 1601250"/>
                  <a:gd name="connsiteY235" fmla="*/ 1013336 h 2087602"/>
                  <a:gd name="connsiteX236" fmla="*/ 1502934 w 1601250"/>
                  <a:gd name="connsiteY236" fmla="*/ 1055521 h 2087602"/>
                  <a:gd name="connsiteX237" fmla="*/ 1450107 w 1601250"/>
                  <a:gd name="connsiteY237" fmla="*/ 1048933 h 2087602"/>
                  <a:gd name="connsiteX238" fmla="*/ 1465309 w 1601250"/>
                  <a:gd name="connsiteY238" fmla="*/ 1121523 h 2087602"/>
                  <a:gd name="connsiteX239" fmla="*/ 1443520 w 1601250"/>
                  <a:gd name="connsiteY239" fmla="*/ 1173589 h 2087602"/>
                  <a:gd name="connsiteX240" fmla="*/ 1486465 w 1601250"/>
                  <a:gd name="connsiteY240" fmla="*/ 1249472 h 2087602"/>
                  <a:gd name="connsiteX241" fmla="*/ 1463409 w 1601250"/>
                  <a:gd name="connsiteY241" fmla="*/ 1301538 h 2087602"/>
                  <a:gd name="connsiteX242" fmla="*/ 1470630 w 1601250"/>
                  <a:gd name="connsiteY242" fmla="*/ 1349677 h 2087602"/>
                  <a:gd name="connsiteX243" fmla="*/ 1455428 w 1601250"/>
                  <a:gd name="connsiteY243" fmla="*/ 1409725 h 2087602"/>
                  <a:gd name="connsiteX244" fmla="*/ 1496347 w 1601250"/>
                  <a:gd name="connsiteY244" fmla="*/ 1463185 h 2087602"/>
                  <a:gd name="connsiteX245" fmla="*/ 1517502 w 1601250"/>
                  <a:gd name="connsiteY245" fmla="*/ 1525260 h 2087602"/>
                  <a:gd name="connsiteX246" fmla="*/ 1495080 w 1601250"/>
                  <a:gd name="connsiteY246" fmla="*/ 1622932 h 2087602"/>
                  <a:gd name="connsiteX247" fmla="*/ 1588825 w 1601250"/>
                  <a:gd name="connsiteY247" fmla="*/ 1654602 h 2087602"/>
                  <a:gd name="connsiteX248" fmla="*/ 1578944 w 1601250"/>
                  <a:gd name="connsiteY248" fmla="*/ 1728458 h 2087602"/>
                  <a:gd name="connsiteX249" fmla="*/ 1582111 w 1601250"/>
                  <a:gd name="connsiteY249" fmla="*/ 1779258 h 208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1601250" h="2087602">
                    <a:moveTo>
                      <a:pt x="1582111" y="1779258"/>
                    </a:moveTo>
                    <a:cubicBezTo>
                      <a:pt x="1588065" y="1796360"/>
                      <a:pt x="1536632" y="1804974"/>
                      <a:pt x="1519403" y="1810295"/>
                    </a:cubicBezTo>
                    <a:cubicBezTo>
                      <a:pt x="1502300" y="1815616"/>
                      <a:pt x="1501540" y="1830818"/>
                      <a:pt x="1494953" y="1846653"/>
                    </a:cubicBezTo>
                    <a:cubicBezTo>
                      <a:pt x="1488366" y="1862488"/>
                      <a:pt x="1507494" y="1881618"/>
                      <a:pt x="1521303" y="1896819"/>
                    </a:cubicBezTo>
                    <a:cubicBezTo>
                      <a:pt x="1535112" y="1912021"/>
                      <a:pt x="1509395" y="1949646"/>
                      <a:pt x="1490899" y="1959527"/>
                    </a:cubicBezTo>
                    <a:cubicBezTo>
                      <a:pt x="1472404" y="1969408"/>
                      <a:pt x="1484312" y="1975996"/>
                      <a:pt x="1484312" y="1984610"/>
                    </a:cubicBezTo>
                    <a:cubicBezTo>
                      <a:pt x="1484312" y="1993225"/>
                      <a:pt x="1463156" y="2009693"/>
                      <a:pt x="1460495" y="2023629"/>
                    </a:cubicBezTo>
                    <a:cubicBezTo>
                      <a:pt x="1457835" y="2037437"/>
                      <a:pt x="1428825" y="2050739"/>
                      <a:pt x="1411596" y="2060620"/>
                    </a:cubicBezTo>
                    <a:cubicBezTo>
                      <a:pt x="1404755" y="2064547"/>
                      <a:pt x="1399181" y="2075188"/>
                      <a:pt x="1394747" y="2087603"/>
                    </a:cubicBezTo>
                    <a:cubicBezTo>
                      <a:pt x="1391707" y="2082536"/>
                      <a:pt x="1385373" y="2069994"/>
                      <a:pt x="1384866" y="2054032"/>
                    </a:cubicBezTo>
                    <a:cubicBezTo>
                      <a:pt x="1384233" y="2033003"/>
                      <a:pt x="1376632" y="1989424"/>
                      <a:pt x="1354842" y="1993352"/>
                    </a:cubicBezTo>
                    <a:cubicBezTo>
                      <a:pt x="1333053" y="1997279"/>
                      <a:pt x="1297708" y="2024389"/>
                      <a:pt x="1296441" y="2007920"/>
                    </a:cubicBezTo>
                    <a:cubicBezTo>
                      <a:pt x="1295175" y="1991451"/>
                      <a:pt x="1266038" y="1929630"/>
                      <a:pt x="1246909" y="1927730"/>
                    </a:cubicBezTo>
                    <a:cubicBezTo>
                      <a:pt x="1227780" y="1925703"/>
                      <a:pt x="1225499" y="1943945"/>
                      <a:pt x="1207257" y="1916835"/>
                    </a:cubicBezTo>
                    <a:cubicBezTo>
                      <a:pt x="1189142" y="1889725"/>
                      <a:pt x="1188128" y="1856027"/>
                      <a:pt x="1176220" y="1854507"/>
                    </a:cubicBezTo>
                    <a:cubicBezTo>
                      <a:pt x="1164312" y="1852860"/>
                      <a:pt x="1137202" y="1852227"/>
                      <a:pt x="1127067" y="1859068"/>
                    </a:cubicBezTo>
                    <a:cubicBezTo>
                      <a:pt x="1116806" y="1866035"/>
                      <a:pt x="1043963" y="1910248"/>
                      <a:pt x="1023187" y="1899986"/>
                    </a:cubicBezTo>
                    <a:cubicBezTo>
                      <a:pt x="1002411" y="1889725"/>
                      <a:pt x="976315" y="1870596"/>
                      <a:pt x="945658" y="1870596"/>
                    </a:cubicBezTo>
                    <a:cubicBezTo>
                      <a:pt x="915001" y="1870596"/>
                      <a:pt x="899418" y="1872623"/>
                      <a:pt x="893211" y="1846526"/>
                    </a:cubicBezTo>
                    <a:cubicBezTo>
                      <a:pt x="886877" y="1820430"/>
                      <a:pt x="886877" y="1765956"/>
                      <a:pt x="853939" y="1767983"/>
                    </a:cubicBezTo>
                    <a:cubicBezTo>
                      <a:pt x="821002" y="1770010"/>
                      <a:pt x="801113" y="1774951"/>
                      <a:pt x="801746" y="1759369"/>
                    </a:cubicBezTo>
                    <a:cubicBezTo>
                      <a:pt x="802380" y="1743914"/>
                      <a:pt x="807320" y="1691467"/>
                      <a:pt x="762855" y="1684120"/>
                    </a:cubicBezTo>
                    <a:cubicBezTo>
                      <a:pt x="718263" y="1676899"/>
                      <a:pt x="733465" y="1703248"/>
                      <a:pt x="708381" y="1684120"/>
                    </a:cubicBezTo>
                    <a:cubicBezTo>
                      <a:pt x="683298" y="1664990"/>
                      <a:pt x="655555" y="1652069"/>
                      <a:pt x="640353" y="1636614"/>
                    </a:cubicBezTo>
                    <a:cubicBezTo>
                      <a:pt x="625151" y="1621032"/>
                      <a:pt x="607669" y="1591388"/>
                      <a:pt x="578659" y="1588728"/>
                    </a:cubicBezTo>
                    <a:cubicBezTo>
                      <a:pt x="549648" y="1586067"/>
                      <a:pt x="516584" y="1596328"/>
                      <a:pt x="511010" y="1576819"/>
                    </a:cubicBezTo>
                    <a:cubicBezTo>
                      <a:pt x="505436" y="1557437"/>
                      <a:pt x="516964" y="1537548"/>
                      <a:pt x="504042" y="1525386"/>
                    </a:cubicBezTo>
                    <a:cubicBezTo>
                      <a:pt x="491121" y="1513225"/>
                      <a:pt x="462111" y="1481174"/>
                      <a:pt x="461731" y="1458751"/>
                    </a:cubicBezTo>
                    <a:cubicBezTo>
                      <a:pt x="461477" y="1436329"/>
                      <a:pt x="483520" y="1382489"/>
                      <a:pt x="474272" y="1370327"/>
                    </a:cubicBezTo>
                    <a:cubicBezTo>
                      <a:pt x="465024" y="1358165"/>
                      <a:pt x="424739" y="1331689"/>
                      <a:pt x="425373" y="1314840"/>
                    </a:cubicBezTo>
                    <a:cubicBezTo>
                      <a:pt x="426006" y="1297991"/>
                      <a:pt x="416885" y="1256819"/>
                      <a:pt x="403583" y="1262393"/>
                    </a:cubicBezTo>
                    <a:cubicBezTo>
                      <a:pt x="390408" y="1267968"/>
                      <a:pt x="388381" y="1315473"/>
                      <a:pt x="374573" y="1305972"/>
                    </a:cubicBezTo>
                    <a:cubicBezTo>
                      <a:pt x="360765" y="1296344"/>
                      <a:pt x="348856" y="1290770"/>
                      <a:pt x="343282" y="1297738"/>
                    </a:cubicBezTo>
                    <a:cubicBezTo>
                      <a:pt x="337708" y="1304705"/>
                      <a:pt x="327067" y="1336376"/>
                      <a:pt x="315286" y="1327762"/>
                    </a:cubicBezTo>
                    <a:cubicBezTo>
                      <a:pt x="303377" y="1319147"/>
                      <a:pt x="286529" y="1309266"/>
                      <a:pt x="283235" y="1299004"/>
                    </a:cubicBezTo>
                    <a:cubicBezTo>
                      <a:pt x="279941" y="1288743"/>
                      <a:pt x="279561" y="1283169"/>
                      <a:pt x="270060" y="1278229"/>
                    </a:cubicBezTo>
                    <a:cubicBezTo>
                      <a:pt x="260559" y="1273288"/>
                      <a:pt x="228888" y="1250485"/>
                      <a:pt x="232435" y="1235917"/>
                    </a:cubicBezTo>
                    <a:cubicBezTo>
                      <a:pt x="236109" y="1221348"/>
                      <a:pt x="268413" y="1227303"/>
                      <a:pt x="270060" y="1211467"/>
                    </a:cubicBezTo>
                    <a:cubicBezTo>
                      <a:pt x="271707" y="1195632"/>
                      <a:pt x="212293" y="1134951"/>
                      <a:pt x="173781" y="1130644"/>
                    </a:cubicBezTo>
                    <a:cubicBezTo>
                      <a:pt x="135143" y="1126337"/>
                      <a:pt x="109173" y="1141538"/>
                      <a:pt x="89284" y="1130644"/>
                    </a:cubicBezTo>
                    <a:cubicBezTo>
                      <a:pt x="69522" y="1119749"/>
                      <a:pt x="60274" y="1128617"/>
                      <a:pt x="54573" y="1109108"/>
                    </a:cubicBezTo>
                    <a:cubicBezTo>
                      <a:pt x="48999" y="1089599"/>
                      <a:pt x="44692" y="1076804"/>
                      <a:pt x="31390" y="1071230"/>
                    </a:cubicBezTo>
                    <a:cubicBezTo>
                      <a:pt x="18215" y="1065656"/>
                      <a:pt x="-13836" y="1058308"/>
                      <a:pt x="6687" y="1043866"/>
                    </a:cubicBezTo>
                    <a:cubicBezTo>
                      <a:pt x="27210" y="1029298"/>
                      <a:pt x="34430" y="1023090"/>
                      <a:pt x="45958" y="1007001"/>
                    </a:cubicBezTo>
                    <a:cubicBezTo>
                      <a:pt x="57487" y="990786"/>
                      <a:pt x="83583" y="967983"/>
                      <a:pt x="84217" y="944674"/>
                    </a:cubicBezTo>
                    <a:cubicBezTo>
                      <a:pt x="84723" y="924278"/>
                      <a:pt x="76489" y="866004"/>
                      <a:pt x="74336" y="851055"/>
                    </a:cubicBezTo>
                    <a:cubicBezTo>
                      <a:pt x="98532" y="853209"/>
                      <a:pt x="127415" y="855616"/>
                      <a:pt x="135016" y="848142"/>
                    </a:cubicBezTo>
                    <a:cubicBezTo>
                      <a:pt x="146924" y="836487"/>
                      <a:pt x="189743" y="782393"/>
                      <a:pt x="210519" y="780113"/>
                    </a:cubicBezTo>
                    <a:cubicBezTo>
                      <a:pt x="231295" y="777833"/>
                      <a:pt x="263472" y="775299"/>
                      <a:pt x="284248" y="782520"/>
                    </a:cubicBezTo>
                    <a:cubicBezTo>
                      <a:pt x="305024" y="789741"/>
                      <a:pt x="332768" y="797342"/>
                      <a:pt x="349870" y="784167"/>
                    </a:cubicBezTo>
                    <a:cubicBezTo>
                      <a:pt x="366972" y="770992"/>
                      <a:pt x="383821" y="750849"/>
                      <a:pt x="397122" y="751483"/>
                    </a:cubicBezTo>
                    <a:cubicBezTo>
                      <a:pt x="410297" y="752116"/>
                      <a:pt x="460464" y="754397"/>
                      <a:pt x="470725" y="742235"/>
                    </a:cubicBezTo>
                    <a:cubicBezTo>
                      <a:pt x="480986" y="730074"/>
                      <a:pt x="471992" y="720446"/>
                      <a:pt x="488840" y="720446"/>
                    </a:cubicBezTo>
                    <a:cubicBezTo>
                      <a:pt x="505689" y="720446"/>
                      <a:pt x="520511" y="694729"/>
                      <a:pt x="504042" y="677880"/>
                    </a:cubicBezTo>
                    <a:cubicBezTo>
                      <a:pt x="487827" y="661285"/>
                      <a:pt x="451596" y="616693"/>
                      <a:pt x="513797" y="562599"/>
                    </a:cubicBezTo>
                    <a:cubicBezTo>
                      <a:pt x="520638" y="560953"/>
                      <a:pt x="527732" y="552338"/>
                      <a:pt x="530773" y="547397"/>
                    </a:cubicBezTo>
                    <a:cubicBezTo>
                      <a:pt x="534953" y="540810"/>
                      <a:pt x="539894" y="532196"/>
                      <a:pt x="542174" y="524594"/>
                    </a:cubicBezTo>
                    <a:cubicBezTo>
                      <a:pt x="544834" y="515727"/>
                      <a:pt x="544707" y="503692"/>
                      <a:pt x="549648" y="495711"/>
                    </a:cubicBezTo>
                    <a:cubicBezTo>
                      <a:pt x="552942" y="490517"/>
                      <a:pt x="558896" y="489757"/>
                      <a:pt x="564597" y="489123"/>
                    </a:cubicBezTo>
                    <a:cubicBezTo>
                      <a:pt x="565484" y="488997"/>
                      <a:pt x="570804" y="488870"/>
                      <a:pt x="576632" y="488997"/>
                    </a:cubicBezTo>
                    <a:cubicBezTo>
                      <a:pt x="577899" y="495584"/>
                      <a:pt x="579292" y="502045"/>
                      <a:pt x="582206" y="508633"/>
                    </a:cubicBezTo>
                    <a:cubicBezTo>
                      <a:pt x="589300" y="524848"/>
                      <a:pt x="602601" y="536123"/>
                      <a:pt x="611216" y="551325"/>
                    </a:cubicBezTo>
                    <a:cubicBezTo>
                      <a:pt x="619324" y="565766"/>
                      <a:pt x="622364" y="582488"/>
                      <a:pt x="628572" y="597817"/>
                    </a:cubicBezTo>
                    <a:cubicBezTo>
                      <a:pt x="634145" y="611626"/>
                      <a:pt x="640733" y="624167"/>
                      <a:pt x="643520" y="638989"/>
                    </a:cubicBezTo>
                    <a:cubicBezTo>
                      <a:pt x="646180" y="652924"/>
                      <a:pt x="645293" y="676740"/>
                      <a:pt x="658595" y="685735"/>
                    </a:cubicBezTo>
                    <a:cubicBezTo>
                      <a:pt x="671517" y="694602"/>
                      <a:pt x="691406" y="684468"/>
                      <a:pt x="702681" y="677120"/>
                    </a:cubicBezTo>
                    <a:cubicBezTo>
                      <a:pt x="718643" y="666732"/>
                      <a:pt x="732578" y="650390"/>
                      <a:pt x="738405" y="632021"/>
                    </a:cubicBezTo>
                    <a:cubicBezTo>
                      <a:pt x="740812" y="624420"/>
                      <a:pt x="741445" y="616313"/>
                      <a:pt x="738912" y="608458"/>
                    </a:cubicBezTo>
                    <a:cubicBezTo>
                      <a:pt x="736505" y="600731"/>
                      <a:pt x="730931" y="595537"/>
                      <a:pt x="727511" y="588696"/>
                    </a:cubicBezTo>
                    <a:cubicBezTo>
                      <a:pt x="724343" y="582235"/>
                      <a:pt x="725610" y="571340"/>
                      <a:pt x="725230" y="563866"/>
                    </a:cubicBezTo>
                    <a:cubicBezTo>
                      <a:pt x="724724" y="554745"/>
                      <a:pt x="724597" y="545244"/>
                      <a:pt x="728397" y="536756"/>
                    </a:cubicBezTo>
                    <a:cubicBezTo>
                      <a:pt x="731818" y="529282"/>
                      <a:pt x="739165" y="524721"/>
                      <a:pt x="743852" y="518260"/>
                    </a:cubicBezTo>
                    <a:cubicBezTo>
                      <a:pt x="747273" y="513320"/>
                      <a:pt x="753354" y="501285"/>
                      <a:pt x="750820" y="494951"/>
                    </a:cubicBezTo>
                    <a:cubicBezTo>
                      <a:pt x="745372" y="481269"/>
                      <a:pt x="721556" y="496344"/>
                      <a:pt x="719403" y="480509"/>
                    </a:cubicBezTo>
                    <a:cubicBezTo>
                      <a:pt x="717249" y="464927"/>
                      <a:pt x="717756" y="451119"/>
                      <a:pt x="708255" y="437817"/>
                    </a:cubicBezTo>
                    <a:cubicBezTo>
                      <a:pt x="704581" y="432750"/>
                      <a:pt x="701160" y="429329"/>
                      <a:pt x="701667" y="422995"/>
                    </a:cubicBezTo>
                    <a:cubicBezTo>
                      <a:pt x="702174" y="416534"/>
                      <a:pt x="703821" y="409440"/>
                      <a:pt x="707368" y="403866"/>
                    </a:cubicBezTo>
                    <a:cubicBezTo>
                      <a:pt x="711928" y="396518"/>
                      <a:pt x="719656" y="394111"/>
                      <a:pt x="727131" y="390438"/>
                    </a:cubicBezTo>
                    <a:cubicBezTo>
                      <a:pt x="736125" y="386131"/>
                      <a:pt x="747146" y="383597"/>
                      <a:pt x="754620" y="376883"/>
                    </a:cubicBezTo>
                    <a:cubicBezTo>
                      <a:pt x="760448" y="371689"/>
                      <a:pt x="766909" y="362694"/>
                      <a:pt x="769569" y="355347"/>
                    </a:cubicBezTo>
                    <a:cubicBezTo>
                      <a:pt x="773116" y="345845"/>
                      <a:pt x="769949" y="335711"/>
                      <a:pt x="774256" y="326210"/>
                    </a:cubicBezTo>
                    <a:cubicBezTo>
                      <a:pt x="778057" y="317849"/>
                      <a:pt x="782871" y="311135"/>
                      <a:pt x="789205" y="304547"/>
                    </a:cubicBezTo>
                    <a:cubicBezTo>
                      <a:pt x="796045" y="297579"/>
                      <a:pt x="799846" y="289218"/>
                      <a:pt x="799086" y="279211"/>
                    </a:cubicBezTo>
                    <a:cubicBezTo>
                      <a:pt x="798706" y="274017"/>
                      <a:pt x="796679" y="271103"/>
                      <a:pt x="792498" y="267936"/>
                    </a:cubicBezTo>
                    <a:cubicBezTo>
                      <a:pt x="789458" y="265655"/>
                      <a:pt x="784011" y="263755"/>
                      <a:pt x="784011" y="259321"/>
                    </a:cubicBezTo>
                    <a:cubicBezTo>
                      <a:pt x="784011" y="251087"/>
                      <a:pt x="798832" y="250327"/>
                      <a:pt x="800353" y="241079"/>
                    </a:cubicBezTo>
                    <a:cubicBezTo>
                      <a:pt x="801873" y="231325"/>
                      <a:pt x="788318" y="225370"/>
                      <a:pt x="795412" y="216123"/>
                    </a:cubicBezTo>
                    <a:cubicBezTo>
                      <a:pt x="802253" y="207382"/>
                      <a:pt x="814541" y="204215"/>
                      <a:pt x="824803" y="201934"/>
                    </a:cubicBezTo>
                    <a:cubicBezTo>
                      <a:pt x="865341" y="193446"/>
                      <a:pt x="907399" y="184832"/>
                      <a:pt x="935143" y="151768"/>
                    </a:cubicBezTo>
                    <a:cubicBezTo>
                      <a:pt x="948191" y="136186"/>
                      <a:pt x="959719" y="122378"/>
                      <a:pt x="976948" y="111483"/>
                    </a:cubicBezTo>
                    <a:cubicBezTo>
                      <a:pt x="992784" y="101475"/>
                      <a:pt x="1006465" y="88553"/>
                      <a:pt x="1017487" y="73351"/>
                    </a:cubicBezTo>
                    <a:cubicBezTo>
                      <a:pt x="1023061" y="65750"/>
                      <a:pt x="1027875" y="57643"/>
                      <a:pt x="1033702" y="50295"/>
                    </a:cubicBezTo>
                    <a:cubicBezTo>
                      <a:pt x="1036362" y="47001"/>
                      <a:pt x="1039023" y="44088"/>
                      <a:pt x="1042063" y="41174"/>
                    </a:cubicBezTo>
                    <a:cubicBezTo>
                      <a:pt x="1046243" y="37120"/>
                      <a:pt x="1051057" y="34460"/>
                      <a:pt x="1055491" y="30660"/>
                    </a:cubicBezTo>
                    <a:cubicBezTo>
                      <a:pt x="1058532" y="28126"/>
                      <a:pt x="1060812" y="24959"/>
                      <a:pt x="1064359" y="22932"/>
                    </a:cubicBezTo>
                    <a:cubicBezTo>
                      <a:pt x="1067020" y="21412"/>
                      <a:pt x="1069807" y="20905"/>
                      <a:pt x="1072467" y="19765"/>
                    </a:cubicBezTo>
                    <a:cubicBezTo>
                      <a:pt x="1079435" y="16851"/>
                      <a:pt x="1084375" y="9250"/>
                      <a:pt x="1090329" y="4816"/>
                    </a:cubicBezTo>
                    <a:cubicBezTo>
                      <a:pt x="1093116" y="2789"/>
                      <a:pt x="1099830" y="-1645"/>
                      <a:pt x="1103251" y="636"/>
                    </a:cubicBezTo>
                    <a:cubicBezTo>
                      <a:pt x="1106418" y="2663"/>
                      <a:pt x="1106038" y="8870"/>
                      <a:pt x="1107051" y="11910"/>
                    </a:cubicBezTo>
                    <a:cubicBezTo>
                      <a:pt x="1108191" y="15584"/>
                      <a:pt x="1109965" y="18498"/>
                      <a:pt x="1113005" y="20905"/>
                    </a:cubicBezTo>
                    <a:cubicBezTo>
                      <a:pt x="1120986" y="27112"/>
                      <a:pt x="1129221" y="32686"/>
                      <a:pt x="1138849" y="35727"/>
                    </a:cubicBezTo>
                    <a:cubicBezTo>
                      <a:pt x="1144422" y="37627"/>
                      <a:pt x="1150123" y="38767"/>
                      <a:pt x="1155951" y="39400"/>
                    </a:cubicBezTo>
                    <a:cubicBezTo>
                      <a:pt x="1168999" y="40921"/>
                      <a:pt x="1184328" y="39781"/>
                      <a:pt x="1195476" y="47888"/>
                    </a:cubicBezTo>
                    <a:cubicBezTo>
                      <a:pt x="1218405" y="64484"/>
                      <a:pt x="1215111" y="108949"/>
                      <a:pt x="1210297" y="133019"/>
                    </a:cubicBezTo>
                    <a:cubicBezTo>
                      <a:pt x="1205990" y="154302"/>
                      <a:pt x="1196869" y="174191"/>
                      <a:pt x="1186861" y="193193"/>
                    </a:cubicBezTo>
                    <a:cubicBezTo>
                      <a:pt x="1177614" y="210929"/>
                      <a:pt x="1164818" y="226764"/>
                      <a:pt x="1156457" y="244753"/>
                    </a:cubicBezTo>
                    <a:cubicBezTo>
                      <a:pt x="1150376" y="257928"/>
                      <a:pt x="1141636" y="271736"/>
                      <a:pt x="1126941" y="276550"/>
                    </a:cubicBezTo>
                    <a:cubicBezTo>
                      <a:pt x="1112499" y="281238"/>
                      <a:pt x="1091723" y="279211"/>
                      <a:pt x="1087922" y="298466"/>
                    </a:cubicBezTo>
                    <a:cubicBezTo>
                      <a:pt x="1085642" y="310375"/>
                      <a:pt x="1090329" y="325070"/>
                      <a:pt x="1093876" y="336218"/>
                    </a:cubicBezTo>
                    <a:cubicBezTo>
                      <a:pt x="1100083" y="356487"/>
                      <a:pt x="1101730" y="372322"/>
                      <a:pt x="1100970" y="393478"/>
                    </a:cubicBezTo>
                    <a:cubicBezTo>
                      <a:pt x="1100337" y="412987"/>
                      <a:pt x="1101477" y="436804"/>
                      <a:pt x="1085135" y="450739"/>
                    </a:cubicBezTo>
                    <a:cubicBezTo>
                      <a:pt x="1070820" y="463027"/>
                      <a:pt x="1057518" y="465561"/>
                      <a:pt x="1053718" y="486337"/>
                    </a:cubicBezTo>
                    <a:cubicBezTo>
                      <a:pt x="1049791" y="507746"/>
                      <a:pt x="1051817" y="529282"/>
                      <a:pt x="1037883" y="547524"/>
                    </a:cubicBezTo>
                    <a:cubicBezTo>
                      <a:pt x="1025848" y="563359"/>
                      <a:pt x="1015966" y="573494"/>
                      <a:pt x="1011026" y="593510"/>
                    </a:cubicBezTo>
                    <a:cubicBezTo>
                      <a:pt x="1005705" y="614919"/>
                      <a:pt x="1000258" y="633795"/>
                      <a:pt x="987083" y="651784"/>
                    </a:cubicBezTo>
                    <a:cubicBezTo>
                      <a:pt x="976188" y="666732"/>
                      <a:pt x="969727" y="679781"/>
                      <a:pt x="970994" y="698783"/>
                    </a:cubicBezTo>
                    <a:cubicBezTo>
                      <a:pt x="973528" y="732734"/>
                      <a:pt x="1014193" y="781000"/>
                      <a:pt x="974795" y="805956"/>
                    </a:cubicBezTo>
                    <a:cubicBezTo>
                      <a:pt x="958326" y="816471"/>
                      <a:pt x="937803" y="818625"/>
                      <a:pt x="930203" y="839021"/>
                    </a:cubicBezTo>
                    <a:cubicBezTo>
                      <a:pt x="922728" y="859290"/>
                      <a:pt x="927669" y="885133"/>
                      <a:pt x="914874" y="903502"/>
                    </a:cubicBezTo>
                    <a:cubicBezTo>
                      <a:pt x="904866" y="917944"/>
                      <a:pt x="886244" y="913763"/>
                      <a:pt x="871675" y="919591"/>
                    </a:cubicBezTo>
                    <a:cubicBezTo>
                      <a:pt x="851026" y="927952"/>
                      <a:pt x="841778" y="949108"/>
                      <a:pt x="830503" y="966590"/>
                    </a:cubicBezTo>
                    <a:cubicBezTo>
                      <a:pt x="818849" y="984832"/>
                      <a:pt x="805167" y="992306"/>
                      <a:pt x="783631" y="992813"/>
                    </a:cubicBezTo>
                    <a:cubicBezTo>
                      <a:pt x="766402" y="993193"/>
                      <a:pt x="757281" y="993067"/>
                      <a:pt x="751200" y="1010675"/>
                    </a:cubicBezTo>
                    <a:cubicBezTo>
                      <a:pt x="744739" y="1029424"/>
                      <a:pt x="735618" y="1044120"/>
                      <a:pt x="713322" y="1042726"/>
                    </a:cubicBezTo>
                    <a:cubicBezTo>
                      <a:pt x="692926" y="1041459"/>
                      <a:pt x="673670" y="1029171"/>
                      <a:pt x="656188" y="1019543"/>
                    </a:cubicBezTo>
                    <a:cubicBezTo>
                      <a:pt x="639466" y="1010422"/>
                      <a:pt x="628445" y="999654"/>
                      <a:pt x="618944" y="983058"/>
                    </a:cubicBezTo>
                    <a:cubicBezTo>
                      <a:pt x="613243" y="973177"/>
                      <a:pt x="602855" y="945941"/>
                      <a:pt x="587400" y="956328"/>
                    </a:cubicBezTo>
                    <a:cubicBezTo>
                      <a:pt x="572958" y="966210"/>
                      <a:pt x="575872" y="989393"/>
                      <a:pt x="584106" y="1001934"/>
                    </a:cubicBezTo>
                    <a:cubicBezTo>
                      <a:pt x="592340" y="1014476"/>
                      <a:pt x="603488" y="1025244"/>
                      <a:pt x="613116" y="1036899"/>
                    </a:cubicBezTo>
                    <a:cubicBezTo>
                      <a:pt x="622871" y="1048807"/>
                      <a:pt x="631105" y="1060968"/>
                      <a:pt x="644026" y="1069709"/>
                    </a:cubicBezTo>
                    <a:cubicBezTo>
                      <a:pt x="651247" y="1074650"/>
                      <a:pt x="659862" y="1074397"/>
                      <a:pt x="667970" y="1076297"/>
                    </a:cubicBezTo>
                    <a:cubicBezTo>
                      <a:pt x="676458" y="1078324"/>
                      <a:pt x="684185" y="1082631"/>
                      <a:pt x="692039" y="1086305"/>
                    </a:cubicBezTo>
                    <a:cubicBezTo>
                      <a:pt x="707875" y="1093906"/>
                      <a:pt x="726750" y="1109234"/>
                      <a:pt x="745119" y="1107081"/>
                    </a:cubicBezTo>
                    <a:cubicBezTo>
                      <a:pt x="761588" y="1105180"/>
                      <a:pt x="777297" y="1091119"/>
                      <a:pt x="793005" y="1085545"/>
                    </a:cubicBezTo>
                    <a:cubicBezTo>
                      <a:pt x="836964" y="1069836"/>
                      <a:pt x="888777" y="1068823"/>
                      <a:pt x="919054" y="1028157"/>
                    </a:cubicBezTo>
                    <a:cubicBezTo>
                      <a:pt x="934130" y="1007888"/>
                      <a:pt x="944771" y="982932"/>
                      <a:pt x="965927" y="967857"/>
                    </a:cubicBezTo>
                    <a:cubicBezTo>
                      <a:pt x="983283" y="955568"/>
                      <a:pt x="1006845" y="954048"/>
                      <a:pt x="1022174" y="938720"/>
                    </a:cubicBezTo>
                    <a:cubicBezTo>
                      <a:pt x="1040036" y="920984"/>
                      <a:pt x="1038643" y="894127"/>
                      <a:pt x="1036489" y="870945"/>
                    </a:cubicBezTo>
                    <a:cubicBezTo>
                      <a:pt x="1034336" y="848395"/>
                      <a:pt x="1033575" y="827746"/>
                      <a:pt x="1046117" y="807983"/>
                    </a:cubicBezTo>
                    <a:cubicBezTo>
                      <a:pt x="1055871" y="792655"/>
                      <a:pt x="1070313" y="779226"/>
                      <a:pt x="1089062" y="777579"/>
                    </a:cubicBezTo>
                    <a:cubicBezTo>
                      <a:pt x="1110218" y="775679"/>
                      <a:pt x="1133908" y="779986"/>
                      <a:pt x="1155064" y="782267"/>
                    </a:cubicBezTo>
                    <a:cubicBezTo>
                      <a:pt x="1176473" y="784547"/>
                      <a:pt x="1189648" y="790375"/>
                      <a:pt x="1192435" y="813177"/>
                    </a:cubicBezTo>
                    <a:cubicBezTo>
                      <a:pt x="1195222" y="835347"/>
                      <a:pt x="1197502" y="855489"/>
                      <a:pt x="1203963" y="877025"/>
                    </a:cubicBezTo>
                    <a:cubicBezTo>
                      <a:pt x="1213084" y="907429"/>
                      <a:pt x="1198009" y="929725"/>
                      <a:pt x="1180527" y="952908"/>
                    </a:cubicBezTo>
                    <a:cubicBezTo>
                      <a:pt x="1171786" y="964563"/>
                      <a:pt x="1158864" y="974064"/>
                      <a:pt x="1160131" y="990406"/>
                    </a:cubicBezTo>
                    <a:cubicBezTo>
                      <a:pt x="1161271" y="1006241"/>
                      <a:pt x="1160638" y="1025117"/>
                      <a:pt x="1169126" y="1039306"/>
                    </a:cubicBezTo>
                    <a:cubicBezTo>
                      <a:pt x="1177487" y="1053367"/>
                      <a:pt x="1196489" y="1058055"/>
                      <a:pt x="1210931" y="1063375"/>
                    </a:cubicBezTo>
                    <a:cubicBezTo>
                      <a:pt x="1249189" y="1077437"/>
                      <a:pt x="1256283" y="1119622"/>
                      <a:pt x="1276933" y="1149773"/>
                    </a:cubicBezTo>
                    <a:cubicBezTo>
                      <a:pt x="1300242" y="1153320"/>
                      <a:pt x="1283900" y="1111768"/>
                      <a:pt x="1278960" y="1101760"/>
                    </a:cubicBezTo>
                    <a:cubicBezTo>
                      <a:pt x="1275159" y="1094159"/>
                      <a:pt x="1270852" y="1087318"/>
                      <a:pt x="1266038" y="1080351"/>
                    </a:cubicBezTo>
                    <a:cubicBezTo>
                      <a:pt x="1259830" y="1071356"/>
                      <a:pt x="1262491" y="1065402"/>
                      <a:pt x="1259450" y="1056028"/>
                    </a:cubicBezTo>
                    <a:cubicBezTo>
                      <a:pt x="1253116" y="1036392"/>
                      <a:pt x="1221699" y="1044626"/>
                      <a:pt x="1207257" y="1033858"/>
                    </a:cubicBezTo>
                    <a:cubicBezTo>
                      <a:pt x="1198389" y="1027271"/>
                      <a:pt x="1199783" y="1020177"/>
                      <a:pt x="1202063" y="1010675"/>
                    </a:cubicBezTo>
                    <a:cubicBezTo>
                      <a:pt x="1204343" y="1000794"/>
                      <a:pt x="1201936" y="992180"/>
                      <a:pt x="1202190" y="982298"/>
                    </a:cubicBezTo>
                    <a:cubicBezTo>
                      <a:pt x="1202443" y="972291"/>
                      <a:pt x="1202443" y="959876"/>
                      <a:pt x="1207384" y="950881"/>
                    </a:cubicBezTo>
                    <a:cubicBezTo>
                      <a:pt x="1215111" y="936946"/>
                      <a:pt x="1224866" y="952275"/>
                      <a:pt x="1234367" y="942013"/>
                    </a:cubicBezTo>
                    <a:cubicBezTo>
                      <a:pt x="1241081" y="934666"/>
                      <a:pt x="1242982" y="922758"/>
                      <a:pt x="1247162" y="913890"/>
                    </a:cubicBezTo>
                    <a:cubicBezTo>
                      <a:pt x="1251849" y="904135"/>
                      <a:pt x="1255776" y="896534"/>
                      <a:pt x="1255016" y="885386"/>
                    </a:cubicBezTo>
                    <a:cubicBezTo>
                      <a:pt x="1254129" y="873731"/>
                      <a:pt x="1254636" y="866384"/>
                      <a:pt x="1259323" y="855489"/>
                    </a:cubicBezTo>
                    <a:cubicBezTo>
                      <a:pt x="1264644" y="843074"/>
                      <a:pt x="1267178" y="832560"/>
                      <a:pt x="1256536" y="822045"/>
                    </a:cubicBezTo>
                    <a:cubicBezTo>
                      <a:pt x="1247162" y="812924"/>
                      <a:pt x="1233354" y="809503"/>
                      <a:pt x="1225880" y="798355"/>
                    </a:cubicBezTo>
                    <a:cubicBezTo>
                      <a:pt x="1219292" y="788474"/>
                      <a:pt x="1218532" y="775933"/>
                      <a:pt x="1210551" y="766685"/>
                    </a:cubicBezTo>
                    <a:cubicBezTo>
                      <a:pt x="1203456" y="758577"/>
                      <a:pt x="1193195" y="756424"/>
                      <a:pt x="1184834" y="750216"/>
                    </a:cubicBezTo>
                    <a:cubicBezTo>
                      <a:pt x="1176093" y="743755"/>
                      <a:pt x="1172293" y="732607"/>
                      <a:pt x="1163678" y="726020"/>
                    </a:cubicBezTo>
                    <a:cubicBezTo>
                      <a:pt x="1152277" y="717279"/>
                      <a:pt x="1139609" y="722979"/>
                      <a:pt x="1127827" y="727667"/>
                    </a:cubicBezTo>
                    <a:cubicBezTo>
                      <a:pt x="1116046" y="732227"/>
                      <a:pt x="1106418" y="735774"/>
                      <a:pt x="1097297" y="725386"/>
                    </a:cubicBezTo>
                    <a:cubicBezTo>
                      <a:pt x="1088556" y="715505"/>
                      <a:pt x="1084755" y="708664"/>
                      <a:pt x="1070440" y="707271"/>
                    </a:cubicBezTo>
                    <a:cubicBezTo>
                      <a:pt x="1061192" y="706257"/>
                      <a:pt x="1043330" y="709171"/>
                      <a:pt x="1041810" y="696376"/>
                    </a:cubicBezTo>
                    <a:cubicBezTo>
                      <a:pt x="1040416" y="684468"/>
                      <a:pt x="1055238" y="672940"/>
                      <a:pt x="1060305" y="663439"/>
                    </a:cubicBezTo>
                    <a:cubicBezTo>
                      <a:pt x="1066386" y="652417"/>
                      <a:pt x="1063726" y="642663"/>
                      <a:pt x="1062966" y="630754"/>
                    </a:cubicBezTo>
                    <a:cubicBezTo>
                      <a:pt x="1062079" y="618846"/>
                      <a:pt x="1065879" y="611372"/>
                      <a:pt x="1073480" y="602378"/>
                    </a:cubicBezTo>
                    <a:cubicBezTo>
                      <a:pt x="1081335" y="593003"/>
                      <a:pt x="1089569" y="584135"/>
                      <a:pt x="1094130" y="572607"/>
                    </a:cubicBezTo>
                    <a:cubicBezTo>
                      <a:pt x="1098310" y="562219"/>
                      <a:pt x="1099197" y="550818"/>
                      <a:pt x="1103631" y="540430"/>
                    </a:cubicBezTo>
                    <a:cubicBezTo>
                      <a:pt x="1112879" y="518134"/>
                      <a:pt x="1137582" y="512940"/>
                      <a:pt x="1153924" y="497864"/>
                    </a:cubicBezTo>
                    <a:cubicBezTo>
                      <a:pt x="1170646" y="482536"/>
                      <a:pt x="1174066" y="443391"/>
                      <a:pt x="1171279" y="422108"/>
                    </a:cubicBezTo>
                    <a:cubicBezTo>
                      <a:pt x="1170393" y="415268"/>
                      <a:pt x="1167099" y="408807"/>
                      <a:pt x="1166972" y="401713"/>
                    </a:cubicBezTo>
                    <a:cubicBezTo>
                      <a:pt x="1166845" y="394238"/>
                      <a:pt x="1170393" y="388031"/>
                      <a:pt x="1172546" y="381190"/>
                    </a:cubicBezTo>
                    <a:cubicBezTo>
                      <a:pt x="1176727" y="367762"/>
                      <a:pt x="1175333" y="351420"/>
                      <a:pt x="1165325" y="340778"/>
                    </a:cubicBezTo>
                    <a:cubicBezTo>
                      <a:pt x="1155697" y="330517"/>
                      <a:pt x="1143409" y="321649"/>
                      <a:pt x="1161018" y="310628"/>
                    </a:cubicBezTo>
                    <a:cubicBezTo>
                      <a:pt x="1171786" y="303914"/>
                      <a:pt x="1183694" y="302267"/>
                      <a:pt x="1190408" y="291245"/>
                    </a:cubicBezTo>
                    <a:cubicBezTo>
                      <a:pt x="1196362" y="281618"/>
                      <a:pt x="1201176" y="270089"/>
                      <a:pt x="1212198" y="265149"/>
                    </a:cubicBezTo>
                    <a:cubicBezTo>
                      <a:pt x="1231200" y="256408"/>
                      <a:pt x="1252483" y="265149"/>
                      <a:pt x="1271739" y="254381"/>
                    </a:cubicBezTo>
                    <a:cubicBezTo>
                      <a:pt x="1280100" y="249693"/>
                      <a:pt x="1286054" y="242473"/>
                      <a:pt x="1293148" y="236139"/>
                    </a:cubicBezTo>
                    <a:cubicBezTo>
                      <a:pt x="1305056" y="225624"/>
                      <a:pt x="1318358" y="213336"/>
                      <a:pt x="1323805" y="197880"/>
                    </a:cubicBezTo>
                    <a:cubicBezTo>
                      <a:pt x="1329126" y="182805"/>
                      <a:pt x="1323425" y="167857"/>
                      <a:pt x="1334066" y="154555"/>
                    </a:cubicBezTo>
                    <a:cubicBezTo>
                      <a:pt x="1340147" y="146954"/>
                      <a:pt x="1352308" y="129092"/>
                      <a:pt x="1362696" y="130739"/>
                    </a:cubicBezTo>
                    <a:cubicBezTo>
                      <a:pt x="1369031" y="152781"/>
                      <a:pt x="1361303" y="168870"/>
                      <a:pt x="1354969" y="189393"/>
                    </a:cubicBezTo>
                    <a:cubicBezTo>
                      <a:pt x="1349648" y="206368"/>
                      <a:pt x="1361050" y="232972"/>
                      <a:pt x="1344328" y="245260"/>
                    </a:cubicBezTo>
                    <a:cubicBezTo>
                      <a:pt x="1329633" y="255901"/>
                      <a:pt x="1307463" y="263375"/>
                      <a:pt x="1301889" y="283138"/>
                    </a:cubicBezTo>
                    <a:cubicBezTo>
                      <a:pt x="1297835" y="297199"/>
                      <a:pt x="1305182" y="310248"/>
                      <a:pt x="1306069" y="324056"/>
                    </a:cubicBezTo>
                    <a:cubicBezTo>
                      <a:pt x="1307843" y="352940"/>
                      <a:pt x="1271739" y="366115"/>
                      <a:pt x="1295555" y="394872"/>
                    </a:cubicBezTo>
                    <a:cubicBezTo>
                      <a:pt x="1303789" y="404880"/>
                      <a:pt x="1312277" y="414381"/>
                      <a:pt x="1320258" y="424769"/>
                    </a:cubicBezTo>
                    <a:cubicBezTo>
                      <a:pt x="1328872" y="435917"/>
                      <a:pt x="1340020" y="439717"/>
                      <a:pt x="1353322" y="443518"/>
                    </a:cubicBezTo>
                    <a:cubicBezTo>
                      <a:pt x="1366877" y="447445"/>
                      <a:pt x="1380812" y="450232"/>
                      <a:pt x="1386893" y="464294"/>
                    </a:cubicBezTo>
                    <a:cubicBezTo>
                      <a:pt x="1393480" y="479496"/>
                      <a:pt x="1395381" y="492290"/>
                      <a:pt x="1410582" y="501918"/>
                    </a:cubicBezTo>
                    <a:cubicBezTo>
                      <a:pt x="1416030" y="505339"/>
                      <a:pt x="1445293" y="519020"/>
                      <a:pt x="1449854" y="508506"/>
                    </a:cubicBezTo>
                    <a:cubicBezTo>
                      <a:pt x="1452641" y="501918"/>
                      <a:pt x="1432119" y="485323"/>
                      <a:pt x="1428825" y="480129"/>
                    </a:cubicBezTo>
                    <a:cubicBezTo>
                      <a:pt x="1421351" y="468601"/>
                      <a:pt x="1421224" y="454792"/>
                      <a:pt x="1414763" y="443011"/>
                    </a:cubicBezTo>
                    <a:cubicBezTo>
                      <a:pt x="1407415" y="429709"/>
                      <a:pt x="1392214" y="423248"/>
                      <a:pt x="1380306" y="414888"/>
                    </a:cubicBezTo>
                    <a:cubicBezTo>
                      <a:pt x="1359529" y="400192"/>
                      <a:pt x="1346481" y="373336"/>
                      <a:pt x="1342427" y="348759"/>
                    </a:cubicBezTo>
                    <a:cubicBezTo>
                      <a:pt x="1340654" y="338245"/>
                      <a:pt x="1339514" y="324183"/>
                      <a:pt x="1343187" y="313922"/>
                    </a:cubicBezTo>
                    <a:cubicBezTo>
                      <a:pt x="1348761" y="298340"/>
                      <a:pt x="1359783" y="304800"/>
                      <a:pt x="1372071" y="301633"/>
                    </a:cubicBezTo>
                    <a:cubicBezTo>
                      <a:pt x="1379672" y="299733"/>
                      <a:pt x="1390947" y="291879"/>
                      <a:pt x="1398928" y="294666"/>
                    </a:cubicBezTo>
                    <a:cubicBezTo>
                      <a:pt x="1406275" y="297199"/>
                      <a:pt x="1407415" y="310628"/>
                      <a:pt x="1411723" y="316962"/>
                    </a:cubicBezTo>
                    <a:cubicBezTo>
                      <a:pt x="1421477" y="331530"/>
                      <a:pt x="1433259" y="356234"/>
                      <a:pt x="1454794" y="349519"/>
                    </a:cubicBezTo>
                    <a:cubicBezTo>
                      <a:pt x="1488492" y="339005"/>
                      <a:pt x="1440606" y="295553"/>
                      <a:pt x="1447447" y="279211"/>
                    </a:cubicBezTo>
                    <a:cubicBezTo>
                      <a:pt x="1451627" y="269329"/>
                      <a:pt x="1472910" y="267429"/>
                      <a:pt x="1481652" y="266289"/>
                    </a:cubicBezTo>
                    <a:cubicBezTo>
                      <a:pt x="1484819" y="265782"/>
                      <a:pt x="1487859" y="265529"/>
                      <a:pt x="1490899" y="265529"/>
                    </a:cubicBezTo>
                    <a:cubicBezTo>
                      <a:pt x="1488619" y="284658"/>
                      <a:pt x="1506101" y="306194"/>
                      <a:pt x="1524470" y="308474"/>
                    </a:cubicBezTo>
                    <a:cubicBezTo>
                      <a:pt x="1530931" y="309234"/>
                      <a:pt x="1539292" y="309614"/>
                      <a:pt x="1543472" y="315568"/>
                    </a:cubicBezTo>
                    <a:cubicBezTo>
                      <a:pt x="1547020" y="320636"/>
                      <a:pt x="1546386" y="329123"/>
                      <a:pt x="1546006" y="335078"/>
                    </a:cubicBezTo>
                    <a:cubicBezTo>
                      <a:pt x="1544993" y="351420"/>
                      <a:pt x="1538405" y="365481"/>
                      <a:pt x="1528397" y="378276"/>
                    </a:cubicBezTo>
                    <a:cubicBezTo>
                      <a:pt x="1520416" y="388538"/>
                      <a:pt x="1509015" y="393351"/>
                      <a:pt x="1496727" y="396392"/>
                    </a:cubicBezTo>
                    <a:cubicBezTo>
                      <a:pt x="1484945" y="399306"/>
                      <a:pt x="1467716" y="403106"/>
                      <a:pt x="1475951" y="418815"/>
                    </a:cubicBezTo>
                    <a:cubicBezTo>
                      <a:pt x="1482792" y="431863"/>
                      <a:pt x="1494320" y="441998"/>
                      <a:pt x="1499260" y="456059"/>
                    </a:cubicBezTo>
                    <a:cubicBezTo>
                      <a:pt x="1504834" y="471768"/>
                      <a:pt x="1514842" y="483803"/>
                      <a:pt x="1522443" y="498371"/>
                    </a:cubicBezTo>
                    <a:cubicBezTo>
                      <a:pt x="1530171" y="513193"/>
                      <a:pt x="1527764" y="532322"/>
                      <a:pt x="1527004" y="548411"/>
                    </a:cubicBezTo>
                    <a:cubicBezTo>
                      <a:pt x="1526117" y="566020"/>
                      <a:pt x="1524723" y="584769"/>
                      <a:pt x="1519529" y="601744"/>
                    </a:cubicBezTo>
                    <a:cubicBezTo>
                      <a:pt x="1514842" y="616946"/>
                      <a:pt x="1498500" y="617326"/>
                      <a:pt x="1485199" y="618086"/>
                    </a:cubicBezTo>
                    <a:cubicBezTo>
                      <a:pt x="1469110" y="618973"/>
                      <a:pt x="1463789" y="626194"/>
                      <a:pt x="1457201" y="640129"/>
                    </a:cubicBezTo>
                    <a:cubicBezTo>
                      <a:pt x="1449981" y="655711"/>
                      <a:pt x="1439973" y="666099"/>
                      <a:pt x="1422617" y="669519"/>
                    </a:cubicBezTo>
                    <a:cubicBezTo>
                      <a:pt x="1408555" y="672306"/>
                      <a:pt x="1392594" y="670533"/>
                      <a:pt x="1381446" y="681174"/>
                    </a:cubicBezTo>
                    <a:cubicBezTo>
                      <a:pt x="1371564" y="690549"/>
                      <a:pt x="1367510" y="706131"/>
                      <a:pt x="1370804" y="719179"/>
                    </a:cubicBezTo>
                    <a:cubicBezTo>
                      <a:pt x="1374225" y="732861"/>
                      <a:pt x="1384739" y="743755"/>
                      <a:pt x="1390060" y="756677"/>
                    </a:cubicBezTo>
                    <a:cubicBezTo>
                      <a:pt x="1395507" y="769725"/>
                      <a:pt x="1396141" y="784167"/>
                      <a:pt x="1401461" y="797215"/>
                    </a:cubicBezTo>
                    <a:cubicBezTo>
                      <a:pt x="1406402" y="809377"/>
                      <a:pt x="1417043" y="818625"/>
                      <a:pt x="1428318" y="824959"/>
                    </a:cubicBezTo>
                    <a:cubicBezTo>
                      <a:pt x="1444533" y="834080"/>
                      <a:pt x="1462902" y="831546"/>
                      <a:pt x="1480005" y="826606"/>
                    </a:cubicBezTo>
                    <a:cubicBezTo>
                      <a:pt x="1488746" y="824072"/>
                      <a:pt x="1497233" y="821032"/>
                      <a:pt x="1505974" y="818498"/>
                    </a:cubicBezTo>
                    <a:cubicBezTo>
                      <a:pt x="1508508" y="817738"/>
                      <a:pt x="1515476" y="814571"/>
                      <a:pt x="1518009" y="815584"/>
                    </a:cubicBezTo>
                    <a:cubicBezTo>
                      <a:pt x="1520923" y="816724"/>
                      <a:pt x="1521176" y="822552"/>
                      <a:pt x="1521303" y="825465"/>
                    </a:cubicBezTo>
                    <a:cubicBezTo>
                      <a:pt x="1521810" y="838387"/>
                      <a:pt x="1520163" y="849408"/>
                      <a:pt x="1531818" y="857769"/>
                    </a:cubicBezTo>
                    <a:cubicBezTo>
                      <a:pt x="1539672" y="863470"/>
                      <a:pt x="1546893" y="865877"/>
                      <a:pt x="1546766" y="876772"/>
                    </a:cubicBezTo>
                    <a:cubicBezTo>
                      <a:pt x="1546639" y="893747"/>
                      <a:pt x="1540686" y="911610"/>
                      <a:pt x="1547020" y="928078"/>
                    </a:cubicBezTo>
                    <a:cubicBezTo>
                      <a:pt x="1550187" y="936186"/>
                      <a:pt x="1556014" y="943154"/>
                      <a:pt x="1556394" y="952148"/>
                    </a:cubicBezTo>
                    <a:cubicBezTo>
                      <a:pt x="1556774" y="960889"/>
                      <a:pt x="1552973" y="969757"/>
                      <a:pt x="1549553" y="977611"/>
                    </a:cubicBezTo>
                    <a:cubicBezTo>
                      <a:pt x="1545373" y="987366"/>
                      <a:pt x="1534985" y="1001174"/>
                      <a:pt x="1535492" y="1013336"/>
                    </a:cubicBezTo>
                    <a:cubicBezTo>
                      <a:pt x="1488239" y="1012702"/>
                      <a:pt x="1497107" y="1039686"/>
                      <a:pt x="1502934" y="1055521"/>
                    </a:cubicBezTo>
                    <a:cubicBezTo>
                      <a:pt x="1508888" y="1071356"/>
                      <a:pt x="1471897" y="1052227"/>
                      <a:pt x="1450107" y="1048933"/>
                    </a:cubicBezTo>
                    <a:cubicBezTo>
                      <a:pt x="1428318" y="1045640"/>
                      <a:pt x="1459355" y="1105687"/>
                      <a:pt x="1465309" y="1121523"/>
                    </a:cubicBezTo>
                    <a:cubicBezTo>
                      <a:pt x="1471263" y="1137358"/>
                      <a:pt x="1454161" y="1150533"/>
                      <a:pt x="1443520" y="1173589"/>
                    </a:cubicBezTo>
                    <a:cubicBezTo>
                      <a:pt x="1433005" y="1196645"/>
                      <a:pt x="1477218" y="1233637"/>
                      <a:pt x="1486465" y="1249472"/>
                    </a:cubicBezTo>
                    <a:cubicBezTo>
                      <a:pt x="1495713" y="1265307"/>
                      <a:pt x="1475951" y="1287097"/>
                      <a:pt x="1463409" y="1301538"/>
                    </a:cubicBezTo>
                    <a:cubicBezTo>
                      <a:pt x="1450867" y="1316107"/>
                      <a:pt x="1462142" y="1329282"/>
                      <a:pt x="1470630" y="1349677"/>
                    </a:cubicBezTo>
                    <a:cubicBezTo>
                      <a:pt x="1479245" y="1370200"/>
                      <a:pt x="1458088" y="1386669"/>
                      <a:pt x="1455428" y="1409725"/>
                    </a:cubicBezTo>
                    <a:cubicBezTo>
                      <a:pt x="1452768" y="1432782"/>
                      <a:pt x="1474557" y="1451910"/>
                      <a:pt x="1496347" y="1463185"/>
                    </a:cubicBezTo>
                    <a:cubicBezTo>
                      <a:pt x="1518136" y="1474333"/>
                      <a:pt x="1512815" y="1504103"/>
                      <a:pt x="1517502" y="1525260"/>
                    </a:cubicBezTo>
                    <a:cubicBezTo>
                      <a:pt x="1522063" y="1546416"/>
                      <a:pt x="1485199" y="1584674"/>
                      <a:pt x="1495080" y="1622932"/>
                    </a:cubicBezTo>
                    <a:cubicBezTo>
                      <a:pt x="1504961" y="1661190"/>
                      <a:pt x="1559688" y="1650042"/>
                      <a:pt x="1588825" y="1654602"/>
                    </a:cubicBezTo>
                    <a:cubicBezTo>
                      <a:pt x="1617835" y="1659163"/>
                      <a:pt x="1588192" y="1717944"/>
                      <a:pt x="1578944" y="1728458"/>
                    </a:cubicBezTo>
                    <a:cubicBezTo>
                      <a:pt x="1570202" y="1738973"/>
                      <a:pt x="1576157" y="1762156"/>
                      <a:pt x="1582111" y="177925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606" name="Рисунок 388">
                <a:extLst>
                  <a:ext uri="{FF2B5EF4-FFF2-40B4-BE49-F238E27FC236}">
                    <a16:creationId xmlns:a16="http://schemas.microsoft.com/office/drawing/2014/main" id="{1DA397FD-DC6E-439E-BB40-D0F80476817D}"/>
                  </a:ext>
                </a:extLst>
              </p:cNvPr>
              <p:cNvGrpSpPr/>
              <p:nvPr/>
            </p:nvGrpSpPr>
            <p:grpSpPr>
              <a:xfrm>
                <a:off x="5656330" y="2491877"/>
                <a:ext cx="804275" cy="536390"/>
                <a:chOff x="5656330" y="2491877"/>
                <a:chExt cx="804275" cy="536390"/>
              </a:xfrm>
              <a:solidFill>
                <a:srgbClr val="E3E8EC"/>
              </a:solidFill>
            </p:grpSpPr>
            <p:sp>
              <p:nvSpPr>
                <p:cNvPr id="607" name="Полилиния: фигура 606">
                  <a:extLst>
                    <a:ext uri="{FF2B5EF4-FFF2-40B4-BE49-F238E27FC236}">
                      <a16:creationId xmlns:a16="http://schemas.microsoft.com/office/drawing/2014/main" id="{A9FA9587-70CA-4006-AF46-9E8745A28E23}"/>
                    </a:ext>
                  </a:extLst>
                </p:cNvPr>
                <p:cNvSpPr/>
                <p:nvPr/>
              </p:nvSpPr>
              <p:spPr>
                <a:xfrm>
                  <a:off x="6376875" y="2768878"/>
                  <a:ext cx="83730" cy="49815"/>
                </a:xfrm>
                <a:custGeom>
                  <a:avLst/>
                  <a:gdLst>
                    <a:gd name="connsiteX0" fmla="*/ 18774 w 83730"/>
                    <a:gd name="connsiteY0" fmla="*/ 44662 h 49815"/>
                    <a:gd name="connsiteX1" fmla="*/ 2052 w 83730"/>
                    <a:gd name="connsiteY1" fmla="*/ 44409 h 49815"/>
                    <a:gd name="connsiteX2" fmla="*/ 4459 w 83730"/>
                    <a:gd name="connsiteY2" fmla="*/ 32627 h 49815"/>
                    <a:gd name="connsiteX3" fmla="*/ 17760 w 83730"/>
                    <a:gd name="connsiteY3" fmla="*/ 19706 h 49815"/>
                    <a:gd name="connsiteX4" fmla="*/ 31822 w 83730"/>
                    <a:gd name="connsiteY4" fmla="*/ 3997 h 49815"/>
                    <a:gd name="connsiteX5" fmla="*/ 67800 w 83730"/>
                    <a:gd name="connsiteY5" fmla="*/ 10331 h 49815"/>
                    <a:gd name="connsiteX6" fmla="*/ 82622 w 83730"/>
                    <a:gd name="connsiteY6" fmla="*/ 26040 h 49815"/>
                    <a:gd name="connsiteX7" fmla="*/ 62353 w 83730"/>
                    <a:gd name="connsiteY7" fmla="*/ 46943 h 49815"/>
                    <a:gd name="connsiteX8" fmla="*/ 40436 w 83730"/>
                    <a:gd name="connsiteY8" fmla="*/ 48843 h 49815"/>
                    <a:gd name="connsiteX9" fmla="*/ 18774 w 83730"/>
                    <a:gd name="connsiteY9" fmla="*/ 44662 h 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0" h="49815">
                      <a:moveTo>
                        <a:pt x="18774" y="44662"/>
                      </a:moveTo>
                      <a:cubicBezTo>
                        <a:pt x="14087" y="45042"/>
                        <a:pt x="6232" y="47576"/>
                        <a:pt x="2052" y="44409"/>
                      </a:cubicBezTo>
                      <a:cubicBezTo>
                        <a:pt x="-2509" y="40988"/>
                        <a:pt x="1545" y="35668"/>
                        <a:pt x="4459" y="32627"/>
                      </a:cubicBezTo>
                      <a:cubicBezTo>
                        <a:pt x="8639" y="27940"/>
                        <a:pt x="13580" y="24266"/>
                        <a:pt x="17760" y="19706"/>
                      </a:cubicBezTo>
                      <a:cubicBezTo>
                        <a:pt x="22448" y="14638"/>
                        <a:pt x="26375" y="8431"/>
                        <a:pt x="31822" y="3997"/>
                      </a:cubicBezTo>
                      <a:cubicBezTo>
                        <a:pt x="42590" y="-4997"/>
                        <a:pt x="58172" y="2984"/>
                        <a:pt x="67800" y="10331"/>
                      </a:cubicBezTo>
                      <a:cubicBezTo>
                        <a:pt x="73247" y="14385"/>
                        <a:pt x="79708" y="19832"/>
                        <a:pt x="82622" y="26040"/>
                      </a:cubicBezTo>
                      <a:cubicBezTo>
                        <a:pt x="88322" y="37821"/>
                        <a:pt x="70587" y="44155"/>
                        <a:pt x="62353" y="46943"/>
                      </a:cubicBezTo>
                      <a:cubicBezTo>
                        <a:pt x="55765" y="49223"/>
                        <a:pt x="47277" y="50996"/>
                        <a:pt x="40436" y="48843"/>
                      </a:cubicBezTo>
                      <a:cubicBezTo>
                        <a:pt x="33089" y="46309"/>
                        <a:pt x="26628" y="44029"/>
                        <a:pt x="18774" y="4466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08" name="Полилиния: фигура 607">
                  <a:extLst>
                    <a:ext uri="{FF2B5EF4-FFF2-40B4-BE49-F238E27FC236}">
                      <a16:creationId xmlns:a16="http://schemas.microsoft.com/office/drawing/2014/main" id="{C78B1DF4-7F03-402C-B03B-6A40497595F5}"/>
                    </a:ext>
                  </a:extLst>
                </p:cNvPr>
                <p:cNvSpPr/>
                <p:nvPr/>
              </p:nvSpPr>
              <p:spPr>
                <a:xfrm>
                  <a:off x="6393014" y="2662715"/>
                  <a:ext cx="24114" cy="15950"/>
                </a:xfrm>
                <a:custGeom>
                  <a:avLst/>
                  <a:gdLst>
                    <a:gd name="connsiteX0" fmla="*/ 1622 w 24114"/>
                    <a:gd name="connsiteY0" fmla="*/ 4759 h 15950"/>
                    <a:gd name="connsiteX1" fmla="*/ 23411 w 24114"/>
                    <a:gd name="connsiteY1" fmla="*/ 9700 h 15950"/>
                    <a:gd name="connsiteX2" fmla="*/ 7829 w 24114"/>
                    <a:gd name="connsiteY2" fmla="*/ 15908 h 15950"/>
                    <a:gd name="connsiteX3" fmla="*/ 1622 w 24114"/>
                    <a:gd name="connsiteY3" fmla="*/ 4759 h 15950"/>
                  </a:gdLst>
                  <a:ahLst/>
                  <a:cxnLst>
                    <a:cxn ang="0">
                      <a:pos x="connsiteX0" y="connsiteY0"/>
                    </a:cxn>
                    <a:cxn ang="0">
                      <a:pos x="connsiteX1" y="connsiteY1"/>
                    </a:cxn>
                    <a:cxn ang="0">
                      <a:pos x="connsiteX2" y="connsiteY2"/>
                    </a:cxn>
                    <a:cxn ang="0">
                      <a:pos x="connsiteX3" y="connsiteY3"/>
                    </a:cxn>
                  </a:cxnLst>
                  <a:rect l="l" t="t" r="r" b="b"/>
                  <a:pathLst>
                    <a:path w="24114" h="15950">
                      <a:moveTo>
                        <a:pt x="1622" y="4759"/>
                      </a:moveTo>
                      <a:cubicBezTo>
                        <a:pt x="6942" y="-2081"/>
                        <a:pt x="28225" y="-2461"/>
                        <a:pt x="23411" y="9700"/>
                      </a:cubicBezTo>
                      <a:cubicBezTo>
                        <a:pt x="21384" y="14768"/>
                        <a:pt x="12389" y="15528"/>
                        <a:pt x="7829" y="15908"/>
                      </a:cubicBezTo>
                      <a:cubicBezTo>
                        <a:pt x="2002" y="16541"/>
                        <a:pt x="-2559" y="10080"/>
                        <a:pt x="1622" y="475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09" name="Полилиния: фигура 608">
                  <a:extLst>
                    <a:ext uri="{FF2B5EF4-FFF2-40B4-BE49-F238E27FC236}">
                      <a16:creationId xmlns:a16="http://schemas.microsoft.com/office/drawing/2014/main" id="{D22D1E2D-B444-4748-A2BE-219571D7715A}"/>
                    </a:ext>
                  </a:extLst>
                </p:cNvPr>
                <p:cNvSpPr/>
                <p:nvPr/>
              </p:nvSpPr>
              <p:spPr>
                <a:xfrm>
                  <a:off x="6414479" y="2604996"/>
                  <a:ext cx="15314" cy="29112"/>
                </a:xfrm>
                <a:custGeom>
                  <a:avLst/>
                  <a:gdLst>
                    <a:gd name="connsiteX0" fmla="*/ 8026 w 15314"/>
                    <a:gd name="connsiteY0" fmla="*/ 1671 h 29112"/>
                    <a:gd name="connsiteX1" fmla="*/ 14487 w 15314"/>
                    <a:gd name="connsiteY1" fmla="*/ 25361 h 29112"/>
                    <a:gd name="connsiteX2" fmla="*/ 1185 w 15314"/>
                    <a:gd name="connsiteY2" fmla="*/ 18393 h 29112"/>
                    <a:gd name="connsiteX3" fmla="*/ 8026 w 15314"/>
                    <a:gd name="connsiteY3" fmla="*/ 1671 h 29112"/>
                  </a:gdLst>
                  <a:ahLst/>
                  <a:cxnLst>
                    <a:cxn ang="0">
                      <a:pos x="connsiteX0" y="connsiteY0"/>
                    </a:cxn>
                    <a:cxn ang="0">
                      <a:pos x="connsiteX1" y="connsiteY1"/>
                    </a:cxn>
                    <a:cxn ang="0">
                      <a:pos x="connsiteX2" y="connsiteY2"/>
                    </a:cxn>
                    <a:cxn ang="0">
                      <a:pos x="connsiteX3" y="connsiteY3"/>
                    </a:cxn>
                  </a:cxnLst>
                  <a:rect l="l" t="t" r="r" b="b"/>
                  <a:pathLst>
                    <a:path w="15314" h="29112">
                      <a:moveTo>
                        <a:pt x="8026" y="1671"/>
                      </a:moveTo>
                      <a:cubicBezTo>
                        <a:pt x="12967" y="5598"/>
                        <a:pt x="17147" y="19533"/>
                        <a:pt x="14487" y="25361"/>
                      </a:cubicBezTo>
                      <a:cubicBezTo>
                        <a:pt x="10180" y="35115"/>
                        <a:pt x="3212" y="23334"/>
                        <a:pt x="1185" y="18393"/>
                      </a:cubicBezTo>
                      <a:cubicBezTo>
                        <a:pt x="-715" y="13959"/>
                        <a:pt x="-1475" y="-5803"/>
                        <a:pt x="8026" y="167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10" name="Полилиния: фигура 609">
                  <a:extLst>
                    <a:ext uri="{FF2B5EF4-FFF2-40B4-BE49-F238E27FC236}">
                      <a16:creationId xmlns:a16="http://schemas.microsoft.com/office/drawing/2014/main" id="{D8062306-261D-4CC3-BFD6-63A14BDAB2F0}"/>
                    </a:ext>
                  </a:extLst>
                </p:cNvPr>
                <p:cNvSpPr/>
                <p:nvPr/>
              </p:nvSpPr>
              <p:spPr>
                <a:xfrm>
                  <a:off x="6359299" y="2580734"/>
                  <a:ext cx="43315" cy="26866"/>
                </a:xfrm>
                <a:custGeom>
                  <a:avLst/>
                  <a:gdLst>
                    <a:gd name="connsiteX0" fmla="*/ 499 w 43315"/>
                    <a:gd name="connsiteY0" fmla="*/ 26567 h 26866"/>
                    <a:gd name="connsiteX1" fmla="*/ 23555 w 43315"/>
                    <a:gd name="connsiteY1" fmla="*/ 850 h 26866"/>
                    <a:gd name="connsiteX2" fmla="*/ 39644 w 43315"/>
                    <a:gd name="connsiteY2" fmla="*/ 4397 h 26866"/>
                    <a:gd name="connsiteX3" fmla="*/ 37617 w 43315"/>
                    <a:gd name="connsiteY3" fmla="*/ 20486 h 26866"/>
                    <a:gd name="connsiteX4" fmla="*/ 19628 w 43315"/>
                    <a:gd name="connsiteY4" fmla="*/ 20106 h 26866"/>
                    <a:gd name="connsiteX5" fmla="*/ 499 w 43315"/>
                    <a:gd name="connsiteY5" fmla="*/ 26567 h 26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315" h="26866">
                      <a:moveTo>
                        <a:pt x="499" y="26567"/>
                      </a:moveTo>
                      <a:cubicBezTo>
                        <a:pt x="-2668" y="10605"/>
                        <a:pt x="9746" y="3637"/>
                        <a:pt x="23555" y="850"/>
                      </a:cubicBezTo>
                      <a:cubicBezTo>
                        <a:pt x="29382" y="-290"/>
                        <a:pt x="36350" y="-1177"/>
                        <a:pt x="39644" y="4397"/>
                      </a:cubicBezTo>
                      <a:cubicBezTo>
                        <a:pt x="42811" y="9718"/>
                        <a:pt x="46865" y="20106"/>
                        <a:pt x="37617" y="20486"/>
                      </a:cubicBezTo>
                      <a:cubicBezTo>
                        <a:pt x="30523" y="20739"/>
                        <a:pt x="26469" y="16685"/>
                        <a:pt x="19628" y="20106"/>
                      </a:cubicBezTo>
                      <a:cubicBezTo>
                        <a:pt x="18107" y="20739"/>
                        <a:pt x="879" y="28467"/>
                        <a:pt x="499" y="2656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11" name="Полилиния: фигура 610">
                  <a:extLst>
                    <a:ext uri="{FF2B5EF4-FFF2-40B4-BE49-F238E27FC236}">
                      <a16:creationId xmlns:a16="http://schemas.microsoft.com/office/drawing/2014/main" id="{C6BE3B5C-A9CE-49E6-9B33-3A0A6DE39BBF}"/>
                    </a:ext>
                  </a:extLst>
                </p:cNvPr>
                <p:cNvSpPr/>
                <p:nvPr/>
              </p:nvSpPr>
              <p:spPr>
                <a:xfrm>
                  <a:off x="6291364" y="2623373"/>
                  <a:ext cx="33463" cy="39604"/>
                </a:xfrm>
                <a:custGeom>
                  <a:avLst/>
                  <a:gdLst>
                    <a:gd name="connsiteX0" fmla="*/ 1165 w 33463"/>
                    <a:gd name="connsiteY0" fmla="*/ 32700 h 39604"/>
                    <a:gd name="connsiteX1" fmla="*/ 18521 w 33463"/>
                    <a:gd name="connsiteY1" fmla="*/ 1283 h 39604"/>
                    <a:gd name="connsiteX2" fmla="*/ 32076 w 33463"/>
                    <a:gd name="connsiteY2" fmla="*/ 14205 h 39604"/>
                    <a:gd name="connsiteX3" fmla="*/ 1165 w 33463"/>
                    <a:gd name="connsiteY3" fmla="*/ 32700 h 39604"/>
                  </a:gdLst>
                  <a:ahLst/>
                  <a:cxnLst>
                    <a:cxn ang="0">
                      <a:pos x="connsiteX0" y="connsiteY0"/>
                    </a:cxn>
                    <a:cxn ang="0">
                      <a:pos x="connsiteX1" y="connsiteY1"/>
                    </a:cxn>
                    <a:cxn ang="0">
                      <a:pos x="connsiteX2" y="connsiteY2"/>
                    </a:cxn>
                    <a:cxn ang="0">
                      <a:pos x="connsiteX3" y="connsiteY3"/>
                    </a:cxn>
                  </a:cxnLst>
                  <a:rect l="l" t="t" r="r" b="b"/>
                  <a:pathLst>
                    <a:path w="33463" h="39604">
                      <a:moveTo>
                        <a:pt x="1165" y="32700"/>
                      </a:moveTo>
                      <a:cubicBezTo>
                        <a:pt x="-3268" y="18385"/>
                        <a:pt x="5473" y="7110"/>
                        <a:pt x="18521" y="1283"/>
                      </a:cubicBezTo>
                      <a:cubicBezTo>
                        <a:pt x="28402" y="-3151"/>
                        <a:pt x="36890" y="4577"/>
                        <a:pt x="32076" y="14205"/>
                      </a:cubicBezTo>
                      <a:cubicBezTo>
                        <a:pt x="28402" y="21426"/>
                        <a:pt x="7626" y="53476"/>
                        <a:pt x="1165" y="3270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12" name="Полилиния: фигура 611">
                  <a:extLst>
                    <a:ext uri="{FF2B5EF4-FFF2-40B4-BE49-F238E27FC236}">
                      <a16:creationId xmlns:a16="http://schemas.microsoft.com/office/drawing/2014/main" id="{FBF0F3B8-F94F-43D6-9ED6-D8C2246C4832}"/>
                    </a:ext>
                  </a:extLst>
                </p:cNvPr>
                <p:cNvSpPr/>
                <p:nvPr/>
              </p:nvSpPr>
              <p:spPr>
                <a:xfrm>
                  <a:off x="6086733" y="2491877"/>
                  <a:ext cx="96345" cy="77154"/>
                </a:xfrm>
                <a:custGeom>
                  <a:avLst/>
                  <a:gdLst>
                    <a:gd name="connsiteX0" fmla="*/ 25654 w 96345"/>
                    <a:gd name="connsiteY0" fmla="*/ 65765 h 77154"/>
                    <a:gd name="connsiteX1" fmla="*/ 4498 w 96345"/>
                    <a:gd name="connsiteY1" fmla="*/ 66398 h 77154"/>
                    <a:gd name="connsiteX2" fmla="*/ 12352 w 96345"/>
                    <a:gd name="connsiteY2" fmla="*/ 30167 h 77154"/>
                    <a:gd name="connsiteX3" fmla="*/ 61632 w 96345"/>
                    <a:gd name="connsiteY3" fmla="*/ 16 h 77154"/>
                    <a:gd name="connsiteX4" fmla="*/ 96343 w 96345"/>
                    <a:gd name="connsiteY4" fmla="*/ 37008 h 77154"/>
                    <a:gd name="connsiteX5" fmla="*/ 81521 w 96345"/>
                    <a:gd name="connsiteY5" fmla="*/ 73999 h 77154"/>
                    <a:gd name="connsiteX6" fmla="*/ 62265 w 96345"/>
                    <a:gd name="connsiteY6" fmla="*/ 75773 h 77154"/>
                    <a:gd name="connsiteX7" fmla="*/ 46557 w 96345"/>
                    <a:gd name="connsiteY7" fmla="*/ 64371 h 77154"/>
                    <a:gd name="connsiteX8" fmla="*/ 25654 w 96345"/>
                    <a:gd name="connsiteY8" fmla="*/ 65765 h 7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45" h="77154">
                      <a:moveTo>
                        <a:pt x="25654" y="65765"/>
                      </a:moveTo>
                      <a:cubicBezTo>
                        <a:pt x="18940" y="67665"/>
                        <a:pt x="10325" y="72479"/>
                        <a:pt x="4498" y="66398"/>
                      </a:cubicBezTo>
                      <a:cubicBezTo>
                        <a:pt x="-6017" y="55377"/>
                        <a:pt x="4118" y="38655"/>
                        <a:pt x="12352" y="30167"/>
                      </a:cubicBezTo>
                      <a:cubicBezTo>
                        <a:pt x="24894" y="17245"/>
                        <a:pt x="42123" y="-617"/>
                        <a:pt x="61632" y="16"/>
                      </a:cubicBezTo>
                      <a:cubicBezTo>
                        <a:pt x="80127" y="523"/>
                        <a:pt x="96596" y="19019"/>
                        <a:pt x="96343" y="37008"/>
                      </a:cubicBezTo>
                      <a:cubicBezTo>
                        <a:pt x="96090" y="49676"/>
                        <a:pt x="92922" y="66652"/>
                        <a:pt x="81521" y="73999"/>
                      </a:cubicBezTo>
                      <a:cubicBezTo>
                        <a:pt x="76073" y="77546"/>
                        <a:pt x="68346" y="78053"/>
                        <a:pt x="62265" y="75773"/>
                      </a:cubicBezTo>
                      <a:cubicBezTo>
                        <a:pt x="56185" y="73366"/>
                        <a:pt x="52511" y="66652"/>
                        <a:pt x="46557" y="64371"/>
                      </a:cubicBezTo>
                      <a:cubicBezTo>
                        <a:pt x="40349" y="61964"/>
                        <a:pt x="31608" y="64118"/>
                        <a:pt x="25654" y="6576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13" name="Полилиния: фигура 612">
                  <a:extLst>
                    <a:ext uri="{FF2B5EF4-FFF2-40B4-BE49-F238E27FC236}">
                      <a16:creationId xmlns:a16="http://schemas.microsoft.com/office/drawing/2014/main" id="{F78B6764-978E-481D-BEDF-3C35B4C2D83E}"/>
                    </a:ext>
                  </a:extLst>
                </p:cNvPr>
                <p:cNvSpPr/>
                <p:nvPr/>
              </p:nvSpPr>
              <p:spPr>
                <a:xfrm>
                  <a:off x="5656330" y="3001663"/>
                  <a:ext cx="11908" cy="26603"/>
                </a:xfrm>
                <a:custGeom>
                  <a:avLst/>
                  <a:gdLst>
                    <a:gd name="connsiteX0" fmla="*/ 11908 w 11908"/>
                    <a:gd name="connsiteY0" fmla="*/ 13302 h 26603"/>
                    <a:gd name="connsiteX1" fmla="*/ 5954 w 11908"/>
                    <a:gd name="connsiteY1" fmla="*/ 26603 h 26603"/>
                    <a:gd name="connsiteX2" fmla="*/ 0 w 11908"/>
                    <a:gd name="connsiteY2" fmla="*/ 13302 h 26603"/>
                    <a:gd name="connsiteX3" fmla="*/ 5954 w 11908"/>
                    <a:gd name="connsiteY3" fmla="*/ 0 h 26603"/>
                    <a:gd name="connsiteX4" fmla="*/ 11908 w 11908"/>
                    <a:gd name="connsiteY4" fmla="*/ 13302 h 26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 h="26603">
                      <a:moveTo>
                        <a:pt x="11908" y="13302"/>
                      </a:moveTo>
                      <a:cubicBezTo>
                        <a:pt x="11908" y="20649"/>
                        <a:pt x="9248" y="26603"/>
                        <a:pt x="5954" y="26603"/>
                      </a:cubicBezTo>
                      <a:cubicBezTo>
                        <a:pt x="2660" y="26603"/>
                        <a:pt x="0" y="20649"/>
                        <a:pt x="0" y="13302"/>
                      </a:cubicBezTo>
                      <a:cubicBezTo>
                        <a:pt x="0" y="5954"/>
                        <a:pt x="2660" y="0"/>
                        <a:pt x="5954" y="0"/>
                      </a:cubicBezTo>
                      <a:cubicBezTo>
                        <a:pt x="9248" y="0"/>
                        <a:pt x="11908" y="5954"/>
                        <a:pt x="11908" y="1330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grpSp>
          <p:nvGrpSpPr>
            <p:cNvPr id="614" name="Рисунок 388">
              <a:extLst>
                <a:ext uri="{FF2B5EF4-FFF2-40B4-BE49-F238E27FC236}">
                  <a16:creationId xmlns:a16="http://schemas.microsoft.com/office/drawing/2014/main" id="{1DA397FD-DC6E-439E-BB40-D0F80476817D}"/>
                </a:ext>
              </a:extLst>
            </p:cNvPr>
            <p:cNvGrpSpPr/>
            <p:nvPr/>
          </p:nvGrpSpPr>
          <p:grpSpPr>
            <a:xfrm>
              <a:off x="4103836" y="2229434"/>
              <a:ext cx="1439493" cy="976313"/>
              <a:chOff x="4103836" y="2229434"/>
              <a:chExt cx="1439493" cy="976313"/>
            </a:xfrm>
            <a:solidFill>
              <a:srgbClr val="E3E8EC"/>
            </a:solidFill>
          </p:grpSpPr>
          <p:sp>
            <p:nvSpPr>
              <p:cNvPr id="615" name="Полилиния: фигура 614">
                <a:extLst>
                  <a:ext uri="{FF2B5EF4-FFF2-40B4-BE49-F238E27FC236}">
                    <a16:creationId xmlns:a16="http://schemas.microsoft.com/office/drawing/2014/main" id="{0FAA043C-B449-4FA2-A13A-F14292305684}"/>
                  </a:ext>
                </a:extLst>
              </p:cNvPr>
              <p:cNvSpPr/>
              <p:nvPr/>
            </p:nvSpPr>
            <p:spPr>
              <a:xfrm>
                <a:off x="4111690" y="2229434"/>
                <a:ext cx="1431639" cy="976313"/>
              </a:xfrm>
              <a:custGeom>
                <a:avLst/>
                <a:gdLst>
                  <a:gd name="connsiteX0" fmla="*/ 1431639 w 1431639"/>
                  <a:gd name="connsiteY0" fmla="*/ 820622 h 976313"/>
                  <a:gd name="connsiteX1" fmla="*/ 1419604 w 1431639"/>
                  <a:gd name="connsiteY1" fmla="*/ 820749 h 976313"/>
                  <a:gd name="connsiteX2" fmla="*/ 1404656 w 1431639"/>
                  <a:gd name="connsiteY2" fmla="*/ 827336 h 976313"/>
                  <a:gd name="connsiteX3" fmla="*/ 1397181 w 1431639"/>
                  <a:gd name="connsiteY3" fmla="*/ 856220 h 976313"/>
                  <a:gd name="connsiteX4" fmla="*/ 1385780 w 1431639"/>
                  <a:gd name="connsiteY4" fmla="*/ 879022 h 976313"/>
                  <a:gd name="connsiteX5" fmla="*/ 1368805 w 1431639"/>
                  <a:gd name="connsiteY5" fmla="*/ 894225 h 976313"/>
                  <a:gd name="connsiteX6" fmla="*/ 1365511 w 1431639"/>
                  <a:gd name="connsiteY6" fmla="*/ 894478 h 976313"/>
                  <a:gd name="connsiteX7" fmla="*/ 1353476 w 1431639"/>
                  <a:gd name="connsiteY7" fmla="*/ 886497 h 976313"/>
                  <a:gd name="connsiteX8" fmla="*/ 1340301 w 1431639"/>
                  <a:gd name="connsiteY8" fmla="*/ 882696 h 976313"/>
                  <a:gd name="connsiteX9" fmla="*/ 1302170 w 1431639"/>
                  <a:gd name="connsiteY9" fmla="*/ 886497 h 976313"/>
                  <a:gd name="connsiteX10" fmla="*/ 1272146 w 1431639"/>
                  <a:gd name="connsiteY10" fmla="*/ 891057 h 976313"/>
                  <a:gd name="connsiteX11" fmla="*/ 1229074 w 1431639"/>
                  <a:gd name="connsiteY11" fmla="*/ 912340 h 976313"/>
                  <a:gd name="connsiteX12" fmla="*/ 1198417 w 1431639"/>
                  <a:gd name="connsiteY12" fmla="*/ 909553 h 976313"/>
                  <a:gd name="connsiteX13" fmla="*/ 1181314 w 1431639"/>
                  <a:gd name="connsiteY13" fmla="*/ 902332 h 976313"/>
                  <a:gd name="connsiteX14" fmla="*/ 1166493 w 1431639"/>
                  <a:gd name="connsiteY14" fmla="*/ 906006 h 976313"/>
                  <a:gd name="connsiteX15" fmla="*/ 1134442 w 1431639"/>
                  <a:gd name="connsiteY15" fmla="*/ 929569 h 976313"/>
                  <a:gd name="connsiteX16" fmla="*/ 1103278 w 1431639"/>
                  <a:gd name="connsiteY16" fmla="*/ 959466 h 976313"/>
                  <a:gd name="connsiteX17" fmla="*/ 1052352 w 1431639"/>
                  <a:gd name="connsiteY17" fmla="*/ 975935 h 976313"/>
                  <a:gd name="connsiteX18" fmla="*/ 1040317 w 1431639"/>
                  <a:gd name="connsiteY18" fmla="*/ 976061 h 976313"/>
                  <a:gd name="connsiteX19" fmla="*/ 1023595 w 1431639"/>
                  <a:gd name="connsiteY19" fmla="*/ 970107 h 976313"/>
                  <a:gd name="connsiteX20" fmla="*/ 1007506 w 1431639"/>
                  <a:gd name="connsiteY20" fmla="*/ 967574 h 976313"/>
                  <a:gd name="connsiteX21" fmla="*/ 975202 w 1431639"/>
                  <a:gd name="connsiteY21" fmla="*/ 946798 h 976313"/>
                  <a:gd name="connsiteX22" fmla="*/ 912241 w 1431639"/>
                  <a:gd name="connsiteY22" fmla="*/ 904106 h 976313"/>
                  <a:gd name="connsiteX23" fmla="*/ 851813 w 1431639"/>
                  <a:gd name="connsiteY23" fmla="*/ 866228 h 976313"/>
                  <a:gd name="connsiteX24" fmla="*/ 823436 w 1431639"/>
                  <a:gd name="connsiteY24" fmla="*/ 842538 h 976313"/>
                  <a:gd name="connsiteX25" fmla="*/ 793666 w 1431639"/>
                  <a:gd name="connsiteY25" fmla="*/ 819609 h 976313"/>
                  <a:gd name="connsiteX26" fmla="*/ 758448 w 1431639"/>
                  <a:gd name="connsiteY26" fmla="*/ 800353 h 976313"/>
                  <a:gd name="connsiteX27" fmla="*/ 740333 w 1431639"/>
                  <a:gd name="connsiteY27" fmla="*/ 790345 h 976313"/>
                  <a:gd name="connsiteX28" fmla="*/ 697894 w 1431639"/>
                  <a:gd name="connsiteY28" fmla="*/ 764248 h 976313"/>
                  <a:gd name="connsiteX29" fmla="*/ 656596 w 1431639"/>
                  <a:gd name="connsiteY29" fmla="*/ 733591 h 976313"/>
                  <a:gd name="connsiteX30" fmla="*/ 635186 w 1431639"/>
                  <a:gd name="connsiteY30" fmla="*/ 712815 h 976313"/>
                  <a:gd name="connsiteX31" fmla="*/ 616437 w 1431639"/>
                  <a:gd name="connsiteY31" fmla="*/ 692673 h 976313"/>
                  <a:gd name="connsiteX32" fmla="*/ 598702 w 1431639"/>
                  <a:gd name="connsiteY32" fmla="*/ 674810 h 976313"/>
                  <a:gd name="connsiteX33" fmla="*/ 574885 w 1431639"/>
                  <a:gd name="connsiteY33" fmla="*/ 656821 h 976313"/>
                  <a:gd name="connsiteX34" fmla="*/ 550056 w 1431639"/>
                  <a:gd name="connsiteY34" fmla="*/ 623631 h 976313"/>
                  <a:gd name="connsiteX35" fmla="*/ 530166 w 1431639"/>
                  <a:gd name="connsiteY35" fmla="*/ 597661 h 976313"/>
                  <a:gd name="connsiteX36" fmla="*/ 471132 w 1431639"/>
                  <a:gd name="connsiteY36" fmla="*/ 584866 h 976313"/>
                  <a:gd name="connsiteX37" fmla="*/ 422866 w 1431639"/>
                  <a:gd name="connsiteY37" fmla="*/ 575618 h 976313"/>
                  <a:gd name="connsiteX38" fmla="*/ 393729 w 1431639"/>
                  <a:gd name="connsiteY38" fmla="*/ 568397 h 976313"/>
                  <a:gd name="connsiteX39" fmla="*/ 365479 w 1431639"/>
                  <a:gd name="connsiteY39" fmla="*/ 560416 h 976313"/>
                  <a:gd name="connsiteX40" fmla="*/ 340016 w 1431639"/>
                  <a:gd name="connsiteY40" fmla="*/ 563203 h 976313"/>
                  <a:gd name="connsiteX41" fmla="*/ 311639 w 1431639"/>
                  <a:gd name="connsiteY41" fmla="*/ 559656 h 976313"/>
                  <a:gd name="connsiteX42" fmla="*/ 255772 w 1431639"/>
                  <a:gd name="connsiteY42" fmla="*/ 547494 h 976313"/>
                  <a:gd name="connsiteX43" fmla="*/ 248425 w 1431639"/>
                  <a:gd name="connsiteY43" fmla="*/ 546734 h 976313"/>
                  <a:gd name="connsiteX44" fmla="*/ 200919 w 1431639"/>
                  <a:gd name="connsiteY44" fmla="*/ 524438 h 976313"/>
                  <a:gd name="connsiteX45" fmla="*/ 171401 w 1431639"/>
                  <a:gd name="connsiteY45" fmla="*/ 504929 h 976313"/>
                  <a:gd name="connsiteX46" fmla="*/ 150752 w 1431639"/>
                  <a:gd name="connsiteY46" fmla="*/ 507970 h 976313"/>
                  <a:gd name="connsiteX47" fmla="*/ 137957 w 1431639"/>
                  <a:gd name="connsiteY47" fmla="*/ 528745 h 976313"/>
                  <a:gd name="connsiteX48" fmla="*/ 122882 w 1431639"/>
                  <a:gd name="connsiteY48" fmla="*/ 522411 h 976313"/>
                  <a:gd name="connsiteX49" fmla="*/ 104640 w 1431639"/>
                  <a:gd name="connsiteY49" fmla="*/ 518104 h 976313"/>
                  <a:gd name="connsiteX50" fmla="*/ 89945 w 1431639"/>
                  <a:gd name="connsiteY50" fmla="*/ 505689 h 976313"/>
                  <a:gd name="connsiteX51" fmla="*/ 76390 w 1431639"/>
                  <a:gd name="connsiteY51" fmla="*/ 459704 h 976313"/>
                  <a:gd name="connsiteX52" fmla="*/ 69042 w 1431639"/>
                  <a:gd name="connsiteY52" fmla="*/ 430060 h 976313"/>
                  <a:gd name="connsiteX53" fmla="*/ 54474 w 1431639"/>
                  <a:gd name="connsiteY53" fmla="*/ 403836 h 976313"/>
                  <a:gd name="connsiteX54" fmla="*/ 40539 w 1431639"/>
                  <a:gd name="connsiteY54" fmla="*/ 374826 h 976313"/>
                  <a:gd name="connsiteX55" fmla="*/ 21663 w 1431639"/>
                  <a:gd name="connsiteY55" fmla="*/ 346956 h 976313"/>
                  <a:gd name="connsiteX56" fmla="*/ 5448 w 1431639"/>
                  <a:gd name="connsiteY56" fmla="*/ 325547 h 976313"/>
                  <a:gd name="connsiteX57" fmla="*/ 0 w 1431639"/>
                  <a:gd name="connsiteY57" fmla="*/ 315032 h 976313"/>
                  <a:gd name="connsiteX58" fmla="*/ 3547 w 1431639"/>
                  <a:gd name="connsiteY58" fmla="*/ 313765 h 976313"/>
                  <a:gd name="connsiteX59" fmla="*/ 24830 w 1431639"/>
                  <a:gd name="connsiteY59" fmla="*/ 296283 h 976313"/>
                  <a:gd name="connsiteX60" fmla="*/ 52574 w 1431639"/>
                  <a:gd name="connsiteY60" fmla="*/ 287162 h 976313"/>
                  <a:gd name="connsiteX61" fmla="*/ 64862 w 1431639"/>
                  <a:gd name="connsiteY61" fmla="*/ 265626 h 976313"/>
                  <a:gd name="connsiteX62" fmla="*/ 91465 w 1431639"/>
                  <a:gd name="connsiteY62" fmla="*/ 253718 h 976313"/>
                  <a:gd name="connsiteX63" fmla="*/ 112621 w 1431639"/>
                  <a:gd name="connsiteY63" fmla="*/ 202031 h 976313"/>
                  <a:gd name="connsiteX64" fmla="*/ 113508 w 1431639"/>
                  <a:gd name="connsiteY64" fmla="*/ 170361 h 976313"/>
                  <a:gd name="connsiteX65" fmla="*/ 135044 w 1431639"/>
                  <a:gd name="connsiteY65" fmla="*/ 156679 h 976313"/>
                  <a:gd name="connsiteX66" fmla="*/ 180016 w 1431639"/>
                  <a:gd name="connsiteY66" fmla="*/ 135143 h 976313"/>
                  <a:gd name="connsiteX67" fmla="*/ 207126 w 1431639"/>
                  <a:gd name="connsiteY67" fmla="*/ 137550 h 976313"/>
                  <a:gd name="connsiteX68" fmla="*/ 229675 w 1431639"/>
                  <a:gd name="connsiteY68" fmla="*/ 112847 h 976313"/>
                  <a:gd name="connsiteX69" fmla="*/ 266287 w 1431639"/>
                  <a:gd name="connsiteY69" fmla="*/ 69015 h 976313"/>
                  <a:gd name="connsiteX70" fmla="*/ 283389 w 1431639"/>
                  <a:gd name="connsiteY70" fmla="*/ 13148 h 976313"/>
                  <a:gd name="connsiteX71" fmla="*/ 298844 w 1431639"/>
                  <a:gd name="connsiteY71" fmla="*/ 1873 h 976313"/>
                  <a:gd name="connsiteX72" fmla="*/ 305305 w 1431639"/>
                  <a:gd name="connsiteY72" fmla="*/ 30883 h 976313"/>
                  <a:gd name="connsiteX73" fmla="*/ 322407 w 1431639"/>
                  <a:gd name="connsiteY73" fmla="*/ 53686 h 976313"/>
                  <a:gd name="connsiteX74" fmla="*/ 368520 w 1431639"/>
                  <a:gd name="connsiteY74" fmla="*/ 114240 h 976313"/>
                  <a:gd name="connsiteX75" fmla="*/ 357498 w 1431639"/>
                  <a:gd name="connsiteY75" fmla="*/ 152498 h 976313"/>
                  <a:gd name="connsiteX76" fmla="*/ 356992 w 1431639"/>
                  <a:gd name="connsiteY76" fmla="*/ 187336 h 976313"/>
                  <a:gd name="connsiteX77" fmla="*/ 325827 w 1431639"/>
                  <a:gd name="connsiteY77" fmla="*/ 244090 h 976313"/>
                  <a:gd name="connsiteX78" fmla="*/ 298718 w 1431639"/>
                  <a:gd name="connsiteY78" fmla="*/ 223821 h 976313"/>
                  <a:gd name="connsiteX79" fmla="*/ 268060 w 1431639"/>
                  <a:gd name="connsiteY79" fmla="*/ 202791 h 976313"/>
                  <a:gd name="connsiteX80" fmla="*/ 225622 w 1431639"/>
                  <a:gd name="connsiteY80" fmla="*/ 204312 h 976313"/>
                  <a:gd name="connsiteX81" fmla="*/ 186603 w 1431639"/>
                  <a:gd name="connsiteY81" fmla="*/ 214066 h 976313"/>
                  <a:gd name="connsiteX82" fmla="*/ 184196 w 1431639"/>
                  <a:gd name="connsiteY82" fmla="*/ 284502 h 976313"/>
                  <a:gd name="connsiteX83" fmla="*/ 177482 w 1431639"/>
                  <a:gd name="connsiteY83" fmla="*/ 347463 h 976313"/>
                  <a:gd name="connsiteX84" fmla="*/ 238037 w 1431639"/>
                  <a:gd name="connsiteY84" fmla="*/ 390788 h 976313"/>
                  <a:gd name="connsiteX85" fmla="*/ 310879 w 1431639"/>
                  <a:gd name="connsiteY85" fmla="*/ 370012 h 976313"/>
                  <a:gd name="connsiteX86" fmla="*/ 355978 w 1431639"/>
                  <a:gd name="connsiteY86" fmla="*/ 339608 h 976313"/>
                  <a:gd name="connsiteX87" fmla="*/ 402344 w 1431639"/>
                  <a:gd name="connsiteY87" fmla="*/ 362791 h 976313"/>
                  <a:gd name="connsiteX88" fmla="*/ 422486 w 1431639"/>
                  <a:gd name="connsiteY88" fmla="*/ 338088 h 976313"/>
                  <a:gd name="connsiteX89" fmla="*/ 452003 w 1431639"/>
                  <a:gd name="connsiteY89" fmla="*/ 350250 h 976313"/>
                  <a:gd name="connsiteX90" fmla="*/ 468472 w 1431639"/>
                  <a:gd name="connsiteY90" fmla="*/ 366845 h 976313"/>
                  <a:gd name="connsiteX91" fmla="*/ 495202 w 1431639"/>
                  <a:gd name="connsiteY91" fmla="*/ 373306 h 976313"/>
                  <a:gd name="connsiteX92" fmla="*/ 547395 w 1431639"/>
                  <a:gd name="connsiteY92" fmla="*/ 371406 h 976313"/>
                  <a:gd name="connsiteX93" fmla="*/ 587807 w 1431639"/>
                  <a:gd name="connsiteY93" fmla="*/ 372673 h 976313"/>
                  <a:gd name="connsiteX94" fmla="*/ 609723 w 1431639"/>
                  <a:gd name="connsiteY94" fmla="*/ 390281 h 976313"/>
                  <a:gd name="connsiteX95" fmla="*/ 670784 w 1431639"/>
                  <a:gd name="connsiteY95" fmla="*/ 397376 h 976313"/>
                  <a:gd name="connsiteX96" fmla="*/ 686366 w 1431639"/>
                  <a:gd name="connsiteY96" fmla="*/ 415998 h 976313"/>
                  <a:gd name="connsiteX97" fmla="*/ 694347 w 1431639"/>
                  <a:gd name="connsiteY97" fmla="*/ 430440 h 976313"/>
                  <a:gd name="connsiteX98" fmla="*/ 709422 w 1431639"/>
                  <a:gd name="connsiteY98" fmla="*/ 399403 h 976313"/>
                  <a:gd name="connsiteX99" fmla="*/ 742486 w 1431639"/>
                  <a:gd name="connsiteY99" fmla="*/ 402570 h 976313"/>
                  <a:gd name="connsiteX100" fmla="*/ 775804 w 1431639"/>
                  <a:gd name="connsiteY100" fmla="*/ 416505 h 976313"/>
                  <a:gd name="connsiteX101" fmla="*/ 817862 w 1431639"/>
                  <a:gd name="connsiteY101" fmla="*/ 420305 h 976313"/>
                  <a:gd name="connsiteX102" fmla="*/ 836231 w 1431639"/>
                  <a:gd name="connsiteY102" fmla="*/ 429933 h 976313"/>
                  <a:gd name="connsiteX103" fmla="*/ 833698 w 1431639"/>
                  <a:gd name="connsiteY103" fmla="*/ 442855 h 976313"/>
                  <a:gd name="connsiteX104" fmla="*/ 817356 w 1431639"/>
                  <a:gd name="connsiteY104" fmla="*/ 436521 h 976313"/>
                  <a:gd name="connsiteX105" fmla="*/ 800507 w 1431639"/>
                  <a:gd name="connsiteY105" fmla="*/ 440701 h 976313"/>
                  <a:gd name="connsiteX106" fmla="*/ 783785 w 1431639"/>
                  <a:gd name="connsiteY106" fmla="*/ 453876 h 976313"/>
                  <a:gd name="connsiteX107" fmla="*/ 768836 w 1431639"/>
                  <a:gd name="connsiteY107" fmla="*/ 457677 h 976313"/>
                  <a:gd name="connsiteX108" fmla="*/ 752368 w 1431639"/>
                  <a:gd name="connsiteY108" fmla="*/ 491754 h 976313"/>
                  <a:gd name="connsiteX109" fmla="*/ 728424 w 1431639"/>
                  <a:gd name="connsiteY109" fmla="*/ 489474 h 976313"/>
                  <a:gd name="connsiteX110" fmla="*/ 728298 w 1431639"/>
                  <a:gd name="connsiteY110" fmla="*/ 511643 h 976313"/>
                  <a:gd name="connsiteX111" fmla="*/ 764403 w 1431639"/>
                  <a:gd name="connsiteY111" fmla="*/ 534320 h 976313"/>
                  <a:gd name="connsiteX112" fmla="*/ 778844 w 1431639"/>
                  <a:gd name="connsiteY112" fmla="*/ 572958 h 976313"/>
                  <a:gd name="connsiteX113" fmla="*/ 791766 w 1431639"/>
                  <a:gd name="connsiteY113" fmla="*/ 550281 h 976313"/>
                  <a:gd name="connsiteX114" fmla="*/ 808235 w 1431639"/>
                  <a:gd name="connsiteY114" fmla="*/ 536600 h 976313"/>
                  <a:gd name="connsiteX115" fmla="*/ 877656 w 1431639"/>
                  <a:gd name="connsiteY115" fmla="*/ 551548 h 976313"/>
                  <a:gd name="connsiteX116" fmla="*/ 907554 w 1431639"/>
                  <a:gd name="connsiteY116" fmla="*/ 568904 h 976313"/>
                  <a:gd name="connsiteX117" fmla="*/ 931370 w 1431639"/>
                  <a:gd name="connsiteY117" fmla="*/ 595000 h 976313"/>
                  <a:gd name="connsiteX118" fmla="*/ 954806 w 1431639"/>
                  <a:gd name="connsiteY118" fmla="*/ 608049 h 976313"/>
                  <a:gd name="connsiteX119" fmla="*/ 995091 w 1431639"/>
                  <a:gd name="connsiteY119" fmla="*/ 603868 h 976313"/>
                  <a:gd name="connsiteX120" fmla="*/ 1020935 w 1431639"/>
                  <a:gd name="connsiteY120" fmla="*/ 610709 h 976313"/>
                  <a:gd name="connsiteX121" fmla="*/ 1047284 w 1431639"/>
                  <a:gd name="connsiteY121" fmla="*/ 600068 h 976313"/>
                  <a:gd name="connsiteX122" fmla="*/ 1083515 w 1431639"/>
                  <a:gd name="connsiteY122" fmla="*/ 610709 h 976313"/>
                  <a:gd name="connsiteX123" fmla="*/ 1073508 w 1431639"/>
                  <a:gd name="connsiteY123" fmla="*/ 631105 h 976313"/>
                  <a:gd name="connsiteX124" fmla="*/ 1077561 w 1431639"/>
                  <a:gd name="connsiteY124" fmla="*/ 658342 h 976313"/>
                  <a:gd name="connsiteX125" fmla="*/ 1041584 w 1431639"/>
                  <a:gd name="connsiteY125" fmla="*/ 677471 h 976313"/>
                  <a:gd name="connsiteX126" fmla="*/ 1056152 w 1431639"/>
                  <a:gd name="connsiteY126" fmla="*/ 715602 h 976313"/>
                  <a:gd name="connsiteX127" fmla="*/ 1067680 w 1431639"/>
                  <a:gd name="connsiteY127" fmla="*/ 686972 h 976313"/>
                  <a:gd name="connsiteX128" fmla="*/ 1099604 w 1431639"/>
                  <a:gd name="connsiteY128" fmla="*/ 673163 h 976313"/>
                  <a:gd name="connsiteX129" fmla="*/ 1123041 w 1431639"/>
                  <a:gd name="connsiteY129" fmla="*/ 689632 h 976313"/>
                  <a:gd name="connsiteX130" fmla="*/ 1149897 w 1431639"/>
                  <a:gd name="connsiteY130" fmla="*/ 684565 h 976313"/>
                  <a:gd name="connsiteX131" fmla="*/ 1187775 w 1431639"/>
                  <a:gd name="connsiteY131" fmla="*/ 653021 h 976313"/>
                  <a:gd name="connsiteX132" fmla="*/ 1170547 w 1431639"/>
                  <a:gd name="connsiteY132" fmla="*/ 627938 h 976313"/>
                  <a:gd name="connsiteX133" fmla="*/ 1181061 w 1431639"/>
                  <a:gd name="connsiteY133" fmla="*/ 600448 h 976313"/>
                  <a:gd name="connsiteX134" fmla="*/ 1196010 w 1431639"/>
                  <a:gd name="connsiteY134" fmla="*/ 572451 h 976313"/>
                  <a:gd name="connsiteX135" fmla="*/ 1225907 w 1431639"/>
                  <a:gd name="connsiteY135" fmla="*/ 562823 h 976313"/>
                  <a:gd name="connsiteX136" fmla="*/ 1255297 w 1431639"/>
                  <a:gd name="connsiteY136" fmla="*/ 551042 h 976313"/>
                  <a:gd name="connsiteX137" fmla="*/ 1277720 w 1431639"/>
                  <a:gd name="connsiteY137" fmla="*/ 585626 h 976313"/>
                  <a:gd name="connsiteX138" fmla="*/ 1306604 w 1431639"/>
                  <a:gd name="connsiteY138" fmla="*/ 620844 h 976313"/>
                  <a:gd name="connsiteX139" fmla="*/ 1337134 w 1431639"/>
                  <a:gd name="connsiteY139" fmla="*/ 639213 h 976313"/>
                  <a:gd name="connsiteX140" fmla="*/ 1363738 w 1431639"/>
                  <a:gd name="connsiteY140" fmla="*/ 662269 h 976313"/>
                  <a:gd name="connsiteX141" fmla="*/ 1390594 w 1431639"/>
                  <a:gd name="connsiteY141" fmla="*/ 709775 h 976313"/>
                  <a:gd name="connsiteX142" fmla="*/ 1397055 w 1431639"/>
                  <a:gd name="connsiteY142" fmla="*/ 724470 h 976313"/>
                  <a:gd name="connsiteX143" fmla="*/ 1405923 w 1431639"/>
                  <a:gd name="connsiteY143" fmla="*/ 732198 h 976313"/>
                  <a:gd name="connsiteX144" fmla="*/ 1411750 w 1431639"/>
                  <a:gd name="connsiteY144" fmla="*/ 769569 h 976313"/>
                  <a:gd name="connsiteX145" fmla="*/ 1427332 w 1431639"/>
                  <a:gd name="connsiteY145" fmla="*/ 801999 h 976313"/>
                  <a:gd name="connsiteX146" fmla="*/ 1431639 w 1431639"/>
                  <a:gd name="connsiteY146" fmla="*/ 820622 h 976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431639" h="976313">
                    <a:moveTo>
                      <a:pt x="1431639" y="820622"/>
                    </a:moveTo>
                    <a:cubicBezTo>
                      <a:pt x="1425812" y="820495"/>
                      <a:pt x="1420491" y="820622"/>
                      <a:pt x="1419604" y="820749"/>
                    </a:cubicBezTo>
                    <a:cubicBezTo>
                      <a:pt x="1413904" y="821382"/>
                      <a:pt x="1407950" y="822269"/>
                      <a:pt x="1404656" y="827336"/>
                    </a:cubicBezTo>
                    <a:cubicBezTo>
                      <a:pt x="1399715" y="835317"/>
                      <a:pt x="1399842" y="847352"/>
                      <a:pt x="1397181" y="856220"/>
                    </a:cubicBezTo>
                    <a:cubicBezTo>
                      <a:pt x="1394901" y="863694"/>
                      <a:pt x="1389960" y="872435"/>
                      <a:pt x="1385780" y="879022"/>
                    </a:cubicBezTo>
                    <a:cubicBezTo>
                      <a:pt x="1382740" y="883963"/>
                      <a:pt x="1375646" y="892578"/>
                      <a:pt x="1368805" y="894225"/>
                    </a:cubicBezTo>
                    <a:cubicBezTo>
                      <a:pt x="1367791" y="894605"/>
                      <a:pt x="1366651" y="894605"/>
                      <a:pt x="1365511" y="894478"/>
                    </a:cubicBezTo>
                    <a:cubicBezTo>
                      <a:pt x="1360697" y="893844"/>
                      <a:pt x="1357150" y="889157"/>
                      <a:pt x="1353476" y="886497"/>
                    </a:cubicBezTo>
                    <a:cubicBezTo>
                      <a:pt x="1349169" y="883456"/>
                      <a:pt x="1345622" y="882696"/>
                      <a:pt x="1340301" y="882696"/>
                    </a:cubicBezTo>
                    <a:cubicBezTo>
                      <a:pt x="1327253" y="882570"/>
                      <a:pt x="1314965" y="884470"/>
                      <a:pt x="1302170" y="886497"/>
                    </a:cubicBezTo>
                    <a:cubicBezTo>
                      <a:pt x="1291782" y="888144"/>
                      <a:pt x="1282027" y="886877"/>
                      <a:pt x="1272146" y="891057"/>
                    </a:cubicBezTo>
                    <a:cubicBezTo>
                      <a:pt x="1257831" y="897138"/>
                      <a:pt x="1244276" y="909046"/>
                      <a:pt x="1229074" y="912340"/>
                    </a:cubicBezTo>
                    <a:cubicBezTo>
                      <a:pt x="1220460" y="914240"/>
                      <a:pt x="1206778" y="912213"/>
                      <a:pt x="1198417" y="909553"/>
                    </a:cubicBezTo>
                    <a:cubicBezTo>
                      <a:pt x="1192589" y="907653"/>
                      <a:pt x="1187522" y="903472"/>
                      <a:pt x="1181314" y="902332"/>
                    </a:cubicBezTo>
                    <a:cubicBezTo>
                      <a:pt x="1175740" y="901319"/>
                      <a:pt x="1171560" y="904106"/>
                      <a:pt x="1166493" y="906006"/>
                    </a:cubicBezTo>
                    <a:cubicBezTo>
                      <a:pt x="1153444" y="910947"/>
                      <a:pt x="1144703" y="920448"/>
                      <a:pt x="1134442" y="929569"/>
                    </a:cubicBezTo>
                    <a:cubicBezTo>
                      <a:pt x="1123674" y="939323"/>
                      <a:pt x="1113666" y="949458"/>
                      <a:pt x="1103278" y="959466"/>
                    </a:cubicBezTo>
                    <a:cubicBezTo>
                      <a:pt x="1090103" y="972261"/>
                      <a:pt x="1070087" y="975808"/>
                      <a:pt x="1052352" y="975935"/>
                    </a:cubicBezTo>
                    <a:cubicBezTo>
                      <a:pt x="1048551" y="975935"/>
                      <a:pt x="1043991" y="976695"/>
                      <a:pt x="1040317" y="976061"/>
                    </a:cubicBezTo>
                    <a:cubicBezTo>
                      <a:pt x="1034236" y="975048"/>
                      <a:pt x="1029675" y="970614"/>
                      <a:pt x="1023595" y="970107"/>
                    </a:cubicBezTo>
                    <a:cubicBezTo>
                      <a:pt x="1017641" y="969601"/>
                      <a:pt x="1013207" y="970107"/>
                      <a:pt x="1007506" y="967574"/>
                    </a:cubicBezTo>
                    <a:cubicBezTo>
                      <a:pt x="995725" y="962380"/>
                      <a:pt x="986223" y="953258"/>
                      <a:pt x="975202" y="946798"/>
                    </a:cubicBezTo>
                    <a:cubicBezTo>
                      <a:pt x="953793" y="934256"/>
                      <a:pt x="930610" y="921081"/>
                      <a:pt x="912241" y="904106"/>
                    </a:cubicBezTo>
                    <a:cubicBezTo>
                      <a:pt x="894379" y="887637"/>
                      <a:pt x="871702" y="879656"/>
                      <a:pt x="851813" y="866228"/>
                    </a:cubicBezTo>
                    <a:cubicBezTo>
                      <a:pt x="841425" y="859260"/>
                      <a:pt x="832684" y="850772"/>
                      <a:pt x="823436" y="842538"/>
                    </a:cubicBezTo>
                    <a:cubicBezTo>
                      <a:pt x="813935" y="834050"/>
                      <a:pt x="804054" y="826956"/>
                      <a:pt x="793666" y="819609"/>
                    </a:cubicBezTo>
                    <a:cubicBezTo>
                      <a:pt x="783025" y="812008"/>
                      <a:pt x="769976" y="806687"/>
                      <a:pt x="758448" y="800353"/>
                    </a:cubicBezTo>
                    <a:cubicBezTo>
                      <a:pt x="752368" y="797059"/>
                      <a:pt x="746287" y="793892"/>
                      <a:pt x="740333" y="790345"/>
                    </a:cubicBezTo>
                    <a:cubicBezTo>
                      <a:pt x="726017" y="781984"/>
                      <a:pt x="712209" y="772863"/>
                      <a:pt x="697894" y="764248"/>
                    </a:cubicBezTo>
                    <a:cubicBezTo>
                      <a:pt x="683199" y="755507"/>
                      <a:pt x="668377" y="746259"/>
                      <a:pt x="656596" y="733591"/>
                    </a:cubicBezTo>
                    <a:cubicBezTo>
                      <a:pt x="649755" y="726243"/>
                      <a:pt x="642280" y="719783"/>
                      <a:pt x="635186" y="712815"/>
                    </a:cubicBezTo>
                    <a:cubicBezTo>
                      <a:pt x="628599" y="706354"/>
                      <a:pt x="623405" y="698880"/>
                      <a:pt x="616437" y="692673"/>
                    </a:cubicBezTo>
                    <a:cubicBezTo>
                      <a:pt x="609977" y="686845"/>
                      <a:pt x="604529" y="681018"/>
                      <a:pt x="598702" y="674810"/>
                    </a:cubicBezTo>
                    <a:cubicBezTo>
                      <a:pt x="591861" y="667463"/>
                      <a:pt x="582866" y="662649"/>
                      <a:pt x="574885" y="656821"/>
                    </a:cubicBezTo>
                    <a:cubicBezTo>
                      <a:pt x="563737" y="648587"/>
                      <a:pt x="554996" y="636426"/>
                      <a:pt x="550056" y="623631"/>
                    </a:cubicBezTo>
                    <a:cubicBezTo>
                      <a:pt x="546255" y="613749"/>
                      <a:pt x="537894" y="604755"/>
                      <a:pt x="530166" y="597661"/>
                    </a:cubicBezTo>
                    <a:cubicBezTo>
                      <a:pt x="512431" y="581699"/>
                      <a:pt x="492415" y="588286"/>
                      <a:pt x="471132" y="584866"/>
                    </a:cubicBezTo>
                    <a:cubicBezTo>
                      <a:pt x="454664" y="582205"/>
                      <a:pt x="439208" y="579418"/>
                      <a:pt x="422866" y="575618"/>
                    </a:cubicBezTo>
                    <a:cubicBezTo>
                      <a:pt x="413112" y="573464"/>
                      <a:pt x="403484" y="570931"/>
                      <a:pt x="393729" y="568397"/>
                    </a:cubicBezTo>
                    <a:cubicBezTo>
                      <a:pt x="384988" y="565990"/>
                      <a:pt x="374473" y="561176"/>
                      <a:pt x="365479" y="560416"/>
                    </a:cubicBezTo>
                    <a:cubicBezTo>
                      <a:pt x="357372" y="559783"/>
                      <a:pt x="348631" y="563583"/>
                      <a:pt x="340016" y="563203"/>
                    </a:cubicBezTo>
                    <a:cubicBezTo>
                      <a:pt x="330515" y="562823"/>
                      <a:pt x="321014" y="560923"/>
                      <a:pt x="311639" y="559656"/>
                    </a:cubicBezTo>
                    <a:cubicBezTo>
                      <a:pt x="292510" y="557249"/>
                      <a:pt x="275154" y="548254"/>
                      <a:pt x="255772" y="547494"/>
                    </a:cubicBezTo>
                    <a:cubicBezTo>
                      <a:pt x="253239" y="547368"/>
                      <a:pt x="250832" y="547241"/>
                      <a:pt x="248425" y="546734"/>
                    </a:cubicBezTo>
                    <a:cubicBezTo>
                      <a:pt x="230689" y="543947"/>
                      <a:pt x="216754" y="533686"/>
                      <a:pt x="200919" y="524438"/>
                    </a:cubicBezTo>
                    <a:cubicBezTo>
                      <a:pt x="190657" y="518357"/>
                      <a:pt x="181409" y="511263"/>
                      <a:pt x="171401" y="504929"/>
                    </a:cubicBezTo>
                    <a:cubicBezTo>
                      <a:pt x="163041" y="499608"/>
                      <a:pt x="156707" y="499608"/>
                      <a:pt x="150752" y="507970"/>
                    </a:cubicBezTo>
                    <a:cubicBezTo>
                      <a:pt x="147459" y="512657"/>
                      <a:pt x="143785" y="526972"/>
                      <a:pt x="137957" y="528745"/>
                    </a:cubicBezTo>
                    <a:cubicBezTo>
                      <a:pt x="133523" y="530139"/>
                      <a:pt x="126936" y="523805"/>
                      <a:pt x="122882" y="522411"/>
                    </a:cubicBezTo>
                    <a:cubicBezTo>
                      <a:pt x="116928" y="520258"/>
                      <a:pt x="110341" y="520638"/>
                      <a:pt x="104640" y="518104"/>
                    </a:cubicBezTo>
                    <a:cubicBezTo>
                      <a:pt x="99066" y="515444"/>
                      <a:pt x="93999" y="510250"/>
                      <a:pt x="89945" y="505689"/>
                    </a:cubicBezTo>
                    <a:cubicBezTo>
                      <a:pt x="78923" y="493148"/>
                      <a:pt x="80063" y="475159"/>
                      <a:pt x="76390" y="459704"/>
                    </a:cubicBezTo>
                    <a:cubicBezTo>
                      <a:pt x="73983" y="449822"/>
                      <a:pt x="72336" y="439688"/>
                      <a:pt x="69042" y="430060"/>
                    </a:cubicBezTo>
                    <a:cubicBezTo>
                      <a:pt x="65748" y="420432"/>
                      <a:pt x="59794" y="412578"/>
                      <a:pt x="54474" y="403836"/>
                    </a:cubicBezTo>
                    <a:cubicBezTo>
                      <a:pt x="48900" y="394589"/>
                      <a:pt x="45479" y="384454"/>
                      <a:pt x="40539" y="374826"/>
                    </a:cubicBezTo>
                    <a:cubicBezTo>
                      <a:pt x="35471" y="364818"/>
                      <a:pt x="28250" y="356077"/>
                      <a:pt x="21663" y="346956"/>
                    </a:cubicBezTo>
                    <a:cubicBezTo>
                      <a:pt x="16469" y="339482"/>
                      <a:pt x="11655" y="332261"/>
                      <a:pt x="5448" y="325547"/>
                    </a:cubicBezTo>
                    <a:cubicBezTo>
                      <a:pt x="2281" y="322126"/>
                      <a:pt x="634" y="318579"/>
                      <a:pt x="0" y="315032"/>
                    </a:cubicBezTo>
                    <a:cubicBezTo>
                      <a:pt x="1267" y="314652"/>
                      <a:pt x="2407" y="314272"/>
                      <a:pt x="3547" y="313765"/>
                    </a:cubicBezTo>
                    <a:cubicBezTo>
                      <a:pt x="12162" y="309838"/>
                      <a:pt x="16722" y="300970"/>
                      <a:pt x="24830" y="296283"/>
                    </a:cubicBezTo>
                    <a:cubicBezTo>
                      <a:pt x="33318" y="291342"/>
                      <a:pt x="44592" y="292736"/>
                      <a:pt x="52574" y="287162"/>
                    </a:cubicBezTo>
                    <a:cubicBezTo>
                      <a:pt x="60174" y="281968"/>
                      <a:pt x="59668" y="272467"/>
                      <a:pt x="64862" y="265626"/>
                    </a:cubicBezTo>
                    <a:cubicBezTo>
                      <a:pt x="71322" y="257138"/>
                      <a:pt x="82344" y="257518"/>
                      <a:pt x="91465" y="253718"/>
                    </a:cubicBezTo>
                    <a:cubicBezTo>
                      <a:pt x="110087" y="245863"/>
                      <a:pt x="111988" y="219893"/>
                      <a:pt x="112621" y="202031"/>
                    </a:cubicBezTo>
                    <a:cubicBezTo>
                      <a:pt x="112874" y="192023"/>
                      <a:pt x="109834" y="179989"/>
                      <a:pt x="113508" y="170361"/>
                    </a:cubicBezTo>
                    <a:cubicBezTo>
                      <a:pt x="117181" y="160606"/>
                      <a:pt x="126049" y="159466"/>
                      <a:pt x="135044" y="156679"/>
                    </a:cubicBezTo>
                    <a:cubicBezTo>
                      <a:pt x="152526" y="151358"/>
                      <a:pt x="160254" y="131849"/>
                      <a:pt x="180016" y="135143"/>
                    </a:cubicBezTo>
                    <a:cubicBezTo>
                      <a:pt x="189137" y="136663"/>
                      <a:pt x="197878" y="141224"/>
                      <a:pt x="207126" y="137550"/>
                    </a:cubicBezTo>
                    <a:cubicBezTo>
                      <a:pt x="217387" y="133496"/>
                      <a:pt x="224101" y="121715"/>
                      <a:pt x="229675" y="112847"/>
                    </a:cubicBezTo>
                    <a:cubicBezTo>
                      <a:pt x="240697" y="95491"/>
                      <a:pt x="251718" y="83203"/>
                      <a:pt x="266287" y="69015"/>
                    </a:cubicBezTo>
                    <a:cubicBezTo>
                      <a:pt x="284149" y="51532"/>
                      <a:pt x="277435" y="34937"/>
                      <a:pt x="283389" y="13148"/>
                    </a:cubicBezTo>
                    <a:cubicBezTo>
                      <a:pt x="285289" y="6307"/>
                      <a:pt x="290737" y="-4335"/>
                      <a:pt x="298844" y="1873"/>
                    </a:cubicBezTo>
                    <a:cubicBezTo>
                      <a:pt x="306445" y="7447"/>
                      <a:pt x="304165" y="22902"/>
                      <a:pt x="305305" y="30883"/>
                    </a:cubicBezTo>
                    <a:cubicBezTo>
                      <a:pt x="306952" y="42411"/>
                      <a:pt x="313033" y="47479"/>
                      <a:pt x="322407" y="53686"/>
                    </a:cubicBezTo>
                    <a:cubicBezTo>
                      <a:pt x="340776" y="65594"/>
                      <a:pt x="374473" y="87384"/>
                      <a:pt x="368520" y="114240"/>
                    </a:cubicBezTo>
                    <a:cubicBezTo>
                      <a:pt x="365733" y="127289"/>
                      <a:pt x="359399" y="139197"/>
                      <a:pt x="357498" y="152498"/>
                    </a:cubicBezTo>
                    <a:cubicBezTo>
                      <a:pt x="355725" y="164153"/>
                      <a:pt x="357498" y="175681"/>
                      <a:pt x="356992" y="187336"/>
                    </a:cubicBezTo>
                    <a:cubicBezTo>
                      <a:pt x="356358" y="203425"/>
                      <a:pt x="347617" y="243836"/>
                      <a:pt x="325827" y="244090"/>
                    </a:cubicBezTo>
                    <a:cubicBezTo>
                      <a:pt x="314553" y="244216"/>
                      <a:pt x="305432" y="231168"/>
                      <a:pt x="298718" y="223821"/>
                    </a:cubicBezTo>
                    <a:cubicBezTo>
                      <a:pt x="289976" y="214319"/>
                      <a:pt x="281235" y="205198"/>
                      <a:pt x="268060" y="202791"/>
                    </a:cubicBezTo>
                    <a:cubicBezTo>
                      <a:pt x="254505" y="200258"/>
                      <a:pt x="239303" y="203298"/>
                      <a:pt x="225622" y="204312"/>
                    </a:cubicBezTo>
                    <a:cubicBezTo>
                      <a:pt x="213334" y="205198"/>
                      <a:pt x="195978" y="204565"/>
                      <a:pt x="186603" y="214066"/>
                    </a:cubicBezTo>
                    <a:cubicBezTo>
                      <a:pt x="168868" y="232055"/>
                      <a:pt x="191164" y="263092"/>
                      <a:pt x="184196" y="284502"/>
                    </a:cubicBezTo>
                    <a:cubicBezTo>
                      <a:pt x="176849" y="307178"/>
                      <a:pt x="159620" y="324280"/>
                      <a:pt x="177482" y="347463"/>
                    </a:cubicBezTo>
                    <a:cubicBezTo>
                      <a:pt x="191291" y="365325"/>
                      <a:pt x="214474" y="388635"/>
                      <a:pt x="238037" y="390788"/>
                    </a:cubicBezTo>
                    <a:cubicBezTo>
                      <a:pt x="261600" y="393068"/>
                      <a:pt x="292383" y="384581"/>
                      <a:pt x="310879" y="370012"/>
                    </a:cubicBezTo>
                    <a:cubicBezTo>
                      <a:pt x="324054" y="359751"/>
                      <a:pt x="337862" y="340242"/>
                      <a:pt x="355978" y="339608"/>
                    </a:cubicBezTo>
                    <a:cubicBezTo>
                      <a:pt x="373333" y="338975"/>
                      <a:pt x="388282" y="355824"/>
                      <a:pt x="402344" y="362791"/>
                    </a:cubicBezTo>
                    <a:cubicBezTo>
                      <a:pt x="417546" y="370392"/>
                      <a:pt x="417672" y="346323"/>
                      <a:pt x="422486" y="338088"/>
                    </a:cubicBezTo>
                    <a:cubicBezTo>
                      <a:pt x="433761" y="318832"/>
                      <a:pt x="445669" y="340875"/>
                      <a:pt x="452003" y="350250"/>
                    </a:cubicBezTo>
                    <a:cubicBezTo>
                      <a:pt x="456311" y="356457"/>
                      <a:pt x="462011" y="363171"/>
                      <a:pt x="468472" y="366845"/>
                    </a:cubicBezTo>
                    <a:cubicBezTo>
                      <a:pt x="476706" y="371532"/>
                      <a:pt x="486208" y="371406"/>
                      <a:pt x="495202" y="373306"/>
                    </a:cubicBezTo>
                    <a:cubicBezTo>
                      <a:pt x="514331" y="377360"/>
                      <a:pt x="529280" y="377993"/>
                      <a:pt x="547395" y="371406"/>
                    </a:cubicBezTo>
                    <a:cubicBezTo>
                      <a:pt x="559937" y="366845"/>
                      <a:pt x="575645" y="365578"/>
                      <a:pt x="587807" y="372673"/>
                    </a:cubicBezTo>
                    <a:cubicBezTo>
                      <a:pt x="596168" y="377487"/>
                      <a:pt x="601996" y="384581"/>
                      <a:pt x="609723" y="390281"/>
                    </a:cubicBezTo>
                    <a:cubicBezTo>
                      <a:pt x="626318" y="402443"/>
                      <a:pt x="652035" y="391802"/>
                      <a:pt x="670784" y="397376"/>
                    </a:cubicBezTo>
                    <a:cubicBezTo>
                      <a:pt x="680285" y="400289"/>
                      <a:pt x="683452" y="407257"/>
                      <a:pt x="686366" y="415998"/>
                    </a:cubicBezTo>
                    <a:cubicBezTo>
                      <a:pt x="687506" y="419418"/>
                      <a:pt x="689153" y="431707"/>
                      <a:pt x="694347" y="430440"/>
                    </a:cubicBezTo>
                    <a:cubicBezTo>
                      <a:pt x="702708" y="428540"/>
                      <a:pt x="699794" y="404217"/>
                      <a:pt x="709422" y="399403"/>
                    </a:cubicBezTo>
                    <a:cubicBezTo>
                      <a:pt x="717910" y="395222"/>
                      <a:pt x="734379" y="399022"/>
                      <a:pt x="742486" y="402570"/>
                    </a:cubicBezTo>
                    <a:cubicBezTo>
                      <a:pt x="753888" y="407637"/>
                      <a:pt x="763642" y="413084"/>
                      <a:pt x="775804" y="416505"/>
                    </a:cubicBezTo>
                    <a:cubicBezTo>
                      <a:pt x="790499" y="420559"/>
                      <a:pt x="803041" y="419038"/>
                      <a:pt x="817862" y="420305"/>
                    </a:cubicBezTo>
                    <a:cubicBezTo>
                      <a:pt x="825083" y="420939"/>
                      <a:pt x="832684" y="423092"/>
                      <a:pt x="836231" y="429933"/>
                    </a:cubicBezTo>
                    <a:cubicBezTo>
                      <a:pt x="838512" y="434367"/>
                      <a:pt x="839145" y="440828"/>
                      <a:pt x="833698" y="442855"/>
                    </a:cubicBezTo>
                    <a:cubicBezTo>
                      <a:pt x="828504" y="444755"/>
                      <a:pt x="822043" y="437914"/>
                      <a:pt x="817356" y="436521"/>
                    </a:cubicBezTo>
                    <a:cubicBezTo>
                      <a:pt x="810135" y="434240"/>
                      <a:pt x="806208" y="436141"/>
                      <a:pt x="800507" y="440701"/>
                    </a:cubicBezTo>
                    <a:cubicBezTo>
                      <a:pt x="794933" y="445262"/>
                      <a:pt x="790626" y="451089"/>
                      <a:pt x="783785" y="453876"/>
                    </a:cubicBezTo>
                    <a:cubicBezTo>
                      <a:pt x="778971" y="455776"/>
                      <a:pt x="773270" y="455016"/>
                      <a:pt x="768836" y="457677"/>
                    </a:cubicBezTo>
                    <a:cubicBezTo>
                      <a:pt x="758575" y="463757"/>
                      <a:pt x="755915" y="481366"/>
                      <a:pt x="752368" y="491754"/>
                    </a:cubicBezTo>
                    <a:cubicBezTo>
                      <a:pt x="746540" y="490614"/>
                      <a:pt x="733872" y="485547"/>
                      <a:pt x="728424" y="489474"/>
                    </a:cubicBezTo>
                    <a:cubicBezTo>
                      <a:pt x="722724" y="493528"/>
                      <a:pt x="725131" y="506576"/>
                      <a:pt x="728298" y="511643"/>
                    </a:cubicBezTo>
                    <a:cubicBezTo>
                      <a:pt x="736405" y="524438"/>
                      <a:pt x="756928" y="517597"/>
                      <a:pt x="764403" y="534320"/>
                    </a:cubicBezTo>
                    <a:cubicBezTo>
                      <a:pt x="768583" y="543694"/>
                      <a:pt x="759842" y="583852"/>
                      <a:pt x="778844" y="572958"/>
                    </a:cubicBezTo>
                    <a:cubicBezTo>
                      <a:pt x="787712" y="567890"/>
                      <a:pt x="787965" y="558516"/>
                      <a:pt x="791766" y="550281"/>
                    </a:cubicBezTo>
                    <a:cubicBezTo>
                      <a:pt x="795060" y="543187"/>
                      <a:pt x="800887" y="539133"/>
                      <a:pt x="808235" y="536600"/>
                    </a:cubicBezTo>
                    <a:cubicBezTo>
                      <a:pt x="833444" y="527732"/>
                      <a:pt x="856247" y="540780"/>
                      <a:pt x="877656" y="551548"/>
                    </a:cubicBezTo>
                    <a:cubicBezTo>
                      <a:pt x="888805" y="557249"/>
                      <a:pt x="898052" y="559909"/>
                      <a:pt x="907554" y="568904"/>
                    </a:cubicBezTo>
                    <a:cubicBezTo>
                      <a:pt x="916041" y="577011"/>
                      <a:pt x="923262" y="586513"/>
                      <a:pt x="931370" y="595000"/>
                    </a:cubicBezTo>
                    <a:cubicBezTo>
                      <a:pt x="939858" y="603741"/>
                      <a:pt x="941885" y="610709"/>
                      <a:pt x="954806" y="608049"/>
                    </a:cubicBezTo>
                    <a:cubicBezTo>
                      <a:pt x="967981" y="605262"/>
                      <a:pt x="981536" y="599054"/>
                      <a:pt x="995091" y="603868"/>
                    </a:cubicBezTo>
                    <a:cubicBezTo>
                      <a:pt x="1005099" y="607415"/>
                      <a:pt x="1009913" y="615016"/>
                      <a:pt x="1020935" y="610709"/>
                    </a:cubicBezTo>
                    <a:cubicBezTo>
                      <a:pt x="1030436" y="606909"/>
                      <a:pt x="1036263" y="598801"/>
                      <a:pt x="1047284" y="600068"/>
                    </a:cubicBezTo>
                    <a:cubicBezTo>
                      <a:pt x="1055392" y="600954"/>
                      <a:pt x="1077815" y="604882"/>
                      <a:pt x="1083515" y="610709"/>
                    </a:cubicBezTo>
                    <a:cubicBezTo>
                      <a:pt x="1091117" y="618563"/>
                      <a:pt x="1076295" y="623631"/>
                      <a:pt x="1073508" y="631105"/>
                    </a:cubicBezTo>
                    <a:cubicBezTo>
                      <a:pt x="1069834" y="640860"/>
                      <a:pt x="1081615" y="648967"/>
                      <a:pt x="1077561" y="658342"/>
                    </a:cubicBezTo>
                    <a:cubicBezTo>
                      <a:pt x="1072621" y="669743"/>
                      <a:pt x="1050705" y="670250"/>
                      <a:pt x="1041584" y="677471"/>
                    </a:cubicBezTo>
                    <a:cubicBezTo>
                      <a:pt x="1023215" y="691913"/>
                      <a:pt x="1030689" y="735365"/>
                      <a:pt x="1056152" y="715602"/>
                    </a:cubicBezTo>
                    <a:cubicBezTo>
                      <a:pt x="1065400" y="708381"/>
                      <a:pt x="1062107" y="696093"/>
                      <a:pt x="1067680" y="686972"/>
                    </a:cubicBezTo>
                    <a:cubicBezTo>
                      <a:pt x="1073508" y="677597"/>
                      <a:pt x="1088836" y="672023"/>
                      <a:pt x="1099604" y="673163"/>
                    </a:cubicBezTo>
                    <a:cubicBezTo>
                      <a:pt x="1110373" y="674304"/>
                      <a:pt x="1114680" y="684058"/>
                      <a:pt x="1123041" y="689632"/>
                    </a:cubicBezTo>
                    <a:cubicBezTo>
                      <a:pt x="1133935" y="696726"/>
                      <a:pt x="1140903" y="691913"/>
                      <a:pt x="1149897" y="684565"/>
                    </a:cubicBezTo>
                    <a:cubicBezTo>
                      <a:pt x="1160665" y="675697"/>
                      <a:pt x="1181694" y="665943"/>
                      <a:pt x="1187775" y="653021"/>
                    </a:cubicBezTo>
                    <a:cubicBezTo>
                      <a:pt x="1194363" y="639213"/>
                      <a:pt x="1176121" y="636932"/>
                      <a:pt x="1170547" y="627938"/>
                    </a:cubicBezTo>
                    <a:cubicBezTo>
                      <a:pt x="1164466" y="618057"/>
                      <a:pt x="1176627" y="608809"/>
                      <a:pt x="1181061" y="600448"/>
                    </a:cubicBezTo>
                    <a:cubicBezTo>
                      <a:pt x="1186128" y="590947"/>
                      <a:pt x="1186762" y="579418"/>
                      <a:pt x="1196010" y="572451"/>
                    </a:cubicBezTo>
                    <a:cubicBezTo>
                      <a:pt x="1204751" y="565990"/>
                      <a:pt x="1216279" y="567004"/>
                      <a:pt x="1225907" y="562823"/>
                    </a:cubicBezTo>
                    <a:cubicBezTo>
                      <a:pt x="1234268" y="559276"/>
                      <a:pt x="1245543" y="546988"/>
                      <a:pt x="1255297" y="551042"/>
                    </a:cubicBezTo>
                    <a:cubicBezTo>
                      <a:pt x="1265559" y="555349"/>
                      <a:pt x="1270752" y="577265"/>
                      <a:pt x="1277720" y="585626"/>
                    </a:cubicBezTo>
                    <a:cubicBezTo>
                      <a:pt x="1287474" y="597407"/>
                      <a:pt x="1297229" y="608935"/>
                      <a:pt x="1306604" y="620844"/>
                    </a:cubicBezTo>
                    <a:cubicBezTo>
                      <a:pt x="1314205" y="630471"/>
                      <a:pt x="1327633" y="631105"/>
                      <a:pt x="1337134" y="639213"/>
                    </a:cubicBezTo>
                    <a:cubicBezTo>
                      <a:pt x="1346002" y="646687"/>
                      <a:pt x="1356517" y="653401"/>
                      <a:pt x="1363738" y="662269"/>
                    </a:cubicBezTo>
                    <a:cubicBezTo>
                      <a:pt x="1375646" y="676964"/>
                      <a:pt x="1381599" y="693306"/>
                      <a:pt x="1390594" y="709775"/>
                    </a:cubicBezTo>
                    <a:cubicBezTo>
                      <a:pt x="1393128" y="714335"/>
                      <a:pt x="1393761" y="720289"/>
                      <a:pt x="1397055" y="724470"/>
                    </a:cubicBezTo>
                    <a:cubicBezTo>
                      <a:pt x="1399462" y="727637"/>
                      <a:pt x="1403769" y="728904"/>
                      <a:pt x="1405923" y="732198"/>
                    </a:cubicBezTo>
                    <a:cubicBezTo>
                      <a:pt x="1412384" y="741572"/>
                      <a:pt x="1408710" y="758547"/>
                      <a:pt x="1411750" y="769569"/>
                    </a:cubicBezTo>
                    <a:cubicBezTo>
                      <a:pt x="1414791" y="781224"/>
                      <a:pt x="1423785" y="790472"/>
                      <a:pt x="1427332" y="801999"/>
                    </a:cubicBezTo>
                    <a:cubicBezTo>
                      <a:pt x="1429612" y="808460"/>
                      <a:pt x="1430626" y="814541"/>
                      <a:pt x="1431639" y="82062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616" name="Рисунок 388">
                <a:extLst>
                  <a:ext uri="{FF2B5EF4-FFF2-40B4-BE49-F238E27FC236}">
                    <a16:creationId xmlns:a16="http://schemas.microsoft.com/office/drawing/2014/main" id="{1DA397FD-DC6E-439E-BB40-D0F80476817D}"/>
                  </a:ext>
                </a:extLst>
              </p:cNvPr>
              <p:cNvGrpSpPr/>
              <p:nvPr/>
            </p:nvGrpSpPr>
            <p:grpSpPr>
              <a:xfrm>
                <a:off x="4103836" y="2364621"/>
                <a:ext cx="1247124" cy="458039"/>
                <a:chOff x="4103836" y="2364621"/>
                <a:chExt cx="1247124" cy="458039"/>
              </a:xfrm>
              <a:solidFill>
                <a:srgbClr val="E3E8EC"/>
              </a:solidFill>
            </p:grpSpPr>
            <p:grpSp>
              <p:nvGrpSpPr>
                <p:cNvPr id="617" name="Рисунок 388">
                  <a:extLst>
                    <a:ext uri="{FF2B5EF4-FFF2-40B4-BE49-F238E27FC236}">
                      <a16:creationId xmlns:a16="http://schemas.microsoft.com/office/drawing/2014/main" id="{1DA397FD-DC6E-439E-BB40-D0F80476817D}"/>
                    </a:ext>
                  </a:extLst>
                </p:cNvPr>
                <p:cNvGrpSpPr/>
                <p:nvPr/>
              </p:nvGrpSpPr>
              <p:grpSpPr>
                <a:xfrm>
                  <a:off x="4620700" y="2364621"/>
                  <a:ext cx="730259" cy="458039"/>
                  <a:chOff x="4620700" y="2364621"/>
                  <a:chExt cx="730259" cy="458039"/>
                </a:xfrm>
                <a:solidFill>
                  <a:srgbClr val="E3E8EC"/>
                </a:solidFill>
              </p:grpSpPr>
              <p:sp>
                <p:nvSpPr>
                  <p:cNvPr id="618" name="Полилиния: фигура 617">
                    <a:extLst>
                      <a:ext uri="{FF2B5EF4-FFF2-40B4-BE49-F238E27FC236}">
                        <a16:creationId xmlns:a16="http://schemas.microsoft.com/office/drawing/2014/main" id="{F8F177E8-78C8-43AB-B434-06E680704076}"/>
                      </a:ext>
                    </a:extLst>
                  </p:cNvPr>
                  <p:cNvSpPr/>
                  <p:nvPr/>
                </p:nvSpPr>
                <p:spPr>
                  <a:xfrm>
                    <a:off x="5195585" y="2782628"/>
                    <a:ext cx="21789" cy="40033"/>
                  </a:xfrm>
                  <a:custGeom>
                    <a:avLst/>
                    <a:gdLst>
                      <a:gd name="connsiteX0" fmla="*/ 21789 w 21789"/>
                      <a:gd name="connsiteY0" fmla="*/ 20017 h 40033"/>
                      <a:gd name="connsiteX1" fmla="*/ 10895 w 21789"/>
                      <a:gd name="connsiteY1" fmla="*/ 40033 h 40033"/>
                      <a:gd name="connsiteX2" fmla="*/ 0 w 21789"/>
                      <a:gd name="connsiteY2" fmla="*/ 20017 h 40033"/>
                      <a:gd name="connsiteX3" fmla="*/ 10895 w 21789"/>
                      <a:gd name="connsiteY3" fmla="*/ 1 h 40033"/>
                      <a:gd name="connsiteX4" fmla="*/ 21789 w 21789"/>
                      <a:gd name="connsiteY4" fmla="*/ 20017 h 4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89" h="40033">
                        <a:moveTo>
                          <a:pt x="21789" y="20017"/>
                        </a:moveTo>
                        <a:cubicBezTo>
                          <a:pt x="21789" y="31039"/>
                          <a:pt x="16849" y="40033"/>
                          <a:pt x="10895" y="40033"/>
                        </a:cubicBezTo>
                        <a:cubicBezTo>
                          <a:pt x="4941" y="40033"/>
                          <a:pt x="0" y="31039"/>
                          <a:pt x="0" y="20017"/>
                        </a:cubicBezTo>
                        <a:cubicBezTo>
                          <a:pt x="0" y="8996"/>
                          <a:pt x="4814" y="1"/>
                          <a:pt x="10895" y="1"/>
                        </a:cubicBezTo>
                        <a:cubicBezTo>
                          <a:pt x="16976" y="-125"/>
                          <a:pt x="21789" y="8869"/>
                          <a:pt x="21789" y="2001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19" name="Полилиния: фигура 618">
                    <a:extLst>
                      <a:ext uri="{FF2B5EF4-FFF2-40B4-BE49-F238E27FC236}">
                        <a16:creationId xmlns:a16="http://schemas.microsoft.com/office/drawing/2014/main" id="{6FB455FC-D6EC-4548-B8DA-78DFE3445683}"/>
                      </a:ext>
                    </a:extLst>
                  </p:cNvPr>
                  <p:cNvSpPr/>
                  <p:nvPr/>
                </p:nvSpPr>
                <p:spPr>
                  <a:xfrm>
                    <a:off x="5269900" y="2628920"/>
                    <a:ext cx="81060" cy="153304"/>
                  </a:xfrm>
                  <a:custGeom>
                    <a:avLst/>
                    <a:gdLst>
                      <a:gd name="connsiteX0" fmla="*/ 18924 w 81060"/>
                      <a:gd name="connsiteY0" fmla="*/ 99996 h 153304"/>
                      <a:gd name="connsiteX1" fmla="*/ 3596 w 81060"/>
                      <a:gd name="connsiteY1" fmla="*/ 67692 h 153304"/>
                      <a:gd name="connsiteX2" fmla="*/ 5623 w 81060"/>
                      <a:gd name="connsiteY2" fmla="*/ 35895 h 153304"/>
                      <a:gd name="connsiteX3" fmla="*/ 36280 w 81060"/>
                      <a:gd name="connsiteY3" fmla="*/ 9545 h 153304"/>
                      <a:gd name="connsiteX4" fmla="*/ 55282 w 81060"/>
                      <a:gd name="connsiteY4" fmla="*/ 3971 h 153304"/>
                      <a:gd name="connsiteX5" fmla="*/ 64910 w 81060"/>
                      <a:gd name="connsiteY5" fmla="*/ 38048 h 153304"/>
                      <a:gd name="connsiteX6" fmla="*/ 78592 w 81060"/>
                      <a:gd name="connsiteY6" fmla="*/ 68579 h 153304"/>
                      <a:gd name="connsiteX7" fmla="*/ 79605 w 81060"/>
                      <a:gd name="connsiteY7" fmla="*/ 101263 h 153304"/>
                      <a:gd name="connsiteX8" fmla="*/ 74158 w 81060"/>
                      <a:gd name="connsiteY8" fmla="*/ 125333 h 153304"/>
                      <a:gd name="connsiteX9" fmla="*/ 66050 w 81060"/>
                      <a:gd name="connsiteY9" fmla="*/ 144715 h 153304"/>
                      <a:gd name="connsiteX10" fmla="*/ 44387 w 81060"/>
                      <a:gd name="connsiteY10" fmla="*/ 152823 h 153304"/>
                      <a:gd name="connsiteX11" fmla="*/ 17784 w 81060"/>
                      <a:gd name="connsiteY11" fmla="*/ 144335 h 153304"/>
                      <a:gd name="connsiteX12" fmla="*/ 20191 w 81060"/>
                      <a:gd name="connsiteY12" fmla="*/ 107217 h 153304"/>
                      <a:gd name="connsiteX13" fmla="*/ 18924 w 81060"/>
                      <a:gd name="connsiteY13" fmla="*/ 99996 h 15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060" h="153304">
                        <a:moveTo>
                          <a:pt x="18924" y="99996"/>
                        </a:moveTo>
                        <a:cubicBezTo>
                          <a:pt x="15757" y="88468"/>
                          <a:pt x="8029" y="78967"/>
                          <a:pt x="3596" y="67692"/>
                        </a:cubicBezTo>
                        <a:cubicBezTo>
                          <a:pt x="-711" y="56924"/>
                          <a:pt x="-2358" y="45269"/>
                          <a:pt x="5623" y="35895"/>
                        </a:cubicBezTo>
                        <a:cubicBezTo>
                          <a:pt x="14237" y="25887"/>
                          <a:pt x="26398" y="18286"/>
                          <a:pt x="36280" y="9545"/>
                        </a:cubicBezTo>
                        <a:cubicBezTo>
                          <a:pt x="41220" y="5238"/>
                          <a:pt x="50595" y="-5910"/>
                          <a:pt x="55282" y="3971"/>
                        </a:cubicBezTo>
                        <a:cubicBezTo>
                          <a:pt x="60223" y="14485"/>
                          <a:pt x="60603" y="27154"/>
                          <a:pt x="64910" y="38048"/>
                        </a:cubicBezTo>
                        <a:cubicBezTo>
                          <a:pt x="69090" y="48436"/>
                          <a:pt x="75424" y="57811"/>
                          <a:pt x="78592" y="68579"/>
                        </a:cubicBezTo>
                        <a:cubicBezTo>
                          <a:pt x="81759" y="79220"/>
                          <a:pt x="81632" y="90368"/>
                          <a:pt x="79605" y="101263"/>
                        </a:cubicBezTo>
                        <a:cubicBezTo>
                          <a:pt x="78085" y="109244"/>
                          <a:pt x="75424" y="117352"/>
                          <a:pt x="74158" y="125333"/>
                        </a:cubicBezTo>
                        <a:cubicBezTo>
                          <a:pt x="73017" y="132807"/>
                          <a:pt x="72637" y="139648"/>
                          <a:pt x="66050" y="144715"/>
                        </a:cubicBezTo>
                        <a:cubicBezTo>
                          <a:pt x="60983" y="148642"/>
                          <a:pt x="50722" y="152316"/>
                          <a:pt x="44387" y="152823"/>
                        </a:cubicBezTo>
                        <a:cubicBezTo>
                          <a:pt x="35140" y="153456"/>
                          <a:pt x="21964" y="155103"/>
                          <a:pt x="17784" y="144335"/>
                        </a:cubicBezTo>
                        <a:cubicBezTo>
                          <a:pt x="12970" y="131793"/>
                          <a:pt x="21078" y="119759"/>
                          <a:pt x="20191" y="107217"/>
                        </a:cubicBezTo>
                        <a:cubicBezTo>
                          <a:pt x="20064" y="104810"/>
                          <a:pt x="19557" y="102403"/>
                          <a:pt x="18924" y="9999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20" name="Полилиния: фигура 619">
                    <a:extLst>
                      <a:ext uri="{FF2B5EF4-FFF2-40B4-BE49-F238E27FC236}">
                        <a16:creationId xmlns:a16="http://schemas.microsoft.com/office/drawing/2014/main" id="{3DA44E30-39B8-4308-B223-59FEF85E96AD}"/>
                      </a:ext>
                    </a:extLst>
                  </p:cNvPr>
                  <p:cNvSpPr/>
                  <p:nvPr/>
                </p:nvSpPr>
                <p:spPr>
                  <a:xfrm>
                    <a:off x="4719639" y="2590956"/>
                    <a:ext cx="30403" cy="15838"/>
                  </a:xfrm>
                  <a:custGeom>
                    <a:avLst/>
                    <a:gdLst>
                      <a:gd name="connsiteX0" fmla="*/ 30404 w 30403"/>
                      <a:gd name="connsiteY0" fmla="*/ 7858 h 15838"/>
                      <a:gd name="connsiteX1" fmla="*/ 15202 w 30403"/>
                      <a:gd name="connsiteY1" fmla="*/ 15839 h 15838"/>
                      <a:gd name="connsiteX2" fmla="*/ 0 w 30403"/>
                      <a:gd name="connsiteY2" fmla="*/ 7858 h 15838"/>
                      <a:gd name="connsiteX3" fmla="*/ 15202 w 30403"/>
                      <a:gd name="connsiteY3" fmla="*/ 3 h 15838"/>
                      <a:gd name="connsiteX4" fmla="*/ 30404 w 30403"/>
                      <a:gd name="connsiteY4" fmla="*/ 7858 h 15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03" h="15838">
                        <a:moveTo>
                          <a:pt x="30404" y="7858"/>
                        </a:moveTo>
                        <a:cubicBezTo>
                          <a:pt x="30404" y="12292"/>
                          <a:pt x="23563" y="15839"/>
                          <a:pt x="15202" y="15839"/>
                        </a:cubicBezTo>
                        <a:cubicBezTo>
                          <a:pt x="6841" y="15839"/>
                          <a:pt x="0" y="12292"/>
                          <a:pt x="0" y="7858"/>
                        </a:cubicBezTo>
                        <a:cubicBezTo>
                          <a:pt x="0" y="3550"/>
                          <a:pt x="6841" y="3"/>
                          <a:pt x="15202" y="3"/>
                        </a:cubicBezTo>
                        <a:cubicBezTo>
                          <a:pt x="23563" y="-124"/>
                          <a:pt x="30404" y="3424"/>
                          <a:pt x="30404" y="785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21" name="Полилиния: фигура 620">
                    <a:extLst>
                      <a:ext uri="{FF2B5EF4-FFF2-40B4-BE49-F238E27FC236}">
                        <a16:creationId xmlns:a16="http://schemas.microsoft.com/office/drawing/2014/main" id="{833F1971-E39F-4F5D-AB84-7BA7E771B04E}"/>
                      </a:ext>
                    </a:extLst>
                  </p:cNvPr>
                  <p:cNvSpPr/>
                  <p:nvPr/>
                </p:nvSpPr>
                <p:spPr>
                  <a:xfrm>
                    <a:off x="4677454" y="2491513"/>
                    <a:ext cx="13175" cy="8361"/>
                  </a:xfrm>
                  <a:custGeom>
                    <a:avLst/>
                    <a:gdLst>
                      <a:gd name="connsiteX0" fmla="*/ 13175 w 13175"/>
                      <a:gd name="connsiteY0" fmla="*/ 4181 h 8361"/>
                      <a:gd name="connsiteX1" fmla="*/ 6588 w 13175"/>
                      <a:gd name="connsiteY1" fmla="*/ 8361 h 8361"/>
                      <a:gd name="connsiteX2" fmla="*/ 0 w 13175"/>
                      <a:gd name="connsiteY2" fmla="*/ 4181 h 8361"/>
                      <a:gd name="connsiteX3" fmla="*/ 6588 w 13175"/>
                      <a:gd name="connsiteY3" fmla="*/ 0 h 8361"/>
                      <a:gd name="connsiteX4" fmla="*/ 13175 w 13175"/>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8361">
                        <a:moveTo>
                          <a:pt x="13175" y="4181"/>
                        </a:moveTo>
                        <a:cubicBezTo>
                          <a:pt x="13175" y="6461"/>
                          <a:pt x="10261" y="8361"/>
                          <a:pt x="6588" y="8361"/>
                        </a:cubicBezTo>
                        <a:cubicBezTo>
                          <a:pt x="2914" y="8361"/>
                          <a:pt x="0" y="6461"/>
                          <a:pt x="0" y="4181"/>
                        </a:cubicBezTo>
                        <a:cubicBezTo>
                          <a:pt x="0" y="1900"/>
                          <a:pt x="2914" y="0"/>
                          <a:pt x="6588" y="0"/>
                        </a:cubicBezTo>
                        <a:cubicBezTo>
                          <a:pt x="10261" y="0"/>
                          <a:pt x="13175" y="1900"/>
                          <a:pt x="13175" y="41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22" name="Полилиния: фигура 621">
                    <a:extLst>
                      <a:ext uri="{FF2B5EF4-FFF2-40B4-BE49-F238E27FC236}">
                        <a16:creationId xmlns:a16="http://schemas.microsoft.com/office/drawing/2014/main" id="{10A8B22B-2FF8-471C-8E20-D18D3B535075}"/>
                      </a:ext>
                    </a:extLst>
                  </p:cNvPr>
                  <p:cNvSpPr/>
                  <p:nvPr/>
                </p:nvSpPr>
                <p:spPr>
                  <a:xfrm>
                    <a:off x="4641856" y="2476311"/>
                    <a:ext cx="11148" cy="9627"/>
                  </a:xfrm>
                  <a:custGeom>
                    <a:avLst/>
                    <a:gdLst>
                      <a:gd name="connsiteX0" fmla="*/ 11148 w 11148"/>
                      <a:gd name="connsiteY0" fmla="*/ 4814 h 9627"/>
                      <a:gd name="connsiteX1" fmla="*/ 5574 w 11148"/>
                      <a:gd name="connsiteY1" fmla="*/ 9628 h 9627"/>
                      <a:gd name="connsiteX2" fmla="*/ 0 w 11148"/>
                      <a:gd name="connsiteY2" fmla="*/ 4814 h 9627"/>
                      <a:gd name="connsiteX3" fmla="*/ 5574 w 11148"/>
                      <a:gd name="connsiteY3" fmla="*/ 0 h 9627"/>
                      <a:gd name="connsiteX4" fmla="*/ 11148 w 11148"/>
                      <a:gd name="connsiteY4" fmla="*/ 4814 h 9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8" h="9627">
                        <a:moveTo>
                          <a:pt x="11148" y="4814"/>
                        </a:moveTo>
                        <a:cubicBezTo>
                          <a:pt x="11148" y="7474"/>
                          <a:pt x="8614" y="9628"/>
                          <a:pt x="5574" y="9628"/>
                        </a:cubicBezTo>
                        <a:cubicBezTo>
                          <a:pt x="2407" y="9628"/>
                          <a:pt x="0" y="7474"/>
                          <a:pt x="0" y="4814"/>
                        </a:cubicBezTo>
                        <a:cubicBezTo>
                          <a:pt x="0" y="2154"/>
                          <a:pt x="2534" y="0"/>
                          <a:pt x="5574" y="0"/>
                        </a:cubicBezTo>
                        <a:cubicBezTo>
                          <a:pt x="8614" y="127"/>
                          <a:pt x="11148" y="2154"/>
                          <a:pt x="11148" y="48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23" name="Полилиния: фигура 622">
                    <a:extLst>
                      <a:ext uri="{FF2B5EF4-FFF2-40B4-BE49-F238E27FC236}">
                        <a16:creationId xmlns:a16="http://schemas.microsoft.com/office/drawing/2014/main" id="{46B5D8ED-DDAB-42B1-8447-B428B73059A4}"/>
                      </a:ext>
                    </a:extLst>
                  </p:cNvPr>
                  <p:cNvSpPr/>
                  <p:nvPr/>
                </p:nvSpPr>
                <p:spPr>
                  <a:xfrm>
                    <a:off x="4620700" y="2451228"/>
                    <a:ext cx="13174" cy="11908"/>
                  </a:xfrm>
                  <a:custGeom>
                    <a:avLst/>
                    <a:gdLst>
                      <a:gd name="connsiteX0" fmla="*/ 13175 w 13174"/>
                      <a:gd name="connsiteY0" fmla="*/ 5954 h 11908"/>
                      <a:gd name="connsiteX1" fmla="*/ 6587 w 13174"/>
                      <a:gd name="connsiteY1" fmla="*/ 11908 h 11908"/>
                      <a:gd name="connsiteX2" fmla="*/ 0 w 13174"/>
                      <a:gd name="connsiteY2" fmla="*/ 5954 h 11908"/>
                      <a:gd name="connsiteX3" fmla="*/ 6587 w 13174"/>
                      <a:gd name="connsiteY3" fmla="*/ 0 h 11908"/>
                      <a:gd name="connsiteX4" fmla="*/ 13175 w 13174"/>
                      <a:gd name="connsiteY4" fmla="*/ 5954 h 11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4" h="11908">
                        <a:moveTo>
                          <a:pt x="13175" y="5954"/>
                        </a:moveTo>
                        <a:cubicBezTo>
                          <a:pt x="13175" y="9248"/>
                          <a:pt x="10261" y="11908"/>
                          <a:pt x="6587" y="11908"/>
                        </a:cubicBezTo>
                        <a:cubicBezTo>
                          <a:pt x="2913" y="11908"/>
                          <a:pt x="0" y="9248"/>
                          <a:pt x="0" y="5954"/>
                        </a:cubicBezTo>
                        <a:cubicBezTo>
                          <a:pt x="0" y="2660"/>
                          <a:pt x="2913" y="0"/>
                          <a:pt x="6587" y="0"/>
                        </a:cubicBezTo>
                        <a:cubicBezTo>
                          <a:pt x="10261" y="127"/>
                          <a:pt x="13175" y="2787"/>
                          <a:pt x="13175" y="595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24" name="Полилиния: фигура 623">
                    <a:extLst>
                      <a:ext uri="{FF2B5EF4-FFF2-40B4-BE49-F238E27FC236}">
                        <a16:creationId xmlns:a16="http://schemas.microsoft.com/office/drawing/2014/main" id="{5A112452-DEC1-4B9B-835F-3E239E4BB1E9}"/>
                      </a:ext>
                    </a:extLst>
                  </p:cNvPr>
                  <p:cNvSpPr/>
                  <p:nvPr/>
                </p:nvSpPr>
                <p:spPr>
                  <a:xfrm>
                    <a:off x="4634571" y="2364621"/>
                    <a:ext cx="149859" cy="115498"/>
                  </a:xfrm>
                  <a:custGeom>
                    <a:avLst/>
                    <a:gdLst>
                      <a:gd name="connsiteX0" fmla="*/ 7285 w 149859"/>
                      <a:gd name="connsiteY0" fmla="*/ 54556 h 115498"/>
                      <a:gd name="connsiteX1" fmla="*/ 44023 w 149859"/>
                      <a:gd name="connsiteY1" fmla="*/ 29979 h 115498"/>
                      <a:gd name="connsiteX2" fmla="*/ 75694 w 149859"/>
                      <a:gd name="connsiteY2" fmla="*/ 4263 h 115498"/>
                      <a:gd name="connsiteX3" fmla="*/ 131307 w 149859"/>
                      <a:gd name="connsiteY3" fmla="*/ 19338 h 115498"/>
                      <a:gd name="connsiteX4" fmla="*/ 139415 w 149859"/>
                      <a:gd name="connsiteY4" fmla="*/ 49995 h 115498"/>
                      <a:gd name="connsiteX5" fmla="*/ 148536 w 149859"/>
                      <a:gd name="connsiteY5" fmla="*/ 81033 h 115498"/>
                      <a:gd name="connsiteX6" fmla="*/ 144989 w 149859"/>
                      <a:gd name="connsiteY6" fmla="*/ 100542 h 115498"/>
                      <a:gd name="connsiteX7" fmla="*/ 115599 w 149859"/>
                      <a:gd name="connsiteY7" fmla="*/ 107636 h 115498"/>
                      <a:gd name="connsiteX8" fmla="*/ 104831 w 149859"/>
                      <a:gd name="connsiteY8" fmla="*/ 107256 h 115498"/>
                      <a:gd name="connsiteX9" fmla="*/ 92669 w 149859"/>
                      <a:gd name="connsiteY9" fmla="*/ 109789 h 115498"/>
                      <a:gd name="connsiteX10" fmla="*/ 68853 w 149859"/>
                      <a:gd name="connsiteY10" fmla="*/ 113590 h 115498"/>
                      <a:gd name="connsiteX11" fmla="*/ 53144 w 149859"/>
                      <a:gd name="connsiteY11" fmla="*/ 115490 h 115498"/>
                      <a:gd name="connsiteX12" fmla="*/ 34269 w 149859"/>
                      <a:gd name="connsiteY12" fmla="*/ 111310 h 115498"/>
                      <a:gd name="connsiteX13" fmla="*/ 24514 w 149859"/>
                      <a:gd name="connsiteY13" fmla="*/ 102695 h 115498"/>
                      <a:gd name="connsiteX14" fmla="*/ 7285 w 149859"/>
                      <a:gd name="connsiteY14" fmla="*/ 54556 h 115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859" h="115498">
                        <a:moveTo>
                          <a:pt x="7285" y="54556"/>
                        </a:moveTo>
                        <a:cubicBezTo>
                          <a:pt x="18306" y="44928"/>
                          <a:pt x="32368" y="38847"/>
                          <a:pt x="44023" y="29979"/>
                        </a:cubicBezTo>
                        <a:cubicBezTo>
                          <a:pt x="54791" y="21872"/>
                          <a:pt x="63912" y="10850"/>
                          <a:pt x="75694" y="4263"/>
                        </a:cubicBezTo>
                        <a:cubicBezTo>
                          <a:pt x="92669" y="-5238"/>
                          <a:pt x="121806" y="1729"/>
                          <a:pt x="131307" y="19338"/>
                        </a:cubicBezTo>
                        <a:cubicBezTo>
                          <a:pt x="136248" y="28586"/>
                          <a:pt x="137135" y="39861"/>
                          <a:pt x="139415" y="49995"/>
                        </a:cubicBezTo>
                        <a:cubicBezTo>
                          <a:pt x="141822" y="60637"/>
                          <a:pt x="145623" y="70644"/>
                          <a:pt x="148536" y="81033"/>
                        </a:cubicBezTo>
                        <a:cubicBezTo>
                          <a:pt x="150437" y="88000"/>
                          <a:pt x="151070" y="95348"/>
                          <a:pt x="144989" y="100542"/>
                        </a:cubicBezTo>
                        <a:cubicBezTo>
                          <a:pt x="137262" y="107256"/>
                          <a:pt x="125227" y="107509"/>
                          <a:pt x="115599" y="107636"/>
                        </a:cubicBezTo>
                        <a:cubicBezTo>
                          <a:pt x="111925" y="107636"/>
                          <a:pt x="108505" y="106876"/>
                          <a:pt x="104831" y="107256"/>
                        </a:cubicBezTo>
                        <a:cubicBezTo>
                          <a:pt x="100777" y="107763"/>
                          <a:pt x="96850" y="109156"/>
                          <a:pt x="92669" y="109789"/>
                        </a:cubicBezTo>
                        <a:cubicBezTo>
                          <a:pt x="84688" y="111056"/>
                          <a:pt x="76707" y="112070"/>
                          <a:pt x="68853" y="113590"/>
                        </a:cubicBezTo>
                        <a:cubicBezTo>
                          <a:pt x="63659" y="114603"/>
                          <a:pt x="58465" y="115363"/>
                          <a:pt x="53144" y="115490"/>
                        </a:cubicBezTo>
                        <a:cubicBezTo>
                          <a:pt x="47444" y="115617"/>
                          <a:pt x="39336" y="114350"/>
                          <a:pt x="34269" y="111310"/>
                        </a:cubicBezTo>
                        <a:cubicBezTo>
                          <a:pt x="30595" y="109029"/>
                          <a:pt x="28061" y="105102"/>
                          <a:pt x="24514" y="102695"/>
                        </a:cubicBezTo>
                        <a:cubicBezTo>
                          <a:pt x="10579" y="92687"/>
                          <a:pt x="-11590" y="70898"/>
                          <a:pt x="7285" y="5455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sp>
              <p:nvSpPr>
                <p:cNvPr id="625" name="Полилиния: фигура 624">
                  <a:extLst>
                    <a:ext uri="{FF2B5EF4-FFF2-40B4-BE49-F238E27FC236}">
                      <a16:creationId xmlns:a16="http://schemas.microsoft.com/office/drawing/2014/main" id="{C48D37F7-D6B3-48C8-927B-EAC48DC81A33}"/>
                    </a:ext>
                  </a:extLst>
                </p:cNvPr>
                <p:cNvSpPr/>
                <p:nvPr/>
              </p:nvSpPr>
              <p:spPr>
                <a:xfrm>
                  <a:off x="4103836" y="2396501"/>
                  <a:ext cx="19762" cy="18748"/>
                </a:xfrm>
                <a:custGeom>
                  <a:avLst/>
                  <a:gdLst>
                    <a:gd name="connsiteX0" fmla="*/ 19762 w 19762"/>
                    <a:gd name="connsiteY0" fmla="*/ 9375 h 18748"/>
                    <a:gd name="connsiteX1" fmla="*/ 9881 w 19762"/>
                    <a:gd name="connsiteY1" fmla="*/ 18749 h 18748"/>
                    <a:gd name="connsiteX2" fmla="*/ 0 w 19762"/>
                    <a:gd name="connsiteY2" fmla="*/ 9375 h 18748"/>
                    <a:gd name="connsiteX3" fmla="*/ 9881 w 19762"/>
                    <a:gd name="connsiteY3" fmla="*/ 0 h 18748"/>
                    <a:gd name="connsiteX4" fmla="*/ 19762 w 19762"/>
                    <a:gd name="connsiteY4" fmla="*/ 9375 h 18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62" h="18748">
                      <a:moveTo>
                        <a:pt x="19762" y="9375"/>
                      </a:moveTo>
                      <a:cubicBezTo>
                        <a:pt x="19762" y="14569"/>
                        <a:pt x="15329" y="18749"/>
                        <a:pt x="9881" y="18749"/>
                      </a:cubicBezTo>
                      <a:cubicBezTo>
                        <a:pt x="4434" y="18749"/>
                        <a:pt x="0" y="14569"/>
                        <a:pt x="0" y="9375"/>
                      </a:cubicBezTo>
                      <a:cubicBezTo>
                        <a:pt x="0" y="4181"/>
                        <a:pt x="4434" y="0"/>
                        <a:pt x="9881" y="0"/>
                      </a:cubicBezTo>
                      <a:cubicBezTo>
                        <a:pt x="15329" y="0"/>
                        <a:pt x="19762" y="4181"/>
                        <a:pt x="19762" y="937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grpSp>
          <p:nvGrpSpPr>
            <p:cNvPr id="626"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grpSp>
            <p:nvGrpSpPr>
              <p:cNvPr id="627" name="Рисунок 388">
                <a:extLst>
                  <a:ext uri="{FF2B5EF4-FFF2-40B4-BE49-F238E27FC236}">
                    <a16:creationId xmlns:a16="http://schemas.microsoft.com/office/drawing/2014/main" id="{1DA397FD-DC6E-439E-BB40-D0F80476817D}"/>
                  </a:ext>
                </a:extLst>
              </p:cNvPr>
              <p:cNvGrpSpPr/>
              <p:nvPr/>
            </p:nvGrpSpPr>
            <p:grpSpPr>
              <a:xfrm>
                <a:off x="3568349" y="2166826"/>
                <a:ext cx="56880" cy="44085"/>
                <a:chOff x="3568349" y="2166826"/>
                <a:chExt cx="56880" cy="44085"/>
              </a:xfrm>
              <a:solidFill>
                <a:srgbClr val="E3E8EC"/>
              </a:solidFill>
            </p:grpSpPr>
            <p:sp>
              <p:nvSpPr>
                <p:cNvPr id="628" name="Полилиния: фигура 627">
                  <a:extLst>
                    <a:ext uri="{FF2B5EF4-FFF2-40B4-BE49-F238E27FC236}">
                      <a16:creationId xmlns:a16="http://schemas.microsoft.com/office/drawing/2014/main" id="{EB9FD5D9-671A-4885-92C6-3318D313455C}"/>
                    </a:ext>
                  </a:extLst>
                </p:cNvPr>
                <p:cNvSpPr/>
                <p:nvPr/>
              </p:nvSpPr>
              <p:spPr>
                <a:xfrm>
                  <a:off x="3608507" y="2182788"/>
                  <a:ext cx="16721" cy="28123"/>
                </a:xfrm>
                <a:custGeom>
                  <a:avLst/>
                  <a:gdLst>
                    <a:gd name="connsiteX0" fmla="*/ 16722 w 16721"/>
                    <a:gd name="connsiteY0" fmla="*/ 14062 h 28123"/>
                    <a:gd name="connsiteX1" fmla="*/ 8361 w 16721"/>
                    <a:gd name="connsiteY1" fmla="*/ 28124 h 28123"/>
                    <a:gd name="connsiteX2" fmla="*/ 0 w 16721"/>
                    <a:gd name="connsiteY2" fmla="*/ 14062 h 28123"/>
                    <a:gd name="connsiteX3" fmla="*/ 8361 w 16721"/>
                    <a:gd name="connsiteY3" fmla="*/ 0 h 28123"/>
                    <a:gd name="connsiteX4" fmla="*/ 16722 w 16721"/>
                    <a:gd name="connsiteY4" fmla="*/ 14062 h 28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1" h="28123">
                      <a:moveTo>
                        <a:pt x="16722" y="14062"/>
                      </a:moveTo>
                      <a:cubicBezTo>
                        <a:pt x="16722" y="21916"/>
                        <a:pt x="12922" y="28124"/>
                        <a:pt x="8361" y="28124"/>
                      </a:cubicBezTo>
                      <a:cubicBezTo>
                        <a:pt x="3674" y="28124"/>
                        <a:pt x="0" y="21789"/>
                        <a:pt x="0" y="14062"/>
                      </a:cubicBezTo>
                      <a:cubicBezTo>
                        <a:pt x="0" y="6334"/>
                        <a:pt x="3801" y="0"/>
                        <a:pt x="8361" y="0"/>
                      </a:cubicBezTo>
                      <a:cubicBezTo>
                        <a:pt x="12922" y="0"/>
                        <a:pt x="16722" y="6207"/>
                        <a:pt x="16722" y="1406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29" name="Полилиния: фигура 628">
                  <a:extLst>
                    <a:ext uri="{FF2B5EF4-FFF2-40B4-BE49-F238E27FC236}">
                      <a16:creationId xmlns:a16="http://schemas.microsoft.com/office/drawing/2014/main" id="{FF743D37-5C5E-4062-BBD4-FCBB93EE55D0}"/>
                    </a:ext>
                  </a:extLst>
                </p:cNvPr>
                <p:cNvSpPr/>
                <p:nvPr/>
              </p:nvSpPr>
              <p:spPr>
                <a:xfrm>
                  <a:off x="3568349" y="2166826"/>
                  <a:ext cx="17735" cy="24829"/>
                </a:xfrm>
                <a:custGeom>
                  <a:avLst/>
                  <a:gdLst>
                    <a:gd name="connsiteX0" fmla="*/ 17735 w 17735"/>
                    <a:gd name="connsiteY0" fmla="*/ 12415 h 24829"/>
                    <a:gd name="connsiteX1" fmla="*/ 8868 w 17735"/>
                    <a:gd name="connsiteY1" fmla="*/ 24830 h 24829"/>
                    <a:gd name="connsiteX2" fmla="*/ 0 w 17735"/>
                    <a:gd name="connsiteY2" fmla="*/ 12415 h 24829"/>
                    <a:gd name="connsiteX3" fmla="*/ 8868 w 17735"/>
                    <a:gd name="connsiteY3" fmla="*/ 0 h 24829"/>
                    <a:gd name="connsiteX4" fmla="*/ 17735 w 17735"/>
                    <a:gd name="connsiteY4" fmla="*/ 12415 h 248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35" h="24829">
                      <a:moveTo>
                        <a:pt x="17735" y="12415"/>
                      </a:moveTo>
                      <a:cubicBezTo>
                        <a:pt x="17735" y="19256"/>
                        <a:pt x="13808" y="24830"/>
                        <a:pt x="8868" y="24830"/>
                      </a:cubicBezTo>
                      <a:cubicBezTo>
                        <a:pt x="3927" y="24830"/>
                        <a:pt x="0" y="19256"/>
                        <a:pt x="0" y="12415"/>
                      </a:cubicBezTo>
                      <a:cubicBezTo>
                        <a:pt x="0" y="5574"/>
                        <a:pt x="3927" y="0"/>
                        <a:pt x="8868" y="0"/>
                      </a:cubicBezTo>
                      <a:cubicBezTo>
                        <a:pt x="13808" y="0"/>
                        <a:pt x="17735" y="5574"/>
                        <a:pt x="17735" y="1241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nvGrpSpPr>
              <p:cNvPr id="630" name="Рисунок 388">
                <a:extLst>
                  <a:ext uri="{FF2B5EF4-FFF2-40B4-BE49-F238E27FC236}">
                    <a16:creationId xmlns:a16="http://schemas.microsoft.com/office/drawing/2014/main" id="{1DA397FD-DC6E-439E-BB40-D0F80476817D}"/>
                  </a:ext>
                </a:extLst>
              </p:cNvPr>
              <p:cNvGrpSpPr/>
              <p:nvPr/>
            </p:nvGrpSpPr>
            <p:grpSpPr>
              <a:xfrm>
                <a:off x="2758296" y="1636153"/>
                <a:ext cx="963464" cy="1039683"/>
                <a:chOff x="2758296" y="1636153"/>
                <a:chExt cx="963464" cy="1039683"/>
              </a:xfrm>
              <a:solidFill>
                <a:srgbClr val="E3E8EC"/>
              </a:solidFill>
            </p:grpSpPr>
            <p:sp>
              <p:nvSpPr>
                <p:cNvPr id="631" name="Полилиния: фигура 630">
                  <a:extLst>
                    <a:ext uri="{FF2B5EF4-FFF2-40B4-BE49-F238E27FC236}">
                      <a16:creationId xmlns:a16="http://schemas.microsoft.com/office/drawing/2014/main" id="{02D3B825-B551-4F29-B579-90A5AA6AFFBE}"/>
                    </a:ext>
                  </a:extLst>
                </p:cNvPr>
                <p:cNvSpPr/>
                <p:nvPr/>
              </p:nvSpPr>
              <p:spPr>
                <a:xfrm>
                  <a:off x="2758296" y="1636153"/>
                  <a:ext cx="963464" cy="1039683"/>
                </a:xfrm>
                <a:custGeom>
                  <a:avLst/>
                  <a:gdLst>
                    <a:gd name="connsiteX0" fmla="*/ 942816 w 963464"/>
                    <a:gd name="connsiteY0" fmla="*/ 207379 h 1039683"/>
                    <a:gd name="connsiteX1" fmla="*/ 880741 w 963464"/>
                    <a:gd name="connsiteY1" fmla="*/ 234489 h 1039683"/>
                    <a:gd name="connsiteX2" fmla="*/ 878714 w 963464"/>
                    <a:gd name="connsiteY2" fmla="*/ 181029 h 1039683"/>
                    <a:gd name="connsiteX3" fmla="*/ 891256 w 963464"/>
                    <a:gd name="connsiteY3" fmla="*/ 139477 h 1039683"/>
                    <a:gd name="connsiteX4" fmla="*/ 808912 w 963464"/>
                    <a:gd name="connsiteY4" fmla="*/ 0 h 1039683"/>
                    <a:gd name="connsiteX5" fmla="*/ 800678 w 963464"/>
                    <a:gd name="connsiteY5" fmla="*/ 6714 h 1039683"/>
                    <a:gd name="connsiteX6" fmla="*/ 783069 w 963464"/>
                    <a:gd name="connsiteY6" fmla="*/ 23436 h 1039683"/>
                    <a:gd name="connsiteX7" fmla="*/ 770147 w 963464"/>
                    <a:gd name="connsiteY7" fmla="*/ 67142 h 1039683"/>
                    <a:gd name="connsiteX8" fmla="*/ 744304 w 963464"/>
                    <a:gd name="connsiteY8" fmla="*/ 105780 h 1039683"/>
                    <a:gd name="connsiteX9" fmla="*/ 705920 w 963464"/>
                    <a:gd name="connsiteY9" fmla="*/ 126809 h 1039683"/>
                    <a:gd name="connsiteX10" fmla="*/ 642325 w 963464"/>
                    <a:gd name="connsiteY10" fmla="*/ 142518 h 1039683"/>
                    <a:gd name="connsiteX11" fmla="*/ 617115 w 963464"/>
                    <a:gd name="connsiteY11" fmla="*/ 154679 h 1039683"/>
                    <a:gd name="connsiteX12" fmla="*/ 600266 w 963464"/>
                    <a:gd name="connsiteY12" fmla="*/ 178749 h 1039683"/>
                    <a:gd name="connsiteX13" fmla="*/ 585064 w 963464"/>
                    <a:gd name="connsiteY13" fmla="*/ 183310 h 1039683"/>
                    <a:gd name="connsiteX14" fmla="*/ 571003 w 963464"/>
                    <a:gd name="connsiteY14" fmla="*/ 183183 h 1039683"/>
                    <a:gd name="connsiteX15" fmla="*/ 560108 w 963464"/>
                    <a:gd name="connsiteY15" fmla="*/ 175582 h 1039683"/>
                    <a:gd name="connsiteX16" fmla="*/ 548960 w 963464"/>
                    <a:gd name="connsiteY16" fmla="*/ 190784 h 1039683"/>
                    <a:gd name="connsiteX17" fmla="*/ 552760 w 963464"/>
                    <a:gd name="connsiteY17" fmla="*/ 227142 h 1039683"/>
                    <a:gd name="connsiteX18" fmla="*/ 529071 w 963464"/>
                    <a:gd name="connsiteY18" fmla="*/ 261726 h 1039683"/>
                    <a:gd name="connsiteX19" fmla="*/ 481438 w 963464"/>
                    <a:gd name="connsiteY19" fmla="*/ 267427 h 1039683"/>
                    <a:gd name="connsiteX20" fmla="*/ 475231 w 963464"/>
                    <a:gd name="connsiteY20" fmla="*/ 315693 h 1039683"/>
                    <a:gd name="connsiteX21" fmla="*/ 416577 w 963464"/>
                    <a:gd name="connsiteY21" fmla="*/ 323420 h 1039683"/>
                    <a:gd name="connsiteX22" fmla="*/ 385919 w 963464"/>
                    <a:gd name="connsiteY22" fmla="*/ 356865 h 1039683"/>
                    <a:gd name="connsiteX23" fmla="*/ 380979 w 963464"/>
                    <a:gd name="connsiteY23" fmla="*/ 433634 h 1039683"/>
                    <a:gd name="connsiteX24" fmla="*/ 346268 w 963464"/>
                    <a:gd name="connsiteY24" fmla="*/ 496849 h 1039683"/>
                    <a:gd name="connsiteX25" fmla="*/ 259744 w 963464"/>
                    <a:gd name="connsiteY25" fmla="*/ 516611 h 1039683"/>
                    <a:gd name="connsiteX26" fmla="*/ 161818 w 963464"/>
                    <a:gd name="connsiteY26" fmla="*/ 507110 h 1039683"/>
                    <a:gd name="connsiteX27" fmla="*/ 124447 w 963464"/>
                    <a:gd name="connsiteY27" fmla="*/ 502043 h 1039683"/>
                    <a:gd name="connsiteX28" fmla="*/ 37289 w 963464"/>
                    <a:gd name="connsiteY28" fmla="*/ 482787 h 1039683"/>
                    <a:gd name="connsiteX29" fmla="*/ 1311 w 963464"/>
                    <a:gd name="connsiteY29" fmla="*/ 478607 h 1039683"/>
                    <a:gd name="connsiteX30" fmla="*/ 14233 w 963464"/>
                    <a:gd name="connsiteY30" fmla="*/ 547268 h 1039683"/>
                    <a:gd name="connsiteX31" fmla="*/ 42990 w 963464"/>
                    <a:gd name="connsiteY31" fmla="*/ 543341 h 1039683"/>
                    <a:gd name="connsiteX32" fmla="*/ 115959 w 963464"/>
                    <a:gd name="connsiteY32" fmla="*/ 549802 h 1039683"/>
                    <a:gd name="connsiteX33" fmla="*/ 135468 w 963464"/>
                    <a:gd name="connsiteY33" fmla="*/ 578306 h 1039683"/>
                    <a:gd name="connsiteX34" fmla="*/ 148770 w 963464"/>
                    <a:gd name="connsiteY34" fmla="*/ 611243 h 1039683"/>
                    <a:gd name="connsiteX35" fmla="*/ 136228 w 963464"/>
                    <a:gd name="connsiteY35" fmla="*/ 644561 h 1039683"/>
                    <a:gd name="connsiteX36" fmla="*/ 117353 w 963464"/>
                    <a:gd name="connsiteY36" fmla="*/ 679905 h 1039683"/>
                    <a:gd name="connsiteX37" fmla="*/ 113172 w 963464"/>
                    <a:gd name="connsiteY37" fmla="*/ 714109 h 1039683"/>
                    <a:gd name="connsiteX38" fmla="*/ 94676 w 963464"/>
                    <a:gd name="connsiteY38" fmla="*/ 752621 h 1039683"/>
                    <a:gd name="connsiteX39" fmla="*/ 40456 w 963464"/>
                    <a:gd name="connsiteY39" fmla="*/ 802914 h 1039683"/>
                    <a:gd name="connsiteX40" fmla="*/ 35009 w 963464"/>
                    <a:gd name="connsiteY40" fmla="*/ 802660 h 1039683"/>
                    <a:gd name="connsiteX41" fmla="*/ 39950 w 963464"/>
                    <a:gd name="connsiteY41" fmla="*/ 813808 h 1039683"/>
                    <a:gd name="connsiteX42" fmla="*/ 92143 w 963464"/>
                    <a:gd name="connsiteY42" fmla="*/ 821789 h 1039683"/>
                    <a:gd name="connsiteX43" fmla="*/ 108611 w 963464"/>
                    <a:gd name="connsiteY43" fmla="*/ 776184 h 1039683"/>
                    <a:gd name="connsiteX44" fmla="*/ 154091 w 963464"/>
                    <a:gd name="connsiteY44" fmla="*/ 813175 h 1039683"/>
                    <a:gd name="connsiteX45" fmla="*/ 175880 w 963464"/>
                    <a:gd name="connsiteY45" fmla="*/ 766302 h 1039683"/>
                    <a:gd name="connsiteX46" fmla="*/ 204257 w 963464"/>
                    <a:gd name="connsiteY46" fmla="*/ 842819 h 1039683"/>
                    <a:gd name="connsiteX47" fmla="*/ 258984 w 963464"/>
                    <a:gd name="connsiteY47" fmla="*/ 891718 h 1039683"/>
                    <a:gd name="connsiteX48" fmla="*/ 259744 w 963464"/>
                    <a:gd name="connsiteY48" fmla="*/ 947965 h 1039683"/>
                    <a:gd name="connsiteX49" fmla="*/ 268992 w 963464"/>
                    <a:gd name="connsiteY49" fmla="*/ 945685 h 1039683"/>
                    <a:gd name="connsiteX50" fmla="*/ 292174 w 963464"/>
                    <a:gd name="connsiteY50" fmla="*/ 901853 h 1039683"/>
                    <a:gd name="connsiteX51" fmla="*/ 279633 w 963464"/>
                    <a:gd name="connsiteY51" fmla="*/ 835598 h 1039683"/>
                    <a:gd name="connsiteX52" fmla="*/ 316624 w 963464"/>
                    <a:gd name="connsiteY52" fmla="*/ 798353 h 1039683"/>
                    <a:gd name="connsiteX53" fmla="*/ 343481 w 963464"/>
                    <a:gd name="connsiteY53" fmla="*/ 759588 h 1039683"/>
                    <a:gd name="connsiteX54" fmla="*/ 350448 w 963464"/>
                    <a:gd name="connsiteY54" fmla="*/ 786318 h 1039683"/>
                    <a:gd name="connsiteX55" fmla="*/ 366410 w 963464"/>
                    <a:gd name="connsiteY55" fmla="*/ 769850 h 1039683"/>
                    <a:gd name="connsiteX56" fmla="*/ 397448 w 963464"/>
                    <a:gd name="connsiteY56" fmla="*/ 750467 h 1039683"/>
                    <a:gd name="connsiteX57" fmla="*/ 412776 w 963464"/>
                    <a:gd name="connsiteY57" fmla="*/ 751481 h 1039683"/>
                    <a:gd name="connsiteX58" fmla="*/ 380219 w 963464"/>
                    <a:gd name="connsiteY58" fmla="*/ 800633 h 1039683"/>
                    <a:gd name="connsiteX59" fmla="*/ 369831 w 963464"/>
                    <a:gd name="connsiteY59" fmla="*/ 819762 h 1039683"/>
                    <a:gd name="connsiteX60" fmla="*/ 394027 w 963464"/>
                    <a:gd name="connsiteY60" fmla="*/ 815835 h 1039683"/>
                    <a:gd name="connsiteX61" fmla="*/ 424684 w 963464"/>
                    <a:gd name="connsiteY61" fmla="*/ 823690 h 1039683"/>
                    <a:gd name="connsiteX62" fmla="*/ 439759 w 963464"/>
                    <a:gd name="connsiteY62" fmla="*/ 755788 h 1039683"/>
                    <a:gd name="connsiteX63" fmla="*/ 459902 w 963464"/>
                    <a:gd name="connsiteY63" fmla="*/ 711956 h 1039683"/>
                    <a:gd name="connsiteX64" fmla="*/ 470923 w 963464"/>
                    <a:gd name="connsiteY64" fmla="*/ 785305 h 1039683"/>
                    <a:gd name="connsiteX65" fmla="*/ 461422 w 963464"/>
                    <a:gd name="connsiteY65" fmla="*/ 837878 h 1039683"/>
                    <a:gd name="connsiteX66" fmla="*/ 412523 w 963464"/>
                    <a:gd name="connsiteY66" fmla="*/ 867015 h 1039683"/>
                    <a:gd name="connsiteX67" fmla="*/ 386680 w 963464"/>
                    <a:gd name="connsiteY67" fmla="*/ 907300 h 1039683"/>
                    <a:gd name="connsiteX68" fmla="*/ 357923 w 963464"/>
                    <a:gd name="connsiteY68" fmla="*/ 942518 h 1039683"/>
                    <a:gd name="connsiteX69" fmla="*/ 346395 w 963464"/>
                    <a:gd name="connsiteY69" fmla="*/ 961647 h 1039683"/>
                    <a:gd name="connsiteX70" fmla="*/ 395167 w 963464"/>
                    <a:gd name="connsiteY70" fmla="*/ 1039683 h 1039683"/>
                    <a:gd name="connsiteX71" fmla="*/ 467376 w 963464"/>
                    <a:gd name="connsiteY71" fmla="*/ 1013967 h 1039683"/>
                    <a:gd name="connsiteX72" fmla="*/ 502594 w 963464"/>
                    <a:gd name="connsiteY72" fmla="*/ 958987 h 1039683"/>
                    <a:gd name="connsiteX73" fmla="*/ 569862 w 963464"/>
                    <a:gd name="connsiteY73" fmla="*/ 912494 h 1039683"/>
                    <a:gd name="connsiteX74" fmla="*/ 559475 w 963464"/>
                    <a:gd name="connsiteY74" fmla="*/ 875883 h 1039683"/>
                    <a:gd name="connsiteX75" fmla="*/ 534771 w 963464"/>
                    <a:gd name="connsiteY75" fmla="*/ 823943 h 1039683"/>
                    <a:gd name="connsiteX76" fmla="*/ 580757 w 963464"/>
                    <a:gd name="connsiteY76" fmla="*/ 757561 h 1039683"/>
                    <a:gd name="connsiteX77" fmla="*/ 604067 w 963464"/>
                    <a:gd name="connsiteY77" fmla="*/ 728805 h 1039683"/>
                    <a:gd name="connsiteX78" fmla="*/ 621929 w 963464"/>
                    <a:gd name="connsiteY78" fmla="*/ 703595 h 1039683"/>
                    <a:gd name="connsiteX79" fmla="*/ 704653 w 963464"/>
                    <a:gd name="connsiteY79" fmla="*/ 717023 h 1039683"/>
                    <a:gd name="connsiteX80" fmla="*/ 703893 w 963464"/>
                    <a:gd name="connsiteY80" fmla="*/ 716263 h 1039683"/>
                    <a:gd name="connsiteX81" fmla="*/ 695405 w 963464"/>
                    <a:gd name="connsiteY81" fmla="*/ 696120 h 1039683"/>
                    <a:gd name="connsiteX82" fmla="*/ 716054 w 963464"/>
                    <a:gd name="connsiteY82" fmla="*/ 673571 h 1039683"/>
                    <a:gd name="connsiteX83" fmla="*/ 719728 w 963464"/>
                    <a:gd name="connsiteY83" fmla="*/ 619857 h 1039683"/>
                    <a:gd name="connsiteX84" fmla="*/ 711240 w 963464"/>
                    <a:gd name="connsiteY84" fmla="*/ 596421 h 1039683"/>
                    <a:gd name="connsiteX85" fmla="*/ 716434 w 963464"/>
                    <a:gd name="connsiteY85" fmla="*/ 568171 h 1039683"/>
                    <a:gd name="connsiteX86" fmla="*/ 724795 w 963464"/>
                    <a:gd name="connsiteY86" fmla="*/ 544101 h 1039683"/>
                    <a:gd name="connsiteX87" fmla="*/ 758620 w 963464"/>
                    <a:gd name="connsiteY87" fmla="*/ 534727 h 1039683"/>
                    <a:gd name="connsiteX88" fmla="*/ 799031 w 963464"/>
                    <a:gd name="connsiteY88" fmla="*/ 495075 h 1039683"/>
                    <a:gd name="connsiteX89" fmla="*/ 821961 w 963464"/>
                    <a:gd name="connsiteY89" fmla="*/ 449723 h 1039683"/>
                    <a:gd name="connsiteX90" fmla="*/ 855278 w 963464"/>
                    <a:gd name="connsiteY90" fmla="*/ 455930 h 1039683"/>
                    <a:gd name="connsiteX91" fmla="*/ 874787 w 963464"/>
                    <a:gd name="connsiteY91" fmla="*/ 441108 h 1039683"/>
                    <a:gd name="connsiteX92" fmla="*/ 913932 w 963464"/>
                    <a:gd name="connsiteY92" fmla="*/ 415012 h 1039683"/>
                    <a:gd name="connsiteX93" fmla="*/ 930781 w 963464"/>
                    <a:gd name="connsiteY93" fmla="*/ 297450 h 1039683"/>
                    <a:gd name="connsiteX94" fmla="*/ 960805 w 963464"/>
                    <a:gd name="connsiteY94" fmla="*/ 237783 h 1039683"/>
                    <a:gd name="connsiteX95" fmla="*/ 963465 w 963464"/>
                    <a:gd name="connsiteY95" fmla="*/ 227268 h 1039683"/>
                    <a:gd name="connsiteX96" fmla="*/ 942816 w 963464"/>
                    <a:gd name="connsiteY96" fmla="*/ 207379 h 1039683"/>
                    <a:gd name="connsiteX97" fmla="*/ 613061 w 963464"/>
                    <a:gd name="connsiteY97" fmla="*/ 631386 h 1039683"/>
                    <a:gd name="connsiteX98" fmla="*/ 590765 w 963464"/>
                    <a:gd name="connsiteY98" fmla="*/ 651021 h 1039683"/>
                    <a:gd name="connsiteX99" fmla="*/ 585951 w 963464"/>
                    <a:gd name="connsiteY99" fmla="*/ 683579 h 1039683"/>
                    <a:gd name="connsiteX100" fmla="*/ 579490 w 963464"/>
                    <a:gd name="connsiteY100" fmla="*/ 705748 h 1039683"/>
                    <a:gd name="connsiteX101" fmla="*/ 561628 w 963464"/>
                    <a:gd name="connsiteY101" fmla="*/ 695107 h 1039683"/>
                    <a:gd name="connsiteX102" fmla="*/ 557194 w 963464"/>
                    <a:gd name="connsiteY102" fmla="*/ 668630 h 1039683"/>
                    <a:gd name="connsiteX103" fmla="*/ 556434 w 963464"/>
                    <a:gd name="connsiteY103" fmla="*/ 645447 h 1039683"/>
                    <a:gd name="connsiteX104" fmla="*/ 574170 w 963464"/>
                    <a:gd name="connsiteY104" fmla="*/ 624671 h 1039683"/>
                    <a:gd name="connsiteX105" fmla="*/ 585951 w 963464"/>
                    <a:gd name="connsiteY105" fmla="*/ 601109 h 1039683"/>
                    <a:gd name="connsiteX106" fmla="*/ 612301 w 963464"/>
                    <a:gd name="connsiteY106" fmla="*/ 600982 h 1039683"/>
                    <a:gd name="connsiteX107" fmla="*/ 613061 w 963464"/>
                    <a:gd name="connsiteY107" fmla="*/ 631386 h 1039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963464" h="1039683">
                      <a:moveTo>
                        <a:pt x="942816" y="207379"/>
                      </a:moveTo>
                      <a:cubicBezTo>
                        <a:pt x="927614" y="221188"/>
                        <a:pt x="893916" y="250958"/>
                        <a:pt x="880741" y="234489"/>
                      </a:cubicBezTo>
                      <a:cubicBezTo>
                        <a:pt x="867566" y="218021"/>
                        <a:pt x="858952" y="193571"/>
                        <a:pt x="878714" y="181029"/>
                      </a:cubicBezTo>
                      <a:cubicBezTo>
                        <a:pt x="898477" y="168488"/>
                        <a:pt x="899870" y="152652"/>
                        <a:pt x="891256" y="139477"/>
                      </a:cubicBezTo>
                      <a:cubicBezTo>
                        <a:pt x="884795" y="129470"/>
                        <a:pt x="833742" y="42312"/>
                        <a:pt x="808912" y="0"/>
                      </a:cubicBezTo>
                      <a:cubicBezTo>
                        <a:pt x="806252" y="2407"/>
                        <a:pt x="803592" y="4561"/>
                        <a:pt x="800678" y="6714"/>
                      </a:cubicBezTo>
                      <a:cubicBezTo>
                        <a:pt x="793837" y="11908"/>
                        <a:pt x="788010" y="16469"/>
                        <a:pt x="783069" y="23436"/>
                      </a:cubicBezTo>
                      <a:cubicBezTo>
                        <a:pt x="773188" y="37371"/>
                        <a:pt x="772301" y="50926"/>
                        <a:pt x="770147" y="67142"/>
                      </a:cubicBezTo>
                      <a:cubicBezTo>
                        <a:pt x="767867" y="83737"/>
                        <a:pt x="754819" y="94252"/>
                        <a:pt x="744304" y="105780"/>
                      </a:cubicBezTo>
                      <a:cubicBezTo>
                        <a:pt x="733156" y="118068"/>
                        <a:pt x="722895" y="125162"/>
                        <a:pt x="705920" y="126809"/>
                      </a:cubicBezTo>
                      <a:cubicBezTo>
                        <a:pt x="680456" y="129343"/>
                        <a:pt x="661074" y="120728"/>
                        <a:pt x="642325" y="142518"/>
                      </a:cubicBezTo>
                      <a:cubicBezTo>
                        <a:pt x="634344" y="151766"/>
                        <a:pt x="626490" y="148979"/>
                        <a:pt x="617115" y="154679"/>
                      </a:cubicBezTo>
                      <a:cubicBezTo>
                        <a:pt x="607107" y="160760"/>
                        <a:pt x="608374" y="173175"/>
                        <a:pt x="600266" y="178749"/>
                      </a:cubicBezTo>
                      <a:cubicBezTo>
                        <a:pt x="596212" y="181536"/>
                        <a:pt x="589878" y="182930"/>
                        <a:pt x="585064" y="183310"/>
                      </a:cubicBezTo>
                      <a:cubicBezTo>
                        <a:pt x="581011" y="183690"/>
                        <a:pt x="575056" y="184070"/>
                        <a:pt x="571003" y="183183"/>
                      </a:cubicBezTo>
                      <a:cubicBezTo>
                        <a:pt x="565175" y="182043"/>
                        <a:pt x="564668" y="177989"/>
                        <a:pt x="560108" y="175582"/>
                      </a:cubicBezTo>
                      <a:cubicBezTo>
                        <a:pt x="546933" y="168614"/>
                        <a:pt x="548326" y="181789"/>
                        <a:pt x="548960" y="190784"/>
                      </a:cubicBezTo>
                      <a:cubicBezTo>
                        <a:pt x="549847" y="202945"/>
                        <a:pt x="551494" y="214980"/>
                        <a:pt x="552760" y="227142"/>
                      </a:cubicBezTo>
                      <a:cubicBezTo>
                        <a:pt x="554534" y="244244"/>
                        <a:pt x="549340" y="262106"/>
                        <a:pt x="529071" y="261726"/>
                      </a:cubicBezTo>
                      <a:cubicBezTo>
                        <a:pt x="513869" y="261473"/>
                        <a:pt x="490179" y="247158"/>
                        <a:pt x="481438" y="267427"/>
                      </a:cubicBezTo>
                      <a:cubicBezTo>
                        <a:pt x="474217" y="284149"/>
                        <a:pt x="493219" y="302264"/>
                        <a:pt x="475231" y="315693"/>
                      </a:cubicBezTo>
                      <a:cubicBezTo>
                        <a:pt x="458255" y="328361"/>
                        <a:pt x="435832" y="321520"/>
                        <a:pt x="416577" y="323420"/>
                      </a:cubicBezTo>
                      <a:cubicBezTo>
                        <a:pt x="396434" y="325574"/>
                        <a:pt x="392380" y="340269"/>
                        <a:pt x="385919" y="356865"/>
                      </a:cubicBezTo>
                      <a:cubicBezTo>
                        <a:pt x="376038" y="382455"/>
                        <a:pt x="383766" y="406904"/>
                        <a:pt x="380979" y="433634"/>
                      </a:cubicBezTo>
                      <a:cubicBezTo>
                        <a:pt x="378319" y="458464"/>
                        <a:pt x="367550" y="482787"/>
                        <a:pt x="346268" y="496849"/>
                      </a:cubicBezTo>
                      <a:cubicBezTo>
                        <a:pt x="320298" y="514078"/>
                        <a:pt x="290021" y="517118"/>
                        <a:pt x="259744" y="516611"/>
                      </a:cubicBezTo>
                      <a:cubicBezTo>
                        <a:pt x="226046" y="515978"/>
                        <a:pt x="194882" y="511164"/>
                        <a:pt x="161818" y="507110"/>
                      </a:cubicBezTo>
                      <a:cubicBezTo>
                        <a:pt x="149150" y="505590"/>
                        <a:pt x="136862" y="505336"/>
                        <a:pt x="124447" y="502043"/>
                      </a:cubicBezTo>
                      <a:cubicBezTo>
                        <a:pt x="95056" y="494062"/>
                        <a:pt x="67440" y="487474"/>
                        <a:pt x="37289" y="482787"/>
                      </a:cubicBezTo>
                      <a:cubicBezTo>
                        <a:pt x="25508" y="480887"/>
                        <a:pt x="13346" y="479747"/>
                        <a:pt x="1311" y="478607"/>
                      </a:cubicBezTo>
                      <a:cubicBezTo>
                        <a:pt x="-1096" y="495202"/>
                        <a:pt x="-1856" y="523325"/>
                        <a:pt x="14233" y="547268"/>
                      </a:cubicBezTo>
                      <a:cubicBezTo>
                        <a:pt x="22341" y="542961"/>
                        <a:pt x="35516" y="543848"/>
                        <a:pt x="42990" y="543341"/>
                      </a:cubicBezTo>
                      <a:cubicBezTo>
                        <a:pt x="68580" y="541188"/>
                        <a:pt x="93663" y="531940"/>
                        <a:pt x="115959" y="549802"/>
                      </a:cubicBezTo>
                      <a:cubicBezTo>
                        <a:pt x="125334" y="557276"/>
                        <a:pt x="130528" y="567538"/>
                        <a:pt x="135468" y="578306"/>
                      </a:cubicBezTo>
                      <a:cubicBezTo>
                        <a:pt x="140282" y="588820"/>
                        <a:pt x="146743" y="599715"/>
                        <a:pt x="148770" y="611243"/>
                      </a:cubicBezTo>
                      <a:cubicBezTo>
                        <a:pt x="151177" y="624545"/>
                        <a:pt x="144083" y="634679"/>
                        <a:pt x="136228" y="644561"/>
                      </a:cubicBezTo>
                      <a:cubicBezTo>
                        <a:pt x="127614" y="655329"/>
                        <a:pt x="119633" y="665843"/>
                        <a:pt x="117353" y="679905"/>
                      </a:cubicBezTo>
                      <a:cubicBezTo>
                        <a:pt x="115579" y="691306"/>
                        <a:pt x="116846" y="702835"/>
                        <a:pt x="113172" y="714109"/>
                      </a:cubicBezTo>
                      <a:cubicBezTo>
                        <a:pt x="108865" y="727538"/>
                        <a:pt x="101011" y="740079"/>
                        <a:pt x="94676" y="752621"/>
                      </a:cubicBezTo>
                      <a:cubicBezTo>
                        <a:pt x="83022" y="775804"/>
                        <a:pt x="70733" y="804814"/>
                        <a:pt x="40456" y="802914"/>
                      </a:cubicBezTo>
                      <a:cubicBezTo>
                        <a:pt x="38556" y="802787"/>
                        <a:pt x="36782" y="802787"/>
                        <a:pt x="35009" y="802660"/>
                      </a:cubicBezTo>
                      <a:cubicBezTo>
                        <a:pt x="36022" y="808488"/>
                        <a:pt x="37669" y="812415"/>
                        <a:pt x="39950" y="813808"/>
                      </a:cubicBezTo>
                      <a:cubicBezTo>
                        <a:pt x="61105" y="826350"/>
                        <a:pt x="92776" y="852700"/>
                        <a:pt x="92143" y="821789"/>
                      </a:cubicBezTo>
                      <a:cubicBezTo>
                        <a:pt x="91509" y="790752"/>
                        <a:pt x="95437" y="768963"/>
                        <a:pt x="108611" y="776184"/>
                      </a:cubicBezTo>
                      <a:cubicBezTo>
                        <a:pt x="121786" y="783405"/>
                        <a:pt x="144969" y="834964"/>
                        <a:pt x="154091" y="813175"/>
                      </a:cubicBezTo>
                      <a:cubicBezTo>
                        <a:pt x="163338" y="791385"/>
                        <a:pt x="162071" y="743880"/>
                        <a:pt x="175880" y="766302"/>
                      </a:cubicBezTo>
                      <a:cubicBezTo>
                        <a:pt x="189688" y="788725"/>
                        <a:pt x="179174" y="828377"/>
                        <a:pt x="204257" y="842819"/>
                      </a:cubicBezTo>
                      <a:cubicBezTo>
                        <a:pt x="229340" y="857387"/>
                        <a:pt x="257717" y="863975"/>
                        <a:pt x="258984" y="891718"/>
                      </a:cubicBezTo>
                      <a:cubicBezTo>
                        <a:pt x="259870" y="909327"/>
                        <a:pt x="261264" y="934030"/>
                        <a:pt x="259744" y="947965"/>
                      </a:cubicBezTo>
                      <a:cubicBezTo>
                        <a:pt x="262404" y="947965"/>
                        <a:pt x="265571" y="947332"/>
                        <a:pt x="268992" y="945685"/>
                      </a:cubicBezTo>
                      <a:cubicBezTo>
                        <a:pt x="284193" y="938717"/>
                        <a:pt x="297495" y="918575"/>
                        <a:pt x="292174" y="901853"/>
                      </a:cubicBezTo>
                      <a:cubicBezTo>
                        <a:pt x="285080" y="879430"/>
                        <a:pt x="274439" y="860428"/>
                        <a:pt x="279633" y="835598"/>
                      </a:cubicBezTo>
                      <a:cubicBezTo>
                        <a:pt x="284447" y="812922"/>
                        <a:pt x="303576" y="813682"/>
                        <a:pt x="316624" y="798353"/>
                      </a:cubicBezTo>
                      <a:cubicBezTo>
                        <a:pt x="326759" y="786445"/>
                        <a:pt x="326885" y="762249"/>
                        <a:pt x="343481" y="759588"/>
                      </a:cubicBezTo>
                      <a:cubicBezTo>
                        <a:pt x="344494" y="766809"/>
                        <a:pt x="333726" y="793792"/>
                        <a:pt x="350448" y="786318"/>
                      </a:cubicBezTo>
                      <a:cubicBezTo>
                        <a:pt x="356403" y="783658"/>
                        <a:pt x="361850" y="774410"/>
                        <a:pt x="366410" y="769850"/>
                      </a:cubicBezTo>
                      <a:cubicBezTo>
                        <a:pt x="375278" y="760855"/>
                        <a:pt x="386300" y="755534"/>
                        <a:pt x="397448" y="750467"/>
                      </a:cubicBezTo>
                      <a:cubicBezTo>
                        <a:pt x="404162" y="747427"/>
                        <a:pt x="420250" y="735772"/>
                        <a:pt x="412776" y="751481"/>
                      </a:cubicBezTo>
                      <a:cubicBezTo>
                        <a:pt x="404415" y="768963"/>
                        <a:pt x="391493" y="785051"/>
                        <a:pt x="380219" y="800633"/>
                      </a:cubicBezTo>
                      <a:cubicBezTo>
                        <a:pt x="377558" y="804434"/>
                        <a:pt x="364890" y="817989"/>
                        <a:pt x="369831" y="819762"/>
                      </a:cubicBezTo>
                      <a:cubicBezTo>
                        <a:pt x="375152" y="821789"/>
                        <a:pt x="386553" y="813808"/>
                        <a:pt x="394027" y="815835"/>
                      </a:cubicBezTo>
                      <a:cubicBezTo>
                        <a:pt x="409482" y="820142"/>
                        <a:pt x="410243" y="844085"/>
                        <a:pt x="424684" y="823690"/>
                      </a:cubicBezTo>
                      <a:cubicBezTo>
                        <a:pt x="439759" y="802280"/>
                        <a:pt x="444067" y="780998"/>
                        <a:pt x="439759" y="755788"/>
                      </a:cubicBezTo>
                      <a:cubicBezTo>
                        <a:pt x="437986" y="745653"/>
                        <a:pt x="438366" y="700301"/>
                        <a:pt x="459902" y="711956"/>
                      </a:cubicBezTo>
                      <a:cubicBezTo>
                        <a:pt x="478651" y="722217"/>
                        <a:pt x="471684" y="768329"/>
                        <a:pt x="470923" y="785305"/>
                      </a:cubicBezTo>
                      <a:cubicBezTo>
                        <a:pt x="470163" y="802407"/>
                        <a:pt x="471430" y="822930"/>
                        <a:pt x="461422" y="837878"/>
                      </a:cubicBezTo>
                      <a:cubicBezTo>
                        <a:pt x="450401" y="854347"/>
                        <a:pt x="428485" y="857134"/>
                        <a:pt x="412523" y="867015"/>
                      </a:cubicBezTo>
                      <a:cubicBezTo>
                        <a:pt x="395927" y="877276"/>
                        <a:pt x="393394" y="890578"/>
                        <a:pt x="386680" y="907300"/>
                      </a:cubicBezTo>
                      <a:cubicBezTo>
                        <a:pt x="380599" y="922375"/>
                        <a:pt x="367677" y="930230"/>
                        <a:pt x="357923" y="942518"/>
                      </a:cubicBezTo>
                      <a:cubicBezTo>
                        <a:pt x="353362" y="948345"/>
                        <a:pt x="350068" y="955186"/>
                        <a:pt x="346395" y="961647"/>
                      </a:cubicBezTo>
                      <a:cubicBezTo>
                        <a:pt x="364130" y="974949"/>
                        <a:pt x="396434" y="1004086"/>
                        <a:pt x="395167" y="1039683"/>
                      </a:cubicBezTo>
                      <a:cubicBezTo>
                        <a:pt x="396941" y="1039683"/>
                        <a:pt x="444447" y="1039683"/>
                        <a:pt x="467376" y="1013967"/>
                      </a:cubicBezTo>
                      <a:cubicBezTo>
                        <a:pt x="490686" y="987743"/>
                        <a:pt x="492079" y="968868"/>
                        <a:pt x="502594" y="958987"/>
                      </a:cubicBezTo>
                      <a:cubicBezTo>
                        <a:pt x="512982" y="949105"/>
                        <a:pt x="561501" y="932257"/>
                        <a:pt x="569862" y="912494"/>
                      </a:cubicBezTo>
                      <a:cubicBezTo>
                        <a:pt x="578224" y="892731"/>
                        <a:pt x="579237" y="885257"/>
                        <a:pt x="559475" y="875883"/>
                      </a:cubicBezTo>
                      <a:cubicBezTo>
                        <a:pt x="539712" y="866508"/>
                        <a:pt x="519823" y="851686"/>
                        <a:pt x="534771" y="823943"/>
                      </a:cubicBezTo>
                      <a:cubicBezTo>
                        <a:pt x="549593" y="796199"/>
                        <a:pt x="564415" y="774410"/>
                        <a:pt x="580757" y="757561"/>
                      </a:cubicBezTo>
                      <a:cubicBezTo>
                        <a:pt x="597099" y="740713"/>
                        <a:pt x="599126" y="744260"/>
                        <a:pt x="604067" y="728805"/>
                      </a:cubicBezTo>
                      <a:cubicBezTo>
                        <a:pt x="609007" y="713476"/>
                        <a:pt x="611921" y="689153"/>
                        <a:pt x="621929" y="703595"/>
                      </a:cubicBezTo>
                      <a:cubicBezTo>
                        <a:pt x="631177" y="717023"/>
                        <a:pt x="660821" y="763009"/>
                        <a:pt x="704653" y="717023"/>
                      </a:cubicBezTo>
                      <a:cubicBezTo>
                        <a:pt x="704399" y="716770"/>
                        <a:pt x="704146" y="716516"/>
                        <a:pt x="703893" y="716263"/>
                      </a:cubicBezTo>
                      <a:cubicBezTo>
                        <a:pt x="697178" y="710055"/>
                        <a:pt x="689577" y="705622"/>
                        <a:pt x="695405" y="696120"/>
                      </a:cubicBezTo>
                      <a:cubicBezTo>
                        <a:pt x="700852" y="687379"/>
                        <a:pt x="711240" y="683199"/>
                        <a:pt x="716054" y="673571"/>
                      </a:cubicBezTo>
                      <a:cubicBezTo>
                        <a:pt x="723908" y="657609"/>
                        <a:pt x="729229" y="635439"/>
                        <a:pt x="719728" y="619857"/>
                      </a:cubicBezTo>
                      <a:cubicBezTo>
                        <a:pt x="714914" y="612003"/>
                        <a:pt x="708960" y="606049"/>
                        <a:pt x="711240" y="596421"/>
                      </a:cubicBezTo>
                      <a:cubicBezTo>
                        <a:pt x="713520" y="586160"/>
                        <a:pt x="717194" y="579319"/>
                        <a:pt x="716434" y="568171"/>
                      </a:cubicBezTo>
                      <a:cubicBezTo>
                        <a:pt x="715801" y="557783"/>
                        <a:pt x="713901" y="549042"/>
                        <a:pt x="724795" y="544101"/>
                      </a:cubicBezTo>
                      <a:cubicBezTo>
                        <a:pt x="735310" y="539287"/>
                        <a:pt x="747851" y="539161"/>
                        <a:pt x="758620" y="534727"/>
                      </a:cubicBezTo>
                      <a:cubicBezTo>
                        <a:pt x="776862" y="527253"/>
                        <a:pt x="796371" y="516485"/>
                        <a:pt x="799031" y="495075"/>
                      </a:cubicBezTo>
                      <a:cubicBezTo>
                        <a:pt x="801058" y="478860"/>
                        <a:pt x="796497" y="446809"/>
                        <a:pt x="821961" y="449723"/>
                      </a:cubicBezTo>
                      <a:cubicBezTo>
                        <a:pt x="832982" y="450990"/>
                        <a:pt x="843877" y="458844"/>
                        <a:pt x="855278" y="455930"/>
                      </a:cubicBezTo>
                      <a:cubicBezTo>
                        <a:pt x="864019" y="453777"/>
                        <a:pt x="867566" y="445542"/>
                        <a:pt x="874787" y="441108"/>
                      </a:cubicBezTo>
                      <a:cubicBezTo>
                        <a:pt x="890876" y="431227"/>
                        <a:pt x="907091" y="437181"/>
                        <a:pt x="913932" y="415012"/>
                      </a:cubicBezTo>
                      <a:cubicBezTo>
                        <a:pt x="925587" y="377007"/>
                        <a:pt x="909878" y="333175"/>
                        <a:pt x="930781" y="297450"/>
                      </a:cubicBezTo>
                      <a:cubicBezTo>
                        <a:pt x="942562" y="277308"/>
                        <a:pt x="954851" y="260713"/>
                        <a:pt x="960805" y="237783"/>
                      </a:cubicBezTo>
                      <a:cubicBezTo>
                        <a:pt x="961692" y="234236"/>
                        <a:pt x="962578" y="230689"/>
                        <a:pt x="963465" y="227268"/>
                      </a:cubicBezTo>
                      <a:cubicBezTo>
                        <a:pt x="956878" y="212447"/>
                        <a:pt x="949403" y="201425"/>
                        <a:pt x="942816" y="207379"/>
                      </a:cubicBezTo>
                      <a:close/>
                      <a:moveTo>
                        <a:pt x="613061" y="631386"/>
                      </a:moveTo>
                      <a:cubicBezTo>
                        <a:pt x="607234" y="642027"/>
                        <a:pt x="600773" y="645447"/>
                        <a:pt x="590765" y="651021"/>
                      </a:cubicBezTo>
                      <a:cubicBezTo>
                        <a:pt x="577970" y="658116"/>
                        <a:pt x="583291" y="671544"/>
                        <a:pt x="585951" y="683579"/>
                      </a:cubicBezTo>
                      <a:cubicBezTo>
                        <a:pt x="587978" y="692573"/>
                        <a:pt x="588611" y="701061"/>
                        <a:pt x="579490" y="705748"/>
                      </a:cubicBezTo>
                      <a:cubicBezTo>
                        <a:pt x="569989" y="710689"/>
                        <a:pt x="563275" y="704101"/>
                        <a:pt x="561628" y="695107"/>
                      </a:cubicBezTo>
                      <a:cubicBezTo>
                        <a:pt x="559728" y="685732"/>
                        <a:pt x="560741" y="677751"/>
                        <a:pt x="557194" y="668630"/>
                      </a:cubicBezTo>
                      <a:cubicBezTo>
                        <a:pt x="554027" y="660522"/>
                        <a:pt x="551874" y="653682"/>
                        <a:pt x="556434" y="645447"/>
                      </a:cubicBezTo>
                      <a:cubicBezTo>
                        <a:pt x="560868" y="637466"/>
                        <a:pt x="569609" y="632779"/>
                        <a:pt x="574170" y="624671"/>
                      </a:cubicBezTo>
                      <a:cubicBezTo>
                        <a:pt x="578224" y="617577"/>
                        <a:pt x="578730" y="605922"/>
                        <a:pt x="585951" y="601109"/>
                      </a:cubicBezTo>
                      <a:cubicBezTo>
                        <a:pt x="591905" y="597055"/>
                        <a:pt x="606601" y="596801"/>
                        <a:pt x="612301" y="600982"/>
                      </a:cubicBezTo>
                      <a:cubicBezTo>
                        <a:pt x="622816" y="608583"/>
                        <a:pt x="618255" y="622011"/>
                        <a:pt x="613061" y="63138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632" name="Рисунок 388">
                  <a:extLst>
                    <a:ext uri="{FF2B5EF4-FFF2-40B4-BE49-F238E27FC236}">
                      <a16:creationId xmlns:a16="http://schemas.microsoft.com/office/drawing/2014/main" id="{1DA397FD-DC6E-439E-BB40-D0F80476817D}"/>
                    </a:ext>
                  </a:extLst>
                </p:cNvPr>
                <p:cNvGrpSpPr/>
                <p:nvPr/>
              </p:nvGrpSpPr>
              <p:grpSpPr>
                <a:xfrm>
                  <a:off x="3489806" y="2179241"/>
                  <a:ext cx="101346" cy="109326"/>
                  <a:chOff x="3489806" y="2179241"/>
                  <a:chExt cx="101346" cy="109326"/>
                </a:xfrm>
                <a:solidFill>
                  <a:srgbClr val="E3E8EC"/>
                </a:solidFill>
              </p:grpSpPr>
              <p:sp>
                <p:nvSpPr>
                  <p:cNvPr id="633" name="Полилиния: фигура 632">
                    <a:extLst>
                      <a:ext uri="{FF2B5EF4-FFF2-40B4-BE49-F238E27FC236}">
                        <a16:creationId xmlns:a16="http://schemas.microsoft.com/office/drawing/2014/main" id="{A0C3E586-8B45-4043-93C3-B207177FFD3E}"/>
                      </a:ext>
                    </a:extLst>
                  </p:cNvPr>
                  <p:cNvSpPr/>
                  <p:nvPr/>
                </p:nvSpPr>
                <p:spPr>
                  <a:xfrm>
                    <a:off x="3579750" y="2213445"/>
                    <a:ext cx="11401" cy="8361"/>
                  </a:xfrm>
                  <a:custGeom>
                    <a:avLst/>
                    <a:gdLst>
                      <a:gd name="connsiteX0" fmla="*/ 11402 w 11401"/>
                      <a:gd name="connsiteY0" fmla="*/ 4181 h 8361"/>
                      <a:gd name="connsiteX1" fmla="*/ 5701 w 11401"/>
                      <a:gd name="connsiteY1" fmla="*/ 8361 h 8361"/>
                      <a:gd name="connsiteX2" fmla="*/ 0 w 11401"/>
                      <a:gd name="connsiteY2" fmla="*/ 4181 h 8361"/>
                      <a:gd name="connsiteX3" fmla="*/ 5701 w 11401"/>
                      <a:gd name="connsiteY3" fmla="*/ 0 h 8361"/>
                      <a:gd name="connsiteX4" fmla="*/ 11402 w 11401"/>
                      <a:gd name="connsiteY4" fmla="*/ 4181 h 8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1" h="8361">
                        <a:moveTo>
                          <a:pt x="11402" y="4181"/>
                        </a:moveTo>
                        <a:cubicBezTo>
                          <a:pt x="11402" y="6461"/>
                          <a:pt x="8868" y="8361"/>
                          <a:pt x="5701" y="8361"/>
                        </a:cubicBezTo>
                        <a:cubicBezTo>
                          <a:pt x="2534" y="8361"/>
                          <a:pt x="0" y="6461"/>
                          <a:pt x="0" y="4181"/>
                        </a:cubicBezTo>
                        <a:cubicBezTo>
                          <a:pt x="0" y="1900"/>
                          <a:pt x="2534" y="0"/>
                          <a:pt x="5701" y="0"/>
                        </a:cubicBezTo>
                        <a:cubicBezTo>
                          <a:pt x="8741" y="0"/>
                          <a:pt x="11402" y="1900"/>
                          <a:pt x="11402" y="41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34" name="Полилиния: фигура 633">
                    <a:extLst>
                      <a:ext uri="{FF2B5EF4-FFF2-40B4-BE49-F238E27FC236}">
                        <a16:creationId xmlns:a16="http://schemas.microsoft.com/office/drawing/2014/main" id="{C2781342-107C-4C4A-BFB8-D7E5C62671A6}"/>
                      </a:ext>
                    </a:extLst>
                  </p:cNvPr>
                  <p:cNvSpPr/>
                  <p:nvPr/>
                </p:nvSpPr>
                <p:spPr>
                  <a:xfrm>
                    <a:off x="3489806" y="2277166"/>
                    <a:ext cx="16215" cy="11401"/>
                  </a:xfrm>
                  <a:custGeom>
                    <a:avLst/>
                    <a:gdLst>
                      <a:gd name="connsiteX0" fmla="*/ 16215 w 16215"/>
                      <a:gd name="connsiteY0" fmla="*/ 5701 h 11401"/>
                      <a:gd name="connsiteX1" fmla="*/ 8108 w 16215"/>
                      <a:gd name="connsiteY1" fmla="*/ 11401 h 11401"/>
                      <a:gd name="connsiteX2" fmla="*/ 0 w 16215"/>
                      <a:gd name="connsiteY2" fmla="*/ 5701 h 11401"/>
                      <a:gd name="connsiteX3" fmla="*/ 8108 w 16215"/>
                      <a:gd name="connsiteY3" fmla="*/ 0 h 11401"/>
                      <a:gd name="connsiteX4" fmla="*/ 16215 w 16215"/>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15" h="11401">
                        <a:moveTo>
                          <a:pt x="16215" y="5701"/>
                        </a:moveTo>
                        <a:cubicBezTo>
                          <a:pt x="16215" y="8868"/>
                          <a:pt x="12541" y="11401"/>
                          <a:pt x="8108" y="11401"/>
                        </a:cubicBezTo>
                        <a:cubicBezTo>
                          <a:pt x="3674" y="11401"/>
                          <a:pt x="0" y="8868"/>
                          <a:pt x="0" y="5701"/>
                        </a:cubicBezTo>
                        <a:cubicBezTo>
                          <a:pt x="0" y="2534"/>
                          <a:pt x="3674" y="0"/>
                          <a:pt x="8108" y="0"/>
                        </a:cubicBezTo>
                        <a:cubicBezTo>
                          <a:pt x="12541" y="0"/>
                          <a:pt x="16215" y="2660"/>
                          <a:pt x="16215" y="57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35" name="Полилиния: фигура 634">
                    <a:extLst>
                      <a:ext uri="{FF2B5EF4-FFF2-40B4-BE49-F238E27FC236}">
                        <a16:creationId xmlns:a16="http://schemas.microsoft.com/office/drawing/2014/main" id="{1DE5628B-043A-4EC5-83BC-B7146D79585E}"/>
                      </a:ext>
                    </a:extLst>
                  </p:cNvPr>
                  <p:cNvSpPr/>
                  <p:nvPr/>
                </p:nvSpPr>
                <p:spPr>
                  <a:xfrm>
                    <a:off x="3513369" y="2205971"/>
                    <a:ext cx="10387" cy="11654"/>
                  </a:xfrm>
                  <a:custGeom>
                    <a:avLst/>
                    <a:gdLst>
                      <a:gd name="connsiteX0" fmla="*/ 10388 w 10387"/>
                      <a:gd name="connsiteY0" fmla="*/ 5827 h 11654"/>
                      <a:gd name="connsiteX1" fmla="*/ 5194 w 10387"/>
                      <a:gd name="connsiteY1" fmla="*/ 11655 h 11654"/>
                      <a:gd name="connsiteX2" fmla="*/ 0 w 10387"/>
                      <a:gd name="connsiteY2" fmla="*/ 5827 h 11654"/>
                      <a:gd name="connsiteX3" fmla="*/ 5194 w 10387"/>
                      <a:gd name="connsiteY3" fmla="*/ 0 h 11654"/>
                      <a:gd name="connsiteX4" fmla="*/ 10388 w 10387"/>
                      <a:gd name="connsiteY4" fmla="*/ 5827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87" h="11654">
                        <a:moveTo>
                          <a:pt x="10388" y="5827"/>
                        </a:moveTo>
                        <a:cubicBezTo>
                          <a:pt x="10388" y="8994"/>
                          <a:pt x="8108" y="11655"/>
                          <a:pt x="5194" y="11655"/>
                        </a:cubicBezTo>
                        <a:cubicBezTo>
                          <a:pt x="2280" y="11655"/>
                          <a:pt x="0" y="8994"/>
                          <a:pt x="0" y="5827"/>
                        </a:cubicBezTo>
                        <a:cubicBezTo>
                          <a:pt x="0" y="2660"/>
                          <a:pt x="2280" y="0"/>
                          <a:pt x="5194" y="0"/>
                        </a:cubicBezTo>
                        <a:cubicBezTo>
                          <a:pt x="8108" y="0"/>
                          <a:pt x="10388" y="2660"/>
                          <a:pt x="10388" y="582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36" name="Полилиния: фигура 635">
                    <a:extLst>
                      <a:ext uri="{FF2B5EF4-FFF2-40B4-BE49-F238E27FC236}">
                        <a16:creationId xmlns:a16="http://schemas.microsoft.com/office/drawing/2014/main" id="{6235DAD6-57F8-40BD-8920-1AEB544512CA}"/>
                      </a:ext>
                    </a:extLst>
                  </p:cNvPr>
                  <p:cNvSpPr/>
                  <p:nvPr/>
                </p:nvSpPr>
                <p:spPr>
                  <a:xfrm>
                    <a:off x="3537692" y="2179241"/>
                    <a:ext cx="9881" cy="12414"/>
                  </a:xfrm>
                  <a:custGeom>
                    <a:avLst/>
                    <a:gdLst>
                      <a:gd name="connsiteX0" fmla="*/ 9881 w 9881"/>
                      <a:gd name="connsiteY0" fmla="*/ 6207 h 12414"/>
                      <a:gd name="connsiteX1" fmla="*/ 4941 w 9881"/>
                      <a:gd name="connsiteY1" fmla="*/ 12415 h 12414"/>
                      <a:gd name="connsiteX2" fmla="*/ 0 w 9881"/>
                      <a:gd name="connsiteY2" fmla="*/ 6207 h 12414"/>
                      <a:gd name="connsiteX3" fmla="*/ 4941 w 9881"/>
                      <a:gd name="connsiteY3" fmla="*/ 0 h 12414"/>
                      <a:gd name="connsiteX4" fmla="*/ 9881 w 9881"/>
                      <a:gd name="connsiteY4" fmla="*/ 6207 h 12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1" h="12414">
                        <a:moveTo>
                          <a:pt x="9881" y="6207"/>
                        </a:moveTo>
                        <a:cubicBezTo>
                          <a:pt x="9881" y="9628"/>
                          <a:pt x="7601" y="12415"/>
                          <a:pt x="4941" y="12415"/>
                        </a:cubicBezTo>
                        <a:cubicBezTo>
                          <a:pt x="2280" y="12415"/>
                          <a:pt x="0" y="9628"/>
                          <a:pt x="0" y="6207"/>
                        </a:cubicBezTo>
                        <a:cubicBezTo>
                          <a:pt x="0" y="2787"/>
                          <a:pt x="2154" y="0"/>
                          <a:pt x="4941" y="0"/>
                        </a:cubicBezTo>
                        <a:cubicBezTo>
                          <a:pt x="7728" y="0"/>
                          <a:pt x="9881" y="2787"/>
                          <a:pt x="9881" y="620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grpSp>
        <p:grpSp>
          <p:nvGrpSpPr>
            <p:cNvPr id="637" name="Рисунок 388">
              <a:extLst>
                <a:ext uri="{FF2B5EF4-FFF2-40B4-BE49-F238E27FC236}">
                  <a16:creationId xmlns:a16="http://schemas.microsoft.com/office/drawing/2014/main" id="{1DA397FD-DC6E-439E-BB40-D0F80476817D}"/>
                </a:ext>
              </a:extLst>
            </p:cNvPr>
            <p:cNvGrpSpPr/>
            <p:nvPr/>
          </p:nvGrpSpPr>
          <p:grpSpPr>
            <a:xfrm>
              <a:off x="5099560" y="869651"/>
              <a:ext cx="1470371" cy="1674258"/>
              <a:chOff x="5099560" y="869651"/>
              <a:chExt cx="1470371" cy="1674258"/>
            </a:xfrm>
            <a:solidFill>
              <a:srgbClr val="E3E8EC"/>
            </a:solidFill>
          </p:grpSpPr>
          <p:sp>
            <p:nvSpPr>
              <p:cNvPr id="638" name="Полилиния: фигура 637">
                <a:extLst>
                  <a:ext uri="{FF2B5EF4-FFF2-40B4-BE49-F238E27FC236}">
                    <a16:creationId xmlns:a16="http://schemas.microsoft.com/office/drawing/2014/main" id="{3680ABAE-4C73-4D3A-AF74-C34D75CD6259}"/>
                  </a:ext>
                </a:extLst>
              </p:cNvPr>
              <p:cNvSpPr/>
              <p:nvPr/>
            </p:nvSpPr>
            <p:spPr>
              <a:xfrm>
                <a:off x="5099560" y="2368758"/>
                <a:ext cx="10894" cy="18749"/>
              </a:xfrm>
              <a:custGeom>
                <a:avLst/>
                <a:gdLst>
                  <a:gd name="connsiteX0" fmla="*/ 5447 w 10894"/>
                  <a:gd name="connsiteY0" fmla="*/ 0 h 18749"/>
                  <a:gd name="connsiteX1" fmla="*/ 0 w 10894"/>
                  <a:gd name="connsiteY1" fmla="*/ 9375 h 18749"/>
                  <a:gd name="connsiteX2" fmla="*/ 5447 w 10894"/>
                  <a:gd name="connsiteY2" fmla="*/ 18749 h 18749"/>
                  <a:gd name="connsiteX3" fmla="*/ 10895 w 10894"/>
                  <a:gd name="connsiteY3" fmla="*/ 9375 h 18749"/>
                  <a:gd name="connsiteX4" fmla="*/ 5447 w 10894"/>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8749">
                    <a:moveTo>
                      <a:pt x="5447" y="0"/>
                    </a:moveTo>
                    <a:cubicBezTo>
                      <a:pt x="2407" y="0"/>
                      <a:pt x="0" y="4181"/>
                      <a:pt x="0" y="9375"/>
                    </a:cubicBezTo>
                    <a:cubicBezTo>
                      <a:pt x="0" y="14569"/>
                      <a:pt x="2407" y="18749"/>
                      <a:pt x="5447" y="18749"/>
                    </a:cubicBezTo>
                    <a:cubicBezTo>
                      <a:pt x="8488" y="18749"/>
                      <a:pt x="10895" y="14569"/>
                      <a:pt x="10895" y="9375"/>
                    </a:cubicBezTo>
                    <a:cubicBezTo>
                      <a:pt x="10895" y="430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39" name="Полилиния: фигура 638">
                <a:extLst>
                  <a:ext uri="{FF2B5EF4-FFF2-40B4-BE49-F238E27FC236}">
                    <a16:creationId xmlns:a16="http://schemas.microsoft.com/office/drawing/2014/main" id="{751C082C-D871-4D30-9E2A-78D1018B7775}"/>
                  </a:ext>
                </a:extLst>
              </p:cNvPr>
              <p:cNvSpPr/>
              <p:nvPr/>
            </p:nvSpPr>
            <p:spPr>
              <a:xfrm>
                <a:off x="5139719" y="2290595"/>
                <a:ext cx="8867" cy="11401"/>
              </a:xfrm>
              <a:custGeom>
                <a:avLst/>
                <a:gdLst>
                  <a:gd name="connsiteX0" fmla="*/ 8868 w 8867"/>
                  <a:gd name="connsiteY0" fmla="*/ 5701 h 11401"/>
                  <a:gd name="connsiteX1" fmla="*/ 4434 w 8867"/>
                  <a:gd name="connsiteY1" fmla="*/ 0 h 11401"/>
                  <a:gd name="connsiteX2" fmla="*/ 0 w 8867"/>
                  <a:gd name="connsiteY2" fmla="*/ 5701 h 11401"/>
                  <a:gd name="connsiteX3" fmla="*/ 4434 w 8867"/>
                  <a:gd name="connsiteY3" fmla="*/ 11402 h 11401"/>
                  <a:gd name="connsiteX4" fmla="*/ 8868 w 8867"/>
                  <a:gd name="connsiteY4" fmla="*/ 5701 h 11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7" h="11401">
                    <a:moveTo>
                      <a:pt x="8868" y="5701"/>
                    </a:moveTo>
                    <a:cubicBezTo>
                      <a:pt x="8868" y="2534"/>
                      <a:pt x="6841" y="0"/>
                      <a:pt x="4434" y="0"/>
                    </a:cubicBezTo>
                    <a:cubicBezTo>
                      <a:pt x="2027" y="0"/>
                      <a:pt x="0" y="2534"/>
                      <a:pt x="0" y="5701"/>
                    </a:cubicBezTo>
                    <a:cubicBezTo>
                      <a:pt x="0" y="8868"/>
                      <a:pt x="2027" y="11402"/>
                      <a:pt x="4434" y="11402"/>
                    </a:cubicBezTo>
                    <a:cubicBezTo>
                      <a:pt x="6841" y="11402"/>
                      <a:pt x="8868" y="8868"/>
                      <a:pt x="8868" y="57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0" name="Полилиния: фигура 639">
                <a:extLst>
                  <a:ext uri="{FF2B5EF4-FFF2-40B4-BE49-F238E27FC236}">
                    <a16:creationId xmlns:a16="http://schemas.microsoft.com/office/drawing/2014/main" id="{54383B59-4AED-40B3-BCEA-E29B739DC485}"/>
                  </a:ext>
                </a:extLst>
              </p:cNvPr>
              <p:cNvSpPr/>
              <p:nvPr/>
            </p:nvSpPr>
            <p:spPr>
              <a:xfrm>
                <a:off x="5121350" y="2138322"/>
                <a:ext cx="13935" cy="17228"/>
              </a:xfrm>
              <a:custGeom>
                <a:avLst/>
                <a:gdLst>
                  <a:gd name="connsiteX0" fmla="*/ 6967 w 13935"/>
                  <a:gd name="connsiteY0" fmla="*/ 17229 h 17228"/>
                  <a:gd name="connsiteX1" fmla="*/ 13935 w 13935"/>
                  <a:gd name="connsiteY1" fmla="*/ 8615 h 17228"/>
                  <a:gd name="connsiteX2" fmla="*/ 6967 w 13935"/>
                  <a:gd name="connsiteY2" fmla="*/ 0 h 17228"/>
                  <a:gd name="connsiteX3" fmla="*/ 0 w 13935"/>
                  <a:gd name="connsiteY3" fmla="*/ 8615 h 17228"/>
                  <a:gd name="connsiteX4" fmla="*/ 6967 w 13935"/>
                  <a:gd name="connsiteY4" fmla="*/ 17229 h 17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35" h="17228">
                    <a:moveTo>
                      <a:pt x="6967" y="17229"/>
                    </a:moveTo>
                    <a:cubicBezTo>
                      <a:pt x="10768" y="17229"/>
                      <a:pt x="13935" y="13302"/>
                      <a:pt x="13935" y="8615"/>
                    </a:cubicBezTo>
                    <a:cubicBezTo>
                      <a:pt x="13935" y="3801"/>
                      <a:pt x="10895" y="0"/>
                      <a:pt x="6967" y="0"/>
                    </a:cubicBezTo>
                    <a:cubicBezTo>
                      <a:pt x="3167" y="0"/>
                      <a:pt x="0" y="3927"/>
                      <a:pt x="0" y="8615"/>
                    </a:cubicBezTo>
                    <a:cubicBezTo>
                      <a:pt x="0" y="13302"/>
                      <a:pt x="3167" y="17229"/>
                      <a:pt x="6967" y="1722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1" name="Полилиния: фигура 640">
                <a:extLst>
                  <a:ext uri="{FF2B5EF4-FFF2-40B4-BE49-F238E27FC236}">
                    <a16:creationId xmlns:a16="http://schemas.microsoft.com/office/drawing/2014/main" id="{21227E50-6255-4F2C-91EE-8FEA0252C4C3}"/>
                  </a:ext>
                </a:extLst>
              </p:cNvPr>
              <p:cNvSpPr/>
              <p:nvPr/>
            </p:nvSpPr>
            <p:spPr>
              <a:xfrm>
                <a:off x="5099789" y="2267103"/>
                <a:ext cx="33344" cy="65769"/>
              </a:xfrm>
              <a:custGeom>
                <a:avLst/>
                <a:gdLst>
                  <a:gd name="connsiteX0" fmla="*/ 29668 w 33344"/>
                  <a:gd name="connsiteY0" fmla="*/ 14117 h 65769"/>
                  <a:gd name="connsiteX1" fmla="*/ 6105 w 33344"/>
                  <a:gd name="connsiteY1" fmla="*/ 1955 h 65769"/>
                  <a:gd name="connsiteX2" fmla="*/ 4078 w 33344"/>
                  <a:gd name="connsiteY2" fmla="*/ 26532 h 65769"/>
                  <a:gd name="connsiteX3" fmla="*/ 2178 w 33344"/>
                  <a:gd name="connsiteY3" fmla="*/ 48068 h 65769"/>
                  <a:gd name="connsiteX4" fmla="*/ 4205 w 33344"/>
                  <a:gd name="connsiteY4" fmla="*/ 64157 h 65769"/>
                  <a:gd name="connsiteX5" fmla="*/ 30808 w 33344"/>
                  <a:gd name="connsiteY5" fmla="*/ 43127 h 65769"/>
                  <a:gd name="connsiteX6" fmla="*/ 29668 w 33344"/>
                  <a:gd name="connsiteY6" fmla="*/ 14117 h 6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44" h="65769">
                    <a:moveTo>
                      <a:pt x="29668" y="14117"/>
                    </a:moveTo>
                    <a:cubicBezTo>
                      <a:pt x="26375" y="6009"/>
                      <a:pt x="15353" y="-4379"/>
                      <a:pt x="6105" y="1955"/>
                    </a:cubicBezTo>
                    <a:cubicBezTo>
                      <a:pt x="-2129" y="7530"/>
                      <a:pt x="2431" y="18931"/>
                      <a:pt x="4078" y="26532"/>
                    </a:cubicBezTo>
                    <a:cubicBezTo>
                      <a:pt x="5852" y="34386"/>
                      <a:pt x="5852" y="40974"/>
                      <a:pt x="2178" y="48068"/>
                    </a:cubicBezTo>
                    <a:cubicBezTo>
                      <a:pt x="-482" y="53135"/>
                      <a:pt x="-1622" y="60610"/>
                      <a:pt x="4205" y="64157"/>
                    </a:cubicBezTo>
                    <a:cubicBezTo>
                      <a:pt x="16493" y="71504"/>
                      <a:pt x="26501" y="51868"/>
                      <a:pt x="30808" y="43127"/>
                    </a:cubicBezTo>
                    <a:cubicBezTo>
                      <a:pt x="35242" y="34006"/>
                      <a:pt x="33215" y="23111"/>
                      <a:pt x="29668" y="1411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2" name="Полилиния: фигура 641">
                <a:extLst>
                  <a:ext uri="{FF2B5EF4-FFF2-40B4-BE49-F238E27FC236}">
                    <a16:creationId xmlns:a16="http://schemas.microsoft.com/office/drawing/2014/main" id="{5DC6B968-7255-493F-B8DF-1A706E2C18A5}"/>
                  </a:ext>
                </a:extLst>
              </p:cNvPr>
              <p:cNvSpPr/>
              <p:nvPr/>
            </p:nvSpPr>
            <p:spPr>
              <a:xfrm>
                <a:off x="5101551" y="2057231"/>
                <a:ext cx="379360" cy="486678"/>
              </a:xfrm>
              <a:custGeom>
                <a:avLst/>
                <a:gdLst>
                  <a:gd name="connsiteX0" fmla="*/ 338151 w 379360"/>
                  <a:gd name="connsiteY0" fmla="*/ 36372 h 486678"/>
                  <a:gd name="connsiteX1" fmla="*/ 317249 w 379360"/>
                  <a:gd name="connsiteY1" fmla="*/ 18637 h 486678"/>
                  <a:gd name="connsiteX2" fmla="*/ 292292 w 379360"/>
                  <a:gd name="connsiteY2" fmla="*/ 2928 h 486678"/>
                  <a:gd name="connsiteX3" fmla="*/ 261255 w 379360"/>
                  <a:gd name="connsiteY3" fmla="*/ 2041 h 486678"/>
                  <a:gd name="connsiteX4" fmla="*/ 247827 w 379360"/>
                  <a:gd name="connsiteY4" fmla="*/ 8882 h 486678"/>
                  <a:gd name="connsiteX5" fmla="*/ 239212 w 379360"/>
                  <a:gd name="connsiteY5" fmla="*/ 22057 h 486678"/>
                  <a:gd name="connsiteX6" fmla="*/ 211215 w 379360"/>
                  <a:gd name="connsiteY6" fmla="*/ 23071 h 486678"/>
                  <a:gd name="connsiteX7" fmla="*/ 187273 w 379360"/>
                  <a:gd name="connsiteY7" fmla="*/ 9515 h 486678"/>
                  <a:gd name="connsiteX8" fmla="*/ 175364 w 379360"/>
                  <a:gd name="connsiteY8" fmla="*/ 33205 h 486678"/>
                  <a:gd name="connsiteX9" fmla="*/ 191327 w 379360"/>
                  <a:gd name="connsiteY9" fmla="*/ 52207 h 486678"/>
                  <a:gd name="connsiteX10" fmla="*/ 183472 w 379360"/>
                  <a:gd name="connsiteY10" fmla="*/ 62975 h 486678"/>
                  <a:gd name="connsiteX11" fmla="*/ 175491 w 379360"/>
                  <a:gd name="connsiteY11" fmla="*/ 72603 h 486678"/>
                  <a:gd name="connsiteX12" fmla="*/ 145848 w 379360"/>
                  <a:gd name="connsiteY12" fmla="*/ 81851 h 486678"/>
                  <a:gd name="connsiteX13" fmla="*/ 122918 w 379360"/>
                  <a:gd name="connsiteY13" fmla="*/ 106934 h 486678"/>
                  <a:gd name="connsiteX14" fmla="*/ 94541 w 379360"/>
                  <a:gd name="connsiteY14" fmla="*/ 113268 h 486678"/>
                  <a:gd name="connsiteX15" fmla="*/ 79592 w 379360"/>
                  <a:gd name="connsiteY15" fmla="*/ 99333 h 486678"/>
                  <a:gd name="connsiteX16" fmla="*/ 68191 w 379360"/>
                  <a:gd name="connsiteY16" fmla="*/ 84258 h 486678"/>
                  <a:gd name="connsiteX17" fmla="*/ 34240 w 379360"/>
                  <a:gd name="connsiteY17" fmla="*/ 111875 h 486678"/>
                  <a:gd name="connsiteX18" fmla="*/ 4343 w 379360"/>
                  <a:gd name="connsiteY18" fmla="*/ 159507 h 486678"/>
                  <a:gd name="connsiteX19" fmla="*/ 12324 w 379360"/>
                  <a:gd name="connsiteY19" fmla="*/ 194092 h 486678"/>
                  <a:gd name="connsiteX20" fmla="*/ 31073 w 379360"/>
                  <a:gd name="connsiteY20" fmla="*/ 190418 h 486678"/>
                  <a:gd name="connsiteX21" fmla="*/ 41081 w 379360"/>
                  <a:gd name="connsiteY21" fmla="*/ 203086 h 486678"/>
                  <a:gd name="connsiteX22" fmla="*/ 41588 w 379360"/>
                  <a:gd name="connsiteY22" fmla="*/ 202073 h 486678"/>
                  <a:gd name="connsiteX23" fmla="*/ 41588 w 379360"/>
                  <a:gd name="connsiteY23" fmla="*/ 201059 h 486678"/>
                  <a:gd name="connsiteX24" fmla="*/ 56283 w 379360"/>
                  <a:gd name="connsiteY24" fmla="*/ 224242 h 486678"/>
                  <a:gd name="connsiteX25" fmla="*/ 64137 w 379360"/>
                  <a:gd name="connsiteY25" fmla="*/ 235517 h 486678"/>
                  <a:gd name="connsiteX26" fmla="*/ 65150 w 379360"/>
                  <a:gd name="connsiteY26" fmla="*/ 245905 h 486678"/>
                  <a:gd name="connsiteX27" fmla="*/ 70344 w 379360"/>
                  <a:gd name="connsiteY27" fmla="*/ 255026 h 486678"/>
                  <a:gd name="connsiteX28" fmla="*/ 77185 w 379360"/>
                  <a:gd name="connsiteY28" fmla="*/ 262374 h 486678"/>
                  <a:gd name="connsiteX29" fmla="*/ 57296 w 379360"/>
                  <a:gd name="connsiteY29" fmla="*/ 271368 h 486678"/>
                  <a:gd name="connsiteX30" fmla="*/ 63504 w 379360"/>
                  <a:gd name="connsiteY30" fmla="*/ 296831 h 486678"/>
                  <a:gd name="connsiteX31" fmla="*/ 55396 w 379360"/>
                  <a:gd name="connsiteY31" fmla="*/ 299872 h 486678"/>
                  <a:gd name="connsiteX32" fmla="*/ 32593 w 379360"/>
                  <a:gd name="connsiteY32" fmla="*/ 299492 h 486678"/>
                  <a:gd name="connsiteX33" fmla="*/ 23599 w 379360"/>
                  <a:gd name="connsiteY33" fmla="*/ 328502 h 486678"/>
                  <a:gd name="connsiteX34" fmla="*/ 31706 w 379360"/>
                  <a:gd name="connsiteY34" fmla="*/ 352445 h 486678"/>
                  <a:gd name="connsiteX35" fmla="*/ 46655 w 379360"/>
                  <a:gd name="connsiteY35" fmla="*/ 374361 h 486678"/>
                  <a:gd name="connsiteX36" fmla="*/ 40828 w 379360"/>
                  <a:gd name="connsiteY36" fmla="*/ 402738 h 486678"/>
                  <a:gd name="connsiteX37" fmla="*/ 58310 w 379360"/>
                  <a:gd name="connsiteY37" fmla="*/ 413759 h 486678"/>
                  <a:gd name="connsiteX38" fmla="*/ 81873 w 379360"/>
                  <a:gd name="connsiteY38" fmla="*/ 417813 h 486678"/>
                  <a:gd name="connsiteX39" fmla="*/ 101382 w 379360"/>
                  <a:gd name="connsiteY39" fmla="*/ 438969 h 486678"/>
                  <a:gd name="connsiteX40" fmla="*/ 125071 w 379360"/>
                  <a:gd name="connsiteY40" fmla="*/ 449230 h 486678"/>
                  <a:gd name="connsiteX41" fmla="*/ 146734 w 379360"/>
                  <a:gd name="connsiteY41" fmla="*/ 482168 h 486678"/>
                  <a:gd name="connsiteX42" fmla="*/ 173084 w 379360"/>
                  <a:gd name="connsiteY42" fmla="*/ 482675 h 486678"/>
                  <a:gd name="connsiteX43" fmla="*/ 180052 w 379360"/>
                  <a:gd name="connsiteY43" fmla="*/ 461138 h 486678"/>
                  <a:gd name="connsiteX44" fmla="*/ 177518 w 379360"/>
                  <a:gd name="connsiteY44" fmla="*/ 435169 h 486678"/>
                  <a:gd name="connsiteX45" fmla="*/ 177011 w 379360"/>
                  <a:gd name="connsiteY45" fmla="*/ 403498 h 486678"/>
                  <a:gd name="connsiteX46" fmla="*/ 173844 w 379360"/>
                  <a:gd name="connsiteY46" fmla="*/ 383609 h 486678"/>
                  <a:gd name="connsiteX47" fmla="*/ 176378 w 379360"/>
                  <a:gd name="connsiteY47" fmla="*/ 370054 h 486678"/>
                  <a:gd name="connsiteX48" fmla="*/ 181699 w 379360"/>
                  <a:gd name="connsiteY48" fmla="*/ 328882 h 486678"/>
                  <a:gd name="connsiteX49" fmla="*/ 198928 w 379360"/>
                  <a:gd name="connsiteY49" fmla="*/ 269215 h 486678"/>
                  <a:gd name="connsiteX50" fmla="*/ 199688 w 379360"/>
                  <a:gd name="connsiteY50" fmla="*/ 241598 h 486678"/>
                  <a:gd name="connsiteX51" fmla="*/ 223504 w 379360"/>
                  <a:gd name="connsiteY51" fmla="*/ 221962 h 486678"/>
                  <a:gd name="connsiteX52" fmla="*/ 239212 w 379360"/>
                  <a:gd name="connsiteY52" fmla="*/ 213347 h 486678"/>
                  <a:gd name="connsiteX53" fmla="*/ 253781 w 379360"/>
                  <a:gd name="connsiteY53" fmla="*/ 208027 h 486678"/>
                  <a:gd name="connsiteX54" fmla="*/ 262142 w 379360"/>
                  <a:gd name="connsiteY54" fmla="*/ 177243 h 486678"/>
                  <a:gd name="connsiteX55" fmla="*/ 264295 w 379360"/>
                  <a:gd name="connsiteY55" fmla="*/ 166982 h 486678"/>
                  <a:gd name="connsiteX56" fmla="*/ 272403 w 379360"/>
                  <a:gd name="connsiteY56" fmla="*/ 169135 h 486678"/>
                  <a:gd name="connsiteX57" fmla="*/ 289252 w 379360"/>
                  <a:gd name="connsiteY57" fmla="*/ 161154 h 486678"/>
                  <a:gd name="connsiteX58" fmla="*/ 309268 w 379360"/>
                  <a:gd name="connsiteY58" fmla="*/ 157734 h 486678"/>
                  <a:gd name="connsiteX59" fmla="*/ 325483 w 379360"/>
                  <a:gd name="connsiteY59" fmla="*/ 138858 h 486678"/>
                  <a:gd name="connsiteX60" fmla="*/ 343472 w 379360"/>
                  <a:gd name="connsiteY60" fmla="*/ 140758 h 486678"/>
                  <a:gd name="connsiteX61" fmla="*/ 344992 w 379360"/>
                  <a:gd name="connsiteY61" fmla="*/ 114155 h 486678"/>
                  <a:gd name="connsiteX62" fmla="*/ 379196 w 379360"/>
                  <a:gd name="connsiteY62" fmla="*/ 91352 h 486678"/>
                  <a:gd name="connsiteX63" fmla="*/ 338151 w 379360"/>
                  <a:gd name="connsiteY63" fmla="*/ 36372 h 4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79360" h="486678">
                    <a:moveTo>
                      <a:pt x="338151" y="36372"/>
                    </a:moveTo>
                    <a:cubicBezTo>
                      <a:pt x="331311" y="30038"/>
                      <a:pt x="325356" y="23451"/>
                      <a:pt x="317249" y="18637"/>
                    </a:cubicBezTo>
                    <a:cubicBezTo>
                      <a:pt x="309141" y="13823"/>
                      <a:pt x="301414" y="5335"/>
                      <a:pt x="292292" y="2928"/>
                    </a:cubicBezTo>
                    <a:cubicBezTo>
                      <a:pt x="282284" y="268"/>
                      <a:pt x="271263" y="-1633"/>
                      <a:pt x="261255" y="2041"/>
                    </a:cubicBezTo>
                    <a:cubicBezTo>
                      <a:pt x="256695" y="3688"/>
                      <a:pt x="251374" y="5588"/>
                      <a:pt x="247827" y="8882"/>
                    </a:cubicBezTo>
                    <a:cubicBezTo>
                      <a:pt x="243900" y="12556"/>
                      <a:pt x="242633" y="18003"/>
                      <a:pt x="239212" y="22057"/>
                    </a:cubicBezTo>
                    <a:cubicBezTo>
                      <a:pt x="231611" y="30925"/>
                      <a:pt x="219703" y="29658"/>
                      <a:pt x="211215" y="23071"/>
                    </a:cubicBezTo>
                    <a:cubicBezTo>
                      <a:pt x="203995" y="17370"/>
                      <a:pt x="198167" y="6095"/>
                      <a:pt x="187273" y="9515"/>
                    </a:cubicBezTo>
                    <a:cubicBezTo>
                      <a:pt x="179418" y="12049"/>
                      <a:pt x="171057" y="25224"/>
                      <a:pt x="175364" y="33205"/>
                    </a:cubicBezTo>
                    <a:cubicBezTo>
                      <a:pt x="179672" y="41439"/>
                      <a:pt x="194747" y="39919"/>
                      <a:pt x="191327" y="52207"/>
                    </a:cubicBezTo>
                    <a:cubicBezTo>
                      <a:pt x="190060" y="56768"/>
                      <a:pt x="186639" y="59682"/>
                      <a:pt x="183472" y="62975"/>
                    </a:cubicBezTo>
                    <a:cubicBezTo>
                      <a:pt x="180558" y="65889"/>
                      <a:pt x="178405" y="69563"/>
                      <a:pt x="175491" y="72603"/>
                    </a:cubicBezTo>
                    <a:cubicBezTo>
                      <a:pt x="166876" y="81471"/>
                      <a:pt x="155982" y="77417"/>
                      <a:pt x="145848" y="81851"/>
                    </a:cubicBezTo>
                    <a:cubicBezTo>
                      <a:pt x="135079" y="86665"/>
                      <a:pt x="132419" y="100474"/>
                      <a:pt x="122918" y="106934"/>
                    </a:cubicBezTo>
                    <a:cubicBezTo>
                      <a:pt x="114430" y="112635"/>
                      <a:pt x="104296" y="112255"/>
                      <a:pt x="94541" y="113268"/>
                    </a:cubicBezTo>
                    <a:cubicBezTo>
                      <a:pt x="85293" y="114155"/>
                      <a:pt x="81746" y="107821"/>
                      <a:pt x="79592" y="99333"/>
                    </a:cubicBezTo>
                    <a:cubicBezTo>
                      <a:pt x="77819" y="92746"/>
                      <a:pt x="76805" y="83751"/>
                      <a:pt x="68191" y="84258"/>
                    </a:cubicBezTo>
                    <a:cubicBezTo>
                      <a:pt x="53749" y="85018"/>
                      <a:pt x="42601" y="102120"/>
                      <a:pt x="34240" y="111875"/>
                    </a:cubicBezTo>
                    <a:cubicBezTo>
                      <a:pt x="21572" y="126697"/>
                      <a:pt x="11310" y="141012"/>
                      <a:pt x="4343" y="159507"/>
                    </a:cubicBezTo>
                    <a:cubicBezTo>
                      <a:pt x="163" y="170656"/>
                      <a:pt x="-5665" y="191811"/>
                      <a:pt x="12324" y="194092"/>
                    </a:cubicBezTo>
                    <a:cubicBezTo>
                      <a:pt x="19038" y="194852"/>
                      <a:pt x="24612" y="190545"/>
                      <a:pt x="31073" y="190418"/>
                    </a:cubicBezTo>
                    <a:cubicBezTo>
                      <a:pt x="38041" y="190291"/>
                      <a:pt x="39561" y="197639"/>
                      <a:pt x="41081" y="203086"/>
                    </a:cubicBezTo>
                    <a:cubicBezTo>
                      <a:pt x="41841" y="202833"/>
                      <a:pt x="41334" y="202580"/>
                      <a:pt x="41588" y="202073"/>
                    </a:cubicBezTo>
                    <a:lnTo>
                      <a:pt x="41588" y="201059"/>
                    </a:lnTo>
                    <a:cubicBezTo>
                      <a:pt x="42601" y="211574"/>
                      <a:pt x="49315" y="217148"/>
                      <a:pt x="56283" y="224242"/>
                    </a:cubicBezTo>
                    <a:cubicBezTo>
                      <a:pt x="59577" y="227536"/>
                      <a:pt x="62870" y="231083"/>
                      <a:pt x="64137" y="235517"/>
                    </a:cubicBezTo>
                    <a:cubicBezTo>
                      <a:pt x="65150" y="238937"/>
                      <a:pt x="64517" y="242484"/>
                      <a:pt x="65150" y="245905"/>
                    </a:cubicBezTo>
                    <a:cubicBezTo>
                      <a:pt x="65784" y="249579"/>
                      <a:pt x="67811" y="252366"/>
                      <a:pt x="70344" y="255026"/>
                    </a:cubicBezTo>
                    <a:cubicBezTo>
                      <a:pt x="71991" y="256800"/>
                      <a:pt x="77059" y="259713"/>
                      <a:pt x="77185" y="262374"/>
                    </a:cubicBezTo>
                    <a:cubicBezTo>
                      <a:pt x="77565" y="268201"/>
                      <a:pt x="61097" y="268454"/>
                      <a:pt x="57296" y="271368"/>
                    </a:cubicBezTo>
                    <a:cubicBezTo>
                      <a:pt x="49062" y="277576"/>
                      <a:pt x="60337" y="290370"/>
                      <a:pt x="63504" y="296831"/>
                    </a:cubicBezTo>
                    <a:cubicBezTo>
                      <a:pt x="68698" y="307473"/>
                      <a:pt x="61857" y="304306"/>
                      <a:pt x="55396" y="299872"/>
                    </a:cubicBezTo>
                    <a:cubicBezTo>
                      <a:pt x="47415" y="294424"/>
                      <a:pt x="39561" y="290624"/>
                      <a:pt x="32593" y="299492"/>
                    </a:cubicBezTo>
                    <a:cubicBezTo>
                      <a:pt x="26386" y="307346"/>
                      <a:pt x="23219" y="318747"/>
                      <a:pt x="23599" y="328502"/>
                    </a:cubicBezTo>
                    <a:cubicBezTo>
                      <a:pt x="23852" y="337116"/>
                      <a:pt x="27019" y="345351"/>
                      <a:pt x="31706" y="352445"/>
                    </a:cubicBezTo>
                    <a:cubicBezTo>
                      <a:pt x="36267" y="359412"/>
                      <a:pt x="45008" y="365873"/>
                      <a:pt x="46655" y="374361"/>
                    </a:cubicBezTo>
                    <a:cubicBezTo>
                      <a:pt x="48555" y="383989"/>
                      <a:pt x="41334" y="393237"/>
                      <a:pt x="40828" y="402738"/>
                    </a:cubicBezTo>
                    <a:cubicBezTo>
                      <a:pt x="40194" y="414013"/>
                      <a:pt x="49062" y="415659"/>
                      <a:pt x="58310" y="413759"/>
                    </a:cubicBezTo>
                    <a:cubicBezTo>
                      <a:pt x="67557" y="411859"/>
                      <a:pt x="75412" y="408945"/>
                      <a:pt x="81873" y="417813"/>
                    </a:cubicBezTo>
                    <a:cubicBezTo>
                      <a:pt x="87700" y="425921"/>
                      <a:pt x="90867" y="435929"/>
                      <a:pt x="101382" y="438969"/>
                    </a:cubicBezTo>
                    <a:cubicBezTo>
                      <a:pt x="110883" y="441756"/>
                      <a:pt x="118864" y="439856"/>
                      <a:pt x="125071" y="449230"/>
                    </a:cubicBezTo>
                    <a:cubicBezTo>
                      <a:pt x="132419" y="460125"/>
                      <a:pt x="135333" y="474187"/>
                      <a:pt x="146734" y="482168"/>
                    </a:cubicBezTo>
                    <a:cubicBezTo>
                      <a:pt x="154208" y="487362"/>
                      <a:pt x="165483" y="488755"/>
                      <a:pt x="173084" y="482675"/>
                    </a:cubicBezTo>
                    <a:cubicBezTo>
                      <a:pt x="179418" y="477607"/>
                      <a:pt x="180178" y="468613"/>
                      <a:pt x="180052" y="461138"/>
                    </a:cubicBezTo>
                    <a:cubicBezTo>
                      <a:pt x="180052" y="452397"/>
                      <a:pt x="177771" y="443910"/>
                      <a:pt x="177518" y="435169"/>
                    </a:cubicBezTo>
                    <a:cubicBezTo>
                      <a:pt x="177138" y="424527"/>
                      <a:pt x="178531" y="414139"/>
                      <a:pt x="177011" y="403498"/>
                    </a:cubicBezTo>
                    <a:cubicBezTo>
                      <a:pt x="175998" y="397037"/>
                      <a:pt x="173337" y="390196"/>
                      <a:pt x="173844" y="383609"/>
                    </a:cubicBezTo>
                    <a:cubicBezTo>
                      <a:pt x="174224" y="379048"/>
                      <a:pt x="175998" y="374614"/>
                      <a:pt x="176378" y="370054"/>
                    </a:cubicBezTo>
                    <a:cubicBezTo>
                      <a:pt x="177518" y="356119"/>
                      <a:pt x="175744" y="341930"/>
                      <a:pt x="181699" y="328882"/>
                    </a:cubicBezTo>
                    <a:cubicBezTo>
                      <a:pt x="190186" y="310766"/>
                      <a:pt x="201968" y="289990"/>
                      <a:pt x="198928" y="269215"/>
                    </a:cubicBezTo>
                    <a:cubicBezTo>
                      <a:pt x="197661" y="260220"/>
                      <a:pt x="195000" y="250086"/>
                      <a:pt x="199688" y="241598"/>
                    </a:cubicBezTo>
                    <a:cubicBezTo>
                      <a:pt x="204375" y="232983"/>
                      <a:pt x="215649" y="227283"/>
                      <a:pt x="223504" y="221962"/>
                    </a:cubicBezTo>
                    <a:cubicBezTo>
                      <a:pt x="228444" y="218668"/>
                      <a:pt x="233638" y="215501"/>
                      <a:pt x="239212" y="213347"/>
                    </a:cubicBezTo>
                    <a:cubicBezTo>
                      <a:pt x="243900" y="211447"/>
                      <a:pt x="249220" y="210560"/>
                      <a:pt x="253781" y="208027"/>
                    </a:cubicBezTo>
                    <a:cubicBezTo>
                      <a:pt x="264422" y="202073"/>
                      <a:pt x="262269" y="187631"/>
                      <a:pt x="262142" y="177243"/>
                    </a:cubicBezTo>
                    <a:cubicBezTo>
                      <a:pt x="262142" y="174583"/>
                      <a:pt x="261255" y="168375"/>
                      <a:pt x="264295" y="166982"/>
                    </a:cubicBezTo>
                    <a:cubicBezTo>
                      <a:pt x="266576" y="165842"/>
                      <a:pt x="270249" y="168629"/>
                      <a:pt x="272403" y="169135"/>
                    </a:cubicBezTo>
                    <a:cubicBezTo>
                      <a:pt x="280638" y="171162"/>
                      <a:pt x="282918" y="164448"/>
                      <a:pt x="289252" y="161154"/>
                    </a:cubicBezTo>
                    <a:cubicBezTo>
                      <a:pt x="295713" y="157861"/>
                      <a:pt x="303060" y="162294"/>
                      <a:pt x="309268" y="157734"/>
                    </a:cubicBezTo>
                    <a:cubicBezTo>
                      <a:pt x="315348" y="153173"/>
                      <a:pt x="317249" y="139998"/>
                      <a:pt x="325483" y="138858"/>
                    </a:cubicBezTo>
                    <a:cubicBezTo>
                      <a:pt x="331311" y="138098"/>
                      <a:pt x="338912" y="146966"/>
                      <a:pt x="343472" y="140758"/>
                    </a:cubicBezTo>
                    <a:cubicBezTo>
                      <a:pt x="348666" y="133791"/>
                      <a:pt x="342459" y="122010"/>
                      <a:pt x="344992" y="114155"/>
                    </a:cubicBezTo>
                    <a:cubicBezTo>
                      <a:pt x="349680" y="99460"/>
                      <a:pt x="377170" y="110481"/>
                      <a:pt x="379196" y="91352"/>
                    </a:cubicBezTo>
                    <a:cubicBezTo>
                      <a:pt x="381730" y="65636"/>
                      <a:pt x="354240" y="51447"/>
                      <a:pt x="338151" y="3637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3" name="Полилиния: фигура 642">
                <a:extLst>
                  <a:ext uri="{FF2B5EF4-FFF2-40B4-BE49-F238E27FC236}">
                    <a16:creationId xmlns:a16="http://schemas.microsoft.com/office/drawing/2014/main" id="{DBDFB500-A685-4AD1-B6DB-116DBC4849D2}"/>
                  </a:ext>
                </a:extLst>
              </p:cNvPr>
              <p:cNvSpPr/>
              <p:nvPr/>
            </p:nvSpPr>
            <p:spPr>
              <a:xfrm>
                <a:off x="5436603" y="1844957"/>
                <a:ext cx="889081" cy="307329"/>
              </a:xfrm>
              <a:custGeom>
                <a:avLst/>
                <a:gdLst>
                  <a:gd name="connsiteX0" fmla="*/ 872775 w 889081"/>
                  <a:gd name="connsiteY0" fmla="*/ 43801 h 307329"/>
                  <a:gd name="connsiteX1" fmla="*/ 795879 w 889081"/>
                  <a:gd name="connsiteY1" fmla="*/ 35566 h 307329"/>
                  <a:gd name="connsiteX2" fmla="*/ 734944 w 889081"/>
                  <a:gd name="connsiteY2" fmla="*/ 60016 h 307329"/>
                  <a:gd name="connsiteX3" fmla="*/ 702007 w 889081"/>
                  <a:gd name="connsiteY3" fmla="*/ 58876 h 307329"/>
                  <a:gd name="connsiteX4" fmla="*/ 672997 w 889081"/>
                  <a:gd name="connsiteY4" fmla="*/ 49121 h 307329"/>
                  <a:gd name="connsiteX5" fmla="*/ 609656 w 889081"/>
                  <a:gd name="connsiteY5" fmla="*/ 37086 h 307329"/>
                  <a:gd name="connsiteX6" fmla="*/ 548595 w 889081"/>
                  <a:gd name="connsiteY6" fmla="*/ 5542 h 307329"/>
                  <a:gd name="connsiteX7" fmla="*/ 531619 w 889081"/>
                  <a:gd name="connsiteY7" fmla="*/ 14664 h 307329"/>
                  <a:gd name="connsiteX8" fmla="*/ 517557 w 889081"/>
                  <a:gd name="connsiteY8" fmla="*/ 24545 h 307329"/>
                  <a:gd name="connsiteX9" fmla="*/ 500582 w 889081"/>
                  <a:gd name="connsiteY9" fmla="*/ 17577 h 307329"/>
                  <a:gd name="connsiteX10" fmla="*/ 482846 w 889081"/>
                  <a:gd name="connsiteY10" fmla="*/ 13777 h 307329"/>
                  <a:gd name="connsiteX11" fmla="*/ 445728 w 889081"/>
                  <a:gd name="connsiteY11" fmla="*/ 3262 h 307329"/>
                  <a:gd name="connsiteX12" fmla="*/ 408104 w 889081"/>
                  <a:gd name="connsiteY12" fmla="*/ 2375 h 307329"/>
                  <a:gd name="connsiteX13" fmla="*/ 364398 w 889081"/>
                  <a:gd name="connsiteY13" fmla="*/ 15170 h 307329"/>
                  <a:gd name="connsiteX14" fmla="*/ 347803 w 889081"/>
                  <a:gd name="connsiteY14" fmla="*/ 18084 h 307329"/>
                  <a:gd name="connsiteX15" fmla="*/ 334754 w 889081"/>
                  <a:gd name="connsiteY15" fmla="*/ 33033 h 307329"/>
                  <a:gd name="connsiteX16" fmla="*/ 292949 w 889081"/>
                  <a:gd name="connsiteY16" fmla="*/ 27079 h 307329"/>
                  <a:gd name="connsiteX17" fmla="*/ 275720 w 889081"/>
                  <a:gd name="connsiteY17" fmla="*/ 43547 h 307329"/>
                  <a:gd name="connsiteX18" fmla="*/ 258998 w 889081"/>
                  <a:gd name="connsiteY18" fmla="*/ 34553 h 307329"/>
                  <a:gd name="connsiteX19" fmla="*/ 242656 w 889081"/>
                  <a:gd name="connsiteY19" fmla="*/ 18084 h 307329"/>
                  <a:gd name="connsiteX20" fmla="*/ 223780 w 889081"/>
                  <a:gd name="connsiteY20" fmla="*/ 25052 h 307329"/>
                  <a:gd name="connsiteX21" fmla="*/ 231635 w 889081"/>
                  <a:gd name="connsiteY21" fmla="*/ 57862 h 307329"/>
                  <a:gd name="connsiteX22" fmla="*/ 222894 w 889081"/>
                  <a:gd name="connsiteY22" fmla="*/ 70784 h 307329"/>
                  <a:gd name="connsiteX23" fmla="*/ 207692 w 889081"/>
                  <a:gd name="connsiteY23" fmla="*/ 83199 h 307329"/>
                  <a:gd name="connsiteX24" fmla="*/ 211239 w 889081"/>
                  <a:gd name="connsiteY24" fmla="*/ 103848 h 307329"/>
                  <a:gd name="connsiteX25" fmla="*/ 171461 w 889081"/>
                  <a:gd name="connsiteY25" fmla="*/ 88013 h 307329"/>
                  <a:gd name="connsiteX26" fmla="*/ 160439 w 889081"/>
                  <a:gd name="connsiteY26" fmla="*/ 115756 h 307329"/>
                  <a:gd name="connsiteX27" fmla="*/ 122561 w 889081"/>
                  <a:gd name="connsiteY27" fmla="*/ 129058 h 307329"/>
                  <a:gd name="connsiteX28" fmla="*/ 104826 w 889081"/>
                  <a:gd name="connsiteY28" fmla="*/ 147173 h 307329"/>
                  <a:gd name="connsiteX29" fmla="*/ 84176 w 889081"/>
                  <a:gd name="connsiteY29" fmla="*/ 135899 h 307329"/>
                  <a:gd name="connsiteX30" fmla="*/ 64794 w 889081"/>
                  <a:gd name="connsiteY30" fmla="*/ 143120 h 307329"/>
                  <a:gd name="connsiteX31" fmla="*/ 45285 w 889081"/>
                  <a:gd name="connsiteY31" fmla="*/ 153508 h 307329"/>
                  <a:gd name="connsiteX32" fmla="*/ 24002 w 889081"/>
                  <a:gd name="connsiteY32" fmla="*/ 145147 h 307329"/>
                  <a:gd name="connsiteX33" fmla="*/ 5380 w 889081"/>
                  <a:gd name="connsiteY33" fmla="*/ 153128 h 307329"/>
                  <a:gd name="connsiteX34" fmla="*/ 13234 w 889081"/>
                  <a:gd name="connsiteY34" fmla="*/ 173523 h 307329"/>
                  <a:gd name="connsiteX35" fmla="*/ 37937 w 889081"/>
                  <a:gd name="connsiteY35" fmla="*/ 188472 h 307329"/>
                  <a:gd name="connsiteX36" fmla="*/ 24762 w 889081"/>
                  <a:gd name="connsiteY36" fmla="*/ 201140 h 307329"/>
                  <a:gd name="connsiteX37" fmla="*/ 440 w 889081"/>
                  <a:gd name="connsiteY37" fmla="*/ 207094 h 307329"/>
                  <a:gd name="connsiteX38" fmla="*/ 11587 w 889081"/>
                  <a:gd name="connsiteY38" fmla="*/ 225590 h 307329"/>
                  <a:gd name="connsiteX39" fmla="*/ 27043 w 889081"/>
                  <a:gd name="connsiteY39" fmla="*/ 245352 h 307329"/>
                  <a:gd name="connsiteX40" fmla="*/ 41231 w 889081"/>
                  <a:gd name="connsiteY40" fmla="*/ 259288 h 307329"/>
                  <a:gd name="connsiteX41" fmla="*/ 59473 w 889081"/>
                  <a:gd name="connsiteY41" fmla="*/ 285638 h 307329"/>
                  <a:gd name="connsiteX42" fmla="*/ 69481 w 889081"/>
                  <a:gd name="connsiteY42" fmla="*/ 299699 h 307329"/>
                  <a:gd name="connsiteX43" fmla="*/ 106346 w 889081"/>
                  <a:gd name="connsiteY43" fmla="*/ 296025 h 307329"/>
                  <a:gd name="connsiteX44" fmla="*/ 112553 w 889081"/>
                  <a:gd name="connsiteY44" fmla="*/ 261694 h 307329"/>
                  <a:gd name="connsiteX45" fmla="*/ 124461 w 889081"/>
                  <a:gd name="connsiteY45" fmla="*/ 267395 h 307329"/>
                  <a:gd name="connsiteX46" fmla="*/ 139283 w 889081"/>
                  <a:gd name="connsiteY46" fmla="*/ 271956 h 307329"/>
                  <a:gd name="connsiteX47" fmla="*/ 149291 w 889081"/>
                  <a:gd name="connsiteY47" fmla="*/ 251307 h 307329"/>
                  <a:gd name="connsiteX48" fmla="*/ 165760 w 889081"/>
                  <a:gd name="connsiteY48" fmla="*/ 254854 h 307329"/>
                  <a:gd name="connsiteX49" fmla="*/ 187803 w 889081"/>
                  <a:gd name="connsiteY49" fmla="*/ 236991 h 307329"/>
                  <a:gd name="connsiteX50" fmla="*/ 204525 w 889081"/>
                  <a:gd name="connsiteY50" fmla="*/ 215582 h 307329"/>
                  <a:gd name="connsiteX51" fmla="*/ 219347 w 889081"/>
                  <a:gd name="connsiteY51" fmla="*/ 236358 h 307329"/>
                  <a:gd name="connsiteX52" fmla="*/ 260772 w 889081"/>
                  <a:gd name="connsiteY52" fmla="*/ 205954 h 307329"/>
                  <a:gd name="connsiteX53" fmla="*/ 271540 w 889081"/>
                  <a:gd name="connsiteY53" fmla="*/ 180491 h 307329"/>
                  <a:gd name="connsiteX54" fmla="*/ 282055 w 889081"/>
                  <a:gd name="connsiteY54" fmla="*/ 197086 h 307329"/>
                  <a:gd name="connsiteX55" fmla="*/ 298017 w 889081"/>
                  <a:gd name="connsiteY55" fmla="*/ 205321 h 307329"/>
                  <a:gd name="connsiteX56" fmla="*/ 313852 w 889081"/>
                  <a:gd name="connsiteY56" fmla="*/ 181884 h 307329"/>
                  <a:gd name="connsiteX57" fmla="*/ 325126 w 889081"/>
                  <a:gd name="connsiteY57" fmla="*/ 192399 h 307329"/>
                  <a:gd name="connsiteX58" fmla="*/ 336528 w 889081"/>
                  <a:gd name="connsiteY58" fmla="*/ 203547 h 307329"/>
                  <a:gd name="connsiteX59" fmla="*/ 361611 w 889081"/>
                  <a:gd name="connsiteY59" fmla="*/ 199493 h 307329"/>
                  <a:gd name="connsiteX60" fmla="*/ 383527 w 889081"/>
                  <a:gd name="connsiteY60" fmla="*/ 194173 h 307329"/>
                  <a:gd name="connsiteX61" fmla="*/ 384541 w 889081"/>
                  <a:gd name="connsiteY61" fmla="*/ 172257 h 307329"/>
                  <a:gd name="connsiteX62" fmla="*/ 399616 w 889081"/>
                  <a:gd name="connsiteY62" fmla="*/ 165162 h 307329"/>
                  <a:gd name="connsiteX63" fmla="*/ 419125 w 889081"/>
                  <a:gd name="connsiteY63" fmla="*/ 172257 h 307329"/>
                  <a:gd name="connsiteX64" fmla="*/ 428753 w 889081"/>
                  <a:gd name="connsiteY64" fmla="*/ 163896 h 307329"/>
                  <a:gd name="connsiteX65" fmla="*/ 457383 w 889081"/>
                  <a:gd name="connsiteY65" fmla="*/ 155028 h 307329"/>
                  <a:gd name="connsiteX66" fmla="*/ 474992 w 889081"/>
                  <a:gd name="connsiteY66" fmla="*/ 166936 h 307329"/>
                  <a:gd name="connsiteX67" fmla="*/ 499569 w 889081"/>
                  <a:gd name="connsiteY67" fmla="*/ 156421 h 307329"/>
                  <a:gd name="connsiteX68" fmla="*/ 513377 w 889081"/>
                  <a:gd name="connsiteY68" fmla="*/ 152748 h 307329"/>
                  <a:gd name="connsiteX69" fmla="*/ 550115 w 889081"/>
                  <a:gd name="connsiteY69" fmla="*/ 150467 h 307329"/>
                  <a:gd name="connsiteX70" fmla="*/ 578111 w 889081"/>
                  <a:gd name="connsiteY70" fmla="*/ 145020 h 307329"/>
                  <a:gd name="connsiteX71" fmla="*/ 603068 w 889081"/>
                  <a:gd name="connsiteY71" fmla="*/ 150214 h 307329"/>
                  <a:gd name="connsiteX72" fmla="*/ 628784 w 889081"/>
                  <a:gd name="connsiteY72" fmla="*/ 169976 h 307329"/>
                  <a:gd name="connsiteX73" fmla="*/ 658935 w 889081"/>
                  <a:gd name="connsiteY73" fmla="*/ 168203 h 307329"/>
                  <a:gd name="connsiteX74" fmla="*/ 694279 w 889081"/>
                  <a:gd name="connsiteY74" fmla="*/ 159588 h 307329"/>
                  <a:gd name="connsiteX75" fmla="*/ 728104 w 889081"/>
                  <a:gd name="connsiteY75" fmla="*/ 165923 h 307329"/>
                  <a:gd name="connsiteX76" fmla="*/ 768769 w 889081"/>
                  <a:gd name="connsiteY76" fmla="*/ 158322 h 307329"/>
                  <a:gd name="connsiteX77" fmla="*/ 813614 w 889081"/>
                  <a:gd name="connsiteY77" fmla="*/ 151734 h 307329"/>
                  <a:gd name="connsiteX78" fmla="*/ 850352 w 889081"/>
                  <a:gd name="connsiteY78" fmla="*/ 146793 h 307329"/>
                  <a:gd name="connsiteX79" fmla="*/ 877462 w 889081"/>
                  <a:gd name="connsiteY79" fmla="*/ 112463 h 307329"/>
                  <a:gd name="connsiteX80" fmla="*/ 872775 w 889081"/>
                  <a:gd name="connsiteY80" fmla="*/ 43801 h 30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89081" h="307329">
                    <a:moveTo>
                      <a:pt x="872775" y="43801"/>
                    </a:moveTo>
                    <a:cubicBezTo>
                      <a:pt x="850606" y="28345"/>
                      <a:pt x="820455" y="23278"/>
                      <a:pt x="795879" y="35566"/>
                    </a:cubicBezTo>
                    <a:cubicBezTo>
                      <a:pt x="775356" y="45827"/>
                      <a:pt x="758381" y="56722"/>
                      <a:pt x="734944" y="60016"/>
                    </a:cubicBezTo>
                    <a:cubicBezTo>
                      <a:pt x="723923" y="61536"/>
                      <a:pt x="712775" y="61663"/>
                      <a:pt x="702007" y="58876"/>
                    </a:cubicBezTo>
                    <a:cubicBezTo>
                      <a:pt x="692126" y="56342"/>
                      <a:pt x="683005" y="51528"/>
                      <a:pt x="672997" y="49121"/>
                    </a:cubicBezTo>
                    <a:cubicBezTo>
                      <a:pt x="651968" y="43927"/>
                      <a:pt x="627771" y="51655"/>
                      <a:pt x="609656" y="37086"/>
                    </a:cubicBezTo>
                    <a:cubicBezTo>
                      <a:pt x="590907" y="22011"/>
                      <a:pt x="576845" y="-4592"/>
                      <a:pt x="548595" y="5542"/>
                    </a:cubicBezTo>
                    <a:cubicBezTo>
                      <a:pt x="542514" y="7696"/>
                      <a:pt x="537066" y="11243"/>
                      <a:pt x="531619" y="14664"/>
                    </a:cubicBezTo>
                    <a:cubicBezTo>
                      <a:pt x="527058" y="17451"/>
                      <a:pt x="522371" y="22771"/>
                      <a:pt x="517557" y="24545"/>
                    </a:cubicBezTo>
                    <a:cubicBezTo>
                      <a:pt x="510717" y="27079"/>
                      <a:pt x="505903" y="20871"/>
                      <a:pt x="500582" y="17577"/>
                    </a:cubicBezTo>
                    <a:cubicBezTo>
                      <a:pt x="494755" y="13904"/>
                      <a:pt x="489561" y="13777"/>
                      <a:pt x="482846" y="13777"/>
                    </a:cubicBezTo>
                    <a:cubicBezTo>
                      <a:pt x="469545" y="13650"/>
                      <a:pt x="457637" y="8456"/>
                      <a:pt x="445728" y="3262"/>
                    </a:cubicBezTo>
                    <a:cubicBezTo>
                      <a:pt x="433693" y="-1932"/>
                      <a:pt x="420645" y="95"/>
                      <a:pt x="408104" y="2375"/>
                    </a:cubicBezTo>
                    <a:cubicBezTo>
                      <a:pt x="392015" y="5416"/>
                      <a:pt x="381754" y="18084"/>
                      <a:pt x="364398" y="15170"/>
                    </a:cubicBezTo>
                    <a:cubicBezTo>
                      <a:pt x="357811" y="14030"/>
                      <a:pt x="352744" y="12763"/>
                      <a:pt x="347803" y="18084"/>
                    </a:cubicBezTo>
                    <a:cubicBezTo>
                      <a:pt x="343116" y="23025"/>
                      <a:pt x="341089" y="29739"/>
                      <a:pt x="334754" y="33033"/>
                    </a:cubicBezTo>
                    <a:cubicBezTo>
                      <a:pt x="319806" y="40887"/>
                      <a:pt x="307138" y="21378"/>
                      <a:pt x="292949" y="27079"/>
                    </a:cubicBezTo>
                    <a:cubicBezTo>
                      <a:pt x="285095" y="30246"/>
                      <a:pt x="282561" y="39493"/>
                      <a:pt x="275720" y="43547"/>
                    </a:cubicBezTo>
                    <a:cubicBezTo>
                      <a:pt x="268119" y="47981"/>
                      <a:pt x="262926" y="40253"/>
                      <a:pt x="258998" y="34553"/>
                    </a:cubicBezTo>
                    <a:cubicBezTo>
                      <a:pt x="254691" y="28345"/>
                      <a:pt x="250637" y="19858"/>
                      <a:pt x="242656" y="18084"/>
                    </a:cubicBezTo>
                    <a:cubicBezTo>
                      <a:pt x="235942" y="16564"/>
                      <a:pt x="228214" y="20111"/>
                      <a:pt x="223780" y="25052"/>
                    </a:cubicBezTo>
                    <a:cubicBezTo>
                      <a:pt x="211872" y="37847"/>
                      <a:pt x="225681" y="47094"/>
                      <a:pt x="231635" y="57862"/>
                    </a:cubicBezTo>
                    <a:cubicBezTo>
                      <a:pt x="235815" y="65463"/>
                      <a:pt x="229481" y="69010"/>
                      <a:pt x="222894" y="70784"/>
                    </a:cubicBezTo>
                    <a:cubicBezTo>
                      <a:pt x="214533" y="72938"/>
                      <a:pt x="207692" y="71797"/>
                      <a:pt x="207692" y="83199"/>
                    </a:cubicBezTo>
                    <a:cubicBezTo>
                      <a:pt x="207692" y="87126"/>
                      <a:pt x="213519" y="100934"/>
                      <a:pt x="211239" y="103848"/>
                    </a:cubicBezTo>
                    <a:cubicBezTo>
                      <a:pt x="206425" y="110056"/>
                      <a:pt x="181975" y="79525"/>
                      <a:pt x="171461" y="88013"/>
                    </a:cubicBezTo>
                    <a:cubicBezTo>
                      <a:pt x="163226" y="94727"/>
                      <a:pt x="175134" y="116770"/>
                      <a:pt x="160439" y="115756"/>
                    </a:cubicBezTo>
                    <a:cubicBezTo>
                      <a:pt x="145238" y="114616"/>
                      <a:pt x="131049" y="113476"/>
                      <a:pt x="122561" y="129058"/>
                    </a:cubicBezTo>
                    <a:cubicBezTo>
                      <a:pt x="117747" y="137926"/>
                      <a:pt x="118634" y="154014"/>
                      <a:pt x="104826" y="147173"/>
                    </a:cubicBezTo>
                    <a:cubicBezTo>
                      <a:pt x="97858" y="143753"/>
                      <a:pt x="91778" y="137799"/>
                      <a:pt x="84176" y="135899"/>
                    </a:cubicBezTo>
                    <a:cubicBezTo>
                      <a:pt x="76322" y="133745"/>
                      <a:pt x="70495" y="138179"/>
                      <a:pt x="64794" y="143120"/>
                    </a:cubicBezTo>
                    <a:cubicBezTo>
                      <a:pt x="59220" y="148060"/>
                      <a:pt x="53393" y="154141"/>
                      <a:pt x="45285" y="153508"/>
                    </a:cubicBezTo>
                    <a:cubicBezTo>
                      <a:pt x="37557" y="152874"/>
                      <a:pt x="31350" y="146920"/>
                      <a:pt x="24002" y="145147"/>
                    </a:cubicBezTo>
                    <a:cubicBezTo>
                      <a:pt x="16655" y="143246"/>
                      <a:pt x="8927" y="146160"/>
                      <a:pt x="5380" y="153128"/>
                    </a:cubicBezTo>
                    <a:cubicBezTo>
                      <a:pt x="1326" y="161489"/>
                      <a:pt x="6394" y="168836"/>
                      <a:pt x="13234" y="173523"/>
                    </a:cubicBezTo>
                    <a:cubicBezTo>
                      <a:pt x="20202" y="178337"/>
                      <a:pt x="33250" y="181124"/>
                      <a:pt x="37937" y="188472"/>
                    </a:cubicBezTo>
                    <a:cubicBezTo>
                      <a:pt x="42878" y="196200"/>
                      <a:pt x="30083" y="199747"/>
                      <a:pt x="24762" y="201140"/>
                    </a:cubicBezTo>
                    <a:cubicBezTo>
                      <a:pt x="19948" y="202407"/>
                      <a:pt x="3227" y="202154"/>
                      <a:pt x="440" y="207094"/>
                    </a:cubicBezTo>
                    <a:cubicBezTo>
                      <a:pt x="-2347" y="212035"/>
                      <a:pt x="8927" y="222296"/>
                      <a:pt x="11587" y="225590"/>
                    </a:cubicBezTo>
                    <a:cubicBezTo>
                      <a:pt x="16781" y="232051"/>
                      <a:pt x="21468" y="239145"/>
                      <a:pt x="27043" y="245352"/>
                    </a:cubicBezTo>
                    <a:cubicBezTo>
                      <a:pt x="31477" y="250293"/>
                      <a:pt x="36797" y="254347"/>
                      <a:pt x="41231" y="259288"/>
                    </a:cubicBezTo>
                    <a:cubicBezTo>
                      <a:pt x="48452" y="267268"/>
                      <a:pt x="54280" y="276263"/>
                      <a:pt x="59473" y="285638"/>
                    </a:cubicBezTo>
                    <a:cubicBezTo>
                      <a:pt x="62260" y="290578"/>
                      <a:pt x="64541" y="296405"/>
                      <a:pt x="69481" y="299699"/>
                    </a:cubicBezTo>
                    <a:cubicBezTo>
                      <a:pt x="81643" y="307680"/>
                      <a:pt x="100265" y="313254"/>
                      <a:pt x="106346" y="296025"/>
                    </a:cubicBezTo>
                    <a:cubicBezTo>
                      <a:pt x="110146" y="285131"/>
                      <a:pt x="108246" y="272336"/>
                      <a:pt x="112553" y="261694"/>
                    </a:cubicBezTo>
                    <a:cubicBezTo>
                      <a:pt x="115847" y="253587"/>
                      <a:pt x="121548" y="263721"/>
                      <a:pt x="124461" y="267395"/>
                    </a:cubicBezTo>
                    <a:cubicBezTo>
                      <a:pt x="128389" y="272336"/>
                      <a:pt x="134089" y="279303"/>
                      <a:pt x="139283" y="271956"/>
                    </a:cubicBezTo>
                    <a:cubicBezTo>
                      <a:pt x="143211" y="266382"/>
                      <a:pt x="143337" y="255234"/>
                      <a:pt x="149291" y="251307"/>
                    </a:cubicBezTo>
                    <a:cubicBezTo>
                      <a:pt x="154359" y="248013"/>
                      <a:pt x="160566" y="254347"/>
                      <a:pt x="165760" y="254854"/>
                    </a:cubicBezTo>
                    <a:cubicBezTo>
                      <a:pt x="176275" y="256121"/>
                      <a:pt x="183115" y="244719"/>
                      <a:pt x="187803" y="236991"/>
                    </a:cubicBezTo>
                    <a:cubicBezTo>
                      <a:pt x="190590" y="232431"/>
                      <a:pt x="197304" y="214442"/>
                      <a:pt x="204525" y="215582"/>
                    </a:cubicBezTo>
                    <a:cubicBezTo>
                      <a:pt x="210986" y="216595"/>
                      <a:pt x="215800" y="231671"/>
                      <a:pt x="219347" y="236358"/>
                    </a:cubicBezTo>
                    <a:cubicBezTo>
                      <a:pt x="237462" y="259668"/>
                      <a:pt x="255325" y="219889"/>
                      <a:pt x="260772" y="205954"/>
                    </a:cubicBezTo>
                    <a:cubicBezTo>
                      <a:pt x="262419" y="201900"/>
                      <a:pt x="266346" y="181758"/>
                      <a:pt x="271540" y="180491"/>
                    </a:cubicBezTo>
                    <a:cubicBezTo>
                      <a:pt x="276227" y="179351"/>
                      <a:pt x="280534" y="194046"/>
                      <a:pt x="282055" y="197086"/>
                    </a:cubicBezTo>
                    <a:cubicBezTo>
                      <a:pt x="285348" y="203547"/>
                      <a:pt x="290669" y="212162"/>
                      <a:pt x="298017" y="205321"/>
                    </a:cubicBezTo>
                    <a:cubicBezTo>
                      <a:pt x="304351" y="199493"/>
                      <a:pt x="306378" y="185938"/>
                      <a:pt x="313852" y="181884"/>
                    </a:cubicBezTo>
                    <a:cubicBezTo>
                      <a:pt x="319172" y="178971"/>
                      <a:pt x="323480" y="188599"/>
                      <a:pt x="325126" y="192399"/>
                    </a:cubicBezTo>
                    <a:cubicBezTo>
                      <a:pt x="327660" y="198100"/>
                      <a:pt x="329054" y="203421"/>
                      <a:pt x="336528" y="203547"/>
                    </a:cubicBezTo>
                    <a:cubicBezTo>
                      <a:pt x="344636" y="203547"/>
                      <a:pt x="353250" y="199873"/>
                      <a:pt x="361611" y="199493"/>
                    </a:cubicBezTo>
                    <a:cubicBezTo>
                      <a:pt x="368072" y="199240"/>
                      <a:pt x="379093" y="200760"/>
                      <a:pt x="383527" y="194173"/>
                    </a:cubicBezTo>
                    <a:cubicBezTo>
                      <a:pt x="386694" y="189232"/>
                      <a:pt x="384414" y="177831"/>
                      <a:pt x="384541" y="172257"/>
                    </a:cubicBezTo>
                    <a:cubicBezTo>
                      <a:pt x="384667" y="161615"/>
                      <a:pt x="391762" y="158068"/>
                      <a:pt x="399616" y="165162"/>
                    </a:cubicBezTo>
                    <a:cubicBezTo>
                      <a:pt x="404303" y="169343"/>
                      <a:pt x="412538" y="172890"/>
                      <a:pt x="419125" y="172257"/>
                    </a:cubicBezTo>
                    <a:cubicBezTo>
                      <a:pt x="424572" y="171623"/>
                      <a:pt x="424826" y="167316"/>
                      <a:pt x="428753" y="163896"/>
                    </a:cubicBezTo>
                    <a:cubicBezTo>
                      <a:pt x="435467" y="158322"/>
                      <a:pt x="448642" y="155788"/>
                      <a:pt x="457383" y="155028"/>
                    </a:cubicBezTo>
                    <a:cubicBezTo>
                      <a:pt x="467898" y="154014"/>
                      <a:pt x="466758" y="163389"/>
                      <a:pt x="474992" y="166936"/>
                    </a:cubicBezTo>
                    <a:cubicBezTo>
                      <a:pt x="483986" y="170736"/>
                      <a:pt x="492221" y="159715"/>
                      <a:pt x="499569" y="156421"/>
                    </a:cubicBezTo>
                    <a:cubicBezTo>
                      <a:pt x="504256" y="154268"/>
                      <a:pt x="508310" y="151861"/>
                      <a:pt x="513377" y="152748"/>
                    </a:cubicBezTo>
                    <a:cubicBezTo>
                      <a:pt x="525665" y="154901"/>
                      <a:pt x="537700" y="152748"/>
                      <a:pt x="550115" y="150467"/>
                    </a:cubicBezTo>
                    <a:cubicBezTo>
                      <a:pt x="559743" y="148694"/>
                      <a:pt x="568610" y="148314"/>
                      <a:pt x="578111" y="145020"/>
                    </a:cubicBezTo>
                    <a:cubicBezTo>
                      <a:pt x="588880" y="141219"/>
                      <a:pt x="595087" y="141726"/>
                      <a:pt x="603068" y="150214"/>
                    </a:cubicBezTo>
                    <a:cubicBezTo>
                      <a:pt x="610162" y="157688"/>
                      <a:pt x="619537" y="165036"/>
                      <a:pt x="628784" y="169976"/>
                    </a:cubicBezTo>
                    <a:cubicBezTo>
                      <a:pt x="638792" y="175297"/>
                      <a:pt x="649561" y="173143"/>
                      <a:pt x="658935" y="168203"/>
                    </a:cubicBezTo>
                    <a:cubicBezTo>
                      <a:pt x="669323" y="162755"/>
                      <a:pt x="682498" y="158828"/>
                      <a:pt x="694279" y="159588"/>
                    </a:cubicBezTo>
                    <a:cubicBezTo>
                      <a:pt x="705808" y="160348"/>
                      <a:pt x="716576" y="165162"/>
                      <a:pt x="728104" y="165923"/>
                    </a:cubicBezTo>
                    <a:cubicBezTo>
                      <a:pt x="742039" y="166809"/>
                      <a:pt x="755467" y="162122"/>
                      <a:pt x="768769" y="158322"/>
                    </a:cubicBezTo>
                    <a:cubicBezTo>
                      <a:pt x="783591" y="154141"/>
                      <a:pt x="798286" y="151607"/>
                      <a:pt x="813614" y="151734"/>
                    </a:cubicBezTo>
                    <a:cubicBezTo>
                      <a:pt x="826029" y="151861"/>
                      <a:pt x="839077" y="153254"/>
                      <a:pt x="850352" y="146793"/>
                    </a:cubicBezTo>
                    <a:cubicBezTo>
                      <a:pt x="863147" y="139573"/>
                      <a:pt x="871255" y="125257"/>
                      <a:pt x="877462" y="112463"/>
                    </a:cubicBezTo>
                    <a:cubicBezTo>
                      <a:pt x="889244" y="88900"/>
                      <a:pt x="898112" y="61409"/>
                      <a:pt x="872775" y="4380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4" name="Полилиния: фигура 643">
                <a:extLst>
                  <a:ext uri="{FF2B5EF4-FFF2-40B4-BE49-F238E27FC236}">
                    <a16:creationId xmlns:a16="http://schemas.microsoft.com/office/drawing/2014/main" id="{CBF79BBC-ED3A-4F7D-9D50-E4D1DA28B2C6}"/>
                  </a:ext>
                </a:extLst>
              </p:cNvPr>
              <p:cNvSpPr/>
              <p:nvPr/>
            </p:nvSpPr>
            <p:spPr>
              <a:xfrm>
                <a:off x="6466377" y="1187200"/>
                <a:ext cx="100554" cy="68056"/>
              </a:xfrm>
              <a:custGeom>
                <a:avLst/>
                <a:gdLst>
                  <a:gd name="connsiteX0" fmla="*/ 93326 w 100554"/>
                  <a:gd name="connsiteY0" fmla="*/ 5437 h 68056"/>
                  <a:gd name="connsiteX1" fmla="*/ 79771 w 100554"/>
                  <a:gd name="connsiteY1" fmla="*/ 4170 h 68056"/>
                  <a:gd name="connsiteX2" fmla="*/ 55701 w 100554"/>
                  <a:gd name="connsiteY2" fmla="*/ 15825 h 68056"/>
                  <a:gd name="connsiteX3" fmla="*/ 4775 w 100554"/>
                  <a:gd name="connsiteY3" fmla="*/ 25960 h 68056"/>
                  <a:gd name="connsiteX4" fmla="*/ 8702 w 100554"/>
                  <a:gd name="connsiteY4" fmla="*/ 56364 h 68056"/>
                  <a:gd name="connsiteX5" fmla="*/ 29098 w 100554"/>
                  <a:gd name="connsiteY5" fmla="*/ 66498 h 68056"/>
                  <a:gd name="connsiteX6" fmla="*/ 51014 w 100554"/>
                  <a:gd name="connsiteY6" fmla="*/ 66752 h 68056"/>
                  <a:gd name="connsiteX7" fmla="*/ 74070 w 100554"/>
                  <a:gd name="connsiteY7" fmla="*/ 56997 h 68056"/>
                  <a:gd name="connsiteX8" fmla="*/ 100547 w 100554"/>
                  <a:gd name="connsiteY8" fmla="*/ 39135 h 68056"/>
                  <a:gd name="connsiteX9" fmla="*/ 97886 w 100554"/>
                  <a:gd name="connsiteY9" fmla="*/ 22286 h 68056"/>
                  <a:gd name="connsiteX10" fmla="*/ 93326 w 100554"/>
                  <a:gd name="connsiteY10" fmla="*/ 5437 h 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54" h="68056">
                    <a:moveTo>
                      <a:pt x="93326" y="5437"/>
                    </a:moveTo>
                    <a:cubicBezTo>
                      <a:pt x="90159" y="-2670"/>
                      <a:pt x="85598" y="-517"/>
                      <a:pt x="79771" y="4170"/>
                    </a:cubicBezTo>
                    <a:cubicBezTo>
                      <a:pt x="72550" y="9998"/>
                      <a:pt x="65456" y="15445"/>
                      <a:pt x="55701" y="15825"/>
                    </a:cubicBezTo>
                    <a:cubicBezTo>
                      <a:pt x="37966" y="16459"/>
                      <a:pt x="16810" y="7464"/>
                      <a:pt x="4775" y="25960"/>
                    </a:cubicBezTo>
                    <a:cubicBezTo>
                      <a:pt x="-2193" y="36601"/>
                      <a:pt x="-2066" y="48889"/>
                      <a:pt x="8702" y="56364"/>
                    </a:cubicBezTo>
                    <a:cubicBezTo>
                      <a:pt x="14783" y="60671"/>
                      <a:pt x="21877" y="64471"/>
                      <a:pt x="29098" y="66498"/>
                    </a:cubicBezTo>
                    <a:cubicBezTo>
                      <a:pt x="35685" y="68398"/>
                      <a:pt x="44300" y="68652"/>
                      <a:pt x="51014" y="66752"/>
                    </a:cubicBezTo>
                    <a:cubicBezTo>
                      <a:pt x="58742" y="64598"/>
                      <a:pt x="66596" y="60037"/>
                      <a:pt x="74070" y="56997"/>
                    </a:cubicBezTo>
                    <a:cubicBezTo>
                      <a:pt x="83318" y="53197"/>
                      <a:pt x="100167" y="52816"/>
                      <a:pt x="100547" y="39135"/>
                    </a:cubicBezTo>
                    <a:cubicBezTo>
                      <a:pt x="100673" y="33561"/>
                      <a:pt x="99153" y="27733"/>
                      <a:pt x="97886" y="22286"/>
                    </a:cubicBezTo>
                    <a:cubicBezTo>
                      <a:pt x="96619" y="16712"/>
                      <a:pt x="95479" y="10758"/>
                      <a:pt x="93326" y="543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5" name="Полилиния: фигура 644">
                <a:extLst>
                  <a:ext uri="{FF2B5EF4-FFF2-40B4-BE49-F238E27FC236}">
                    <a16:creationId xmlns:a16="http://schemas.microsoft.com/office/drawing/2014/main" id="{F8D6D75C-DF01-4CDD-8D42-D07B6C24FDF6}"/>
                  </a:ext>
                </a:extLst>
              </p:cNvPr>
              <p:cNvSpPr/>
              <p:nvPr/>
            </p:nvSpPr>
            <p:spPr>
              <a:xfrm>
                <a:off x="6548974" y="1071841"/>
                <a:ext cx="20957" cy="39792"/>
              </a:xfrm>
              <a:custGeom>
                <a:avLst/>
                <a:gdLst>
                  <a:gd name="connsiteX0" fmla="*/ 20483 w 20957"/>
                  <a:gd name="connsiteY0" fmla="*/ 30979 h 39792"/>
                  <a:gd name="connsiteX1" fmla="*/ 17063 w 20957"/>
                  <a:gd name="connsiteY1" fmla="*/ 19070 h 39792"/>
                  <a:gd name="connsiteX2" fmla="*/ 11742 w 20957"/>
                  <a:gd name="connsiteY2" fmla="*/ 2855 h 39792"/>
                  <a:gd name="connsiteX3" fmla="*/ 468 w 20957"/>
                  <a:gd name="connsiteY3" fmla="*/ 8556 h 39792"/>
                  <a:gd name="connsiteX4" fmla="*/ 9969 w 20957"/>
                  <a:gd name="connsiteY4" fmla="*/ 36933 h 39792"/>
                  <a:gd name="connsiteX5" fmla="*/ 18076 w 20957"/>
                  <a:gd name="connsiteY5" fmla="*/ 39593 h 39792"/>
                  <a:gd name="connsiteX6" fmla="*/ 20483 w 20957"/>
                  <a:gd name="connsiteY6" fmla="*/ 30979 h 3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7" h="39792">
                    <a:moveTo>
                      <a:pt x="20483" y="30979"/>
                    </a:moveTo>
                    <a:cubicBezTo>
                      <a:pt x="19090" y="26925"/>
                      <a:pt x="17823" y="23251"/>
                      <a:pt x="17063" y="19070"/>
                    </a:cubicBezTo>
                    <a:cubicBezTo>
                      <a:pt x="16049" y="13750"/>
                      <a:pt x="15163" y="7416"/>
                      <a:pt x="11742" y="2855"/>
                    </a:cubicBezTo>
                    <a:cubicBezTo>
                      <a:pt x="6548" y="-3859"/>
                      <a:pt x="1608" y="2602"/>
                      <a:pt x="468" y="8556"/>
                    </a:cubicBezTo>
                    <a:cubicBezTo>
                      <a:pt x="-1306" y="17297"/>
                      <a:pt x="1988" y="31612"/>
                      <a:pt x="9969" y="36933"/>
                    </a:cubicBezTo>
                    <a:cubicBezTo>
                      <a:pt x="11996" y="38199"/>
                      <a:pt x="15669" y="40480"/>
                      <a:pt x="18076" y="39593"/>
                    </a:cubicBezTo>
                    <a:cubicBezTo>
                      <a:pt x="21243" y="38580"/>
                      <a:pt x="21370" y="33639"/>
                      <a:pt x="20483" y="3097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6" name="Полилиния: фигура 645">
                <a:extLst>
                  <a:ext uri="{FF2B5EF4-FFF2-40B4-BE49-F238E27FC236}">
                    <a16:creationId xmlns:a16="http://schemas.microsoft.com/office/drawing/2014/main" id="{189E01BB-1388-4EA5-8C8E-48A494A1C605}"/>
                  </a:ext>
                </a:extLst>
              </p:cNvPr>
              <p:cNvSpPr/>
              <p:nvPr/>
            </p:nvSpPr>
            <p:spPr>
              <a:xfrm>
                <a:off x="6507803" y="1075223"/>
                <a:ext cx="16434" cy="29775"/>
              </a:xfrm>
              <a:custGeom>
                <a:avLst/>
                <a:gdLst>
                  <a:gd name="connsiteX0" fmla="*/ 1607 w 16434"/>
                  <a:gd name="connsiteY0" fmla="*/ 22783 h 29775"/>
                  <a:gd name="connsiteX1" fmla="*/ 10855 w 16434"/>
                  <a:gd name="connsiteY1" fmla="*/ 29750 h 29775"/>
                  <a:gd name="connsiteX2" fmla="*/ 16429 w 16434"/>
                  <a:gd name="connsiteY2" fmla="*/ 22656 h 29775"/>
                  <a:gd name="connsiteX3" fmla="*/ 9968 w 16434"/>
                  <a:gd name="connsiteY3" fmla="*/ 1373 h 29775"/>
                  <a:gd name="connsiteX4" fmla="*/ 1354 w 16434"/>
                  <a:gd name="connsiteY4" fmla="*/ 2260 h 29775"/>
                  <a:gd name="connsiteX5" fmla="*/ 87 w 16434"/>
                  <a:gd name="connsiteY5" fmla="*/ 11128 h 29775"/>
                  <a:gd name="connsiteX6" fmla="*/ 1607 w 16434"/>
                  <a:gd name="connsiteY6" fmla="*/ 22783 h 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34" h="29775">
                    <a:moveTo>
                      <a:pt x="1607" y="22783"/>
                    </a:moveTo>
                    <a:cubicBezTo>
                      <a:pt x="3127" y="26203"/>
                      <a:pt x="6801" y="30130"/>
                      <a:pt x="10855" y="29750"/>
                    </a:cubicBezTo>
                    <a:cubicBezTo>
                      <a:pt x="14655" y="29370"/>
                      <a:pt x="16556" y="26203"/>
                      <a:pt x="16429" y="22656"/>
                    </a:cubicBezTo>
                    <a:cubicBezTo>
                      <a:pt x="16176" y="15182"/>
                      <a:pt x="16936" y="6187"/>
                      <a:pt x="9968" y="1373"/>
                    </a:cubicBezTo>
                    <a:cubicBezTo>
                      <a:pt x="7054" y="-527"/>
                      <a:pt x="3634" y="-654"/>
                      <a:pt x="1354" y="2260"/>
                    </a:cubicBezTo>
                    <a:cubicBezTo>
                      <a:pt x="-673" y="4920"/>
                      <a:pt x="213" y="8087"/>
                      <a:pt x="87" y="11128"/>
                    </a:cubicBezTo>
                    <a:cubicBezTo>
                      <a:pt x="-40" y="15182"/>
                      <a:pt x="-40" y="19109"/>
                      <a:pt x="1607" y="2278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7" name="Полилиния: фигура 646">
                <a:extLst>
                  <a:ext uri="{FF2B5EF4-FFF2-40B4-BE49-F238E27FC236}">
                    <a16:creationId xmlns:a16="http://schemas.microsoft.com/office/drawing/2014/main" id="{E51A919A-384A-4FB5-BA0D-EECCE04D62D4}"/>
                  </a:ext>
                </a:extLst>
              </p:cNvPr>
              <p:cNvSpPr/>
              <p:nvPr/>
            </p:nvSpPr>
            <p:spPr>
              <a:xfrm>
                <a:off x="6410959" y="1143352"/>
                <a:ext cx="61846" cy="34278"/>
              </a:xfrm>
              <a:custGeom>
                <a:avLst/>
                <a:gdLst>
                  <a:gd name="connsiteX0" fmla="*/ 59686 w 61846"/>
                  <a:gd name="connsiteY0" fmla="*/ 20529 h 34278"/>
                  <a:gd name="connsiteX1" fmla="*/ 58293 w 61846"/>
                  <a:gd name="connsiteY1" fmla="*/ 5073 h 34278"/>
                  <a:gd name="connsiteX2" fmla="*/ 31816 w 61846"/>
                  <a:gd name="connsiteY2" fmla="*/ 1273 h 34278"/>
                  <a:gd name="connsiteX3" fmla="*/ 1539 w 61846"/>
                  <a:gd name="connsiteY3" fmla="*/ 5200 h 34278"/>
                  <a:gd name="connsiteX4" fmla="*/ 5846 w 61846"/>
                  <a:gd name="connsiteY4" fmla="*/ 23062 h 34278"/>
                  <a:gd name="connsiteX5" fmla="*/ 31943 w 61846"/>
                  <a:gd name="connsiteY5" fmla="*/ 34210 h 34278"/>
                  <a:gd name="connsiteX6" fmla="*/ 47271 w 61846"/>
                  <a:gd name="connsiteY6" fmla="*/ 30283 h 34278"/>
                  <a:gd name="connsiteX7" fmla="*/ 59686 w 61846"/>
                  <a:gd name="connsiteY7" fmla="*/ 20529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846" h="34278">
                    <a:moveTo>
                      <a:pt x="59686" y="20529"/>
                    </a:moveTo>
                    <a:cubicBezTo>
                      <a:pt x="62473" y="15588"/>
                      <a:pt x="63107" y="8874"/>
                      <a:pt x="58293" y="5073"/>
                    </a:cubicBezTo>
                    <a:cubicBezTo>
                      <a:pt x="50945" y="-627"/>
                      <a:pt x="40304" y="1146"/>
                      <a:pt x="31816" y="1273"/>
                    </a:cubicBezTo>
                    <a:cubicBezTo>
                      <a:pt x="22568" y="1273"/>
                      <a:pt x="8380" y="-3414"/>
                      <a:pt x="1539" y="5200"/>
                    </a:cubicBezTo>
                    <a:cubicBezTo>
                      <a:pt x="-2642" y="10521"/>
                      <a:pt x="2679" y="18248"/>
                      <a:pt x="5846" y="23062"/>
                    </a:cubicBezTo>
                    <a:cubicBezTo>
                      <a:pt x="11167" y="31043"/>
                      <a:pt x="22822" y="34844"/>
                      <a:pt x="31943" y="34210"/>
                    </a:cubicBezTo>
                    <a:cubicBezTo>
                      <a:pt x="37770" y="33830"/>
                      <a:pt x="42457" y="33577"/>
                      <a:pt x="47271" y="30283"/>
                    </a:cubicBezTo>
                    <a:cubicBezTo>
                      <a:pt x="51832" y="27116"/>
                      <a:pt x="56519" y="25849"/>
                      <a:pt x="59686" y="2052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8" name="Полилиния: фигура 647">
                <a:extLst>
                  <a:ext uri="{FF2B5EF4-FFF2-40B4-BE49-F238E27FC236}">
                    <a16:creationId xmlns:a16="http://schemas.microsoft.com/office/drawing/2014/main" id="{1B72ECA5-968A-4FB4-826C-3B7A6EE24C34}"/>
                  </a:ext>
                </a:extLst>
              </p:cNvPr>
              <p:cNvSpPr/>
              <p:nvPr/>
            </p:nvSpPr>
            <p:spPr>
              <a:xfrm>
                <a:off x="6343500" y="1169218"/>
                <a:ext cx="107161" cy="73529"/>
              </a:xfrm>
              <a:custGeom>
                <a:avLst/>
                <a:gdLst>
                  <a:gd name="connsiteX0" fmla="*/ 99147 w 107161"/>
                  <a:gd name="connsiteY0" fmla="*/ 20379 h 73529"/>
                  <a:gd name="connsiteX1" fmla="*/ 72164 w 107161"/>
                  <a:gd name="connsiteY1" fmla="*/ 16579 h 73529"/>
                  <a:gd name="connsiteX2" fmla="*/ 24658 w 107161"/>
                  <a:gd name="connsiteY2" fmla="*/ 2264 h 73529"/>
                  <a:gd name="connsiteX3" fmla="*/ 82 w 107161"/>
                  <a:gd name="connsiteY3" fmla="*/ 43056 h 73529"/>
                  <a:gd name="connsiteX4" fmla="*/ 23265 w 107161"/>
                  <a:gd name="connsiteY4" fmla="*/ 72066 h 73529"/>
                  <a:gd name="connsiteX5" fmla="*/ 41254 w 107161"/>
                  <a:gd name="connsiteY5" fmla="*/ 73206 h 73529"/>
                  <a:gd name="connsiteX6" fmla="*/ 57722 w 107161"/>
                  <a:gd name="connsiteY6" fmla="*/ 69659 h 73529"/>
                  <a:gd name="connsiteX7" fmla="*/ 72544 w 107161"/>
                  <a:gd name="connsiteY7" fmla="*/ 64845 h 73529"/>
                  <a:gd name="connsiteX8" fmla="*/ 96487 w 107161"/>
                  <a:gd name="connsiteY8" fmla="*/ 51037 h 73529"/>
                  <a:gd name="connsiteX9" fmla="*/ 99147 w 107161"/>
                  <a:gd name="connsiteY9" fmla="*/ 20379 h 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61" h="73529">
                    <a:moveTo>
                      <a:pt x="99147" y="20379"/>
                    </a:moveTo>
                    <a:cubicBezTo>
                      <a:pt x="90406" y="16579"/>
                      <a:pt x="81159" y="18099"/>
                      <a:pt x="72164" y="16579"/>
                    </a:cubicBezTo>
                    <a:cubicBezTo>
                      <a:pt x="57089" y="13792"/>
                      <a:pt x="40494" y="-6731"/>
                      <a:pt x="24658" y="2264"/>
                    </a:cubicBezTo>
                    <a:cubicBezTo>
                      <a:pt x="11357" y="9865"/>
                      <a:pt x="1222" y="28107"/>
                      <a:pt x="82" y="43056"/>
                    </a:cubicBezTo>
                    <a:cubicBezTo>
                      <a:pt x="-1058" y="57497"/>
                      <a:pt x="9836" y="68519"/>
                      <a:pt x="23265" y="72066"/>
                    </a:cubicBezTo>
                    <a:cubicBezTo>
                      <a:pt x="29092" y="73586"/>
                      <a:pt x="35300" y="73839"/>
                      <a:pt x="41254" y="73206"/>
                    </a:cubicBezTo>
                    <a:cubicBezTo>
                      <a:pt x="46828" y="72699"/>
                      <a:pt x="52402" y="71306"/>
                      <a:pt x="57722" y="69659"/>
                    </a:cubicBezTo>
                    <a:cubicBezTo>
                      <a:pt x="62663" y="68139"/>
                      <a:pt x="67350" y="65605"/>
                      <a:pt x="72544" y="64845"/>
                    </a:cubicBezTo>
                    <a:cubicBezTo>
                      <a:pt x="81792" y="63198"/>
                      <a:pt x="89900" y="57624"/>
                      <a:pt x="96487" y="51037"/>
                    </a:cubicBezTo>
                    <a:cubicBezTo>
                      <a:pt x="104722" y="42929"/>
                      <a:pt x="114350" y="26967"/>
                      <a:pt x="99147" y="2037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49" name="Полилиния: фигура 648">
                <a:extLst>
                  <a:ext uri="{FF2B5EF4-FFF2-40B4-BE49-F238E27FC236}">
                    <a16:creationId xmlns:a16="http://schemas.microsoft.com/office/drawing/2014/main" id="{C3EA0A19-C967-4490-B795-2F3498D4047B}"/>
                  </a:ext>
                </a:extLst>
              </p:cNvPr>
              <p:cNvSpPr/>
              <p:nvPr/>
            </p:nvSpPr>
            <p:spPr>
              <a:xfrm>
                <a:off x="6327494" y="1160460"/>
                <a:ext cx="13175" cy="11654"/>
              </a:xfrm>
              <a:custGeom>
                <a:avLst/>
                <a:gdLst>
                  <a:gd name="connsiteX0" fmla="*/ 6588 w 13175"/>
                  <a:gd name="connsiteY0" fmla="*/ 0 h 11654"/>
                  <a:gd name="connsiteX1" fmla="*/ 0 w 13175"/>
                  <a:gd name="connsiteY1" fmla="*/ 5827 h 11654"/>
                  <a:gd name="connsiteX2" fmla="*/ 6588 w 13175"/>
                  <a:gd name="connsiteY2" fmla="*/ 11655 h 11654"/>
                  <a:gd name="connsiteX3" fmla="*/ 13175 w 13175"/>
                  <a:gd name="connsiteY3" fmla="*/ 5827 h 11654"/>
                  <a:gd name="connsiteX4" fmla="*/ 6588 w 13175"/>
                  <a:gd name="connsiteY4" fmla="*/ 0 h 11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75" h="11654">
                    <a:moveTo>
                      <a:pt x="6588" y="0"/>
                    </a:moveTo>
                    <a:cubicBezTo>
                      <a:pt x="2914" y="0"/>
                      <a:pt x="0" y="2660"/>
                      <a:pt x="0" y="5827"/>
                    </a:cubicBezTo>
                    <a:cubicBezTo>
                      <a:pt x="0" y="8994"/>
                      <a:pt x="2914" y="11655"/>
                      <a:pt x="6588" y="11655"/>
                    </a:cubicBezTo>
                    <a:cubicBezTo>
                      <a:pt x="10261" y="11655"/>
                      <a:pt x="13175" y="9121"/>
                      <a:pt x="13175" y="5827"/>
                    </a:cubicBezTo>
                    <a:cubicBezTo>
                      <a:pt x="13175" y="2660"/>
                      <a:pt x="10261" y="0"/>
                      <a:pt x="6588" y="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0" name="Полилиния: фигура 649">
                <a:extLst>
                  <a:ext uri="{FF2B5EF4-FFF2-40B4-BE49-F238E27FC236}">
                    <a16:creationId xmlns:a16="http://schemas.microsoft.com/office/drawing/2014/main" id="{3BFEFF06-A549-4435-B4CF-69D474D049DE}"/>
                  </a:ext>
                </a:extLst>
              </p:cNvPr>
              <p:cNvSpPr/>
              <p:nvPr/>
            </p:nvSpPr>
            <p:spPr>
              <a:xfrm>
                <a:off x="6312292" y="1139051"/>
                <a:ext cx="10641" cy="15835"/>
              </a:xfrm>
              <a:custGeom>
                <a:avLst/>
                <a:gdLst>
                  <a:gd name="connsiteX0" fmla="*/ 5320 w 10641"/>
                  <a:gd name="connsiteY0" fmla="*/ 0 h 15835"/>
                  <a:gd name="connsiteX1" fmla="*/ 0 w 10641"/>
                  <a:gd name="connsiteY1" fmla="*/ 7981 h 15835"/>
                  <a:gd name="connsiteX2" fmla="*/ 5320 w 10641"/>
                  <a:gd name="connsiteY2" fmla="*/ 15835 h 15835"/>
                  <a:gd name="connsiteX3" fmla="*/ 10641 w 10641"/>
                  <a:gd name="connsiteY3" fmla="*/ 7981 h 15835"/>
                  <a:gd name="connsiteX4" fmla="*/ 5320 w 10641"/>
                  <a:gd name="connsiteY4" fmla="*/ 0 h 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1" h="15835">
                    <a:moveTo>
                      <a:pt x="5320" y="0"/>
                    </a:moveTo>
                    <a:cubicBezTo>
                      <a:pt x="2407" y="0"/>
                      <a:pt x="0" y="3547"/>
                      <a:pt x="0" y="7981"/>
                    </a:cubicBezTo>
                    <a:cubicBezTo>
                      <a:pt x="0" y="12288"/>
                      <a:pt x="2407" y="15835"/>
                      <a:pt x="5320" y="15835"/>
                    </a:cubicBezTo>
                    <a:cubicBezTo>
                      <a:pt x="8234" y="15835"/>
                      <a:pt x="10641" y="12288"/>
                      <a:pt x="10641" y="7981"/>
                    </a:cubicBezTo>
                    <a:cubicBezTo>
                      <a:pt x="10641" y="3547"/>
                      <a:pt x="8234" y="0"/>
                      <a:pt x="5320" y="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1" name="Полилиния: фигура 650">
                <a:extLst>
                  <a:ext uri="{FF2B5EF4-FFF2-40B4-BE49-F238E27FC236}">
                    <a16:creationId xmlns:a16="http://schemas.microsoft.com/office/drawing/2014/main" id="{D1969387-407F-4A4D-8192-9712CB521DE3}"/>
                  </a:ext>
                </a:extLst>
              </p:cNvPr>
              <p:cNvSpPr/>
              <p:nvPr/>
            </p:nvSpPr>
            <p:spPr>
              <a:xfrm>
                <a:off x="6350930" y="1130563"/>
                <a:ext cx="18495" cy="16468"/>
              </a:xfrm>
              <a:custGeom>
                <a:avLst/>
                <a:gdLst>
                  <a:gd name="connsiteX0" fmla="*/ 0 w 18495"/>
                  <a:gd name="connsiteY0" fmla="*/ 8234 h 16468"/>
                  <a:gd name="connsiteX1" fmla="*/ 9248 w 18495"/>
                  <a:gd name="connsiteY1" fmla="*/ 16469 h 16468"/>
                  <a:gd name="connsiteX2" fmla="*/ 18496 w 18495"/>
                  <a:gd name="connsiteY2" fmla="*/ 8234 h 16468"/>
                  <a:gd name="connsiteX3" fmla="*/ 9248 w 18495"/>
                  <a:gd name="connsiteY3" fmla="*/ 0 h 16468"/>
                  <a:gd name="connsiteX4" fmla="*/ 0 w 18495"/>
                  <a:gd name="connsiteY4" fmla="*/ 8234 h 16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6468">
                    <a:moveTo>
                      <a:pt x="0" y="8234"/>
                    </a:moveTo>
                    <a:cubicBezTo>
                      <a:pt x="0" y="12795"/>
                      <a:pt x="4181" y="16469"/>
                      <a:pt x="9248" y="16469"/>
                    </a:cubicBezTo>
                    <a:cubicBezTo>
                      <a:pt x="14315" y="16469"/>
                      <a:pt x="18496" y="12795"/>
                      <a:pt x="18496" y="8234"/>
                    </a:cubicBezTo>
                    <a:cubicBezTo>
                      <a:pt x="18496" y="3674"/>
                      <a:pt x="14315" y="0"/>
                      <a:pt x="9248" y="0"/>
                    </a:cubicBezTo>
                    <a:cubicBezTo>
                      <a:pt x="4181" y="0"/>
                      <a:pt x="0" y="3674"/>
                      <a:pt x="0" y="82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2" name="Полилиния: фигура 651">
                <a:extLst>
                  <a:ext uri="{FF2B5EF4-FFF2-40B4-BE49-F238E27FC236}">
                    <a16:creationId xmlns:a16="http://schemas.microsoft.com/office/drawing/2014/main" id="{676B1B7A-AB33-4288-8DE2-D25E8DE89007}"/>
                  </a:ext>
                </a:extLst>
              </p:cNvPr>
              <p:cNvSpPr/>
              <p:nvPr/>
            </p:nvSpPr>
            <p:spPr>
              <a:xfrm>
                <a:off x="6356757" y="1093952"/>
                <a:ext cx="12541" cy="18749"/>
              </a:xfrm>
              <a:custGeom>
                <a:avLst/>
                <a:gdLst>
                  <a:gd name="connsiteX0" fmla="*/ 6334 w 12541"/>
                  <a:gd name="connsiteY0" fmla="*/ 0 h 18749"/>
                  <a:gd name="connsiteX1" fmla="*/ 0 w 12541"/>
                  <a:gd name="connsiteY1" fmla="*/ 9374 h 18749"/>
                  <a:gd name="connsiteX2" fmla="*/ 6334 w 12541"/>
                  <a:gd name="connsiteY2" fmla="*/ 18749 h 18749"/>
                  <a:gd name="connsiteX3" fmla="*/ 12542 w 12541"/>
                  <a:gd name="connsiteY3" fmla="*/ 9374 h 18749"/>
                  <a:gd name="connsiteX4" fmla="*/ 6334 w 12541"/>
                  <a:gd name="connsiteY4" fmla="*/ 0 h 18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41" h="18749">
                    <a:moveTo>
                      <a:pt x="6334" y="0"/>
                    </a:moveTo>
                    <a:cubicBezTo>
                      <a:pt x="2914" y="0"/>
                      <a:pt x="0" y="4180"/>
                      <a:pt x="0" y="9374"/>
                    </a:cubicBezTo>
                    <a:cubicBezTo>
                      <a:pt x="0" y="14568"/>
                      <a:pt x="2787" y="18749"/>
                      <a:pt x="6334" y="18749"/>
                    </a:cubicBezTo>
                    <a:cubicBezTo>
                      <a:pt x="9755" y="18749"/>
                      <a:pt x="12542" y="14568"/>
                      <a:pt x="12542" y="9374"/>
                    </a:cubicBezTo>
                    <a:cubicBezTo>
                      <a:pt x="12542" y="4180"/>
                      <a:pt x="9881" y="0"/>
                      <a:pt x="6334" y="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3" name="Полилиния: фигура 652">
                <a:extLst>
                  <a:ext uri="{FF2B5EF4-FFF2-40B4-BE49-F238E27FC236}">
                    <a16:creationId xmlns:a16="http://schemas.microsoft.com/office/drawing/2014/main" id="{0F37FE4F-4952-48A6-800E-E0181F31787E}"/>
                  </a:ext>
                </a:extLst>
              </p:cNvPr>
              <p:cNvSpPr/>
              <p:nvPr/>
            </p:nvSpPr>
            <p:spPr>
              <a:xfrm>
                <a:off x="6358531" y="1064815"/>
                <a:ext cx="10894" cy="12161"/>
              </a:xfrm>
              <a:custGeom>
                <a:avLst/>
                <a:gdLst>
                  <a:gd name="connsiteX0" fmla="*/ 5447 w 10894"/>
                  <a:gd name="connsiteY0" fmla="*/ 0 h 12161"/>
                  <a:gd name="connsiteX1" fmla="*/ 0 w 10894"/>
                  <a:gd name="connsiteY1" fmla="*/ 6081 h 12161"/>
                  <a:gd name="connsiteX2" fmla="*/ 5447 w 10894"/>
                  <a:gd name="connsiteY2" fmla="*/ 12162 h 12161"/>
                  <a:gd name="connsiteX3" fmla="*/ 10895 w 10894"/>
                  <a:gd name="connsiteY3" fmla="*/ 6081 h 12161"/>
                  <a:gd name="connsiteX4" fmla="*/ 5447 w 10894"/>
                  <a:gd name="connsiteY4" fmla="*/ 0 h 12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4" h="12161">
                    <a:moveTo>
                      <a:pt x="5447" y="0"/>
                    </a:moveTo>
                    <a:cubicBezTo>
                      <a:pt x="2407" y="0"/>
                      <a:pt x="0" y="2787"/>
                      <a:pt x="0" y="6081"/>
                    </a:cubicBezTo>
                    <a:cubicBezTo>
                      <a:pt x="0" y="9501"/>
                      <a:pt x="2407" y="12162"/>
                      <a:pt x="5447" y="12162"/>
                    </a:cubicBezTo>
                    <a:cubicBezTo>
                      <a:pt x="8488" y="12162"/>
                      <a:pt x="10895" y="9375"/>
                      <a:pt x="10895" y="6081"/>
                    </a:cubicBezTo>
                    <a:cubicBezTo>
                      <a:pt x="10895" y="2787"/>
                      <a:pt x="8488" y="0"/>
                      <a:pt x="5447" y="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4" name="Полилиния: фигура 653">
                <a:extLst>
                  <a:ext uri="{FF2B5EF4-FFF2-40B4-BE49-F238E27FC236}">
                    <a16:creationId xmlns:a16="http://schemas.microsoft.com/office/drawing/2014/main" id="{C0BEA2A4-AFB2-4F18-B6C3-64312B0C7555}"/>
                  </a:ext>
                </a:extLst>
              </p:cNvPr>
              <p:cNvSpPr/>
              <p:nvPr/>
            </p:nvSpPr>
            <p:spPr>
              <a:xfrm>
                <a:off x="6418198" y="1057087"/>
                <a:ext cx="17482" cy="24323"/>
              </a:xfrm>
              <a:custGeom>
                <a:avLst/>
                <a:gdLst>
                  <a:gd name="connsiteX0" fmla="*/ 8741 w 17482"/>
                  <a:gd name="connsiteY0" fmla="*/ 24323 h 24323"/>
                  <a:gd name="connsiteX1" fmla="*/ 17482 w 17482"/>
                  <a:gd name="connsiteY1" fmla="*/ 12162 h 24323"/>
                  <a:gd name="connsiteX2" fmla="*/ 8741 w 17482"/>
                  <a:gd name="connsiteY2" fmla="*/ 0 h 24323"/>
                  <a:gd name="connsiteX3" fmla="*/ 0 w 17482"/>
                  <a:gd name="connsiteY3" fmla="*/ 12162 h 24323"/>
                  <a:gd name="connsiteX4" fmla="*/ 8741 w 17482"/>
                  <a:gd name="connsiteY4" fmla="*/ 24323 h 24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82" h="24323">
                    <a:moveTo>
                      <a:pt x="8741" y="24323"/>
                    </a:moveTo>
                    <a:cubicBezTo>
                      <a:pt x="13555" y="24323"/>
                      <a:pt x="17482" y="18876"/>
                      <a:pt x="17482" y="12162"/>
                    </a:cubicBezTo>
                    <a:cubicBezTo>
                      <a:pt x="17482" y="5447"/>
                      <a:pt x="13555" y="0"/>
                      <a:pt x="8741" y="0"/>
                    </a:cubicBezTo>
                    <a:cubicBezTo>
                      <a:pt x="3927" y="0"/>
                      <a:pt x="0" y="5447"/>
                      <a:pt x="0" y="12162"/>
                    </a:cubicBezTo>
                    <a:cubicBezTo>
                      <a:pt x="0" y="18876"/>
                      <a:pt x="3927" y="24323"/>
                      <a:pt x="8741" y="2432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5" name="Полилиния: фигура 654">
                <a:extLst>
                  <a:ext uri="{FF2B5EF4-FFF2-40B4-BE49-F238E27FC236}">
                    <a16:creationId xmlns:a16="http://schemas.microsoft.com/office/drawing/2014/main" id="{5A931420-DB02-4C36-938F-F928C3E7A7CB}"/>
                  </a:ext>
                </a:extLst>
              </p:cNvPr>
              <p:cNvSpPr/>
              <p:nvPr/>
            </p:nvSpPr>
            <p:spPr>
              <a:xfrm>
                <a:off x="6235142" y="1136137"/>
                <a:ext cx="11907" cy="10894"/>
              </a:xfrm>
              <a:custGeom>
                <a:avLst/>
                <a:gdLst>
                  <a:gd name="connsiteX0" fmla="*/ 5954 w 11907"/>
                  <a:gd name="connsiteY0" fmla="*/ 10895 h 10894"/>
                  <a:gd name="connsiteX1" fmla="*/ 11908 w 11907"/>
                  <a:gd name="connsiteY1" fmla="*/ 5447 h 10894"/>
                  <a:gd name="connsiteX2" fmla="*/ 5954 w 11907"/>
                  <a:gd name="connsiteY2" fmla="*/ 0 h 10894"/>
                  <a:gd name="connsiteX3" fmla="*/ 0 w 11907"/>
                  <a:gd name="connsiteY3" fmla="*/ 5447 h 10894"/>
                  <a:gd name="connsiteX4" fmla="*/ 5954 w 11907"/>
                  <a:gd name="connsiteY4" fmla="*/ 10895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7" h="10894">
                    <a:moveTo>
                      <a:pt x="5954" y="10895"/>
                    </a:moveTo>
                    <a:cubicBezTo>
                      <a:pt x="9248" y="10895"/>
                      <a:pt x="11908" y="8488"/>
                      <a:pt x="11908" y="5447"/>
                    </a:cubicBezTo>
                    <a:cubicBezTo>
                      <a:pt x="11908" y="2407"/>
                      <a:pt x="9248" y="0"/>
                      <a:pt x="5954" y="0"/>
                    </a:cubicBezTo>
                    <a:cubicBezTo>
                      <a:pt x="2660" y="0"/>
                      <a:pt x="0" y="2407"/>
                      <a:pt x="0" y="5447"/>
                    </a:cubicBezTo>
                    <a:cubicBezTo>
                      <a:pt x="0" y="8488"/>
                      <a:pt x="2660" y="10895"/>
                      <a:pt x="5954" y="1089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6" name="Полилиния: фигура 655">
                <a:extLst>
                  <a:ext uri="{FF2B5EF4-FFF2-40B4-BE49-F238E27FC236}">
                    <a16:creationId xmlns:a16="http://schemas.microsoft.com/office/drawing/2014/main" id="{9330993E-0801-4C9F-87CF-5020B5B44DCB}"/>
                  </a:ext>
                </a:extLst>
              </p:cNvPr>
              <p:cNvSpPr/>
              <p:nvPr/>
            </p:nvSpPr>
            <p:spPr>
              <a:xfrm>
                <a:off x="6217660" y="1121695"/>
                <a:ext cx="8614" cy="6840"/>
              </a:xfrm>
              <a:custGeom>
                <a:avLst/>
                <a:gdLst>
                  <a:gd name="connsiteX0" fmla="*/ 4307 w 8614"/>
                  <a:gd name="connsiteY0" fmla="*/ 6841 h 6840"/>
                  <a:gd name="connsiteX1" fmla="*/ 8614 w 8614"/>
                  <a:gd name="connsiteY1" fmla="*/ 3420 h 6840"/>
                  <a:gd name="connsiteX2" fmla="*/ 4307 w 8614"/>
                  <a:gd name="connsiteY2" fmla="*/ 0 h 6840"/>
                  <a:gd name="connsiteX3" fmla="*/ 0 w 8614"/>
                  <a:gd name="connsiteY3" fmla="*/ 3420 h 6840"/>
                  <a:gd name="connsiteX4" fmla="*/ 4307 w 8614"/>
                  <a:gd name="connsiteY4" fmla="*/ 6841 h 6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 h="6840">
                    <a:moveTo>
                      <a:pt x="4307" y="6841"/>
                    </a:moveTo>
                    <a:cubicBezTo>
                      <a:pt x="6714" y="6841"/>
                      <a:pt x="8614" y="5321"/>
                      <a:pt x="8614" y="3420"/>
                    </a:cubicBezTo>
                    <a:cubicBezTo>
                      <a:pt x="8614" y="1520"/>
                      <a:pt x="6714" y="0"/>
                      <a:pt x="4307" y="0"/>
                    </a:cubicBezTo>
                    <a:cubicBezTo>
                      <a:pt x="1900" y="0"/>
                      <a:pt x="0" y="1520"/>
                      <a:pt x="0" y="3420"/>
                    </a:cubicBezTo>
                    <a:cubicBezTo>
                      <a:pt x="0" y="5321"/>
                      <a:pt x="1900" y="6841"/>
                      <a:pt x="4307" y="68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7" name="Полилиния: фигура 656">
                <a:extLst>
                  <a:ext uri="{FF2B5EF4-FFF2-40B4-BE49-F238E27FC236}">
                    <a16:creationId xmlns:a16="http://schemas.microsoft.com/office/drawing/2014/main" id="{3C61634A-40E0-48C3-9B34-7C6D28A9A379}"/>
                  </a:ext>
                </a:extLst>
              </p:cNvPr>
              <p:cNvSpPr/>
              <p:nvPr/>
            </p:nvSpPr>
            <p:spPr>
              <a:xfrm>
                <a:off x="6224881" y="1100539"/>
                <a:ext cx="6840" cy="8867"/>
              </a:xfrm>
              <a:custGeom>
                <a:avLst/>
                <a:gdLst>
                  <a:gd name="connsiteX0" fmla="*/ 3421 w 6840"/>
                  <a:gd name="connsiteY0" fmla="*/ 8868 h 8867"/>
                  <a:gd name="connsiteX1" fmla="*/ 6841 w 6840"/>
                  <a:gd name="connsiteY1" fmla="*/ 4434 h 8867"/>
                  <a:gd name="connsiteX2" fmla="*/ 3421 w 6840"/>
                  <a:gd name="connsiteY2" fmla="*/ 0 h 8867"/>
                  <a:gd name="connsiteX3" fmla="*/ 0 w 6840"/>
                  <a:gd name="connsiteY3" fmla="*/ 4434 h 8867"/>
                  <a:gd name="connsiteX4" fmla="*/ 3421 w 6840"/>
                  <a:gd name="connsiteY4" fmla="*/ 8868 h 8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0" h="8867">
                    <a:moveTo>
                      <a:pt x="3421" y="8868"/>
                    </a:moveTo>
                    <a:cubicBezTo>
                      <a:pt x="5321" y="8868"/>
                      <a:pt x="6841" y="6841"/>
                      <a:pt x="6841" y="4434"/>
                    </a:cubicBezTo>
                    <a:cubicBezTo>
                      <a:pt x="6841" y="1900"/>
                      <a:pt x="5321" y="0"/>
                      <a:pt x="3421" y="0"/>
                    </a:cubicBezTo>
                    <a:cubicBezTo>
                      <a:pt x="1521" y="0"/>
                      <a:pt x="0" y="2027"/>
                      <a:pt x="0" y="4434"/>
                    </a:cubicBezTo>
                    <a:cubicBezTo>
                      <a:pt x="0" y="6841"/>
                      <a:pt x="1521" y="8868"/>
                      <a:pt x="3421" y="886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8" name="Полилиния: фигура 657">
                <a:extLst>
                  <a:ext uri="{FF2B5EF4-FFF2-40B4-BE49-F238E27FC236}">
                    <a16:creationId xmlns:a16="http://schemas.microsoft.com/office/drawing/2014/main" id="{1AC98C5D-7ABC-4CCA-9A76-97113B6EAFD6}"/>
                  </a:ext>
                </a:extLst>
              </p:cNvPr>
              <p:cNvSpPr/>
              <p:nvPr/>
            </p:nvSpPr>
            <p:spPr>
              <a:xfrm>
                <a:off x="6200811" y="1106367"/>
                <a:ext cx="7347" cy="6334"/>
              </a:xfrm>
              <a:custGeom>
                <a:avLst/>
                <a:gdLst>
                  <a:gd name="connsiteX0" fmla="*/ 3674 w 7347"/>
                  <a:gd name="connsiteY0" fmla="*/ 6334 h 6334"/>
                  <a:gd name="connsiteX1" fmla="*/ 7348 w 7347"/>
                  <a:gd name="connsiteY1" fmla="*/ 3167 h 6334"/>
                  <a:gd name="connsiteX2" fmla="*/ 3674 w 7347"/>
                  <a:gd name="connsiteY2" fmla="*/ 0 h 6334"/>
                  <a:gd name="connsiteX3" fmla="*/ 0 w 7347"/>
                  <a:gd name="connsiteY3" fmla="*/ 3167 h 6334"/>
                  <a:gd name="connsiteX4" fmla="*/ 3674 w 7347"/>
                  <a:gd name="connsiteY4" fmla="*/ 6334 h 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7" h="6334">
                    <a:moveTo>
                      <a:pt x="3674" y="6334"/>
                    </a:moveTo>
                    <a:cubicBezTo>
                      <a:pt x="5701" y="6334"/>
                      <a:pt x="7348" y="4941"/>
                      <a:pt x="7348" y="3167"/>
                    </a:cubicBezTo>
                    <a:cubicBezTo>
                      <a:pt x="7348" y="1394"/>
                      <a:pt x="5701" y="0"/>
                      <a:pt x="3674" y="0"/>
                    </a:cubicBezTo>
                    <a:cubicBezTo>
                      <a:pt x="1647" y="0"/>
                      <a:pt x="0" y="1394"/>
                      <a:pt x="0" y="3167"/>
                    </a:cubicBezTo>
                    <a:cubicBezTo>
                      <a:pt x="0" y="4941"/>
                      <a:pt x="1647" y="6334"/>
                      <a:pt x="3674" y="63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59" name="Полилиния: фигура 658">
                <a:extLst>
                  <a:ext uri="{FF2B5EF4-FFF2-40B4-BE49-F238E27FC236}">
                    <a16:creationId xmlns:a16="http://schemas.microsoft.com/office/drawing/2014/main" id="{257A5B00-BCFC-4605-AFA3-FA7F27EBC9BE}"/>
                  </a:ext>
                </a:extLst>
              </p:cNvPr>
              <p:cNvSpPr/>
              <p:nvPr/>
            </p:nvSpPr>
            <p:spPr>
              <a:xfrm>
                <a:off x="6204612" y="1139051"/>
                <a:ext cx="9121" cy="12921"/>
              </a:xfrm>
              <a:custGeom>
                <a:avLst/>
                <a:gdLst>
                  <a:gd name="connsiteX0" fmla="*/ 9121 w 9121"/>
                  <a:gd name="connsiteY0" fmla="*/ 6461 h 12921"/>
                  <a:gd name="connsiteX1" fmla="*/ 4560 w 9121"/>
                  <a:gd name="connsiteY1" fmla="*/ 0 h 12921"/>
                  <a:gd name="connsiteX2" fmla="*/ 0 w 9121"/>
                  <a:gd name="connsiteY2" fmla="*/ 6461 h 12921"/>
                  <a:gd name="connsiteX3" fmla="*/ 4560 w 9121"/>
                  <a:gd name="connsiteY3" fmla="*/ 12922 h 12921"/>
                  <a:gd name="connsiteX4" fmla="*/ 9121 w 91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12921">
                    <a:moveTo>
                      <a:pt x="9121" y="6461"/>
                    </a:moveTo>
                    <a:cubicBezTo>
                      <a:pt x="9121" y="2914"/>
                      <a:pt x="7094" y="0"/>
                      <a:pt x="4560" y="0"/>
                    </a:cubicBezTo>
                    <a:cubicBezTo>
                      <a:pt x="2027" y="0"/>
                      <a:pt x="0" y="2914"/>
                      <a:pt x="0" y="6461"/>
                    </a:cubicBezTo>
                    <a:cubicBezTo>
                      <a:pt x="0" y="10008"/>
                      <a:pt x="2027" y="12922"/>
                      <a:pt x="4560" y="12922"/>
                    </a:cubicBezTo>
                    <a:cubicBezTo>
                      <a:pt x="6967" y="12922"/>
                      <a:pt x="9121" y="10008"/>
                      <a:pt x="9121" y="646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0" name="Полилиния: фигура 659">
                <a:extLst>
                  <a:ext uri="{FF2B5EF4-FFF2-40B4-BE49-F238E27FC236}">
                    <a16:creationId xmlns:a16="http://schemas.microsoft.com/office/drawing/2014/main" id="{D587E546-2BE8-4E2A-A7F3-E5F9EAE69C81}"/>
                  </a:ext>
                </a:extLst>
              </p:cNvPr>
              <p:cNvSpPr/>
              <p:nvPr/>
            </p:nvSpPr>
            <p:spPr>
              <a:xfrm>
                <a:off x="6184596" y="1085337"/>
                <a:ext cx="9247" cy="10894"/>
              </a:xfrm>
              <a:custGeom>
                <a:avLst/>
                <a:gdLst>
                  <a:gd name="connsiteX0" fmla="*/ 0 w 9247"/>
                  <a:gd name="connsiteY0" fmla="*/ 5447 h 10894"/>
                  <a:gd name="connsiteX1" fmla="*/ 4561 w 9247"/>
                  <a:gd name="connsiteY1" fmla="*/ 10895 h 10894"/>
                  <a:gd name="connsiteX2" fmla="*/ 9248 w 9247"/>
                  <a:gd name="connsiteY2" fmla="*/ 5447 h 10894"/>
                  <a:gd name="connsiteX3" fmla="*/ 4561 w 9247"/>
                  <a:gd name="connsiteY3" fmla="*/ 0 h 10894"/>
                  <a:gd name="connsiteX4" fmla="*/ 0 w 9247"/>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7" h="10894">
                    <a:moveTo>
                      <a:pt x="0" y="5447"/>
                    </a:moveTo>
                    <a:cubicBezTo>
                      <a:pt x="0" y="8488"/>
                      <a:pt x="2027" y="10895"/>
                      <a:pt x="4561" y="10895"/>
                    </a:cubicBezTo>
                    <a:cubicBezTo>
                      <a:pt x="7094" y="10895"/>
                      <a:pt x="9248" y="8488"/>
                      <a:pt x="9248" y="5447"/>
                    </a:cubicBezTo>
                    <a:cubicBezTo>
                      <a:pt x="9248" y="2407"/>
                      <a:pt x="7221" y="0"/>
                      <a:pt x="4561" y="0"/>
                    </a:cubicBezTo>
                    <a:cubicBezTo>
                      <a:pt x="2154" y="0"/>
                      <a:pt x="0" y="2407"/>
                      <a:pt x="0" y="54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1" name="Полилиния: фигура 660">
                <a:extLst>
                  <a:ext uri="{FF2B5EF4-FFF2-40B4-BE49-F238E27FC236}">
                    <a16:creationId xmlns:a16="http://schemas.microsoft.com/office/drawing/2014/main" id="{4D5C610A-3D91-4AE5-9C0E-7C22589D730C}"/>
                  </a:ext>
                </a:extLst>
              </p:cNvPr>
              <p:cNvSpPr/>
              <p:nvPr/>
            </p:nvSpPr>
            <p:spPr>
              <a:xfrm>
                <a:off x="6204485" y="1077103"/>
                <a:ext cx="9121" cy="8234"/>
              </a:xfrm>
              <a:custGeom>
                <a:avLst/>
                <a:gdLst>
                  <a:gd name="connsiteX0" fmla="*/ 4560 w 9121"/>
                  <a:gd name="connsiteY0" fmla="*/ 8234 h 8234"/>
                  <a:gd name="connsiteX1" fmla="*/ 9121 w 9121"/>
                  <a:gd name="connsiteY1" fmla="*/ 4181 h 8234"/>
                  <a:gd name="connsiteX2" fmla="*/ 4560 w 9121"/>
                  <a:gd name="connsiteY2" fmla="*/ 0 h 8234"/>
                  <a:gd name="connsiteX3" fmla="*/ 0 w 9121"/>
                  <a:gd name="connsiteY3" fmla="*/ 4181 h 8234"/>
                  <a:gd name="connsiteX4" fmla="*/ 4560 w 9121"/>
                  <a:gd name="connsiteY4" fmla="*/ 8234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1" h="8234">
                    <a:moveTo>
                      <a:pt x="4560" y="8234"/>
                    </a:moveTo>
                    <a:cubicBezTo>
                      <a:pt x="7094" y="8234"/>
                      <a:pt x="9121" y="6334"/>
                      <a:pt x="9121" y="4181"/>
                    </a:cubicBezTo>
                    <a:cubicBezTo>
                      <a:pt x="9121" y="1900"/>
                      <a:pt x="7094" y="0"/>
                      <a:pt x="4560" y="0"/>
                    </a:cubicBezTo>
                    <a:cubicBezTo>
                      <a:pt x="2027" y="0"/>
                      <a:pt x="0" y="1900"/>
                      <a:pt x="0" y="4181"/>
                    </a:cubicBezTo>
                    <a:cubicBezTo>
                      <a:pt x="0" y="6334"/>
                      <a:pt x="2027" y="8234"/>
                      <a:pt x="4560" y="823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2" name="Полилиния: фигура 661">
                <a:extLst>
                  <a:ext uri="{FF2B5EF4-FFF2-40B4-BE49-F238E27FC236}">
                    <a16:creationId xmlns:a16="http://schemas.microsoft.com/office/drawing/2014/main" id="{8D24B70A-B457-46BC-8F07-DAE98734537B}"/>
                  </a:ext>
                </a:extLst>
              </p:cNvPr>
              <p:cNvSpPr/>
              <p:nvPr/>
            </p:nvSpPr>
            <p:spPr>
              <a:xfrm>
                <a:off x="6186496" y="1049360"/>
                <a:ext cx="11654" cy="15455"/>
              </a:xfrm>
              <a:custGeom>
                <a:avLst/>
                <a:gdLst>
                  <a:gd name="connsiteX0" fmla="*/ 11655 w 11654"/>
                  <a:gd name="connsiteY0" fmla="*/ 7728 h 15455"/>
                  <a:gd name="connsiteX1" fmla="*/ 5828 w 11654"/>
                  <a:gd name="connsiteY1" fmla="*/ 0 h 15455"/>
                  <a:gd name="connsiteX2" fmla="*/ 0 w 11654"/>
                  <a:gd name="connsiteY2" fmla="*/ 7728 h 15455"/>
                  <a:gd name="connsiteX3" fmla="*/ 5828 w 11654"/>
                  <a:gd name="connsiteY3" fmla="*/ 15455 h 15455"/>
                  <a:gd name="connsiteX4" fmla="*/ 11655 w 11654"/>
                  <a:gd name="connsiteY4" fmla="*/ 7728 h 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15455">
                    <a:moveTo>
                      <a:pt x="11655" y="7728"/>
                    </a:moveTo>
                    <a:cubicBezTo>
                      <a:pt x="11655" y="3420"/>
                      <a:pt x="9121" y="0"/>
                      <a:pt x="5828" y="0"/>
                    </a:cubicBezTo>
                    <a:cubicBezTo>
                      <a:pt x="2661" y="0"/>
                      <a:pt x="0" y="3420"/>
                      <a:pt x="0" y="7728"/>
                    </a:cubicBezTo>
                    <a:cubicBezTo>
                      <a:pt x="0" y="12035"/>
                      <a:pt x="2534" y="15455"/>
                      <a:pt x="5828" y="15455"/>
                    </a:cubicBezTo>
                    <a:cubicBezTo>
                      <a:pt x="9121" y="15455"/>
                      <a:pt x="11655" y="12035"/>
                      <a:pt x="11655" y="772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3" name="Полилиния: фигура 662">
                <a:extLst>
                  <a:ext uri="{FF2B5EF4-FFF2-40B4-BE49-F238E27FC236}">
                    <a16:creationId xmlns:a16="http://schemas.microsoft.com/office/drawing/2014/main" id="{BFCA496A-CB2E-4932-AC1B-9B17BDB6897E}"/>
                  </a:ext>
                </a:extLst>
              </p:cNvPr>
              <p:cNvSpPr/>
              <p:nvPr/>
            </p:nvSpPr>
            <p:spPr>
              <a:xfrm>
                <a:off x="6298103" y="1251545"/>
                <a:ext cx="11654" cy="21789"/>
              </a:xfrm>
              <a:custGeom>
                <a:avLst/>
                <a:gdLst>
                  <a:gd name="connsiteX0" fmla="*/ 5827 w 11654"/>
                  <a:gd name="connsiteY0" fmla="*/ 0 h 21789"/>
                  <a:gd name="connsiteX1" fmla="*/ 0 w 11654"/>
                  <a:gd name="connsiteY1" fmla="*/ 10895 h 21789"/>
                  <a:gd name="connsiteX2" fmla="*/ 5827 w 11654"/>
                  <a:gd name="connsiteY2" fmla="*/ 21789 h 21789"/>
                  <a:gd name="connsiteX3" fmla="*/ 11655 w 11654"/>
                  <a:gd name="connsiteY3" fmla="*/ 10895 h 21789"/>
                  <a:gd name="connsiteX4" fmla="*/ 5827 w 11654"/>
                  <a:gd name="connsiteY4" fmla="*/ 0 h 2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4" h="21789">
                    <a:moveTo>
                      <a:pt x="5827" y="0"/>
                    </a:moveTo>
                    <a:cubicBezTo>
                      <a:pt x="2660" y="0"/>
                      <a:pt x="0" y="4941"/>
                      <a:pt x="0" y="10895"/>
                    </a:cubicBezTo>
                    <a:cubicBezTo>
                      <a:pt x="0" y="16849"/>
                      <a:pt x="2533" y="21789"/>
                      <a:pt x="5827" y="21789"/>
                    </a:cubicBezTo>
                    <a:cubicBezTo>
                      <a:pt x="8994" y="21789"/>
                      <a:pt x="11655" y="16849"/>
                      <a:pt x="11655" y="10895"/>
                    </a:cubicBezTo>
                    <a:cubicBezTo>
                      <a:pt x="11528" y="4941"/>
                      <a:pt x="8994" y="0"/>
                      <a:pt x="5827" y="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4" name="Полилиния: фигура 663">
                <a:extLst>
                  <a:ext uri="{FF2B5EF4-FFF2-40B4-BE49-F238E27FC236}">
                    <a16:creationId xmlns:a16="http://schemas.microsoft.com/office/drawing/2014/main" id="{6281A599-4154-4AB0-B56B-3738DCF4CE96}"/>
                  </a:ext>
                </a:extLst>
              </p:cNvPr>
              <p:cNvSpPr/>
              <p:nvPr/>
            </p:nvSpPr>
            <p:spPr>
              <a:xfrm>
                <a:off x="6302411" y="1229755"/>
                <a:ext cx="12921" cy="12921"/>
              </a:xfrm>
              <a:custGeom>
                <a:avLst/>
                <a:gdLst>
                  <a:gd name="connsiteX0" fmla="*/ 12921 w 12921"/>
                  <a:gd name="connsiteY0" fmla="*/ 6461 h 12921"/>
                  <a:gd name="connsiteX1" fmla="*/ 6461 w 12921"/>
                  <a:gd name="connsiteY1" fmla="*/ 0 h 12921"/>
                  <a:gd name="connsiteX2" fmla="*/ 0 w 12921"/>
                  <a:gd name="connsiteY2" fmla="*/ 6461 h 12921"/>
                  <a:gd name="connsiteX3" fmla="*/ 6461 w 12921"/>
                  <a:gd name="connsiteY3" fmla="*/ 12922 h 12921"/>
                  <a:gd name="connsiteX4" fmla="*/ 12921 w 12921"/>
                  <a:gd name="connsiteY4" fmla="*/ 6461 h 12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21" h="12921">
                    <a:moveTo>
                      <a:pt x="12921" y="6461"/>
                    </a:moveTo>
                    <a:cubicBezTo>
                      <a:pt x="12921" y="2914"/>
                      <a:pt x="10008" y="0"/>
                      <a:pt x="6461" y="0"/>
                    </a:cubicBezTo>
                    <a:cubicBezTo>
                      <a:pt x="2913" y="0"/>
                      <a:pt x="0" y="2914"/>
                      <a:pt x="0" y="6461"/>
                    </a:cubicBezTo>
                    <a:cubicBezTo>
                      <a:pt x="0" y="10008"/>
                      <a:pt x="2913" y="12922"/>
                      <a:pt x="6461" y="12922"/>
                    </a:cubicBezTo>
                    <a:cubicBezTo>
                      <a:pt x="10008" y="12922"/>
                      <a:pt x="12921" y="10008"/>
                      <a:pt x="12921" y="646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5" name="Полилиния: фигура 664">
                <a:extLst>
                  <a:ext uri="{FF2B5EF4-FFF2-40B4-BE49-F238E27FC236}">
                    <a16:creationId xmlns:a16="http://schemas.microsoft.com/office/drawing/2014/main" id="{A7FDB070-F6DE-4972-951A-AF3971584448}"/>
                  </a:ext>
                </a:extLst>
              </p:cNvPr>
              <p:cNvSpPr/>
              <p:nvPr/>
            </p:nvSpPr>
            <p:spPr>
              <a:xfrm>
                <a:off x="6262505" y="1262439"/>
                <a:ext cx="18495" cy="10894"/>
              </a:xfrm>
              <a:custGeom>
                <a:avLst/>
                <a:gdLst>
                  <a:gd name="connsiteX0" fmla="*/ 0 w 18495"/>
                  <a:gd name="connsiteY0" fmla="*/ 5447 h 10894"/>
                  <a:gd name="connsiteX1" fmla="*/ 9248 w 18495"/>
                  <a:gd name="connsiteY1" fmla="*/ 10895 h 10894"/>
                  <a:gd name="connsiteX2" fmla="*/ 18496 w 18495"/>
                  <a:gd name="connsiteY2" fmla="*/ 5447 h 10894"/>
                  <a:gd name="connsiteX3" fmla="*/ 9248 w 18495"/>
                  <a:gd name="connsiteY3" fmla="*/ 0 h 10894"/>
                  <a:gd name="connsiteX4" fmla="*/ 0 w 18495"/>
                  <a:gd name="connsiteY4" fmla="*/ 5447 h 1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95" h="10894">
                    <a:moveTo>
                      <a:pt x="0" y="5447"/>
                    </a:moveTo>
                    <a:cubicBezTo>
                      <a:pt x="0" y="8488"/>
                      <a:pt x="4181" y="10895"/>
                      <a:pt x="9248" y="10895"/>
                    </a:cubicBezTo>
                    <a:cubicBezTo>
                      <a:pt x="14315" y="10895"/>
                      <a:pt x="18496" y="8361"/>
                      <a:pt x="18496" y="5447"/>
                    </a:cubicBezTo>
                    <a:cubicBezTo>
                      <a:pt x="18496" y="2407"/>
                      <a:pt x="14315" y="0"/>
                      <a:pt x="9248" y="0"/>
                    </a:cubicBezTo>
                    <a:cubicBezTo>
                      <a:pt x="4181" y="0"/>
                      <a:pt x="0" y="2534"/>
                      <a:pt x="0" y="544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6" name="Полилиния: фигура 665">
                <a:extLst>
                  <a:ext uri="{FF2B5EF4-FFF2-40B4-BE49-F238E27FC236}">
                    <a16:creationId xmlns:a16="http://schemas.microsoft.com/office/drawing/2014/main" id="{AB6419E6-6469-4EBD-A0F2-1D1F6BA5B097}"/>
                  </a:ext>
                </a:extLst>
              </p:cNvPr>
              <p:cNvSpPr/>
              <p:nvPr/>
            </p:nvSpPr>
            <p:spPr>
              <a:xfrm>
                <a:off x="6207088" y="1157528"/>
                <a:ext cx="57808" cy="45171"/>
              </a:xfrm>
              <a:custGeom>
                <a:avLst/>
                <a:gdLst>
                  <a:gd name="connsiteX0" fmla="*/ 15006 w 57808"/>
                  <a:gd name="connsiteY0" fmla="*/ 42203 h 45171"/>
                  <a:gd name="connsiteX1" fmla="*/ 26280 w 57808"/>
                  <a:gd name="connsiteY1" fmla="*/ 44990 h 45171"/>
                  <a:gd name="connsiteX2" fmla="*/ 42749 w 57808"/>
                  <a:gd name="connsiteY2" fmla="*/ 34096 h 45171"/>
                  <a:gd name="connsiteX3" fmla="*/ 57064 w 57808"/>
                  <a:gd name="connsiteY3" fmla="*/ 22821 h 45171"/>
                  <a:gd name="connsiteX4" fmla="*/ 55037 w 57808"/>
                  <a:gd name="connsiteY4" fmla="*/ 14460 h 45171"/>
                  <a:gd name="connsiteX5" fmla="*/ 47563 w 57808"/>
                  <a:gd name="connsiteY5" fmla="*/ 5846 h 45171"/>
                  <a:gd name="connsiteX6" fmla="*/ 38061 w 57808"/>
                  <a:gd name="connsiteY6" fmla="*/ 1032 h 45171"/>
                  <a:gd name="connsiteX7" fmla="*/ 28940 w 57808"/>
                  <a:gd name="connsiteY7" fmla="*/ 13446 h 45171"/>
                  <a:gd name="connsiteX8" fmla="*/ 18299 w 57808"/>
                  <a:gd name="connsiteY8" fmla="*/ 20287 h 45171"/>
                  <a:gd name="connsiteX9" fmla="*/ 1957 w 57808"/>
                  <a:gd name="connsiteY9" fmla="*/ 34222 h 45171"/>
                  <a:gd name="connsiteX10" fmla="*/ 15006 w 57808"/>
                  <a:gd name="connsiteY10" fmla="*/ 42203 h 4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808" h="45171">
                    <a:moveTo>
                      <a:pt x="15006" y="42203"/>
                    </a:moveTo>
                    <a:cubicBezTo>
                      <a:pt x="18426" y="43977"/>
                      <a:pt x="22353" y="45750"/>
                      <a:pt x="26280" y="44990"/>
                    </a:cubicBezTo>
                    <a:cubicBezTo>
                      <a:pt x="33247" y="43724"/>
                      <a:pt x="37681" y="38403"/>
                      <a:pt x="42749" y="34096"/>
                    </a:cubicBezTo>
                    <a:cubicBezTo>
                      <a:pt x="47563" y="30042"/>
                      <a:pt x="53897" y="28902"/>
                      <a:pt x="57064" y="22821"/>
                    </a:cubicBezTo>
                    <a:cubicBezTo>
                      <a:pt x="58711" y="19781"/>
                      <a:pt x="57444" y="16740"/>
                      <a:pt x="55037" y="14460"/>
                    </a:cubicBezTo>
                    <a:cubicBezTo>
                      <a:pt x="52123" y="11673"/>
                      <a:pt x="49716" y="9393"/>
                      <a:pt x="47563" y="5846"/>
                    </a:cubicBezTo>
                    <a:cubicBezTo>
                      <a:pt x="45409" y="2298"/>
                      <a:pt x="42622" y="-2009"/>
                      <a:pt x="38061" y="1032"/>
                    </a:cubicBezTo>
                    <a:cubicBezTo>
                      <a:pt x="33881" y="3945"/>
                      <a:pt x="31854" y="9519"/>
                      <a:pt x="28940" y="13446"/>
                    </a:cubicBezTo>
                    <a:cubicBezTo>
                      <a:pt x="26153" y="17247"/>
                      <a:pt x="22860" y="19020"/>
                      <a:pt x="18299" y="20287"/>
                    </a:cubicBezTo>
                    <a:cubicBezTo>
                      <a:pt x="13232" y="21681"/>
                      <a:pt x="-6151" y="25735"/>
                      <a:pt x="1957" y="34222"/>
                    </a:cubicBezTo>
                    <a:cubicBezTo>
                      <a:pt x="5378" y="37770"/>
                      <a:pt x="10572" y="40176"/>
                      <a:pt x="15006" y="4220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7" name="Полилиния: фигура 666">
                <a:extLst>
                  <a:ext uri="{FF2B5EF4-FFF2-40B4-BE49-F238E27FC236}">
                    <a16:creationId xmlns:a16="http://schemas.microsoft.com/office/drawing/2014/main" id="{054C62E7-BCBC-4EC0-BE98-AC7B4CBA7D6A}"/>
                  </a:ext>
                </a:extLst>
              </p:cNvPr>
              <p:cNvSpPr/>
              <p:nvPr/>
            </p:nvSpPr>
            <p:spPr>
              <a:xfrm>
                <a:off x="6258828" y="1161089"/>
                <a:ext cx="66211" cy="64010"/>
              </a:xfrm>
              <a:custGeom>
                <a:avLst/>
                <a:gdLst>
                  <a:gd name="connsiteX0" fmla="*/ 64739 w 66211"/>
                  <a:gd name="connsiteY0" fmla="*/ 61445 h 64010"/>
                  <a:gd name="connsiteX1" fmla="*/ 63345 w 66211"/>
                  <a:gd name="connsiteY1" fmla="*/ 47637 h 64010"/>
                  <a:gd name="connsiteX2" fmla="*/ 56757 w 66211"/>
                  <a:gd name="connsiteY2" fmla="*/ 27621 h 64010"/>
                  <a:gd name="connsiteX3" fmla="*/ 45103 w 66211"/>
                  <a:gd name="connsiteY3" fmla="*/ 8112 h 64010"/>
                  <a:gd name="connsiteX4" fmla="*/ 23947 w 66211"/>
                  <a:gd name="connsiteY4" fmla="*/ 3298 h 64010"/>
                  <a:gd name="connsiteX5" fmla="*/ 16979 w 66211"/>
                  <a:gd name="connsiteY5" fmla="*/ 22047 h 64010"/>
                  <a:gd name="connsiteX6" fmla="*/ 7858 w 66211"/>
                  <a:gd name="connsiteY6" fmla="*/ 35095 h 64010"/>
                  <a:gd name="connsiteX7" fmla="*/ 384 w 66211"/>
                  <a:gd name="connsiteY7" fmla="*/ 50677 h 64010"/>
                  <a:gd name="connsiteX8" fmla="*/ 15206 w 66211"/>
                  <a:gd name="connsiteY8" fmla="*/ 61572 h 64010"/>
                  <a:gd name="connsiteX9" fmla="*/ 33195 w 66211"/>
                  <a:gd name="connsiteY9" fmla="*/ 58278 h 64010"/>
                  <a:gd name="connsiteX10" fmla="*/ 38389 w 66211"/>
                  <a:gd name="connsiteY10" fmla="*/ 51817 h 64010"/>
                  <a:gd name="connsiteX11" fmla="*/ 46876 w 66211"/>
                  <a:gd name="connsiteY11" fmla="*/ 52704 h 64010"/>
                  <a:gd name="connsiteX12" fmla="*/ 64739 w 66211"/>
                  <a:gd name="connsiteY12" fmla="*/ 61445 h 6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11" h="64010">
                    <a:moveTo>
                      <a:pt x="64739" y="61445"/>
                    </a:moveTo>
                    <a:cubicBezTo>
                      <a:pt x="68159" y="57645"/>
                      <a:pt x="64739" y="51690"/>
                      <a:pt x="63345" y="47637"/>
                    </a:cubicBezTo>
                    <a:cubicBezTo>
                      <a:pt x="61065" y="40922"/>
                      <a:pt x="58658" y="34335"/>
                      <a:pt x="56757" y="27621"/>
                    </a:cubicBezTo>
                    <a:cubicBezTo>
                      <a:pt x="54477" y="19640"/>
                      <a:pt x="51310" y="13812"/>
                      <a:pt x="45103" y="8112"/>
                    </a:cubicBezTo>
                    <a:cubicBezTo>
                      <a:pt x="39402" y="2918"/>
                      <a:pt x="30534" y="-4303"/>
                      <a:pt x="23947" y="3298"/>
                    </a:cubicBezTo>
                    <a:cubicBezTo>
                      <a:pt x="19260" y="8618"/>
                      <a:pt x="18373" y="15459"/>
                      <a:pt x="16979" y="22047"/>
                    </a:cubicBezTo>
                    <a:cubicBezTo>
                      <a:pt x="15712" y="27747"/>
                      <a:pt x="11659" y="30915"/>
                      <a:pt x="7858" y="35095"/>
                    </a:cubicBezTo>
                    <a:cubicBezTo>
                      <a:pt x="4058" y="39276"/>
                      <a:pt x="-1516" y="44470"/>
                      <a:pt x="384" y="50677"/>
                    </a:cubicBezTo>
                    <a:cubicBezTo>
                      <a:pt x="2411" y="57265"/>
                      <a:pt x="8618" y="61065"/>
                      <a:pt x="15206" y="61572"/>
                    </a:cubicBezTo>
                    <a:cubicBezTo>
                      <a:pt x="21413" y="62205"/>
                      <a:pt x="28381" y="63345"/>
                      <a:pt x="33195" y="58278"/>
                    </a:cubicBezTo>
                    <a:cubicBezTo>
                      <a:pt x="35222" y="56124"/>
                      <a:pt x="35728" y="53337"/>
                      <a:pt x="38389" y="51817"/>
                    </a:cubicBezTo>
                    <a:cubicBezTo>
                      <a:pt x="41302" y="50170"/>
                      <a:pt x="44343" y="50297"/>
                      <a:pt x="46876" y="52704"/>
                    </a:cubicBezTo>
                    <a:cubicBezTo>
                      <a:pt x="51183" y="57011"/>
                      <a:pt x="57771" y="69299"/>
                      <a:pt x="64739" y="6144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8" name="Полилиния: фигура 667">
                <a:extLst>
                  <a:ext uri="{FF2B5EF4-FFF2-40B4-BE49-F238E27FC236}">
                    <a16:creationId xmlns:a16="http://schemas.microsoft.com/office/drawing/2014/main" id="{7888DECA-6EFF-4A88-B05D-DBAA97C7D52B}"/>
                  </a:ext>
                </a:extLst>
              </p:cNvPr>
              <p:cNvSpPr/>
              <p:nvPr/>
            </p:nvSpPr>
            <p:spPr>
              <a:xfrm>
                <a:off x="6265679" y="1096867"/>
                <a:ext cx="27885" cy="29580"/>
              </a:xfrm>
              <a:custGeom>
                <a:avLst/>
                <a:gdLst>
                  <a:gd name="connsiteX0" fmla="*/ 247 w 27885"/>
                  <a:gd name="connsiteY0" fmla="*/ 5319 h 29580"/>
                  <a:gd name="connsiteX1" fmla="*/ 11522 w 27885"/>
                  <a:gd name="connsiteY1" fmla="*/ 27362 h 29580"/>
                  <a:gd name="connsiteX2" fmla="*/ 25710 w 27885"/>
                  <a:gd name="connsiteY2" fmla="*/ 27488 h 29580"/>
                  <a:gd name="connsiteX3" fmla="*/ 26597 w 27885"/>
                  <a:gd name="connsiteY3" fmla="*/ 14693 h 29580"/>
                  <a:gd name="connsiteX4" fmla="*/ 16083 w 27885"/>
                  <a:gd name="connsiteY4" fmla="*/ 4812 h 29580"/>
                  <a:gd name="connsiteX5" fmla="*/ 247 w 27885"/>
                  <a:gd name="connsiteY5" fmla="*/ 5319 h 2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885" h="29580">
                    <a:moveTo>
                      <a:pt x="247" y="5319"/>
                    </a:moveTo>
                    <a:cubicBezTo>
                      <a:pt x="-1273" y="13173"/>
                      <a:pt x="4428" y="24068"/>
                      <a:pt x="11522" y="27362"/>
                    </a:cubicBezTo>
                    <a:cubicBezTo>
                      <a:pt x="15576" y="29262"/>
                      <a:pt x="22037" y="31162"/>
                      <a:pt x="25710" y="27488"/>
                    </a:cubicBezTo>
                    <a:cubicBezTo>
                      <a:pt x="28371" y="24701"/>
                      <a:pt x="28497" y="17987"/>
                      <a:pt x="26597" y="14693"/>
                    </a:cubicBezTo>
                    <a:cubicBezTo>
                      <a:pt x="24190" y="10639"/>
                      <a:pt x="19630" y="7852"/>
                      <a:pt x="16083" y="4812"/>
                    </a:cubicBezTo>
                    <a:cubicBezTo>
                      <a:pt x="11522" y="885"/>
                      <a:pt x="2021" y="-3929"/>
                      <a:pt x="247" y="531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69" name="Полилиния: фигура 668">
                <a:extLst>
                  <a:ext uri="{FF2B5EF4-FFF2-40B4-BE49-F238E27FC236}">
                    <a16:creationId xmlns:a16="http://schemas.microsoft.com/office/drawing/2014/main" id="{DAB75B41-951F-4328-B44B-1B6280FEE8AE}"/>
                  </a:ext>
                </a:extLst>
              </p:cNvPr>
              <p:cNvSpPr/>
              <p:nvPr/>
            </p:nvSpPr>
            <p:spPr>
              <a:xfrm>
                <a:off x="6247519" y="1049720"/>
                <a:ext cx="34063" cy="29760"/>
              </a:xfrm>
              <a:custGeom>
                <a:avLst/>
                <a:gdLst>
                  <a:gd name="connsiteX0" fmla="*/ 9413 w 34063"/>
                  <a:gd name="connsiteY0" fmla="*/ 18389 h 29760"/>
                  <a:gd name="connsiteX1" fmla="*/ 31962 w 34063"/>
                  <a:gd name="connsiteY1" fmla="*/ 28523 h 29760"/>
                  <a:gd name="connsiteX2" fmla="*/ 31962 w 34063"/>
                  <a:gd name="connsiteY2" fmla="*/ 18515 h 29760"/>
                  <a:gd name="connsiteX3" fmla="*/ 14607 w 34063"/>
                  <a:gd name="connsiteY3" fmla="*/ 1160 h 29760"/>
                  <a:gd name="connsiteX4" fmla="*/ 38 w 34063"/>
                  <a:gd name="connsiteY4" fmla="*/ 6481 h 29760"/>
                  <a:gd name="connsiteX5" fmla="*/ 9413 w 34063"/>
                  <a:gd name="connsiteY5" fmla="*/ 18389 h 2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063" h="29760">
                    <a:moveTo>
                      <a:pt x="9413" y="18389"/>
                    </a:moveTo>
                    <a:cubicBezTo>
                      <a:pt x="15113" y="21049"/>
                      <a:pt x="24995" y="33717"/>
                      <a:pt x="31962" y="28523"/>
                    </a:cubicBezTo>
                    <a:cubicBezTo>
                      <a:pt x="35636" y="25863"/>
                      <a:pt x="33736" y="21809"/>
                      <a:pt x="31962" y="18515"/>
                    </a:cubicBezTo>
                    <a:cubicBezTo>
                      <a:pt x="27782" y="10535"/>
                      <a:pt x="23221" y="4580"/>
                      <a:pt x="14607" y="1160"/>
                    </a:cubicBezTo>
                    <a:cubicBezTo>
                      <a:pt x="10046" y="-740"/>
                      <a:pt x="-722" y="-1120"/>
                      <a:pt x="38" y="6481"/>
                    </a:cubicBezTo>
                    <a:cubicBezTo>
                      <a:pt x="672" y="11548"/>
                      <a:pt x="5105" y="16362"/>
                      <a:pt x="9413" y="1838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0" name="Полилиния: фигура 669">
                <a:extLst>
                  <a:ext uri="{FF2B5EF4-FFF2-40B4-BE49-F238E27FC236}">
                    <a16:creationId xmlns:a16="http://schemas.microsoft.com/office/drawing/2014/main" id="{4B2A9D84-4998-4BE5-9945-D7445C8B8131}"/>
                  </a:ext>
                </a:extLst>
              </p:cNvPr>
              <p:cNvSpPr/>
              <p:nvPr/>
            </p:nvSpPr>
            <p:spPr>
              <a:xfrm>
                <a:off x="6282730" y="1021000"/>
                <a:ext cx="38391" cy="104622"/>
              </a:xfrm>
              <a:custGeom>
                <a:avLst/>
                <a:gdLst>
                  <a:gd name="connsiteX0" fmla="*/ 8533 w 38391"/>
                  <a:gd name="connsiteY0" fmla="*/ 50909 h 104622"/>
                  <a:gd name="connsiteX1" fmla="*/ 8533 w 38391"/>
                  <a:gd name="connsiteY1" fmla="*/ 65351 h 104622"/>
                  <a:gd name="connsiteX2" fmla="*/ 15754 w 38391"/>
                  <a:gd name="connsiteY2" fmla="*/ 84860 h 104622"/>
                  <a:gd name="connsiteX3" fmla="*/ 26268 w 38391"/>
                  <a:gd name="connsiteY3" fmla="*/ 101329 h 104622"/>
                  <a:gd name="connsiteX4" fmla="*/ 36403 w 38391"/>
                  <a:gd name="connsiteY4" fmla="*/ 102722 h 104622"/>
                  <a:gd name="connsiteX5" fmla="*/ 36656 w 38391"/>
                  <a:gd name="connsiteY5" fmla="*/ 85620 h 104622"/>
                  <a:gd name="connsiteX6" fmla="*/ 36783 w 38391"/>
                  <a:gd name="connsiteY6" fmla="*/ 65478 h 104622"/>
                  <a:gd name="connsiteX7" fmla="*/ 35389 w 38391"/>
                  <a:gd name="connsiteY7" fmla="*/ 45335 h 104622"/>
                  <a:gd name="connsiteX8" fmla="*/ 28548 w 38391"/>
                  <a:gd name="connsiteY8" fmla="*/ 39381 h 104622"/>
                  <a:gd name="connsiteX9" fmla="*/ 23608 w 38391"/>
                  <a:gd name="connsiteY9" fmla="*/ 27980 h 104622"/>
                  <a:gd name="connsiteX10" fmla="*/ 12207 w 38391"/>
                  <a:gd name="connsiteY10" fmla="*/ 996 h 104622"/>
                  <a:gd name="connsiteX11" fmla="*/ 45 w 38391"/>
                  <a:gd name="connsiteY11" fmla="*/ 7964 h 104622"/>
                  <a:gd name="connsiteX12" fmla="*/ 3846 w 38391"/>
                  <a:gd name="connsiteY12" fmla="*/ 34060 h 104622"/>
                  <a:gd name="connsiteX13" fmla="*/ 8533 w 38391"/>
                  <a:gd name="connsiteY13" fmla="*/ 50909 h 10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1" h="104622">
                    <a:moveTo>
                      <a:pt x="8533" y="50909"/>
                    </a:moveTo>
                    <a:cubicBezTo>
                      <a:pt x="8406" y="55850"/>
                      <a:pt x="7519" y="60537"/>
                      <a:pt x="8533" y="65351"/>
                    </a:cubicBezTo>
                    <a:cubicBezTo>
                      <a:pt x="9800" y="72065"/>
                      <a:pt x="13093" y="78653"/>
                      <a:pt x="15754" y="84860"/>
                    </a:cubicBezTo>
                    <a:cubicBezTo>
                      <a:pt x="18287" y="90814"/>
                      <a:pt x="21327" y="97022"/>
                      <a:pt x="26268" y="101329"/>
                    </a:cubicBezTo>
                    <a:cubicBezTo>
                      <a:pt x="29182" y="103863"/>
                      <a:pt x="33489" y="106523"/>
                      <a:pt x="36403" y="102722"/>
                    </a:cubicBezTo>
                    <a:cubicBezTo>
                      <a:pt x="39950" y="98162"/>
                      <a:pt x="37923" y="90561"/>
                      <a:pt x="36656" y="85620"/>
                    </a:cubicBezTo>
                    <a:cubicBezTo>
                      <a:pt x="35009" y="78906"/>
                      <a:pt x="35643" y="72192"/>
                      <a:pt x="36783" y="65478"/>
                    </a:cubicBezTo>
                    <a:cubicBezTo>
                      <a:pt x="37796" y="59017"/>
                      <a:pt x="40330" y="50783"/>
                      <a:pt x="35389" y="45335"/>
                    </a:cubicBezTo>
                    <a:cubicBezTo>
                      <a:pt x="33362" y="43055"/>
                      <a:pt x="30575" y="41661"/>
                      <a:pt x="28548" y="39381"/>
                    </a:cubicBezTo>
                    <a:cubicBezTo>
                      <a:pt x="25635" y="36214"/>
                      <a:pt x="24494" y="32034"/>
                      <a:pt x="23608" y="27980"/>
                    </a:cubicBezTo>
                    <a:cubicBezTo>
                      <a:pt x="21708" y="19365"/>
                      <a:pt x="21581" y="5304"/>
                      <a:pt x="12207" y="996"/>
                    </a:cubicBezTo>
                    <a:cubicBezTo>
                      <a:pt x="6253" y="-1791"/>
                      <a:pt x="172" y="1503"/>
                      <a:pt x="45" y="7964"/>
                    </a:cubicBezTo>
                    <a:cubicBezTo>
                      <a:pt x="-208" y="16198"/>
                      <a:pt x="552" y="26460"/>
                      <a:pt x="3846" y="34060"/>
                    </a:cubicBezTo>
                    <a:cubicBezTo>
                      <a:pt x="6126" y="39635"/>
                      <a:pt x="8659" y="44448"/>
                      <a:pt x="8533" y="5090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1" name="Полилиния: фигура 670">
                <a:extLst>
                  <a:ext uri="{FF2B5EF4-FFF2-40B4-BE49-F238E27FC236}">
                    <a16:creationId xmlns:a16="http://schemas.microsoft.com/office/drawing/2014/main" id="{697F5AE5-9513-47FD-A002-16F1973A2C0D}"/>
                  </a:ext>
                </a:extLst>
              </p:cNvPr>
              <p:cNvSpPr/>
              <p:nvPr/>
            </p:nvSpPr>
            <p:spPr>
              <a:xfrm>
                <a:off x="6326323" y="1061391"/>
                <a:ext cx="22959" cy="51959"/>
              </a:xfrm>
              <a:custGeom>
                <a:avLst/>
                <a:gdLst>
                  <a:gd name="connsiteX0" fmla="*/ 5604 w 22959"/>
                  <a:gd name="connsiteY0" fmla="*/ 51056 h 51959"/>
                  <a:gd name="connsiteX1" fmla="*/ 22959 w 22959"/>
                  <a:gd name="connsiteY1" fmla="*/ 40415 h 51959"/>
                  <a:gd name="connsiteX2" fmla="*/ 21946 w 22959"/>
                  <a:gd name="connsiteY2" fmla="*/ 24580 h 51959"/>
                  <a:gd name="connsiteX3" fmla="*/ 13712 w 22959"/>
                  <a:gd name="connsiteY3" fmla="*/ 6717 h 51959"/>
                  <a:gd name="connsiteX4" fmla="*/ 2184 w 22959"/>
                  <a:gd name="connsiteY4" fmla="*/ 510 h 51959"/>
                  <a:gd name="connsiteX5" fmla="*/ 537 w 22959"/>
                  <a:gd name="connsiteY5" fmla="*/ 22046 h 51959"/>
                  <a:gd name="connsiteX6" fmla="*/ 1550 w 22959"/>
                  <a:gd name="connsiteY6" fmla="*/ 38261 h 51959"/>
                  <a:gd name="connsiteX7" fmla="*/ 5604 w 22959"/>
                  <a:gd name="connsiteY7" fmla="*/ 51056 h 5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59" h="51959">
                    <a:moveTo>
                      <a:pt x="5604" y="51056"/>
                    </a:moveTo>
                    <a:cubicBezTo>
                      <a:pt x="11685" y="54603"/>
                      <a:pt x="22959" y="47002"/>
                      <a:pt x="22959" y="40415"/>
                    </a:cubicBezTo>
                    <a:cubicBezTo>
                      <a:pt x="22959" y="35221"/>
                      <a:pt x="22833" y="29774"/>
                      <a:pt x="21946" y="24580"/>
                    </a:cubicBezTo>
                    <a:cubicBezTo>
                      <a:pt x="20679" y="17866"/>
                      <a:pt x="17385" y="12418"/>
                      <a:pt x="13712" y="6717"/>
                    </a:cubicBezTo>
                    <a:cubicBezTo>
                      <a:pt x="10545" y="1777"/>
                      <a:pt x="8391" y="-1264"/>
                      <a:pt x="2184" y="510"/>
                    </a:cubicBezTo>
                    <a:cubicBezTo>
                      <a:pt x="-350" y="7224"/>
                      <a:pt x="-350" y="14952"/>
                      <a:pt x="537" y="22046"/>
                    </a:cubicBezTo>
                    <a:cubicBezTo>
                      <a:pt x="1170" y="27493"/>
                      <a:pt x="1044" y="32814"/>
                      <a:pt x="1550" y="38261"/>
                    </a:cubicBezTo>
                    <a:cubicBezTo>
                      <a:pt x="2057" y="42442"/>
                      <a:pt x="1424" y="48523"/>
                      <a:pt x="5604" y="5105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2" name="Полилиния: фигура 671">
                <a:extLst>
                  <a:ext uri="{FF2B5EF4-FFF2-40B4-BE49-F238E27FC236}">
                    <a16:creationId xmlns:a16="http://schemas.microsoft.com/office/drawing/2014/main" id="{4B6B0B44-1B29-48B9-A613-A982D3DCCEB9}"/>
                  </a:ext>
                </a:extLst>
              </p:cNvPr>
              <p:cNvSpPr/>
              <p:nvPr/>
            </p:nvSpPr>
            <p:spPr>
              <a:xfrm>
                <a:off x="6323543" y="1010332"/>
                <a:ext cx="55045" cy="41364"/>
              </a:xfrm>
              <a:custGeom>
                <a:avLst/>
                <a:gdLst>
                  <a:gd name="connsiteX0" fmla="*/ 8512 w 55045"/>
                  <a:gd name="connsiteY0" fmla="*/ 23319 h 41364"/>
                  <a:gd name="connsiteX1" fmla="*/ 27894 w 55045"/>
                  <a:gd name="connsiteY1" fmla="*/ 30920 h 41364"/>
                  <a:gd name="connsiteX2" fmla="*/ 40309 w 55045"/>
                  <a:gd name="connsiteY2" fmla="*/ 40421 h 41364"/>
                  <a:gd name="connsiteX3" fmla="*/ 54498 w 55045"/>
                  <a:gd name="connsiteY3" fmla="*/ 34467 h 41364"/>
                  <a:gd name="connsiteX4" fmla="*/ 53231 w 55045"/>
                  <a:gd name="connsiteY4" fmla="*/ 17112 h 41364"/>
                  <a:gd name="connsiteX5" fmla="*/ 43729 w 55045"/>
                  <a:gd name="connsiteY5" fmla="*/ 8244 h 41364"/>
                  <a:gd name="connsiteX6" fmla="*/ 30934 w 55045"/>
                  <a:gd name="connsiteY6" fmla="*/ 9004 h 41364"/>
                  <a:gd name="connsiteX7" fmla="*/ 658 w 55045"/>
                  <a:gd name="connsiteY7" fmla="*/ 6597 h 41364"/>
                  <a:gd name="connsiteX8" fmla="*/ 8512 w 55045"/>
                  <a:gd name="connsiteY8" fmla="*/ 23319 h 4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045" h="41364">
                    <a:moveTo>
                      <a:pt x="8512" y="23319"/>
                    </a:moveTo>
                    <a:cubicBezTo>
                      <a:pt x="14592" y="26740"/>
                      <a:pt x="21686" y="27753"/>
                      <a:pt x="27894" y="30920"/>
                    </a:cubicBezTo>
                    <a:cubicBezTo>
                      <a:pt x="32581" y="33327"/>
                      <a:pt x="35622" y="38268"/>
                      <a:pt x="40309" y="40421"/>
                    </a:cubicBezTo>
                    <a:cubicBezTo>
                      <a:pt x="45883" y="42828"/>
                      <a:pt x="52977" y="40548"/>
                      <a:pt x="54498" y="34467"/>
                    </a:cubicBezTo>
                    <a:cubicBezTo>
                      <a:pt x="55764" y="29780"/>
                      <a:pt x="54624" y="21799"/>
                      <a:pt x="53231" y="17112"/>
                    </a:cubicBezTo>
                    <a:cubicBezTo>
                      <a:pt x="51964" y="12678"/>
                      <a:pt x="48290" y="9131"/>
                      <a:pt x="43729" y="8244"/>
                    </a:cubicBezTo>
                    <a:cubicBezTo>
                      <a:pt x="39296" y="7357"/>
                      <a:pt x="35242" y="9764"/>
                      <a:pt x="30934" y="9004"/>
                    </a:cubicBezTo>
                    <a:cubicBezTo>
                      <a:pt x="22573" y="7484"/>
                      <a:pt x="5978" y="-8858"/>
                      <a:pt x="658" y="6597"/>
                    </a:cubicBezTo>
                    <a:cubicBezTo>
                      <a:pt x="-1749" y="13311"/>
                      <a:pt x="2811" y="20152"/>
                      <a:pt x="8512" y="2331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3" name="Полилиния: фигура 672">
                <a:extLst>
                  <a:ext uri="{FF2B5EF4-FFF2-40B4-BE49-F238E27FC236}">
                    <a16:creationId xmlns:a16="http://schemas.microsoft.com/office/drawing/2014/main" id="{08BED661-C84B-4EEA-BE09-A17F809B6BFE}"/>
                  </a:ext>
                </a:extLst>
              </p:cNvPr>
              <p:cNvSpPr/>
              <p:nvPr/>
            </p:nvSpPr>
            <p:spPr>
              <a:xfrm>
                <a:off x="6386681" y="1006992"/>
                <a:ext cx="29560" cy="30559"/>
              </a:xfrm>
              <a:custGeom>
                <a:avLst/>
                <a:gdLst>
                  <a:gd name="connsiteX0" fmla="*/ 11121 w 29560"/>
                  <a:gd name="connsiteY0" fmla="*/ 28559 h 30559"/>
                  <a:gd name="connsiteX1" fmla="*/ 21636 w 29560"/>
                  <a:gd name="connsiteY1" fmla="*/ 29446 h 30559"/>
                  <a:gd name="connsiteX2" fmla="*/ 26703 w 29560"/>
                  <a:gd name="connsiteY2" fmla="*/ 12344 h 30559"/>
                  <a:gd name="connsiteX3" fmla="*/ 1873 w 29560"/>
                  <a:gd name="connsiteY3" fmla="*/ 4743 h 30559"/>
                  <a:gd name="connsiteX4" fmla="*/ 1240 w 29560"/>
                  <a:gd name="connsiteY4" fmla="*/ 18171 h 30559"/>
                  <a:gd name="connsiteX5" fmla="*/ 11121 w 29560"/>
                  <a:gd name="connsiteY5" fmla="*/ 28559 h 3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560" h="30559">
                    <a:moveTo>
                      <a:pt x="11121" y="28559"/>
                    </a:moveTo>
                    <a:cubicBezTo>
                      <a:pt x="14288" y="30840"/>
                      <a:pt x="18089" y="31220"/>
                      <a:pt x="21636" y="29446"/>
                    </a:cubicBezTo>
                    <a:cubicBezTo>
                      <a:pt x="27717" y="26532"/>
                      <a:pt x="33037" y="17791"/>
                      <a:pt x="26703" y="12344"/>
                    </a:cubicBezTo>
                    <a:cubicBezTo>
                      <a:pt x="20496" y="7023"/>
                      <a:pt x="9094" y="-7419"/>
                      <a:pt x="1873" y="4743"/>
                    </a:cubicBezTo>
                    <a:cubicBezTo>
                      <a:pt x="-154" y="8163"/>
                      <a:pt x="-787" y="14624"/>
                      <a:pt x="1240" y="18171"/>
                    </a:cubicBezTo>
                    <a:cubicBezTo>
                      <a:pt x="3140" y="21592"/>
                      <a:pt x="7954" y="26279"/>
                      <a:pt x="11121" y="2855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4" name="Полилиния: фигура 673">
                <a:extLst>
                  <a:ext uri="{FF2B5EF4-FFF2-40B4-BE49-F238E27FC236}">
                    <a16:creationId xmlns:a16="http://schemas.microsoft.com/office/drawing/2014/main" id="{F0CEA411-DD56-497C-B2EB-693A9FC70AE3}"/>
                  </a:ext>
                </a:extLst>
              </p:cNvPr>
              <p:cNvSpPr/>
              <p:nvPr/>
            </p:nvSpPr>
            <p:spPr>
              <a:xfrm>
                <a:off x="6438145" y="984749"/>
                <a:ext cx="47552" cy="25567"/>
              </a:xfrm>
              <a:custGeom>
                <a:avLst/>
                <a:gdLst>
                  <a:gd name="connsiteX0" fmla="*/ 6403 w 47552"/>
                  <a:gd name="connsiteY0" fmla="*/ 15965 h 25567"/>
                  <a:gd name="connsiteX1" fmla="*/ 29839 w 47552"/>
                  <a:gd name="connsiteY1" fmla="*/ 25466 h 25567"/>
                  <a:gd name="connsiteX2" fmla="*/ 47321 w 47552"/>
                  <a:gd name="connsiteY2" fmla="*/ 11151 h 25567"/>
                  <a:gd name="connsiteX3" fmla="*/ 41494 w 47552"/>
                  <a:gd name="connsiteY3" fmla="*/ 4943 h 25567"/>
                  <a:gd name="connsiteX4" fmla="*/ 19831 w 47552"/>
                  <a:gd name="connsiteY4" fmla="*/ 1396 h 25567"/>
                  <a:gd name="connsiteX5" fmla="*/ 955 w 47552"/>
                  <a:gd name="connsiteY5" fmla="*/ 5957 h 25567"/>
                  <a:gd name="connsiteX6" fmla="*/ 6403 w 47552"/>
                  <a:gd name="connsiteY6" fmla="*/ 15965 h 2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52" h="25567">
                    <a:moveTo>
                      <a:pt x="6403" y="15965"/>
                    </a:moveTo>
                    <a:cubicBezTo>
                      <a:pt x="13117" y="19638"/>
                      <a:pt x="21858" y="26479"/>
                      <a:pt x="29839" y="25466"/>
                    </a:cubicBezTo>
                    <a:cubicBezTo>
                      <a:pt x="36047" y="24706"/>
                      <a:pt x="49475" y="19765"/>
                      <a:pt x="47321" y="11151"/>
                    </a:cubicBezTo>
                    <a:cubicBezTo>
                      <a:pt x="46688" y="8237"/>
                      <a:pt x="44154" y="6083"/>
                      <a:pt x="41494" y="4943"/>
                    </a:cubicBezTo>
                    <a:cubicBezTo>
                      <a:pt x="35033" y="2156"/>
                      <a:pt x="26672" y="2663"/>
                      <a:pt x="19831" y="1396"/>
                    </a:cubicBezTo>
                    <a:cubicBezTo>
                      <a:pt x="11723" y="-124"/>
                      <a:pt x="5516" y="-2151"/>
                      <a:pt x="955" y="5957"/>
                    </a:cubicBezTo>
                    <a:cubicBezTo>
                      <a:pt x="-1958" y="11151"/>
                      <a:pt x="2349" y="13811"/>
                      <a:pt x="6403" y="1596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5" name="Полилиния: фигура 674">
                <a:extLst>
                  <a:ext uri="{FF2B5EF4-FFF2-40B4-BE49-F238E27FC236}">
                    <a16:creationId xmlns:a16="http://schemas.microsoft.com/office/drawing/2014/main" id="{780E462C-0958-4AD5-922C-FBC12C5F7338}"/>
                  </a:ext>
                </a:extLst>
              </p:cNvPr>
              <p:cNvSpPr/>
              <p:nvPr/>
            </p:nvSpPr>
            <p:spPr>
              <a:xfrm>
                <a:off x="6047025" y="1067886"/>
                <a:ext cx="39794" cy="33072"/>
              </a:xfrm>
              <a:custGeom>
                <a:avLst/>
                <a:gdLst>
                  <a:gd name="connsiteX0" fmla="*/ 16715 w 39794"/>
                  <a:gd name="connsiteY0" fmla="*/ 2883 h 33072"/>
                  <a:gd name="connsiteX1" fmla="*/ 1260 w 39794"/>
                  <a:gd name="connsiteY1" fmla="*/ 3896 h 33072"/>
                  <a:gd name="connsiteX2" fmla="*/ 2147 w 39794"/>
                  <a:gd name="connsiteY2" fmla="*/ 20238 h 33072"/>
                  <a:gd name="connsiteX3" fmla="*/ 15955 w 39794"/>
                  <a:gd name="connsiteY3" fmla="*/ 31386 h 33072"/>
                  <a:gd name="connsiteX4" fmla="*/ 36858 w 39794"/>
                  <a:gd name="connsiteY4" fmla="*/ 29233 h 33072"/>
                  <a:gd name="connsiteX5" fmla="*/ 34831 w 39794"/>
                  <a:gd name="connsiteY5" fmla="*/ 7317 h 33072"/>
                  <a:gd name="connsiteX6" fmla="*/ 16715 w 39794"/>
                  <a:gd name="connsiteY6" fmla="*/ 2883 h 3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94" h="33072">
                    <a:moveTo>
                      <a:pt x="16715" y="2883"/>
                    </a:moveTo>
                    <a:cubicBezTo>
                      <a:pt x="12155" y="729"/>
                      <a:pt x="4047" y="-2818"/>
                      <a:pt x="1260" y="3896"/>
                    </a:cubicBezTo>
                    <a:cubicBezTo>
                      <a:pt x="-767" y="8584"/>
                      <a:pt x="-260" y="14918"/>
                      <a:pt x="2147" y="20238"/>
                    </a:cubicBezTo>
                    <a:cubicBezTo>
                      <a:pt x="4807" y="26192"/>
                      <a:pt x="9621" y="31006"/>
                      <a:pt x="15955" y="31386"/>
                    </a:cubicBezTo>
                    <a:cubicBezTo>
                      <a:pt x="22036" y="31766"/>
                      <a:pt x="32931" y="36074"/>
                      <a:pt x="36858" y="29233"/>
                    </a:cubicBezTo>
                    <a:cubicBezTo>
                      <a:pt x="40531" y="22772"/>
                      <a:pt x="41672" y="12004"/>
                      <a:pt x="34831" y="7317"/>
                    </a:cubicBezTo>
                    <a:cubicBezTo>
                      <a:pt x="29764" y="3643"/>
                      <a:pt x="22416" y="5543"/>
                      <a:pt x="16715" y="288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6" name="Полилиния: фигура 675">
                <a:extLst>
                  <a:ext uri="{FF2B5EF4-FFF2-40B4-BE49-F238E27FC236}">
                    <a16:creationId xmlns:a16="http://schemas.microsoft.com/office/drawing/2014/main" id="{54FB4638-5A18-4E37-B1D7-2B47AD8F2ECE}"/>
                  </a:ext>
                </a:extLst>
              </p:cNvPr>
              <p:cNvSpPr/>
              <p:nvPr/>
            </p:nvSpPr>
            <p:spPr>
              <a:xfrm>
                <a:off x="6123044" y="1085048"/>
                <a:ext cx="58522" cy="45265"/>
              </a:xfrm>
              <a:custGeom>
                <a:avLst/>
                <a:gdLst>
                  <a:gd name="connsiteX0" fmla="*/ 33302 w 58522"/>
                  <a:gd name="connsiteY0" fmla="*/ 5610 h 45265"/>
                  <a:gd name="connsiteX1" fmla="*/ 17467 w 58522"/>
                  <a:gd name="connsiteY1" fmla="*/ 1176 h 45265"/>
                  <a:gd name="connsiteX2" fmla="*/ 5305 w 58522"/>
                  <a:gd name="connsiteY2" fmla="*/ 2823 h 45265"/>
                  <a:gd name="connsiteX3" fmla="*/ 2518 w 58522"/>
                  <a:gd name="connsiteY3" fmla="*/ 23599 h 45265"/>
                  <a:gd name="connsiteX4" fmla="*/ 11133 w 58522"/>
                  <a:gd name="connsiteY4" fmla="*/ 31454 h 45265"/>
                  <a:gd name="connsiteX5" fmla="*/ 18987 w 58522"/>
                  <a:gd name="connsiteY5" fmla="*/ 35634 h 45265"/>
                  <a:gd name="connsiteX6" fmla="*/ 37609 w 58522"/>
                  <a:gd name="connsiteY6" fmla="*/ 45262 h 45265"/>
                  <a:gd name="connsiteX7" fmla="*/ 57752 w 58522"/>
                  <a:gd name="connsiteY7" fmla="*/ 34747 h 45265"/>
                  <a:gd name="connsiteX8" fmla="*/ 53444 w 58522"/>
                  <a:gd name="connsiteY8" fmla="*/ 21446 h 45265"/>
                  <a:gd name="connsiteX9" fmla="*/ 42550 w 58522"/>
                  <a:gd name="connsiteY9" fmla="*/ 11944 h 45265"/>
                  <a:gd name="connsiteX10" fmla="*/ 33302 w 58522"/>
                  <a:gd name="connsiteY10" fmla="*/ 5610 h 4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22" h="45265">
                    <a:moveTo>
                      <a:pt x="33302" y="5610"/>
                    </a:moveTo>
                    <a:cubicBezTo>
                      <a:pt x="27854" y="4470"/>
                      <a:pt x="22787" y="2697"/>
                      <a:pt x="17467" y="1176"/>
                    </a:cubicBezTo>
                    <a:cubicBezTo>
                      <a:pt x="13159" y="-90"/>
                      <a:pt x="8345" y="-1231"/>
                      <a:pt x="5305" y="2823"/>
                    </a:cubicBezTo>
                    <a:cubicBezTo>
                      <a:pt x="1124" y="8271"/>
                      <a:pt x="-2676" y="17899"/>
                      <a:pt x="2518" y="23599"/>
                    </a:cubicBezTo>
                    <a:cubicBezTo>
                      <a:pt x="5052" y="26513"/>
                      <a:pt x="7965" y="29300"/>
                      <a:pt x="11133" y="31454"/>
                    </a:cubicBezTo>
                    <a:cubicBezTo>
                      <a:pt x="13666" y="33227"/>
                      <a:pt x="16453" y="33860"/>
                      <a:pt x="18987" y="35634"/>
                    </a:cubicBezTo>
                    <a:cubicBezTo>
                      <a:pt x="24561" y="39815"/>
                      <a:pt x="30135" y="45135"/>
                      <a:pt x="37609" y="45262"/>
                    </a:cubicBezTo>
                    <a:cubicBezTo>
                      <a:pt x="44576" y="45389"/>
                      <a:pt x="55091" y="41715"/>
                      <a:pt x="57752" y="34747"/>
                    </a:cubicBezTo>
                    <a:cubicBezTo>
                      <a:pt x="59779" y="29427"/>
                      <a:pt x="57625" y="24739"/>
                      <a:pt x="53444" y="21446"/>
                    </a:cubicBezTo>
                    <a:cubicBezTo>
                      <a:pt x="49517" y="18405"/>
                      <a:pt x="45843" y="15745"/>
                      <a:pt x="42550" y="11944"/>
                    </a:cubicBezTo>
                    <a:cubicBezTo>
                      <a:pt x="39763" y="8651"/>
                      <a:pt x="37609" y="6624"/>
                      <a:pt x="33302" y="561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7" name="Полилиния: фигура 676">
                <a:extLst>
                  <a:ext uri="{FF2B5EF4-FFF2-40B4-BE49-F238E27FC236}">
                    <a16:creationId xmlns:a16="http://schemas.microsoft.com/office/drawing/2014/main" id="{A1C310FE-6389-41A5-8559-E132B1B6AAE5}"/>
                  </a:ext>
                </a:extLst>
              </p:cNvPr>
              <p:cNvSpPr/>
              <p:nvPr/>
            </p:nvSpPr>
            <p:spPr>
              <a:xfrm>
                <a:off x="5994981" y="943470"/>
                <a:ext cx="174215" cy="83480"/>
              </a:xfrm>
              <a:custGeom>
                <a:avLst/>
                <a:gdLst>
                  <a:gd name="connsiteX0" fmla="*/ 98404 w 174215"/>
                  <a:gd name="connsiteY0" fmla="*/ 41914 h 83480"/>
                  <a:gd name="connsiteX1" fmla="*/ 79148 w 174215"/>
                  <a:gd name="connsiteY1" fmla="*/ 26332 h 83480"/>
                  <a:gd name="connsiteX2" fmla="*/ 61032 w 174215"/>
                  <a:gd name="connsiteY2" fmla="*/ 14804 h 83480"/>
                  <a:gd name="connsiteX3" fmla="*/ 42410 w 174215"/>
                  <a:gd name="connsiteY3" fmla="*/ 20632 h 83480"/>
                  <a:gd name="connsiteX4" fmla="*/ 15300 w 174215"/>
                  <a:gd name="connsiteY4" fmla="*/ 19998 h 83480"/>
                  <a:gd name="connsiteX5" fmla="*/ 9472 w 174215"/>
                  <a:gd name="connsiteY5" fmla="*/ 35327 h 83480"/>
                  <a:gd name="connsiteX6" fmla="*/ 9726 w 174215"/>
                  <a:gd name="connsiteY6" fmla="*/ 49895 h 83480"/>
                  <a:gd name="connsiteX7" fmla="*/ 98 w 174215"/>
                  <a:gd name="connsiteY7" fmla="*/ 67124 h 83480"/>
                  <a:gd name="connsiteX8" fmla="*/ 15933 w 174215"/>
                  <a:gd name="connsiteY8" fmla="*/ 73965 h 83480"/>
                  <a:gd name="connsiteX9" fmla="*/ 42537 w 174215"/>
                  <a:gd name="connsiteY9" fmla="*/ 65224 h 83480"/>
                  <a:gd name="connsiteX10" fmla="*/ 63819 w 174215"/>
                  <a:gd name="connsiteY10" fmla="*/ 51289 h 83480"/>
                  <a:gd name="connsiteX11" fmla="*/ 74334 w 174215"/>
                  <a:gd name="connsiteY11" fmla="*/ 58130 h 83480"/>
                  <a:gd name="connsiteX12" fmla="*/ 86242 w 174215"/>
                  <a:gd name="connsiteY12" fmla="*/ 66364 h 83480"/>
                  <a:gd name="connsiteX13" fmla="*/ 94603 w 174215"/>
                  <a:gd name="connsiteY13" fmla="*/ 72952 h 83480"/>
                  <a:gd name="connsiteX14" fmla="*/ 103978 w 174215"/>
                  <a:gd name="connsiteY14" fmla="*/ 74472 h 83480"/>
                  <a:gd name="connsiteX15" fmla="*/ 133241 w 174215"/>
                  <a:gd name="connsiteY15" fmla="*/ 81693 h 83480"/>
                  <a:gd name="connsiteX16" fmla="*/ 157564 w 174215"/>
                  <a:gd name="connsiteY16" fmla="*/ 80933 h 83480"/>
                  <a:gd name="connsiteX17" fmla="*/ 173273 w 174215"/>
                  <a:gd name="connsiteY17" fmla="*/ 59777 h 83480"/>
                  <a:gd name="connsiteX18" fmla="*/ 168839 w 174215"/>
                  <a:gd name="connsiteY18" fmla="*/ 47615 h 83480"/>
                  <a:gd name="connsiteX19" fmla="*/ 153890 w 174215"/>
                  <a:gd name="connsiteY19" fmla="*/ 7710 h 83480"/>
                  <a:gd name="connsiteX20" fmla="*/ 131595 w 174215"/>
                  <a:gd name="connsiteY20" fmla="*/ 616 h 83480"/>
                  <a:gd name="connsiteX21" fmla="*/ 114112 w 174215"/>
                  <a:gd name="connsiteY21" fmla="*/ 19745 h 83480"/>
                  <a:gd name="connsiteX22" fmla="*/ 98404 w 174215"/>
                  <a:gd name="connsiteY22" fmla="*/ 41914 h 8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4215" h="83480">
                    <a:moveTo>
                      <a:pt x="98404" y="41914"/>
                    </a:moveTo>
                    <a:cubicBezTo>
                      <a:pt x="89789" y="43941"/>
                      <a:pt x="83329" y="31906"/>
                      <a:pt x="79148" y="26332"/>
                    </a:cubicBezTo>
                    <a:cubicBezTo>
                      <a:pt x="74841" y="20505"/>
                      <a:pt x="69393" y="12524"/>
                      <a:pt x="61032" y="14804"/>
                    </a:cubicBezTo>
                    <a:cubicBezTo>
                      <a:pt x="54318" y="16578"/>
                      <a:pt x="49758" y="20885"/>
                      <a:pt x="42410" y="20632"/>
                    </a:cubicBezTo>
                    <a:cubicBezTo>
                      <a:pt x="33416" y="20378"/>
                      <a:pt x="24168" y="17085"/>
                      <a:pt x="15300" y="19998"/>
                    </a:cubicBezTo>
                    <a:cubicBezTo>
                      <a:pt x="7825" y="22405"/>
                      <a:pt x="6685" y="28739"/>
                      <a:pt x="9472" y="35327"/>
                    </a:cubicBezTo>
                    <a:cubicBezTo>
                      <a:pt x="11879" y="41028"/>
                      <a:pt x="13906" y="44321"/>
                      <a:pt x="9726" y="49895"/>
                    </a:cubicBezTo>
                    <a:cubicBezTo>
                      <a:pt x="6179" y="54583"/>
                      <a:pt x="-915" y="60537"/>
                      <a:pt x="98" y="67124"/>
                    </a:cubicBezTo>
                    <a:cubicBezTo>
                      <a:pt x="1111" y="74092"/>
                      <a:pt x="10613" y="74218"/>
                      <a:pt x="15933" y="73965"/>
                    </a:cubicBezTo>
                    <a:cubicBezTo>
                      <a:pt x="25308" y="73458"/>
                      <a:pt x="34556" y="70291"/>
                      <a:pt x="42537" y="65224"/>
                    </a:cubicBezTo>
                    <a:cubicBezTo>
                      <a:pt x="48744" y="61297"/>
                      <a:pt x="56092" y="51796"/>
                      <a:pt x="63819" y="51289"/>
                    </a:cubicBezTo>
                    <a:cubicBezTo>
                      <a:pt x="68887" y="50909"/>
                      <a:pt x="71674" y="54583"/>
                      <a:pt x="74334" y="58130"/>
                    </a:cubicBezTo>
                    <a:cubicBezTo>
                      <a:pt x="77121" y="62057"/>
                      <a:pt x="82442" y="63450"/>
                      <a:pt x="86242" y="66364"/>
                    </a:cubicBezTo>
                    <a:cubicBezTo>
                      <a:pt x="89029" y="68518"/>
                      <a:pt x="91056" y="72065"/>
                      <a:pt x="94603" y="72952"/>
                    </a:cubicBezTo>
                    <a:cubicBezTo>
                      <a:pt x="97770" y="73712"/>
                      <a:pt x="100811" y="73205"/>
                      <a:pt x="103978" y="74472"/>
                    </a:cubicBezTo>
                    <a:cubicBezTo>
                      <a:pt x="113479" y="78019"/>
                      <a:pt x="123233" y="80046"/>
                      <a:pt x="133241" y="81693"/>
                    </a:cubicBezTo>
                    <a:cubicBezTo>
                      <a:pt x="141096" y="83086"/>
                      <a:pt x="150090" y="85240"/>
                      <a:pt x="157564" y="80933"/>
                    </a:cubicBezTo>
                    <a:cubicBezTo>
                      <a:pt x="164912" y="76625"/>
                      <a:pt x="170613" y="67631"/>
                      <a:pt x="173273" y="59777"/>
                    </a:cubicBezTo>
                    <a:cubicBezTo>
                      <a:pt x="175300" y="53696"/>
                      <a:pt x="174160" y="50655"/>
                      <a:pt x="168839" y="47615"/>
                    </a:cubicBezTo>
                    <a:cubicBezTo>
                      <a:pt x="154397" y="39761"/>
                      <a:pt x="163265" y="19365"/>
                      <a:pt x="153890" y="7710"/>
                    </a:cubicBezTo>
                    <a:cubicBezTo>
                      <a:pt x="148823" y="1249"/>
                      <a:pt x="139449" y="-1284"/>
                      <a:pt x="131595" y="616"/>
                    </a:cubicBezTo>
                    <a:cubicBezTo>
                      <a:pt x="122220" y="3023"/>
                      <a:pt x="117786" y="11637"/>
                      <a:pt x="114112" y="19745"/>
                    </a:cubicBezTo>
                    <a:cubicBezTo>
                      <a:pt x="110945" y="26712"/>
                      <a:pt x="107018" y="39761"/>
                      <a:pt x="98404" y="4191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8" name="Полилиния: фигура 677">
                <a:extLst>
                  <a:ext uri="{FF2B5EF4-FFF2-40B4-BE49-F238E27FC236}">
                    <a16:creationId xmlns:a16="http://schemas.microsoft.com/office/drawing/2014/main" id="{BE40C891-38E6-4EA4-980B-7DE65058F5CB}"/>
                  </a:ext>
                </a:extLst>
              </p:cNvPr>
              <p:cNvSpPr/>
              <p:nvPr/>
            </p:nvSpPr>
            <p:spPr>
              <a:xfrm>
                <a:off x="5984298" y="869651"/>
                <a:ext cx="123677" cy="80207"/>
              </a:xfrm>
              <a:custGeom>
                <a:avLst/>
                <a:gdLst>
                  <a:gd name="connsiteX0" fmla="*/ 18128 w 123677"/>
                  <a:gd name="connsiteY0" fmla="*/ 39977 h 80207"/>
                  <a:gd name="connsiteX1" fmla="*/ 36371 w 123677"/>
                  <a:gd name="connsiteY1" fmla="*/ 61387 h 80207"/>
                  <a:gd name="connsiteX2" fmla="*/ 57020 w 123677"/>
                  <a:gd name="connsiteY2" fmla="*/ 52392 h 80207"/>
                  <a:gd name="connsiteX3" fmla="*/ 70575 w 123677"/>
                  <a:gd name="connsiteY3" fmla="*/ 56699 h 80207"/>
                  <a:gd name="connsiteX4" fmla="*/ 80203 w 123677"/>
                  <a:gd name="connsiteY4" fmla="*/ 63033 h 80207"/>
                  <a:gd name="connsiteX5" fmla="*/ 85777 w 123677"/>
                  <a:gd name="connsiteY5" fmla="*/ 53912 h 80207"/>
                  <a:gd name="connsiteX6" fmla="*/ 94138 w 123677"/>
                  <a:gd name="connsiteY6" fmla="*/ 57333 h 80207"/>
                  <a:gd name="connsiteX7" fmla="*/ 100219 w 123677"/>
                  <a:gd name="connsiteY7" fmla="*/ 74308 h 80207"/>
                  <a:gd name="connsiteX8" fmla="*/ 122008 w 123677"/>
                  <a:gd name="connsiteY8" fmla="*/ 69748 h 80207"/>
                  <a:gd name="connsiteX9" fmla="*/ 98572 w 123677"/>
                  <a:gd name="connsiteY9" fmla="*/ 31996 h 80207"/>
                  <a:gd name="connsiteX10" fmla="*/ 83877 w 123677"/>
                  <a:gd name="connsiteY10" fmla="*/ 25916 h 80207"/>
                  <a:gd name="connsiteX11" fmla="*/ 67535 w 123677"/>
                  <a:gd name="connsiteY11" fmla="*/ 24269 h 80207"/>
                  <a:gd name="connsiteX12" fmla="*/ 33204 w 123677"/>
                  <a:gd name="connsiteY12" fmla="*/ 2606 h 80207"/>
                  <a:gd name="connsiteX13" fmla="*/ 9641 w 123677"/>
                  <a:gd name="connsiteY13" fmla="*/ 1972 h 80207"/>
                  <a:gd name="connsiteX14" fmla="*/ 140 w 123677"/>
                  <a:gd name="connsiteY14" fmla="*/ 12741 h 80207"/>
                  <a:gd name="connsiteX15" fmla="*/ 10148 w 123677"/>
                  <a:gd name="connsiteY15" fmla="*/ 26169 h 80207"/>
                  <a:gd name="connsiteX16" fmla="*/ 18128 w 123677"/>
                  <a:gd name="connsiteY16" fmla="*/ 39977 h 8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677" h="80207">
                    <a:moveTo>
                      <a:pt x="18128" y="39977"/>
                    </a:moveTo>
                    <a:cubicBezTo>
                      <a:pt x="21042" y="49225"/>
                      <a:pt x="22689" y="65187"/>
                      <a:pt x="36371" y="61387"/>
                    </a:cubicBezTo>
                    <a:cubicBezTo>
                      <a:pt x="43718" y="59360"/>
                      <a:pt x="49546" y="53786"/>
                      <a:pt x="57020" y="52392"/>
                    </a:cubicBezTo>
                    <a:cubicBezTo>
                      <a:pt x="61581" y="51505"/>
                      <a:pt x="67281" y="53406"/>
                      <a:pt x="70575" y="56699"/>
                    </a:cubicBezTo>
                    <a:cubicBezTo>
                      <a:pt x="73489" y="59613"/>
                      <a:pt x="74755" y="65314"/>
                      <a:pt x="80203" y="63033"/>
                    </a:cubicBezTo>
                    <a:cubicBezTo>
                      <a:pt x="84763" y="61133"/>
                      <a:pt x="82230" y="56319"/>
                      <a:pt x="85777" y="53912"/>
                    </a:cubicBezTo>
                    <a:cubicBezTo>
                      <a:pt x="89577" y="51505"/>
                      <a:pt x="92745" y="53659"/>
                      <a:pt x="94138" y="57333"/>
                    </a:cubicBezTo>
                    <a:cubicBezTo>
                      <a:pt x="96292" y="63033"/>
                      <a:pt x="96925" y="69114"/>
                      <a:pt x="100219" y="74308"/>
                    </a:cubicBezTo>
                    <a:cubicBezTo>
                      <a:pt x="106933" y="85076"/>
                      <a:pt x="117828" y="79629"/>
                      <a:pt x="122008" y="69748"/>
                    </a:cubicBezTo>
                    <a:cubicBezTo>
                      <a:pt x="129102" y="52899"/>
                      <a:pt x="112127" y="38584"/>
                      <a:pt x="98572" y="31996"/>
                    </a:cubicBezTo>
                    <a:cubicBezTo>
                      <a:pt x="93758" y="29716"/>
                      <a:pt x="88944" y="27309"/>
                      <a:pt x="83877" y="25916"/>
                    </a:cubicBezTo>
                    <a:cubicBezTo>
                      <a:pt x="78429" y="24522"/>
                      <a:pt x="73109" y="24649"/>
                      <a:pt x="67535" y="24269"/>
                    </a:cubicBezTo>
                    <a:cubicBezTo>
                      <a:pt x="52333" y="23128"/>
                      <a:pt x="45999" y="8560"/>
                      <a:pt x="33204" y="2606"/>
                    </a:cubicBezTo>
                    <a:cubicBezTo>
                      <a:pt x="25856" y="-688"/>
                      <a:pt x="17115" y="-815"/>
                      <a:pt x="9641" y="1972"/>
                    </a:cubicBezTo>
                    <a:cubicBezTo>
                      <a:pt x="5080" y="3619"/>
                      <a:pt x="-1000" y="7040"/>
                      <a:pt x="140" y="12741"/>
                    </a:cubicBezTo>
                    <a:cubicBezTo>
                      <a:pt x="1280" y="17934"/>
                      <a:pt x="6727" y="22242"/>
                      <a:pt x="10148" y="26169"/>
                    </a:cubicBezTo>
                    <a:cubicBezTo>
                      <a:pt x="13568" y="30603"/>
                      <a:pt x="16482" y="34783"/>
                      <a:pt x="18128" y="3997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79" name="Полилиния: фигура 678">
                <a:extLst>
                  <a:ext uri="{FF2B5EF4-FFF2-40B4-BE49-F238E27FC236}">
                    <a16:creationId xmlns:a16="http://schemas.microsoft.com/office/drawing/2014/main" id="{BBE42057-27AC-4755-92FC-6A75E4BED378}"/>
                  </a:ext>
                </a:extLst>
              </p:cNvPr>
              <p:cNvSpPr/>
              <p:nvPr/>
            </p:nvSpPr>
            <p:spPr>
              <a:xfrm>
                <a:off x="6082532" y="957169"/>
                <a:ext cx="17398" cy="13710"/>
              </a:xfrm>
              <a:custGeom>
                <a:avLst/>
                <a:gdLst>
                  <a:gd name="connsiteX0" fmla="*/ 17313 w 17398"/>
                  <a:gd name="connsiteY0" fmla="*/ 5033 h 13710"/>
                  <a:gd name="connsiteX1" fmla="*/ 2618 w 17398"/>
                  <a:gd name="connsiteY1" fmla="*/ 979 h 13710"/>
                  <a:gd name="connsiteX2" fmla="*/ 5659 w 17398"/>
                  <a:gd name="connsiteY2" fmla="*/ 13140 h 13710"/>
                  <a:gd name="connsiteX3" fmla="*/ 17313 w 17398"/>
                  <a:gd name="connsiteY3" fmla="*/ 5033 h 13710"/>
                </a:gdLst>
                <a:ahLst/>
                <a:cxnLst>
                  <a:cxn ang="0">
                    <a:pos x="connsiteX0" y="connsiteY0"/>
                  </a:cxn>
                  <a:cxn ang="0">
                    <a:pos x="connsiteX1" y="connsiteY1"/>
                  </a:cxn>
                  <a:cxn ang="0">
                    <a:pos x="connsiteX2" y="connsiteY2"/>
                  </a:cxn>
                  <a:cxn ang="0">
                    <a:pos x="connsiteX3" y="connsiteY3"/>
                  </a:cxn>
                </a:cxnLst>
                <a:rect l="l" t="t" r="r" b="b"/>
                <a:pathLst>
                  <a:path w="17398" h="13710">
                    <a:moveTo>
                      <a:pt x="17313" y="5033"/>
                    </a:moveTo>
                    <a:cubicBezTo>
                      <a:pt x="16427" y="-35"/>
                      <a:pt x="6419" y="-1048"/>
                      <a:pt x="2618" y="979"/>
                    </a:cubicBezTo>
                    <a:cubicBezTo>
                      <a:pt x="-2956" y="3766"/>
                      <a:pt x="1478" y="11113"/>
                      <a:pt x="5659" y="13140"/>
                    </a:cubicBezTo>
                    <a:cubicBezTo>
                      <a:pt x="10093" y="15421"/>
                      <a:pt x="18327" y="10480"/>
                      <a:pt x="17313" y="503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80" name="Полилиния: фигура 679">
                <a:extLst>
                  <a:ext uri="{FF2B5EF4-FFF2-40B4-BE49-F238E27FC236}">
                    <a16:creationId xmlns:a16="http://schemas.microsoft.com/office/drawing/2014/main" id="{5492E2A3-949F-4ACB-B9A2-E3D02465091F}"/>
                  </a:ext>
                </a:extLst>
              </p:cNvPr>
              <p:cNvSpPr/>
              <p:nvPr/>
            </p:nvSpPr>
            <p:spPr>
              <a:xfrm>
                <a:off x="6177345" y="919001"/>
                <a:ext cx="21615" cy="21788"/>
              </a:xfrm>
              <a:custGeom>
                <a:avLst/>
                <a:gdLst>
                  <a:gd name="connsiteX0" fmla="*/ 9785 w 21615"/>
                  <a:gd name="connsiteY0" fmla="*/ 21665 h 21788"/>
                  <a:gd name="connsiteX1" fmla="*/ 20173 w 21615"/>
                  <a:gd name="connsiteY1" fmla="*/ 8870 h 21788"/>
                  <a:gd name="connsiteX2" fmla="*/ 3831 w 21615"/>
                  <a:gd name="connsiteY2" fmla="*/ 3169 h 21788"/>
                  <a:gd name="connsiteX3" fmla="*/ 917 w 21615"/>
                  <a:gd name="connsiteY3" fmla="*/ 15204 h 21788"/>
                  <a:gd name="connsiteX4" fmla="*/ 9785 w 21615"/>
                  <a:gd name="connsiteY4" fmla="*/ 21665 h 21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5" h="21788">
                    <a:moveTo>
                      <a:pt x="9785" y="21665"/>
                    </a:moveTo>
                    <a:cubicBezTo>
                      <a:pt x="19413" y="22679"/>
                      <a:pt x="24226" y="17358"/>
                      <a:pt x="20173" y="8870"/>
                    </a:cubicBezTo>
                    <a:cubicBezTo>
                      <a:pt x="17766" y="3930"/>
                      <a:pt x="8518" y="-4685"/>
                      <a:pt x="3831" y="3169"/>
                    </a:cubicBezTo>
                    <a:cubicBezTo>
                      <a:pt x="1677" y="6843"/>
                      <a:pt x="-1616" y="10897"/>
                      <a:pt x="917" y="15204"/>
                    </a:cubicBezTo>
                    <a:cubicBezTo>
                      <a:pt x="2437" y="18245"/>
                      <a:pt x="6238" y="21285"/>
                      <a:pt x="9785" y="2166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sp>
          <p:nvSpPr>
            <p:cNvPr id="681" name="Полилиния: фигура 680">
              <a:extLst>
                <a:ext uri="{FF2B5EF4-FFF2-40B4-BE49-F238E27FC236}">
                  <a16:creationId xmlns:a16="http://schemas.microsoft.com/office/drawing/2014/main" id="{147A00DE-B07E-44B1-9F73-C0A67E810C53}"/>
                </a:ext>
              </a:extLst>
            </p:cNvPr>
            <p:cNvSpPr/>
            <p:nvPr/>
          </p:nvSpPr>
          <p:spPr>
            <a:xfrm>
              <a:off x="468763" y="3831614"/>
              <a:ext cx="366065" cy="444994"/>
            </a:xfrm>
            <a:custGeom>
              <a:avLst/>
              <a:gdLst>
                <a:gd name="connsiteX0" fmla="*/ 176133 w 366065"/>
                <a:gd name="connsiteY0" fmla="*/ 60880 h 444994"/>
                <a:gd name="connsiteX1" fmla="*/ 145096 w 366065"/>
                <a:gd name="connsiteY1" fmla="*/ 34277 h 444994"/>
                <a:gd name="connsiteX2" fmla="*/ 113932 w 366065"/>
                <a:gd name="connsiteY2" fmla="*/ 21355 h 444994"/>
                <a:gd name="connsiteX3" fmla="*/ 65666 w 366065"/>
                <a:gd name="connsiteY3" fmla="*/ 8687 h 444994"/>
                <a:gd name="connsiteX4" fmla="*/ 76181 w 366065"/>
                <a:gd name="connsiteY4" fmla="*/ 39471 h 444994"/>
                <a:gd name="connsiteX5" fmla="*/ 101264 w 366065"/>
                <a:gd name="connsiteY5" fmla="*/ 66074 h 444994"/>
                <a:gd name="connsiteX6" fmla="*/ 81882 w 366065"/>
                <a:gd name="connsiteY6" fmla="*/ 92678 h 444994"/>
                <a:gd name="connsiteX7" fmla="*/ 87202 w 366065"/>
                <a:gd name="connsiteY7" fmla="*/ 116494 h 444994"/>
                <a:gd name="connsiteX8" fmla="*/ 69467 w 366065"/>
                <a:gd name="connsiteY8" fmla="*/ 168560 h 444994"/>
                <a:gd name="connsiteX9" fmla="*/ 15247 w 366065"/>
                <a:gd name="connsiteY9" fmla="*/ 181736 h 444994"/>
                <a:gd name="connsiteX10" fmla="*/ 805 w 366065"/>
                <a:gd name="connsiteY10" fmla="*/ 205805 h 444994"/>
                <a:gd name="connsiteX11" fmla="*/ 8279 w 366065"/>
                <a:gd name="connsiteY11" fmla="*/ 228101 h 444994"/>
                <a:gd name="connsiteX12" fmla="*/ 23354 w 366065"/>
                <a:gd name="connsiteY12" fmla="*/ 253945 h 444994"/>
                <a:gd name="connsiteX13" fmla="*/ 46790 w 366065"/>
                <a:gd name="connsiteY13" fmla="*/ 283082 h 444994"/>
                <a:gd name="connsiteX14" fmla="*/ 66680 w 366065"/>
                <a:gd name="connsiteY14" fmla="*/ 292330 h 444994"/>
                <a:gd name="connsiteX15" fmla="*/ 99617 w 366065"/>
                <a:gd name="connsiteY15" fmla="*/ 303097 h 444994"/>
                <a:gd name="connsiteX16" fmla="*/ 138509 w 366065"/>
                <a:gd name="connsiteY16" fmla="*/ 321466 h 444994"/>
                <a:gd name="connsiteX17" fmla="*/ 171446 w 366065"/>
                <a:gd name="connsiteY17" fmla="*/ 344143 h 444994"/>
                <a:gd name="connsiteX18" fmla="*/ 186648 w 366065"/>
                <a:gd name="connsiteY18" fmla="*/ 353264 h 444994"/>
                <a:gd name="connsiteX19" fmla="*/ 211351 w 366065"/>
                <a:gd name="connsiteY19" fmla="*/ 351490 h 444994"/>
                <a:gd name="connsiteX20" fmla="*/ 236814 w 366065"/>
                <a:gd name="connsiteY20" fmla="*/ 353517 h 444994"/>
                <a:gd name="connsiteX21" fmla="*/ 243148 w 366065"/>
                <a:gd name="connsiteY21" fmla="*/ 408624 h 444994"/>
                <a:gd name="connsiteX22" fmla="*/ 261264 w 366065"/>
                <a:gd name="connsiteY22" fmla="*/ 419772 h 444994"/>
                <a:gd name="connsiteX23" fmla="*/ 285460 w 366065"/>
                <a:gd name="connsiteY23" fmla="*/ 433200 h 444994"/>
                <a:gd name="connsiteX24" fmla="*/ 332080 w 366065"/>
                <a:gd name="connsiteY24" fmla="*/ 439535 h 444994"/>
                <a:gd name="connsiteX25" fmla="*/ 363370 w 366065"/>
                <a:gd name="connsiteY25" fmla="*/ 409637 h 444994"/>
                <a:gd name="connsiteX26" fmla="*/ 338160 w 366065"/>
                <a:gd name="connsiteY26" fmla="*/ 380374 h 444994"/>
                <a:gd name="connsiteX27" fmla="*/ 319918 w 366065"/>
                <a:gd name="connsiteY27" fmla="*/ 365298 h 444994"/>
                <a:gd name="connsiteX28" fmla="*/ 313204 w 366065"/>
                <a:gd name="connsiteY28" fmla="*/ 344903 h 444994"/>
                <a:gd name="connsiteX29" fmla="*/ 291668 w 366065"/>
                <a:gd name="connsiteY29" fmla="*/ 313865 h 444994"/>
                <a:gd name="connsiteX30" fmla="*/ 300029 w 366065"/>
                <a:gd name="connsiteY30" fmla="*/ 290556 h 444994"/>
                <a:gd name="connsiteX31" fmla="*/ 309023 w 366065"/>
                <a:gd name="connsiteY31" fmla="*/ 258378 h 444994"/>
                <a:gd name="connsiteX32" fmla="*/ 327646 w 366065"/>
                <a:gd name="connsiteY32" fmla="*/ 222274 h 444994"/>
                <a:gd name="connsiteX33" fmla="*/ 336893 w 366065"/>
                <a:gd name="connsiteY33" fmla="*/ 175781 h 444994"/>
                <a:gd name="connsiteX34" fmla="*/ 313457 w 366065"/>
                <a:gd name="connsiteY34" fmla="*/ 196938 h 444994"/>
                <a:gd name="connsiteX35" fmla="*/ 295722 w 366065"/>
                <a:gd name="connsiteY35" fmla="*/ 230382 h 444994"/>
                <a:gd name="connsiteX36" fmla="*/ 287361 w 366065"/>
                <a:gd name="connsiteY36" fmla="*/ 267246 h 444994"/>
                <a:gd name="connsiteX37" fmla="*/ 269372 w 366065"/>
                <a:gd name="connsiteY37" fmla="*/ 300690 h 444994"/>
                <a:gd name="connsiteX38" fmla="*/ 248216 w 366065"/>
                <a:gd name="connsiteY38" fmla="*/ 325393 h 444994"/>
                <a:gd name="connsiteX39" fmla="*/ 238334 w 366065"/>
                <a:gd name="connsiteY39" fmla="*/ 305504 h 444994"/>
                <a:gd name="connsiteX40" fmla="*/ 236688 w 366065"/>
                <a:gd name="connsiteY40" fmla="*/ 278774 h 444994"/>
                <a:gd name="connsiteX41" fmla="*/ 261391 w 366065"/>
                <a:gd name="connsiteY41" fmla="*/ 263066 h 444994"/>
                <a:gd name="connsiteX42" fmla="*/ 276846 w 366065"/>
                <a:gd name="connsiteY42" fmla="*/ 235322 h 444994"/>
                <a:gd name="connsiteX43" fmla="*/ 290274 w 366065"/>
                <a:gd name="connsiteY43" fmla="*/ 198078 h 444994"/>
                <a:gd name="connsiteX44" fmla="*/ 291794 w 366065"/>
                <a:gd name="connsiteY44" fmla="*/ 162860 h 444994"/>
                <a:gd name="connsiteX45" fmla="*/ 291414 w 366065"/>
                <a:gd name="connsiteY45" fmla="*/ 123082 h 444994"/>
                <a:gd name="connsiteX46" fmla="*/ 292681 w 366065"/>
                <a:gd name="connsiteY46" fmla="*/ 83810 h 444994"/>
                <a:gd name="connsiteX47" fmla="*/ 288881 w 366065"/>
                <a:gd name="connsiteY47" fmla="*/ 60500 h 444994"/>
                <a:gd name="connsiteX48" fmla="*/ 256450 w 366065"/>
                <a:gd name="connsiteY48" fmla="*/ 51506 h 444994"/>
                <a:gd name="connsiteX49" fmla="*/ 236941 w 366065"/>
                <a:gd name="connsiteY49" fmla="*/ 69748 h 444994"/>
                <a:gd name="connsiteX50" fmla="*/ 205904 w 366065"/>
                <a:gd name="connsiteY50" fmla="*/ 83050 h 444994"/>
                <a:gd name="connsiteX51" fmla="*/ 176133 w 366065"/>
                <a:gd name="connsiteY51" fmla="*/ 60880 h 444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6065" h="444994">
                  <a:moveTo>
                    <a:pt x="176133" y="60880"/>
                  </a:moveTo>
                  <a:cubicBezTo>
                    <a:pt x="167012" y="50619"/>
                    <a:pt x="157638" y="40485"/>
                    <a:pt x="145096" y="34277"/>
                  </a:cubicBezTo>
                  <a:cubicBezTo>
                    <a:pt x="134962" y="29337"/>
                    <a:pt x="123813" y="26930"/>
                    <a:pt x="113932" y="21355"/>
                  </a:cubicBezTo>
                  <a:cubicBezTo>
                    <a:pt x="101391" y="14388"/>
                    <a:pt x="77954" y="-14115"/>
                    <a:pt x="65666" y="8687"/>
                  </a:cubicBezTo>
                  <a:cubicBezTo>
                    <a:pt x="59459" y="20342"/>
                    <a:pt x="67566" y="31744"/>
                    <a:pt x="76181" y="39471"/>
                  </a:cubicBezTo>
                  <a:cubicBezTo>
                    <a:pt x="83655" y="46185"/>
                    <a:pt x="101391" y="54293"/>
                    <a:pt x="101264" y="66074"/>
                  </a:cubicBezTo>
                  <a:cubicBezTo>
                    <a:pt x="101137" y="77096"/>
                    <a:pt x="87329" y="84317"/>
                    <a:pt x="81882" y="92678"/>
                  </a:cubicBezTo>
                  <a:cubicBezTo>
                    <a:pt x="75674" y="102179"/>
                    <a:pt x="81755" y="108513"/>
                    <a:pt x="87202" y="116494"/>
                  </a:cubicBezTo>
                  <a:cubicBezTo>
                    <a:pt x="99490" y="134483"/>
                    <a:pt x="90749" y="161213"/>
                    <a:pt x="69467" y="168560"/>
                  </a:cubicBezTo>
                  <a:cubicBezTo>
                    <a:pt x="50844" y="175021"/>
                    <a:pt x="30575" y="165013"/>
                    <a:pt x="15247" y="181736"/>
                  </a:cubicBezTo>
                  <a:cubicBezTo>
                    <a:pt x="9292" y="188196"/>
                    <a:pt x="3338" y="197318"/>
                    <a:pt x="805" y="205805"/>
                  </a:cubicBezTo>
                  <a:cubicBezTo>
                    <a:pt x="-1856" y="215053"/>
                    <a:pt x="2452" y="221134"/>
                    <a:pt x="8279" y="228101"/>
                  </a:cubicBezTo>
                  <a:cubicBezTo>
                    <a:pt x="15120" y="236209"/>
                    <a:pt x="19934" y="243937"/>
                    <a:pt x="23354" y="253945"/>
                  </a:cubicBezTo>
                  <a:cubicBezTo>
                    <a:pt x="27788" y="267119"/>
                    <a:pt x="33996" y="276494"/>
                    <a:pt x="46790" y="283082"/>
                  </a:cubicBezTo>
                  <a:cubicBezTo>
                    <a:pt x="53251" y="286502"/>
                    <a:pt x="60346" y="288656"/>
                    <a:pt x="66680" y="292330"/>
                  </a:cubicBezTo>
                  <a:cubicBezTo>
                    <a:pt x="77194" y="298410"/>
                    <a:pt x="87456" y="301704"/>
                    <a:pt x="99617" y="303097"/>
                  </a:cubicBezTo>
                  <a:cubicBezTo>
                    <a:pt x="115579" y="304998"/>
                    <a:pt x="126220" y="311332"/>
                    <a:pt x="138509" y="321466"/>
                  </a:cubicBezTo>
                  <a:cubicBezTo>
                    <a:pt x="148770" y="329954"/>
                    <a:pt x="160678" y="336288"/>
                    <a:pt x="171446" y="344143"/>
                  </a:cubicBezTo>
                  <a:cubicBezTo>
                    <a:pt x="176640" y="347943"/>
                    <a:pt x="180060" y="352757"/>
                    <a:pt x="186648" y="353264"/>
                  </a:cubicBezTo>
                  <a:cubicBezTo>
                    <a:pt x="194756" y="353897"/>
                    <a:pt x="203370" y="352504"/>
                    <a:pt x="211351" y="351490"/>
                  </a:cubicBezTo>
                  <a:cubicBezTo>
                    <a:pt x="219079" y="350603"/>
                    <a:pt x="230100" y="348196"/>
                    <a:pt x="236814" y="353517"/>
                  </a:cubicBezTo>
                  <a:cubicBezTo>
                    <a:pt x="251763" y="365552"/>
                    <a:pt x="235167" y="393295"/>
                    <a:pt x="243148" y="408624"/>
                  </a:cubicBezTo>
                  <a:cubicBezTo>
                    <a:pt x="246695" y="415465"/>
                    <a:pt x="254550" y="417238"/>
                    <a:pt x="261264" y="419772"/>
                  </a:cubicBezTo>
                  <a:cubicBezTo>
                    <a:pt x="270132" y="423066"/>
                    <a:pt x="277733" y="427753"/>
                    <a:pt x="285460" y="433200"/>
                  </a:cubicBezTo>
                  <a:cubicBezTo>
                    <a:pt x="300662" y="443968"/>
                    <a:pt x="314851" y="450049"/>
                    <a:pt x="332080" y="439535"/>
                  </a:cubicBezTo>
                  <a:cubicBezTo>
                    <a:pt x="343481" y="432567"/>
                    <a:pt x="356909" y="421545"/>
                    <a:pt x="363370" y="409637"/>
                  </a:cubicBezTo>
                  <a:cubicBezTo>
                    <a:pt x="373758" y="390635"/>
                    <a:pt x="351715" y="385694"/>
                    <a:pt x="338160" y="380374"/>
                  </a:cubicBezTo>
                  <a:cubicBezTo>
                    <a:pt x="330306" y="377333"/>
                    <a:pt x="323592" y="373279"/>
                    <a:pt x="319918" y="365298"/>
                  </a:cubicBezTo>
                  <a:cubicBezTo>
                    <a:pt x="317004" y="358838"/>
                    <a:pt x="316878" y="351237"/>
                    <a:pt x="313204" y="344903"/>
                  </a:cubicBezTo>
                  <a:cubicBezTo>
                    <a:pt x="305730" y="331981"/>
                    <a:pt x="287234" y="332741"/>
                    <a:pt x="291668" y="313865"/>
                  </a:cubicBezTo>
                  <a:cubicBezTo>
                    <a:pt x="293568" y="305378"/>
                    <a:pt x="298889" y="299297"/>
                    <a:pt x="300029" y="290556"/>
                  </a:cubicBezTo>
                  <a:cubicBezTo>
                    <a:pt x="301549" y="279281"/>
                    <a:pt x="303069" y="268513"/>
                    <a:pt x="309023" y="258378"/>
                  </a:cubicBezTo>
                  <a:cubicBezTo>
                    <a:pt x="315991" y="246470"/>
                    <a:pt x="322072" y="234816"/>
                    <a:pt x="327646" y="222274"/>
                  </a:cubicBezTo>
                  <a:cubicBezTo>
                    <a:pt x="330306" y="216193"/>
                    <a:pt x="360203" y="171601"/>
                    <a:pt x="336893" y="175781"/>
                  </a:cubicBezTo>
                  <a:cubicBezTo>
                    <a:pt x="326759" y="177555"/>
                    <a:pt x="318905" y="189210"/>
                    <a:pt x="313457" y="196938"/>
                  </a:cubicBezTo>
                  <a:cubicBezTo>
                    <a:pt x="306110" y="207199"/>
                    <a:pt x="299649" y="218220"/>
                    <a:pt x="295722" y="230382"/>
                  </a:cubicBezTo>
                  <a:cubicBezTo>
                    <a:pt x="291794" y="242417"/>
                    <a:pt x="291414" y="255338"/>
                    <a:pt x="287361" y="267246"/>
                  </a:cubicBezTo>
                  <a:cubicBezTo>
                    <a:pt x="283307" y="279281"/>
                    <a:pt x="276339" y="290176"/>
                    <a:pt x="269372" y="300690"/>
                  </a:cubicBezTo>
                  <a:cubicBezTo>
                    <a:pt x="264684" y="307911"/>
                    <a:pt x="257083" y="322606"/>
                    <a:pt x="248216" y="325393"/>
                  </a:cubicBezTo>
                  <a:cubicBezTo>
                    <a:pt x="238461" y="328561"/>
                    <a:pt x="238968" y="311585"/>
                    <a:pt x="238334" y="305504"/>
                  </a:cubicBezTo>
                  <a:cubicBezTo>
                    <a:pt x="237448" y="297903"/>
                    <a:pt x="233140" y="286122"/>
                    <a:pt x="236688" y="278774"/>
                  </a:cubicBezTo>
                  <a:cubicBezTo>
                    <a:pt x="240995" y="270160"/>
                    <a:pt x="253536" y="267246"/>
                    <a:pt x="261391" y="263066"/>
                  </a:cubicBezTo>
                  <a:cubicBezTo>
                    <a:pt x="272285" y="257238"/>
                    <a:pt x="273932" y="246597"/>
                    <a:pt x="276846" y="235322"/>
                  </a:cubicBezTo>
                  <a:cubicBezTo>
                    <a:pt x="280266" y="222274"/>
                    <a:pt x="285840" y="210619"/>
                    <a:pt x="290274" y="198078"/>
                  </a:cubicBezTo>
                  <a:cubicBezTo>
                    <a:pt x="294328" y="186803"/>
                    <a:pt x="292555" y="174515"/>
                    <a:pt x="291794" y="162860"/>
                  </a:cubicBezTo>
                  <a:cubicBezTo>
                    <a:pt x="290908" y="149558"/>
                    <a:pt x="290654" y="136383"/>
                    <a:pt x="291414" y="123082"/>
                  </a:cubicBezTo>
                  <a:cubicBezTo>
                    <a:pt x="292174" y="110033"/>
                    <a:pt x="292428" y="96858"/>
                    <a:pt x="292681" y="83810"/>
                  </a:cubicBezTo>
                  <a:cubicBezTo>
                    <a:pt x="292808" y="76462"/>
                    <a:pt x="294708" y="66201"/>
                    <a:pt x="288881" y="60500"/>
                  </a:cubicBezTo>
                  <a:cubicBezTo>
                    <a:pt x="281533" y="53153"/>
                    <a:pt x="266205" y="53153"/>
                    <a:pt x="256450" y="51506"/>
                  </a:cubicBezTo>
                  <a:cubicBezTo>
                    <a:pt x="242135" y="48972"/>
                    <a:pt x="243275" y="60120"/>
                    <a:pt x="236941" y="69748"/>
                  </a:cubicBezTo>
                  <a:cubicBezTo>
                    <a:pt x="230100" y="80516"/>
                    <a:pt x="218065" y="85964"/>
                    <a:pt x="205904" y="83050"/>
                  </a:cubicBezTo>
                  <a:cubicBezTo>
                    <a:pt x="193109" y="80516"/>
                    <a:pt x="184748" y="70508"/>
                    <a:pt x="176133" y="6088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82" name="Полилиния: фигура 681">
              <a:extLst>
                <a:ext uri="{FF2B5EF4-FFF2-40B4-BE49-F238E27FC236}">
                  <a16:creationId xmlns:a16="http://schemas.microsoft.com/office/drawing/2014/main" id="{07D18B26-C64E-4E2E-A48E-5C642B7A3795}"/>
                </a:ext>
              </a:extLst>
            </p:cNvPr>
            <p:cNvSpPr/>
            <p:nvPr/>
          </p:nvSpPr>
          <p:spPr>
            <a:xfrm>
              <a:off x="883100" y="4486997"/>
              <a:ext cx="196906" cy="313159"/>
            </a:xfrm>
            <a:custGeom>
              <a:avLst/>
              <a:gdLst>
                <a:gd name="connsiteX0" fmla="*/ 196571 w 196906"/>
                <a:gd name="connsiteY0" fmla="*/ 217025 h 313159"/>
                <a:gd name="connsiteX1" fmla="*/ 182383 w 196906"/>
                <a:gd name="connsiteY1" fmla="*/ 261111 h 313159"/>
                <a:gd name="connsiteX2" fmla="*/ 142985 w 196906"/>
                <a:gd name="connsiteY2" fmla="*/ 299369 h 313159"/>
                <a:gd name="connsiteX3" fmla="*/ 122969 w 196906"/>
                <a:gd name="connsiteY3" fmla="*/ 295062 h 313159"/>
                <a:gd name="connsiteX4" fmla="*/ 123349 w 196906"/>
                <a:gd name="connsiteY4" fmla="*/ 275933 h 313159"/>
                <a:gd name="connsiteX5" fmla="*/ 131963 w 196906"/>
                <a:gd name="connsiteY5" fmla="*/ 237295 h 313159"/>
                <a:gd name="connsiteX6" fmla="*/ 98519 w 196906"/>
                <a:gd name="connsiteY6" fmla="*/ 267318 h 313159"/>
                <a:gd name="connsiteX7" fmla="*/ 59374 w 196906"/>
                <a:gd name="connsiteY7" fmla="*/ 287968 h 313159"/>
                <a:gd name="connsiteX8" fmla="*/ 23903 w 196906"/>
                <a:gd name="connsiteY8" fmla="*/ 312544 h 313159"/>
                <a:gd name="connsiteX9" fmla="*/ 3254 w 196906"/>
                <a:gd name="connsiteY9" fmla="*/ 295062 h 313159"/>
                <a:gd name="connsiteX10" fmla="*/ 3760 w 196906"/>
                <a:gd name="connsiteY10" fmla="*/ 272132 h 313159"/>
                <a:gd name="connsiteX11" fmla="*/ 720 w 196906"/>
                <a:gd name="connsiteY11" fmla="*/ 257184 h 313159"/>
                <a:gd name="connsiteX12" fmla="*/ 8068 w 196906"/>
                <a:gd name="connsiteY12" fmla="*/ 228807 h 313159"/>
                <a:gd name="connsiteX13" fmla="*/ 51520 w 196906"/>
                <a:gd name="connsiteY13" fmla="*/ 225006 h 313159"/>
                <a:gd name="connsiteX14" fmla="*/ 87118 w 196906"/>
                <a:gd name="connsiteY14" fmla="*/ 203090 h 313159"/>
                <a:gd name="connsiteX15" fmla="*/ 119422 w 196906"/>
                <a:gd name="connsiteY15" fmla="*/ 166226 h 313159"/>
                <a:gd name="connsiteX16" fmla="*/ 86484 w 196906"/>
                <a:gd name="connsiteY16" fmla="*/ 124040 h 313159"/>
                <a:gd name="connsiteX17" fmla="*/ 60388 w 196906"/>
                <a:gd name="connsiteY17" fmla="*/ 77548 h 313159"/>
                <a:gd name="connsiteX18" fmla="*/ 44172 w 196906"/>
                <a:gd name="connsiteY18" fmla="*/ 42964 h 313159"/>
                <a:gd name="connsiteX19" fmla="*/ 45692 w 196906"/>
                <a:gd name="connsiteY19" fmla="*/ 15853 h 313159"/>
                <a:gd name="connsiteX20" fmla="*/ 54560 w 196906"/>
                <a:gd name="connsiteY20" fmla="*/ 18 h 313159"/>
                <a:gd name="connsiteX21" fmla="*/ 67989 w 196906"/>
                <a:gd name="connsiteY21" fmla="*/ 13573 h 313159"/>
                <a:gd name="connsiteX22" fmla="*/ 84837 w 196906"/>
                <a:gd name="connsiteY22" fmla="*/ 39670 h 313159"/>
                <a:gd name="connsiteX23" fmla="*/ 111441 w 196906"/>
                <a:gd name="connsiteY23" fmla="*/ 86162 h 313159"/>
                <a:gd name="connsiteX24" fmla="*/ 154259 w 196906"/>
                <a:gd name="connsiteY24" fmla="*/ 112639 h 313159"/>
                <a:gd name="connsiteX25" fmla="*/ 185677 w 196906"/>
                <a:gd name="connsiteY25" fmla="*/ 158751 h 313159"/>
                <a:gd name="connsiteX26" fmla="*/ 196571 w 196906"/>
                <a:gd name="connsiteY26" fmla="*/ 217025 h 3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6906" h="313159">
                  <a:moveTo>
                    <a:pt x="196571" y="217025"/>
                  </a:moveTo>
                  <a:cubicBezTo>
                    <a:pt x="194924" y="231974"/>
                    <a:pt x="187957" y="247429"/>
                    <a:pt x="182383" y="261111"/>
                  </a:cubicBezTo>
                  <a:cubicBezTo>
                    <a:pt x="175162" y="278720"/>
                    <a:pt x="162747" y="295442"/>
                    <a:pt x="142985" y="299369"/>
                  </a:cubicBezTo>
                  <a:cubicBezTo>
                    <a:pt x="136524" y="300636"/>
                    <a:pt x="127529" y="300763"/>
                    <a:pt x="122969" y="295062"/>
                  </a:cubicBezTo>
                  <a:cubicBezTo>
                    <a:pt x="118535" y="289488"/>
                    <a:pt x="121068" y="281760"/>
                    <a:pt x="123349" y="275933"/>
                  </a:cubicBezTo>
                  <a:cubicBezTo>
                    <a:pt x="125629" y="269852"/>
                    <a:pt x="142604" y="242235"/>
                    <a:pt x="131963" y="237295"/>
                  </a:cubicBezTo>
                  <a:cubicBezTo>
                    <a:pt x="120942" y="232354"/>
                    <a:pt x="103966" y="261238"/>
                    <a:pt x="98519" y="267318"/>
                  </a:cubicBezTo>
                  <a:cubicBezTo>
                    <a:pt x="87371" y="279987"/>
                    <a:pt x="73436" y="280620"/>
                    <a:pt x="59374" y="287968"/>
                  </a:cubicBezTo>
                  <a:cubicBezTo>
                    <a:pt x="46959" y="294428"/>
                    <a:pt x="37458" y="308617"/>
                    <a:pt x="23903" y="312544"/>
                  </a:cubicBezTo>
                  <a:cubicBezTo>
                    <a:pt x="12375" y="315838"/>
                    <a:pt x="4774" y="305323"/>
                    <a:pt x="3254" y="295062"/>
                  </a:cubicBezTo>
                  <a:cubicBezTo>
                    <a:pt x="2114" y="287334"/>
                    <a:pt x="4521" y="279733"/>
                    <a:pt x="3760" y="272132"/>
                  </a:cubicBezTo>
                  <a:cubicBezTo>
                    <a:pt x="3254" y="267192"/>
                    <a:pt x="1353" y="262251"/>
                    <a:pt x="720" y="257184"/>
                  </a:cubicBezTo>
                  <a:cubicBezTo>
                    <a:pt x="-547" y="247556"/>
                    <a:pt x="-1180" y="234761"/>
                    <a:pt x="8068" y="228807"/>
                  </a:cubicBezTo>
                  <a:cubicBezTo>
                    <a:pt x="19976" y="221079"/>
                    <a:pt x="38091" y="228427"/>
                    <a:pt x="51520" y="225006"/>
                  </a:cubicBezTo>
                  <a:cubicBezTo>
                    <a:pt x="65328" y="221586"/>
                    <a:pt x="75336" y="210185"/>
                    <a:pt x="87118" y="203090"/>
                  </a:cubicBezTo>
                  <a:cubicBezTo>
                    <a:pt x="101559" y="194349"/>
                    <a:pt x="117648" y="184975"/>
                    <a:pt x="119422" y="166226"/>
                  </a:cubicBezTo>
                  <a:cubicBezTo>
                    <a:pt x="121575" y="144310"/>
                    <a:pt x="101559" y="134682"/>
                    <a:pt x="86484" y="124040"/>
                  </a:cubicBezTo>
                  <a:cubicBezTo>
                    <a:pt x="69889" y="112259"/>
                    <a:pt x="66468" y="95664"/>
                    <a:pt x="60388" y="77548"/>
                  </a:cubicBezTo>
                  <a:cubicBezTo>
                    <a:pt x="56334" y="65260"/>
                    <a:pt x="46199" y="55885"/>
                    <a:pt x="44172" y="42964"/>
                  </a:cubicBezTo>
                  <a:cubicBezTo>
                    <a:pt x="42779" y="33969"/>
                    <a:pt x="43792" y="24595"/>
                    <a:pt x="45692" y="15853"/>
                  </a:cubicBezTo>
                  <a:cubicBezTo>
                    <a:pt x="46706" y="11546"/>
                    <a:pt x="48606" y="652"/>
                    <a:pt x="54560" y="18"/>
                  </a:cubicBezTo>
                  <a:cubicBezTo>
                    <a:pt x="60388" y="-488"/>
                    <a:pt x="65582" y="9773"/>
                    <a:pt x="67989" y="13573"/>
                  </a:cubicBezTo>
                  <a:cubicBezTo>
                    <a:pt x="73689" y="22188"/>
                    <a:pt x="79137" y="31055"/>
                    <a:pt x="84837" y="39670"/>
                  </a:cubicBezTo>
                  <a:cubicBezTo>
                    <a:pt x="94718" y="54619"/>
                    <a:pt x="101813" y="71087"/>
                    <a:pt x="111441" y="86162"/>
                  </a:cubicBezTo>
                  <a:cubicBezTo>
                    <a:pt x="121955" y="102631"/>
                    <a:pt x="137157" y="105925"/>
                    <a:pt x="154259" y="112639"/>
                  </a:cubicBezTo>
                  <a:cubicBezTo>
                    <a:pt x="173895" y="120366"/>
                    <a:pt x="180103" y="140002"/>
                    <a:pt x="185677" y="158751"/>
                  </a:cubicBezTo>
                  <a:cubicBezTo>
                    <a:pt x="190997" y="176994"/>
                    <a:pt x="198598" y="197770"/>
                    <a:pt x="196571" y="21702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83" name="Полилиния: фигура 682">
              <a:extLst>
                <a:ext uri="{FF2B5EF4-FFF2-40B4-BE49-F238E27FC236}">
                  <a16:creationId xmlns:a16="http://schemas.microsoft.com/office/drawing/2014/main" id="{378442F7-529C-47D2-BCFF-28C7CDC55541}"/>
                </a:ext>
              </a:extLst>
            </p:cNvPr>
            <p:cNvSpPr/>
            <p:nvPr/>
          </p:nvSpPr>
          <p:spPr>
            <a:xfrm>
              <a:off x="5344564" y="5894837"/>
              <a:ext cx="927284" cy="680666"/>
            </a:xfrm>
            <a:custGeom>
              <a:avLst/>
              <a:gdLst>
                <a:gd name="connsiteX0" fmla="*/ 927189 w 927284"/>
                <a:gd name="connsiteY0" fmla="*/ 310500 h 680666"/>
                <a:gd name="connsiteX1" fmla="*/ 887538 w 927284"/>
                <a:gd name="connsiteY1" fmla="*/ 341664 h 680666"/>
                <a:gd name="connsiteX2" fmla="*/ 905780 w 927284"/>
                <a:gd name="connsiteY2" fmla="*/ 366494 h 680666"/>
                <a:gd name="connsiteX3" fmla="*/ 889818 w 927284"/>
                <a:gd name="connsiteY3" fmla="*/ 393857 h 680666"/>
                <a:gd name="connsiteX4" fmla="*/ 909581 w 927284"/>
                <a:gd name="connsiteY4" fmla="*/ 432116 h 680666"/>
                <a:gd name="connsiteX5" fmla="*/ 909581 w 927284"/>
                <a:gd name="connsiteY5" fmla="*/ 432116 h 680666"/>
                <a:gd name="connsiteX6" fmla="*/ 909327 w 927284"/>
                <a:gd name="connsiteY6" fmla="*/ 432876 h 680666"/>
                <a:gd name="connsiteX7" fmla="*/ 909201 w 927284"/>
                <a:gd name="connsiteY7" fmla="*/ 433002 h 680666"/>
                <a:gd name="connsiteX8" fmla="*/ 908694 w 927284"/>
                <a:gd name="connsiteY8" fmla="*/ 433889 h 680666"/>
                <a:gd name="connsiteX9" fmla="*/ 907934 w 927284"/>
                <a:gd name="connsiteY9" fmla="*/ 434649 h 680666"/>
                <a:gd name="connsiteX10" fmla="*/ 907300 w 927284"/>
                <a:gd name="connsiteY10" fmla="*/ 435156 h 680666"/>
                <a:gd name="connsiteX11" fmla="*/ 904893 w 927284"/>
                <a:gd name="connsiteY11" fmla="*/ 436550 h 680666"/>
                <a:gd name="connsiteX12" fmla="*/ 904007 w 927284"/>
                <a:gd name="connsiteY12" fmla="*/ 436930 h 680666"/>
                <a:gd name="connsiteX13" fmla="*/ 900586 w 927284"/>
                <a:gd name="connsiteY13" fmla="*/ 437816 h 680666"/>
                <a:gd name="connsiteX14" fmla="*/ 874743 w 927284"/>
                <a:gd name="connsiteY14" fmla="*/ 444404 h 680666"/>
                <a:gd name="connsiteX15" fmla="*/ 863848 w 927284"/>
                <a:gd name="connsiteY15" fmla="*/ 470627 h 680666"/>
                <a:gd name="connsiteX16" fmla="*/ 807474 w 927284"/>
                <a:gd name="connsiteY16" fmla="*/ 503691 h 680666"/>
                <a:gd name="connsiteX17" fmla="*/ 777324 w 927284"/>
                <a:gd name="connsiteY17" fmla="*/ 500144 h 680666"/>
                <a:gd name="connsiteX18" fmla="*/ 744513 w 927284"/>
                <a:gd name="connsiteY18" fmla="*/ 526494 h 680666"/>
                <a:gd name="connsiteX19" fmla="*/ 722090 w 927284"/>
                <a:gd name="connsiteY19" fmla="*/ 555377 h 680666"/>
                <a:gd name="connsiteX20" fmla="*/ 696754 w 927284"/>
                <a:gd name="connsiteY20" fmla="*/ 571593 h 680666"/>
                <a:gd name="connsiteX21" fmla="*/ 685732 w 927284"/>
                <a:gd name="connsiteY21" fmla="*/ 569946 h 680666"/>
                <a:gd name="connsiteX22" fmla="*/ 676358 w 927284"/>
                <a:gd name="connsiteY22" fmla="*/ 570833 h 680666"/>
                <a:gd name="connsiteX23" fmla="*/ 651275 w 927284"/>
                <a:gd name="connsiteY23" fmla="*/ 570706 h 680666"/>
                <a:gd name="connsiteX24" fmla="*/ 619224 w 927284"/>
                <a:gd name="connsiteY24" fmla="*/ 577040 h 680666"/>
                <a:gd name="connsiteX25" fmla="*/ 589074 w 927284"/>
                <a:gd name="connsiteY25" fmla="*/ 581221 h 680666"/>
                <a:gd name="connsiteX26" fmla="*/ 560570 w 927284"/>
                <a:gd name="connsiteY26" fmla="*/ 585148 h 680666"/>
                <a:gd name="connsiteX27" fmla="*/ 545495 w 927284"/>
                <a:gd name="connsiteY27" fmla="*/ 592496 h 680666"/>
                <a:gd name="connsiteX28" fmla="*/ 536247 w 927284"/>
                <a:gd name="connsiteY28" fmla="*/ 610358 h 680666"/>
                <a:gd name="connsiteX29" fmla="*/ 529153 w 927284"/>
                <a:gd name="connsiteY29" fmla="*/ 623153 h 680666"/>
                <a:gd name="connsiteX30" fmla="*/ 543595 w 927284"/>
                <a:gd name="connsiteY30" fmla="*/ 638101 h 680666"/>
                <a:gd name="connsiteX31" fmla="*/ 561837 w 927284"/>
                <a:gd name="connsiteY31" fmla="*/ 649629 h 680666"/>
                <a:gd name="connsiteX32" fmla="*/ 556516 w 927284"/>
                <a:gd name="connsiteY32" fmla="*/ 670532 h 680666"/>
                <a:gd name="connsiteX33" fmla="*/ 518005 w 927284"/>
                <a:gd name="connsiteY33" fmla="*/ 680667 h 680666"/>
                <a:gd name="connsiteX34" fmla="*/ 505590 w 927284"/>
                <a:gd name="connsiteY34" fmla="*/ 662551 h 680666"/>
                <a:gd name="connsiteX35" fmla="*/ 468725 w 927284"/>
                <a:gd name="connsiteY35" fmla="*/ 633034 h 680666"/>
                <a:gd name="connsiteX36" fmla="*/ 430214 w 927284"/>
                <a:gd name="connsiteY36" fmla="*/ 617072 h 680666"/>
                <a:gd name="connsiteX37" fmla="*/ 405638 w 927284"/>
                <a:gd name="connsiteY37" fmla="*/ 614792 h 680666"/>
                <a:gd name="connsiteX38" fmla="*/ 396516 w 927284"/>
                <a:gd name="connsiteY38" fmla="*/ 620872 h 680666"/>
                <a:gd name="connsiteX39" fmla="*/ 384481 w 927284"/>
                <a:gd name="connsiteY39" fmla="*/ 610991 h 680666"/>
                <a:gd name="connsiteX40" fmla="*/ 355471 w 927284"/>
                <a:gd name="connsiteY40" fmla="*/ 641268 h 680666"/>
                <a:gd name="connsiteX41" fmla="*/ 308219 w 927284"/>
                <a:gd name="connsiteY41" fmla="*/ 635061 h 680666"/>
                <a:gd name="connsiteX42" fmla="*/ 262613 w 927284"/>
                <a:gd name="connsiteY42" fmla="*/ 630374 h 680666"/>
                <a:gd name="connsiteX43" fmla="*/ 236390 w 927284"/>
                <a:gd name="connsiteY43" fmla="*/ 603517 h 680666"/>
                <a:gd name="connsiteX44" fmla="*/ 232716 w 927284"/>
                <a:gd name="connsiteY44" fmla="*/ 578054 h 680666"/>
                <a:gd name="connsiteX45" fmla="*/ 212953 w 927284"/>
                <a:gd name="connsiteY45" fmla="*/ 548410 h 680666"/>
                <a:gd name="connsiteX46" fmla="*/ 208139 w 927284"/>
                <a:gd name="connsiteY46" fmla="*/ 514079 h 680666"/>
                <a:gd name="connsiteX47" fmla="*/ 167347 w 927284"/>
                <a:gd name="connsiteY47" fmla="*/ 492290 h 680666"/>
                <a:gd name="connsiteX48" fmla="*/ 145558 w 927284"/>
                <a:gd name="connsiteY48" fmla="*/ 516359 h 680666"/>
                <a:gd name="connsiteX49" fmla="*/ 138844 w 927284"/>
                <a:gd name="connsiteY49" fmla="*/ 560445 h 680666"/>
                <a:gd name="connsiteX50" fmla="*/ 100459 w 927284"/>
                <a:gd name="connsiteY50" fmla="*/ 570453 h 680666"/>
                <a:gd name="connsiteX51" fmla="*/ 76136 w 927284"/>
                <a:gd name="connsiteY51" fmla="*/ 578941 h 680666"/>
                <a:gd name="connsiteX52" fmla="*/ 73349 w 927284"/>
                <a:gd name="connsiteY52" fmla="*/ 555884 h 680666"/>
                <a:gd name="connsiteX53" fmla="*/ 72842 w 927284"/>
                <a:gd name="connsiteY53" fmla="*/ 523580 h 680666"/>
                <a:gd name="connsiteX54" fmla="*/ 66762 w 927284"/>
                <a:gd name="connsiteY54" fmla="*/ 453271 h 680666"/>
                <a:gd name="connsiteX55" fmla="*/ 65748 w 927284"/>
                <a:gd name="connsiteY55" fmla="*/ 384356 h 680666"/>
                <a:gd name="connsiteX56" fmla="*/ 58654 w 927284"/>
                <a:gd name="connsiteY56" fmla="*/ 328996 h 680666"/>
                <a:gd name="connsiteX57" fmla="*/ 43452 w 927284"/>
                <a:gd name="connsiteY57" fmla="*/ 248299 h 680666"/>
                <a:gd name="connsiteX58" fmla="*/ 37118 w 927284"/>
                <a:gd name="connsiteY58" fmla="*/ 208141 h 680666"/>
                <a:gd name="connsiteX59" fmla="*/ 32051 w 927284"/>
                <a:gd name="connsiteY59" fmla="*/ 172923 h 680666"/>
                <a:gd name="connsiteX60" fmla="*/ 21156 w 927284"/>
                <a:gd name="connsiteY60" fmla="*/ 156581 h 680666"/>
                <a:gd name="connsiteX61" fmla="*/ 17482 w 927284"/>
                <a:gd name="connsiteY61" fmla="*/ 134285 h 680666"/>
                <a:gd name="connsiteX62" fmla="*/ 10008 w 927284"/>
                <a:gd name="connsiteY62" fmla="*/ 97294 h 680666"/>
                <a:gd name="connsiteX63" fmla="*/ 0 w 927284"/>
                <a:gd name="connsiteY63" fmla="*/ 65370 h 680666"/>
                <a:gd name="connsiteX64" fmla="*/ 1140 w 927284"/>
                <a:gd name="connsiteY64" fmla="*/ 64103 h 680666"/>
                <a:gd name="connsiteX65" fmla="*/ 11908 w 927284"/>
                <a:gd name="connsiteY65" fmla="*/ 24451 h 680666"/>
                <a:gd name="connsiteX66" fmla="*/ 27997 w 927284"/>
                <a:gd name="connsiteY66" fmla="*/ 34966 h 680666"/>
                <a:gd name="connsiteX67" fmla="*/ 45479 w 927284"/>
                <a:gd name="connsiteY67" fmla="*/ 48521 h 680666"/>
                <a:gd name="connsiteX68" fmla="*/ 98179 w 927284"/>
                <a:gd name="connsiteY68" fmla="*/ 44974 h 680666"/>
                <a:gd name="connsiteX69" fmla="*/ 116168 w 927284"/>
                <a:gd name="connsiteY69" fmla="*/ 31419 h 680666"/>
                <a:gd name="connsiteX70" fmla="*/ 142518 w 927284"/>
                <a:gd name="connsiteY70" fmla="*/ 32052 h 680666"/>
                <a:gd name="connsiteX71" fmla="*/ 173302 w 927284"/>
                <a:gd name="connsiteY71" fmla="*/ 39653 h 680666"/>
                <a:gd name="connsiteX72" fmla="*/ 199905 w 927284"/>
                <a:gd name="connsiteY72" fmla="*/ 38893 h 680666"/>
                <a:gd name="connsiteX73" fmla="*/ 224735 w 927284"/>
                <a:gd name="connsiteY73" fmla="*/ 29899 h 680666"/>
                <a:gd name="connsiteX74" fmla="*/ 244624 w 927284"/>
                <a:gd name="connsiteY74" fmla="*/ 18751 h 680666"/>
                <a:gd name="connsiteX75" fmla="*/ 299224 w 927284"/>
                <a:gd name="connsiteY75" fmla="*/ 18244 h 680666"/>
                <a:gd name="connsiteX76" fmla="*/ 323420 w 927284"/>
                <a:gd name="connsiteY76" fmla="*/ 22424 h 680666"/>
                <a:gd name="connsiteX77" fmla="*/ 345843 w 927284"/>
                <a:gd name="connsiteY77" fmla="*/ 10263 h 680666"/>
                <a:gd name="connsiteX78" fmla="*/ 356231 w 927284"/>
                <a:gd name="connsiteY78" fmla="*/ 1648 h 680666"/>
                <a:gd name="connsiteX79" fmla="*/ 374473 w 927284"/>
                <a:gd name="connsiteY79" fmla="*/ 1395 h 680666"/>
                <a:gd name="connsiteX80" fmla="*/ 381441 w 927284"/>
                <a:gd name="connsiteY80" fmla="*/ 43200 h 680666"/>
                <a:gd name="connsiteX81" fmla="*/ 418939 w 927284"/>
                <a:gd name="connsiteY81" fmla="*/ 69804 h 680666"/>
                <a:gd name="connsiteX82" fmla="*/ 440095 w 927284"/>
                <a:gd name="connsiteY82" fmla="*/ 87666 h 680666"/>
                <a:gd name="connsiteX83" fmla="*/ 442502 w 927284"/>
                <a:gd name="connsiteY83" fmla="*/ 114522 h 680666"/>
                <a:gd name="connsiteX84" fmla="*/ 430594 w 927284"/>
                <a:gd name="connsiteY84" fmla="*/ 130738 h 680666"/>
                <a:gd name="connsiteX85" fmla="*/ 431987 w 927284"/>
                <a:gd name="connsiteY85" fmla="*/ 153921 h 680666"/>
                <a:gd name="connsiteX86" fmla="*/ 456437 w 927284"/>
                <a:gd name="connsiteY86" fmla="*/ 182044 h 680666"/>
                <a:gd name="connsiteX87" fmla="*/ 473159 w 927284"/>
                <a:gd name="connsiteY87" fmla="*/ 171150 h 680666"/>
                <a:gd name="connsiteX88" fmla="*/ 488488 w 927284"/>
                <a:gd name="connsiteY88" fmla="*/ 158481 h 680666"/>
                <a:gd name="connsiteX89" fmla="*/ 494315 w 927284"/>
                <a:gd name="connsiteY89" fmla="*/ 137199 h 680666"/>
                <a:gd name="connsiteX90" fmla="*/ 509137 w 927284"/>
                <a:gd name="connsiteY90" fmla="*/ 132638 h 680666"/>
                <a:gd name="connsiteX91" fmla="*/ 528899 w 927284"/>
                <a:gd name="connsiteY91" fmla="*/ 132385 h 680666"/>
                <a:gd name="connsiteX92" fmla="*/ 536501 w 927284"/>
                <a:gd name="connsiteY92" fmla="*/ 104768 h 680666"/>
                <a:gd name="connsiteX93" fmla="*/ 544228 w 927284"/>
                <a:gd name="connsiteY93" fmla="*/ 96660 h 680666"/>
                <a:gd name="connsiteX94" fmla="*/ 562850 w 927284"/>
                <a:gd name="connsiteY94" fmla="*/ 106161 h 680666"/>
                <a:gd name="connsiteX95" fmla="*/ 589834 w 927284"/>
                <a:gd name="connsiteY95" fmla="*/ 95140 h 680666"/>
                <a:gd name="connsiteX96" fmla="*/ 605289 w 927284"/>
                <a:gd name="connsiteY96" fmla="*/ 80065 h 680666"/>
                <a:gd name="connsiteX97" fmla="*/ 637466 w 927284"/>
                <a:gd name="connsiteY97" fmla="*/ 107682 h 680666"/>
                <a:gd name="connsiteX98" fmla="*/ 670910 w 927284"/>
                <a:gd name="connsiteY98" fmla="*/ 101981 h 680666"/>
                <a:gd name="connsiteX99" fmla="*/ 691813 w 927284"/>
                <a:gd name="connsiteY99" fmla="*/ 105908 h 680666"/>
                <a:gd name="connsiteX100" fmla="*/ 712589 w 927284"/>
                <a:gd name="connsiteY100" fmla="*/ 99194 h 680666"/>
                <a:gd name="connsiteX101" fmla="*/ 733238 w 927284"/>
                <a:gd name="connsiteY101" fmla="*/ 85892 h 680666"/>
                <a:gd name="connsiteX102" fmla="*/ 751228 w 927284"/>
                <a:gd name="connsiteY102" fmla="*/ 76264 h 680666"/>
                <a:gd name="connsiteX103" fmla="*/ 761109 w 927284"/>
                <a:gd name="connsiteY103" fmla="*/ 87412 h 680666"/>
                <a:gd name="connsiteX104" fmla="*/ 772510 w 927284"/>
                <a:gd name="connsiteY104" fmla="*/ 104261 h 680666"/>
                <a:gd name="connsiteX105" fmla="*/ 795060 w 927284"/>
                <a:gd name="connsiteY105" fmla="*/ 114269 h 680666"/>
                <a:gd name="connsiteX106" fmla="*/ 815709 w 927284"/>
                <a:gd name="connsiteY106" fmla="*/ 130231 h 680666"/>
                <a:gd name="connsiteX107" fmla="*/ 827237 w 927284"/>
                <a:gd name="connsiteY107" fmla="*/ 146826 h 680666"/>
                <a:gd name="connsiteX108" fmla="*/ 825083 w 927284"/>
                <a:gd name="connsiteY108" fmla="*/ 163549 h 680666"/>
                <a:gd name="connsiteX109" fmla="*/ 824070 w 927284"/>
                <a:gd name="connsiteY109" fmla="*/ 185465 h 680666"/>
                <a:gd name="connsiteX110" fmla="*/ 833951 w 927284"/>
                <a:gd name="connsiteY110" fmla="*/ 196739 h 680666"/>
                <a:gd name="connsiteX111" fmla="*/ 863721 w 927284"/>
                <a:gd name="connsiteY111" fmla="*/ 218782 h 680666"/>
                <a:gd name="connsiteX112" fmla="*/ 873349 w 927284"/>
                <a:gd name="connsiteY112" fmla="*/ 237658 h 680666"/>
                <a:gd name="connsiteX113" fmla="*/ 884244 w 927284"/>
                <a:gd name="connsiteY113" fmla="*/ 279717 h 680666"/>
                <a:gd name="connsiteX114" fmla="*/ 910974 w 927284"/>
                <a:gd name="connsiteY114" fmla="*/ 292005 h 680666"/>
                <a:gd name="connsiteX115" fmla="*/ 927189 w 927284"/>
                <a:gd name="connsiteY115" fmla="*/ 310500 h 680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27284" h="680666">
                  <a:moveTo>
                    <a:pt x="927189" y="310500"/>
                  </a:moveTo>
                  <a:cubicBezTo>
                    <a:pt x="925162" y="324309"/>
                    <a:pt x="874996" y="326336"/>
                    <a:pt x="887538" y="341664"/>
                  </a:cubicBezTo>
                  <a:cubicBezTo>
                    <a:pt x="893872" y="349392"/>
                    <a:pt x="906540" y="354712"/>
                    <a:pt x="905780" y="366494"/>
                  </a:cubicBezTo>
                  <a:cubicBezTo>
                    <a:pt x="905020" y="377895"/>
                    <a:pt x="892605" y="383470"/>
                    <a:pt x="889818" y="393857"/>
                  </a:cubicBezTo>
                  <a:cubicBezTo>
                    <a:pt x="887031" y="404118"/>
                    <a:pt x="912368" y="422234"/>
                    <a:pt x="909581" y="432116"/>
                  </a:cubicBezTo>
                  <a:cubicBezTo>
                    <a:pt x="909581" y="432116"/>
                    <a:pt x="909581" y="432116"/>
                    <a:pt x="909581" y="432116"/>
                  </a:cubicBezTo>
                  <a:cubicBezTo>
                    <a:pt x="909454" y="432369"/>
                    <a:pt x="909454" y="432749"/>
                    <a:pt x="909327" y="432876"/>
                  </a:cubicBezTo>
                  <a:cubicBezTo>
                    <a:pt x="909327" y="432876"/>
                    <a:pt x="909327" y="433002"/>
                    <a:pt x="909201" y="433002"/>
                  </a:cubicBezTo>
                  <a:cubicBezTo>
                    <a:pt x="909074" y="433256"/>
                    <a:pt x="908820" y="433636"/>
                    <a:pt x="908694" y="433889"/>
                  </a:cubicBezTo>
                  <a:cubicBezTo>
                    <a:pt x="908440" y="434143"/>
                    <a:pt x="908187" y="434523"/>
                    <a:pt x="907934" y="434649"/>
                  </a:cubicBezTo>
                  <a:cubicBezTo>
                    <a:pt x="907680" y="434776"/>
                    <a:pt x="907554" y="434903"/>
                    <a:pt x="907300" y="435156"/>
                  </a:cubicBezTo>
                  <a:cubicBezTo>
                    <a:pt x="906667" y="435663"/>
                    <a:pt x="905907" y="436170"/>
                    <a:pt x="904893" y="436550"/>
                  </a:cubicBezTo>
                  <a:cubicBezTo>
                    <a:pt x="904640" y="436676"/>
                    <a:pt x="904260" y="436803"/>
                    <a:pt x="904007" y="436930"/>
                  </a:cubicBezTo>
                  <a:cubicBezTo>
                    <a:pt x="902993" y="437310"/>
                    <a:pt x="901853" y="437563"/>
                    <a:pt x="900586" y="437816"/>
                  </a:cubicBezTo>
                  <a:cubicBezTo>
                    <a:pt x="892098" y="439463"/>
                    <a:pt x="881077" y="437183"/>
                    <a:pt x="874743" y="444404"/>
                  </a:cubicBezTo>
                  <a:cubicBezTo>
                    <a:pt x="868535" y="451371"/>
                    <a:pt x="868029" y="462519"/>
                    <a:pt x="863848" y="470627"/>
                  </a:cubicBezTo>
                  <a:cubicBezTo>
                    <a:pt x="854600" y="488616"/>
                    <a:pt x="827743" y="505338"/>
                    <a:pt x="807474" y="503691"/>
                  </a:cubicBezTo>
                  <a:cubicBezTo>
                    <a:pt x="797213" y="502804"/>
                    <a:pt x="787712" y="496977"/>
                    <a:pt x="777324" y="500144"/>
                  </a:cubicBezTo>
                  <a:cubicBezTo>
                    <a:pt x="764149" y="504198"/>
                    <a:pt x="753381" y="516739"/>
                    <a:pt x="744513" y="526494"/>
                  </a:cubicBezTo>
                  <a:cubicBezTo>
                    <a:pt x="736152" y="535615"/>
                    <a:pt x="729311" y="545370"/>
                    <a:pt x="722090" y="555377"/>
                  </a:cubicBezTo>
                  <a:cubicBezTo>
                    <a:pt x="715756" y="564245"/>
                    <a:pt x="708282" y="571466"/>
                    <a:pt x="696754" y="571593"/>
                  </a:cubicBezTo>
                  <a:cubicBezTo>
                    <a:pt x="692827" y="571593"/>
                    <a:pt x="689533" y="570453"/>
                    <a:pt x="685732" y="569946"/>
                  </a:cubicBezTo>
                  <a:cubicBezTo>
                    <a:pt x="682312" y="569439"/>
                    <a:pt x="679652" y="570453"/>
                    <a:pt x="676358" y="570833"/>
                  </a:cubicBezTo>
                  <a:cubicBezTo>
                    <a:pt x="667997" y="571973"/>
                    <a:pt x="659636" y="570453"/>
                    <a:pt x="651275" y="570706"/>
                  </a:cubicBezTo>
                  <a:cubicBezTo>
                    <a:pt x="640380" y="571086"/>
                    <a:pt x="629105" y="572353"/>
                    <a:pt x="619224" y="577040"/>
                  </a:cubicBezTo>
                  <a:cubicBezTo>
                    <a:pt x="609596" y="581601"/>
                    <a:pt x="599462" y="580588"/>
                    <a:pt x="589074" y="581221"/>
                  </a:cubicBezTo>
                  <a:cubicBezTo>
                    <a:pt x="579572" y="581728"/>
                    <a:pt x="569818" y="583248"/>
                    <a:pt x="560570" y="585148"/>
                  </a:cubicBezTo>
                  <a:cubicBezTo>
                    <a:pt x="554870" y="586288"/>
                    <a:pt x="547902" y="586668"/>
                    <a:pt x="545495" y="592496"/>
                  </a:cubicBezTo>
                  <a:cubicBezTo>
                    <a:pt x="542455" y="599590"/>
                    <a:pt x="543341" y="605670"/>
                    <a:pt x="536247" y="610358"/>
                  </a:cubicBezTo>
                  <a:cubicBezTo>
                    <a:pt x="531053" y="613778"/>
                    <a:pt x="527759" y="615932"/>
                    <a:pt x="529153" y="623153"/>
                  </a:cubicBezTo>
                  <a:cubicBezTo>
                    <a:pt x="530673" y="630880"/>
                    <a:pt x="537767" y="633921"/>
                    <a:pt x="543595" y="638101"/>
                  </a:cubicBezTo>
                  <a:cubicBezTo>
                    <a:pt x="549549" y="642282"/>
                    <a:pt x="556390" y="644689"/>
                    <a:pt x="561837" y="649629"/>
                  </a:cubicBezTo>
                  <a:cubicBezTo>
                    <a:pt x="571338" y="658117"/>
                    <a:pt x="567918" y="666225"/>
                    <a:pt x="556516" y="670532"/>
                  </a:cubicBezTo>
                  <a:cubicBezTo>
                    <a:pt x="543595" y="675473"/>
                    <a:pt x="530420" y="676106"/>
                    <a:pt x="518005" y="680667"/>
                  </a:cubicBezTo>
                  <a:cubicBezTo>
                    <a:pt x="514964" y="674206"/>
                    <a:pt x="511544" y="668632"/>
                    <a:pt x="505590" y="662551"/>
                  </a:cubicBezTo>
                  <a:cubicBezTo>
                    <a:pt x="494569" y="651149"/>
                    <a:pt x="481774" y="641902"/>
                    <a:pt x="468725" y="633034"/>
                  </a:cubicBezTo>
                  <a:cubicBezTo>
                    <a:pt x="456944" y="624926"/>
                    <a:pt x="442375" y="624673"/>
                    <a:pt x="430214" y="617072"/>
                  </a:cubicBezTo>
                  <a:cubicBezTo>
                    <a:pt x="422486" y="612131"/>
                    <a:pt x="412605" y="604404"/>
                    <a:pt x="405638" y="614792"/>
                  </a:cubicBezTo>
                  <a:cubicBezTo>
                    <a:pt x="402851" y="618845"/>
                    <a:pt x="402344" y="622646"/>
                    <a:pt x="396516" y="620872"/>
                  </a:cubicBezTo>
                  <a:cubicBezTo>
                    <a:pt x="391702" y="619352"/>
                    <a:pt x="388155" y="614158"/>
                    <a:pt x="384481" y="610991"/>
                  </a:cubicBezTo>
                  <a:cubicBezTo>
                    <a:pt x="372193" y="619099"/>
                    <a:pt x="369153" y="635188"/>
                    <a:pt x="355471" y="641268"/>
                  </a:cubicBezTo>
                  <a:cubicBezTo>
                    <a:pt x="340269" y="647982"/>
                    <a:pt x="323040" y="638481"/>
                    <a:pt x="308219" y="635061"/>
                  </a:cubicBezTo>
                  <a:cubicBezTo>
                    <a:pt x="293524" y="631767"/>
                    <a:pt x="276801" y="635314"/>
                    <a:pt x="262613" y="630374"/>
                  </a:cubicBezTo>
                  <a:cubicBezTo>
                    <a:pt x="251085" y="626320"/>
                    <a:pt x="241457" y="614158"/>
                    <a:pt x="236390" y="603517"/>
                  </a:cubicBezTo>
                  <a:cubicBezTo>
                    <a:pt x="232336" y="595156"/>
                    <a:pt x="234489" y="586922"/>
                    <a:pt x="232716" y="578054"/>
                  </a:cubicBezTo>
                  <a:cubicBezTo>
                    <a:pt x="230055" y="565005"/>
                    <a:pt x="220301" y="558544"/>
                    <a:pt x="212953" y="548410"/>
                  </a:cubicBezTo>
                  <a:cubicBezTo>
                    <a:pt x="205352" y="538022"/>
                    <a:pt x="210800" y="525861"/>
                    <a:pt x="208139" y="514079"/>
                  </a:cubicBezTo>
                  <a:cubicBezTo>
                    <a:pt x="203959" y="495583"/>
                    <a:pt x="183943" y="491023"/>
                    <a:pt x="167347" y="492290"/>
                  </a:cubicBezTo>
                  <a:cubicBezTo>
                    <a:pt x="150879" y="493557"/>
                    <a:pt x="143025" y="499764"/>
                    <a:pt x="145558" y="516359"/>
                  </a:cubicBezTo>
                  <a:cubicBezTo>
                    <a:pt x="147839" y="530421"/>
                    <a:pt x="152273" y="550184"/>
                    <a:pt x="138844" y="560445"/>
                  </a:cubicBezTo>
                  <a:cubicBezTo>
                    <a:pt x="128203" y="568553"/>
                    <a:pt x="112494" y="564879"/>
                    <a:pt x="100459" y="570453"/>
                  </a:cubicBezTo>
                  <a:cubicBezTo>
                    <a:pt x="93745" y="573620"/>
                    <a:pt x="82217" y="587428"/>
                    <a:pt x="76136" y="578941"/>
                  </a:cubicBezTo>
                  <a:cubicBezTo>
                    <a:pt x="72336" y="573620"/>
                    <a:pt x="73476" y="561965"/>
                    <a:pt x="73349" y="555884"/>
                  </a:cubicBezTo>
                  <a:cubicBezTo>
                    <a:pt x="73096" y="545116"/>
                    <a:pt x="73222" y="534348"/>
                    <a:pt x="72842" y="523580"/>
                  </a:cubicBezTo>
                  <a:cubicBezTo>
                    <a:pt x="71956" y="500017"/>
                    <a:pt x="68282" y="476708"/>
                    <a:pt x="66762" y="453271"/>
                  </a:cubicBezTo>
                  <a:cubicBezTo>
                    <a:pt x="65241" y="430215"/>
                    <a:pt x="66382" y="407286"/>
                    <a:pt x="65748" y="384356"/>
                  </a:cubicBezTo>
                  <a:cubicBezTo>
                    <a:pt x="65241" y="365734"/>
                    <a:pt x="61821" y="347238"/>
                    <a:pt x="58654" y="328996"/>
                  </a:cubicBezTo>
                  <a:cubicBezTo>
                    <a:pt x="53967" y="302012"/>
                    <a:pt x="48266" y="275156"/>
                    <a:pt x="43452" y="248299"/>
                  </a:cubicBezTo>
                  <a:cubicBezTo>
                    <a:pt x="41045" y="234998"/>
                    <a:pt x="38892" y="221569"/>
                    <a:pt x="37118" y="208141"/>
                  </a:cubicBezTo>
                  <a:cubicBezTo>
                    <a:pt x="35725" y="196613"/>
                    <a:pt x="37118" y="183565"/>
                    <a:pt x="32051" y="172923"/>
                  </a:cubicBezTo>
                  <a:cubicBezTo>
                    <a:pt x="29264" y="166969"/>
                    <a:pt x="23943" y="162535"/>
                    <a:pt x="21156" y="156581"/>
                  </a:cubicBezTo>
                  <a:cubicBezTo>
                    <a:pt x="17862" y="149487"/>
                    <a:pt x="18242" y="141886"/>
                    <a:pt x="17482" y="134285"/>
                  </a:cubicBezTo>
                  <a:cubicBezTo>
                    <a:pt x="16342" y="121617"/>
                    <a:pt x="13302" y="109328"/>
                    <a:pt x="10008" y="97294"/>
                  </a:cubicBezTo>
                  <a:cubicBezTo>
                    <a:pt x="7094" y="86526"/>
                    <a:pt x="3674" y="75884"/>
                    <a:pt x="0" y="65370"/>
                  </a:cubicBezTo>
                  <a:cubicBezTo>
                    <a:pt x="380" y="64990"/>
                    <a:pt x="760" y="64483"/>
                    <a:pt x="1140" y="64103"/>
                  </a:cubicBezTo>
                  <a:cubicBezTo>
                    <a:pt x="8234" y="54855"/>
                    <a:pt x="-3040" y="28759"/>
                    <a:pt x="11908" y="24451"/>
                  </a:cubicBezTo>
                  <a:cubicBezTo>
                    <a:pt x="18242" y="22678"/>
                    <a:pt x="24070" y="31166"/>
                    <a:pt x="27997" y="34966"/>
                  </a:cubicBezTo>
                  <a:cubicBezTo>
                    <a:pt x="33318" y="39906"/>
                    <a:pt x="39145" y="44974"/>
                    <a:pt x="45479" y="48521"/>
                  </a:cubicBezTo>
                  <a:cubicBezTo>
                    <a:pt x="58781" y="55868"/>
                    <a:pt x="85384" y="52575"/>
                    <a:pt x="98179" y="44974"/>
                  </a:cubicBezTo>
                  <a:cubicBezTo>
                    <a:pt x="104640" y="41173"/>
                    <a:pt x="108820" y="33826"/>
                    <a:pt x="116168" y="31419"/>
                  </a:cubicBezTo>
                  <a:cubicBezTo>
                    <a:pt x="124149" y="28759"/>
                    <a:pt x="134410" y="30659"/>
                    <a:pt x="142518" y="32052"/>
                  </a:cubicBezTo>
                  <a:cubicBezTo>
                    <a:pt x="153033" y="33826"/>
                    <a:pt x="162787" y="37880"/>
                    <a:pt x="173302" y="39653"/>
                  </a:cubicBezTo>
                  <a:cubicBezTo>
                    <a:pt x="182043" y="41173"/>
                    <a:pt x="191164" y="40160"/>
                    <a:pt x="199905" y="38893"/>
                  </a:cubicBezTo>
                  <a:cubicBezTo>
                    <a:pt x="209026" y="37500"/>
                    <a:pt x="217134" y="35219"/>
                    <a:pt x="224735" y="29899"/>
                  </a:cubicBezTo>
                  <a:cubicBezTo>
                    <a:pt x="231196" y="25338"/>
                    <a:pt x="236770" y="21031"/>
                    <a:pt x="244624" y="18751"/>
                  </a:cubicBezTo>
                  <a:cubicBezTo>
                    <a:pt x="261219" y="13810"/>
                    <a:pt x="282755" y="12416"/>
                    <a:pt x="299224" y="18244"/>
                  </a:cubicBezTo>
                  <a:cubicBezTo>
                    <a:pt x="306825" y="20904"/>
                    <a:pt x="315439" y="24451"/>
                    <a:pt x="323420" y="22424"/>
                  </a:cubicBezTo>
                  <a:cubicBezTo>
                    <a:pt x="331908" y="20271"/>
                    <a:pt x="339509" y="16217"/>
                    <a:pt x="345843" y="10263"/>
                  </a:cubicBezTo>
                  <a:cubicBezTo>
                    <a:pt x="349264" y="7096"/>
                    <a:pt x="351924" y="3548"/>
                    <a:pt x="356231" y="1648"/>
                  </a:cubicBezTo>
                  <a:cubicBezTo>
                    <a:pt x="361552" y="-759"/>
                    <a:pt x="368773" y="-252"/>
                    <a:pt x="374473" y="1395"/>
                  </a:cubicBezTo>
                  <a:cubicBezTo>
                    <a:pt x="371180" y="17357"/>
                    <a:pt x="365986" y="32559"/>
                    <a:pt x="381441" y="43200"/>
                  </a:cubicBezTo>
                  <a:cubicBezTo>
                    <a:pt x="394363" y="52068"/>
                    <a:pt x="407158" y="59289"/>
                    <a:pt x="418939" y="69804"/>
                  </a:cubicBezTo>
                  <a:cubicBezTo>
                    <a:pt x="425780" y="76011"/>
                    <a:pt x="433381" y="81205"/>
                    <a:pt x="440095" y="87666"/>
                  </a:cubicBezTo>
                  <a:cubicBezTo>
                    <a:pt x="449216" y="96660"/>
                    <a:pt x="451877" y="104388"/>
                    <a:pt x="442502" y="114522"/>
                  </a:cubicBezTo>
                  <a:cubicBezTo>
                    <a:pt x="437815" y="119590"/>
                    <a:pt x="432494" y="123897"/>
                    <a:pt x="430594" y="130738"/>
                  </a:cubicBezTo>
                  <a:cubicBezTo>
                    <a:pt x="428567" y="138212"/>
                    <a:pt x="430467" y="146573"/>
                    <a:pt x="431987" y="153921"/>
                  </a:cubicBezTo>
                  <a:cubicBezTo>
                    <a:pt x="434394" y="165449"/>
                    <a:pt x="439968" y="189392"/>
                    <a:pt x="456437" y="182044"/>
                  </a:cubicBezTo>
                  <a:cubicBezTo>
                    <a:pt x="462518" y="179384"/>
                    <a:pt x="467585" y="174570"/>
                    <a:pt x="473159" y="171150"/>
                  </a:cubicBezTo>
                  <a:cubicBezTo>
                    <a:pt x="478860" y="167602"/>
                    <a:pt x="484941" y="164435"/>
                    <a:pt x="488488" y="158481"/>
                  </a:cubicBezTo>
                  <a:cubicBezTo>
                    <a:pt x="492288" y="151767"/>
                    <a:pt x="491655" y="144039"/>
                    <a:pt x="494315" y="137199"/>
                  </a:cubicBezTo>
                  <a:cubicBezTo>
                    <a:pt x="497102" y="129978"/>
                    <a:pt x="502803" y="130738"/>
                    <a:pt x="509137" y="132638"/>
                  </a:cubicBezTo>
                  <a:cubicBezTo>
                    <a:pt x="515471" y="134538"/>
                    <a:pt x="523579" y="138466"/>
                    <a:pt x="528899" y="132385"/>
                  </a:cubicBezTo>
                  <a:cubicBezTo>
                    <a:pt x="534854" y="125544"/>
                    <a:pt x="534727" y="113256"/>
                    <a:pt x="536501" y="104768"/>
                  </a:cubicBezTo>
                  <a:cubicBezTo>
                    <a:pt x="537514" y="99700"/>
                    <a:pt x="538274" y="92986"/>
                    <a:pt x="544228" y="96660"/>
                  </a:cubicBezTo>
                  <a:cubicBezTo>
                    <a:pt x="550816" y="100714"/>
                    <a:pt x="554490" y="105275"/>
                    <a:pt x="562850" y="106161"/>
                  </a:cubicBezTo>
                  <a:cubicBezTo>
                    <a:pt x="572985" y="107175"/>
                    <a:pt x="582866" y="102614"/>
                    <a:pt x="589834" y="95140"/>
                  </a:cubicBezTo>
                  <a:cubicBezTo>
                    <a:pt x="594521" y="90326"/>
                    <a:pt x="598702" y="82345"/>
                    <a:pt x="605289" y="80065"/>
                  </a:cubicBezTo>
                  <a:cubicBezTo>
                    <a:pt x="619604" y="75124"/>
                    <a:pt x="628092" y="101347"/>
                    <a:pt x="637466" y="107682"/>
                  </a:cubicBezTo>
                  <a:cubicBezTo>
                    <a:pt x="648108" y="114649"/>
                    <a:pt x="659256" y="100714"/>
                    <a:pt x="670910" y="101981"/>
                  </a:cubicBezTo>
                  <a:cubicBezTo>
                    <a:pt x="678005" y="102741"/>
                    <a:pt x="684719" y="105781"/>
                    <a:pt x="691813" y="105908"/>
                  </a:cubicBezTo>
                  <a:cubicBezTo>
                    <a:pt x="699414" y="106035"/>
                    <a:pt x="706128" y="102868"/>
                    <a:pt x="712589" y="99194"/>
                  </a:cubicBezTo>
                  <a:cubicBezTo>
                    <a:pt x="719683" y="95140"/>
                    <a:pt x="726397" y="90453"/>
                    <a:pt x="733238" y="85892"/>
                  </a:cubicBezTo>
                  <a:cubicBezTo>
                    <a:pt x="738052" y="82599"/>
                    <a:pt x="745020" y="76264"/>
                    <a:pt x="751228" y="76264"/>
                  </a:cubicBezTo>
                  <a:cubicBezTo>
                    <a:pt x="757308" y="76264"/>
                    <a:pt x="759335" y="82599"/>
                    <a:pt x="761109" y="87412"/>
                  </a:cubicBezTo>
                  <a:cubicBezTo>
                    <a:pt x="763642" y="94000"/>
                    <a:pt x="766302" y="100207"/>
                    <a:pt x="772510" y="104261"/>
                  </a:cubicBezTo>
                  <a:cubicBezTo>
                    <a:pt x="779351" y="108695"/>
                    <a:pt x="787712" y="110595"/>
                    <a:pt x="795060" y="114269"/>
                  </a:cubicBezTo>
                  <a:cubicBezTo>
                    <a:pt x="802914" y="118323"/>
                    <a:pt x="809628" y="123897"/>
                    <a:pt x="815709" y="130231"/>
                  </a:cubicBezTo>
                  <a:cubicBezTo>
                    <a:pt x="820142" y="134918"/>
                    <a:pt x="825336" y="140366"/>
                    <a:pt x="827237" y="146826"/>
                  </a:cubicBezTo>
                  <a:cubicBezTo>
                    <a:pt x="828884" y="152654"/>
                    <a:pt x="826730" y="157974"/>
                    <a:pt x="825083" y="163549"/>
                  </a:cubicBezTo>
                  <a:cubicBezTo>
                    <a:pt x="822929" y="170516"/>
                    <a:pt x="822549" y="178244"/>
                    <a:pt x="824070" y="185465"/>
                  </a:cubicBezTo>
                  <a:cubicBezTo>
                    <a:pt x="825590" y="192812"/>
                    <a:pt x="827870" y="193572"/>
                    <a:pt x="833951" y="196739"/>
                  </a:cubicBezTo>
                  <a:cubicBezTo>
                    <a:pt x="844846" y="202440"/>
                    <a:pt x="855867" y="209154"/>
                    <a:pt x="863721" y="218782"/>
                  </a:cubicBezTo>
                  <a:cubicBezTo>
                    <a:pt x="868282" y="224230"/>
                    <a:pt x="871576" y="230690"/>
                    <a:pt x="873349" y="237658"/>
                  </a:cubicBezTo>
                  <a:cubicBezTo>
                    <a:pt x="876770" y="252099"/>
                    <a:pt x="870055" y="269582"/>
                    <a:pt x="884244" y="279717"/>
                  </a:cubicBezTo>
                  <a:cubicBezTo>
                    <a:pt x="892225" y="285417"/>
                    <a:pt x="902360" y="287444"/>
                    <a:pt x="910974" y="292005"/>
                  </a:cubicBezTo>
                  <a:cubicBezTo>
                    <a:pt x="916801" y="295172"/>
                    <a:pt x="928456" y="302012"/>
                    <a:pt x="927189" y="31050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84" name="Полилиния: фигура 683">
              <a:extLst>
                <a:ext uri="{FF2B5EF4-FFF2-40B4-BE49-F238E27FC236}">
                  <a16:creationId xmlns:a16="http://schemas.microsoft.com/office/drawing/2014/main" id="{8E264E3E-FE41-4AD8-B7E5-0A0A24AE8742}"/>
                </a:ext>
              </a:extLst>
            </p:cNvPr>
            <p:cNvSpPr/>
            <p:nvPr/>
          </p:nvSpPr>
          <p:spPr>
            <a:xfrm>
              <a:off x="1850787" y="3563120"/>
              <a:ext cx="356344" cy="354457"/>
            </a:xfrm>
            <a:custGeom>
              <a:avLst/>
              <a:gdLst>
                <a:gd name="connsiteX0" fmla="*/ 352051 w 356344"/>
                <a:gd name="connsiteY0" fmla="*/ 146192 h 354457"/>
                <a:gd name="connsiteX1" fmla="*/ 332288 w 356344"/>
                <a:gd name="connsiteY1" fmla="*/ 183436 h 354457"/>
                <a:gd name="connsiteX2" fmla="*/ 243230 w 356344"/>
                <a:gd name="connsiteY2" fmla="*/ 224481 h 354457"/>
                <a:gd name="connsiteX3" fmla="*/ 230309 w 356344"/>
                <a:gd name="connsiteY3" fmla="*/ 306572 h 354457"/>
                <a:gd name="connsiteX4" fmla="*/ 191544 w 356344"/>
                <a:gd name="connsiteY4" fmla="*/ 354458 h 354457"/>
                <a:gd name="connsiteX5" fmla="*/ 137197 w 356344"/>
                <a:gd name="connsiteY5" fmla="*/ 301378 h 354457"/>
                <a:gd name="connsiteX6" fmla="*/ 126683 w 356344"/>
                <a:gd name="connsiteY6" fmla="*/ 251212 h 354457"/>
                <a:gd name="connsiteX7" fmla="*/ 83104 w 356344"/>
                <a:gd name="connsiteY7" fmla="*/ 177989 h 354457"/>
                <a:gd name="connsiteX8" fmla="*/ 37118 w 356344"/>
                <a:gd name="connsiteY8" fmla="*/ 148092 h 354457"/>
                <a:gd name="connsiteX9" fmla="*/ 13808 w 356344"/>
                <a:gd name="connsiteY9" fmla="*/ 121742 h 354457"/>
                <a:gd name="connsiteX10" fmla="*/ 0 w 356344"/>
                <a:gd name="connsiteY10" fmla="*/ 112241 h 354457"/>
                <a:gd name="connsiteX11" fmla="*/ 68662 w 356344"/>
                <a:gd name="connsiteY11" fmla="*/ 70942 h 354457"/>
                <a:gd name="connsiteX12" fmla="*/ 103626 w 356344"/>
                <a:gd name="connsiteY12" fmla="*/ 22803 h 354457"/>
                <a:gd name="connsiteX13" fmla="*/ 153286 w 356344"/>
                <a:gd name="connsiteY13" fmla="*/ 0 h 354457"/>
                <a:gd name="connsiteX14" fmla="*/ 224481 w 356344"/>
                <a:gd name="connsiteY14" fmla="*/ 68282 h 354457"/>
                <a:gd name="connsiteX15" fmla="*/ 284656 w 356344"/>
                <a:gd name="connsiteY15" fmla="*/ 27743 h 354457"/>
                <a:gd name="connsiteX16" fmla="*/ 311639 w 356344"/>
                <a:gd name="connsiteY16" fmla="*/ 30911 h 354457"/>
                <a:gd name="connsiteX17" fmla="*/ 311132 w 356344"/>
                <a:gd name="connsiteY17" fmla="*/ 37625 h 354457"/>
                <a:gd name="connsiteX18" fmla="*/ 315566 w 356344"/>
                <a:gd name="connsiteY18" fmla="*/ 95519 h 354457"/>
                <a:gd name="connsiteX19" fmla="*/ 352051 w 356344"/>
                <a:gd name="connsiteY19" fmla="*/ 146192 h 35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6344" h="354457">
                  <a:moveTo>
                    <a:pt x="352051" y="146192"/>
                  </a:moveTo>
                  <a:cubicBezTo>
                    <a:pt x="336722" y="136944"/>
                    <a:pt x="332795" y="167221"/>
                    <a:pt x="332288" y="183436"/>
                  </a:cubicBezTo>
                  <a:cubicBezTo>
                    <a:pt x="331782" y="200792"/>
                    <a:pt x="270340" y="205733"/>
                    <a:pt x="243230" y="224481"/>
                  </a:cubicBezTo>
                  <a:cubicBezTo>
                    <a:pt x="215994" y="243231"/>
                    <a:pt x="226888" y="280348"/>
                    <a:pt x="230309" y="306572"/>
                  </a:cubicBezTo>
                  <a:cubicBezTo>
                    <a:pt x="233856" y="332795"/>
                    <a:pt x="191544" y="354458"/>
                    <a:pt x="191544" y="354458"/>
                  </a:cubicBezTo>
                  <a:cubicBezTo>
                    <a:pt x="177862" y="334695"/>
                    <a:pt x="146572" y="306572"/>
                    <a:pt x="137197" y="301378"/>
                  </a:cubicBezTo>
                  <a:cubicBezTo>
                    <a:pt x="124022" y="294157"/>
                    <a:pt x="123389" y="268440"/>
                    <a:pt x="126683" y="251212"/>
                  </a:cubicBezTo>
                  <a:cubicBezTo>
                    <a:pt x="129976" y="234109"/>
                    <a:pt x="97672" y="206999"/>
                    <a:pt x="83104" y="177989"/>
                  </a:cubicBezTo>
                  <a:cubicBezTo>
                    <a:pt x="68915" y="149612"/>
                    <a:pt x="38385" y="148219"/>
                    <a:pt x="37118" y="148092"/>
                  </a:cubicBezTo>
                  <a:cubicBezTo>
                    <a:pt x="34331" y="137451"/>
                    <a:pt x="20396" y="126936"/>
                    <a:pt x="13808" y="121742"/>
                  </a:cubicBezTo>
                  <a:cubicBezTo>
                    <a:pt x="9501" y="118322"/>
                    <a:pt x="4814" y="115155"/>
                    <a:pt x="0" y="112241"/>
                  </a:cubicBezTo>
                  <a:cubicBezTo>
                    <a:pt x="0" y="112241"/>
                    <a:pt x="58654" y="89438"/>
                    <a:pt x="68662" y="70942"/>
                  </a:cubicBezTo>
                  <a:cubicBezTo>
                    <a:pt x="78543" y="52447"/>
                    <a:pt x="82470" y="33951"/>
                    <a:pt x="103626" y="22803"/>
                  </a:cubicBezTo>
                  <a:cubicBezTo>
                    <a:pt x="118828" y="14822"/>
                    <a:pt x="144925" y="12415"/>
                    <a:pt x="153286" y="0"/>
                  </a:cubicBezTo>
                  <a:cubicBezTo>
                    <a:pt x="153286" y="0"/>
                    <a:pt x="206619" y="87158"/>
                    <a:pt x="224481" y="68282"/>
                  </a:cubicBezTo>
                  <a:cubicBezTo>
                    <a:pt x="242344" y="49533"/>
                    <a:pt x="261726" y="31671"/>
                    <a:pt x="284656" y="27743"/>
                  </a:cubicBezTo>
                  <a:cubicBezTo>
                    <a:pt x="302898" y="24576"/>
                    <a:pt x="310626" y="24323"/>
                    <a:pt x="311639" y="30911"/>
                  </a:cubicBezTo>
                  <a:cubicBezTo>
                    <a:pt x="311892" y="32684"/>
                    <a:pt x="311639" y="34838"/>
                    <a:pt x="311132" y="37625"/>
                  </a:cubicBezTo>
                  <a:cubicBezTo>
                    <a:pt x="308092" y="50926"/>
                    <a:pt x="296184" y="91592"/>
                    <a:pt x="315566" y="95519"/>
                  </a:cubicBezTo>
                  <a:cubicBezTo>
                    <a:pt x="334695" y="99952"/>
                    <a:pt x="368266" y="93112"/>
                    <a:pt x="352051" y="14619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685" name="Рисунок 388">
              <a:extLst>
                <a:ext uri="{FF2B5EF4-FFF2-40B4-BE49-F238E27FC236}">
                  <a16:creationId xmlns:a16="http://schemas.microsoft.com/office/drawing/2014/main" id="{1DA397FD-DC6E-439E-BB40-D0F80476817D}"/>
                </a:ext>
              </a:extLst>
            </p:cNvPr>
            <p:cNvGrpSpPr/>
            <p:nvPr/>
          </p:nvGrpSpPr>
          <p:grpSpPr>
            <a:xfrm>
              <a:off x="11651978" y="1790736"/>
              <a:ext cx="1013820" cy="2023215"/>
              <a:chOff x="11651978" y="1790736"/>
              <a:chExt cx="1013820" cy="2023215"/>
            </a:xfrm>
            <a:solidFill>
              <a:srgbClr val="E3E8EC"/>
            </a:solidFill>
          </p:grpSpPr>
          <p:sp>
            <p:nvSpPr>
              <p:cNvPr id="686" name="Полилиния: фигура 685">
                <a:extLst>
                  <a:ext uri="{FF2B5EF4-FFF2-40B4-BE49-F238E27FC236}">
                    <a16:creationId xmlns:a16="http://schemas.microsoft.com/office/drawing/2014/main" id="{C02F2997-182D-4328-AF9F-76E9CAFE9E1F}"/>
                  </a:ext>
                </a:extLst>
              </p:cNvPr>
              <p:cNvSpPr/>
              <p:nvPr/>
            </p:nvSpPr>
            <p:spPr>
              <a:xfrm>
                <a:off x="11651978" y="1790736"/>
                <a:ext cx="1013820" cy="2023215"/>
              </a:xfrm>
              <a:custGeom>
                <a:avLst/>
                <a:gdLst>
                  <a:gd name="connsiteX0" fmla="*/ 1013821 w 1013820"/>
                  <a:gd name="connsiteY0" fmla="*/ 1320128 h 2023215"/>
                  <a:gd name="connsiteX1" fmla="*/ 1011161 w 1013820"/>
                  <a:gd name="connsiteY1" fmla="*/ 1321775 h 2023215"/>
                  <a:gd name="connsiteX2" fmla="*/ 979110 w 1013820"/>
                  <a:gd name="connsiteY2" fmla="*/ 1352052 h 2023215"/>
                  <a:gd name="connsiteX3" fmla="*/ 959980 w 1013820"/>
                  <a:gd name="connsiteY3" fmla="*/ 1382835 h 2023215"/>
                  <a:gd name="connsiteX4" fmla="*/ 937685 w 1013820"/>
                  <a:gd name="connsiteY4" fmla="*/ 1413746 h 2023215"/>
                  <a:gd name="connsiteX5" fmla="*/ 883338 w 1013820"/>
                  <a:gd name="connsiteY5" fmla="*/ 1429708 h 2023215"/>
                  <a:gd name="connsiteX6" fmla="*/ 882198 w 1013820"/>
                  <a:gd name="connsiteY6" fmla="*/ 1469613 h 2023215"/>
                  <a:gd name="connsiteX7" fmla="*/ 899680 w 1013820"/>
                  <a:gd name="connsiteY7" fmla="*/ 1497483 h 2023215"/>
                  <a:gd name="connsiteX8" fmla="*/ 903481 w 1013820"/>
                  <a:gd name="connsiteY8" fmla="*/ 1519653 h 2023215"/>
                  <a:gd name="connsiteX9" fmla="*/ 913488 w 1013820"/>
                  <a:gd name="connsiteY9" fmla="*/ 1552844 h 2023215"/>
                  <a:gd name="connsiteX10" fmla="*/ 921976 w 1013820"/>
                  <a:gd name="connsiteY10" fmla="*/ 1589708 h 2023215"/>
                  <a:gd name="connsiteX11" fmla="*/ 922736 w 1013820"/>
                  <a:gd name="connsiteY11" fmla="*/ 1644435 h 2023215"/>
                  <a:gd name="connsiteX12" fmla="*/ 911841 w 1013820"/>
                  <a:gd name="connsiteY12" fmla="*/ 1677499 h 2023215"/>
                  <a:gd name="connsiteX13" fmla="*/ 896260 w 1013820"/>
                  <a:gd name="connsiteY13" fmla="*/ 1700935 h 2023215"/>
                  <a:gd name="connsiteX14" fmla="*/ 862182 w 1013820"/>
                  <a:gd name="connsiteY14" fmla="*/ 1705243 h 2023215"/>
                  <a:gd name="connsiteX15" fmla="*/ 822150 w 1013820"/>
                  <a:gd name="connsiteY15" fmla="*/ 1736280 h 2023215"/>
                  <a:gd name="connsiteX16" fmla="*/ 841912 w 1013820"/>
                  <a:gd name="connsiteY16" fmla="*/ 1801395 h 2023215"/>
                  <a:gd name="connsiteX17" fmla="*/ 881311 w 1013820"/>
                  <a:gd name="connsiteY17" fmla="*/ 1801268 h 2023215"/>
                  <a:gd name="connsiteX18" fmla="*/ 921469 w 1013820"/>
                  <a:gd name="connsiteY18" fmla="*/ 1791513 h 2023215"/>
                  <a:gd name="connsiteX19" fmla="*/ 939585 w 1013820"/>
                  <a:gd name="connsiteY19" fmla="*/ 1824704 h 2023215"/>
                  <a:gd name="connsiteX20" fmla="*/ 929704 w 1013820"/>
                  <a:gd name="connsiteY20" fmla="*/ 1868536 h 2023215"/>
                  <a:gd name="connsiteX21" fmla="*/ 934391 w 1013820"/>
                  <a:gd name="connsiteY21" fmla="*/ 1900460 h 2023215"/>
                  <a:gd name="connsiteX22" fmla="*/ 901580 w 1013820"/>
                  <a:gd name="connsiteY22" fmla="*/ 1908568 h 2023215"/>
                  <a:gd name="connsiteX23" fmla="*/ 884225 w 1013820"/>
                  <a:gd name="connsiteY23" fmla="*/ 1930357 h 2023215"/>
                  <a:gd name="connsiteX24" fmla="*/ 867502 w 1013820"/>
                  <a:gd name="connsiteY24" fmla="*/ 1966082 h 2023215"/>
                  <a:gd name="connsiteX25" fmla="*/ 852300 w 1013820"/>
                  <a:gd name="connsiteY25" fmla="*/ 2004847 h 2023215"/>
                  <a:gd name="connsiteX26" fmla="*/ 821643 w 1013820"/>
                  <a:gd name="connsiteY26" fmla="*/ 2018402 h 2023215"/>
                  <a:gd name="connsiteX27" fmla="*/ 792886 w 1013820"/>
                  <a:gd name="connsiteY27" fmla="*/ 2021695 h 2023215"/>
                  <a:gd name="connsiteX28" fmla="*/ 789340 w 1013820"/>
                  <a:gd name="connsiteY28" fmla="*/ 2023216 h 2023215"/>
                  <a:gd name="connsiteX29" fmla="*/ 781992 w 1013820"/>
                  <a:gd name="connsiteY29" fmla="*/ 2015868 h 2023215"/>
                  <a:gd name="connsiteX30" fmla="*/ 763370 w 1013820"/>
                  <a:gd name="connsiteY30" fmla="*/ 1977990 h 2023215"/>
                  <a:gd name="connsiteX31" fmla="*/ 713584 w 1013820"/>
                  <a:gd name="connsiteY31" fmla="*/ 1909582 h 2023215"/>
                  <a:gd name="connsiteX32" fmla="*/ 704716 w 1013820"/>
                  <a:gd name="connsiteY32" fmla="*/ 1872590 h 2023215"/>
                  <a:gd name="connsiteX33" fmla="*/ 692427 w 1013820"/>
                  <a:gd name="connsiteY33" fmla="*/ 1835092 h 2023215"/>
                  <a:gd name="connsiteX34" fmla="*/ 690780 w 1013820"/>
                  <a:gd name="connsiteY34" fmla="*/ 1798481 h 2023215"/>
                  <a:gd name="connsiteX35" fmla="*/ 674945 w 1013820"/>
                  <a:gd name="connsiteY35" fmla="*/ 1766937 h 2023215"/>
                  <a:gd name="connsiteX36" fmla="*/ 660756 w 1013820"/>
                  <a:gd name="connsiteY36" fmla="*/ 1733239 h 2023215"/>
                  <a:gd name="connsiteX37" fmla="*/ 622118 w 1013820"/>
                  <a:gd name="connsiteY37" fmla="*/ 1721711 h 2023215"/>
                  <a:gd name="connsiteX38" fmla="*/ 612111 w 1013820"/>
                  <a:gd name="connsiteY38" fmla="*/ 1687507 h 2023215"/>
                  <a:gd name="connsiteX39" fmla="*/ 642641 w 1013820"/>
                  <a:gd name="connsiteY39" fmla="*/ 1666478 h 2023215"/>
                  <a:gd name="connsiteX40" fmla="*/ 647201 w 1013820"/>
                  <a:gd name="connsiteY40" fmla="*/ 1627333 h 2023215"/>
                  <a:gd name="connsiteX41" fmla="*/ 665951 w 1013820"/>
                  <a:gd name="connsiteY41" fmla="*/ 1590595 h 2023215"/>
                  <a:gd name="connsiteX42" fmla="*/ 664810 w 1013820"/>
                  <a:gd name="connsiteY42" fmla="*/ 1552590 h 2023215"/>
                  <a:gd name="connsiteX43" fmla="*/ 655563 w 1013820"/>
                  <a:gd name="connsiteY43" fmla="*/ 1501790 h 2023215"/>
                  <a:gd name="connsiteX44" fmla="*/ 653283 w 1013820"/>
                  <a:gd name="connsiteY44" fmla="*/ 1456818 h 2023215"/>
                  <a:gd name="connsiteX45" fmla="*/ 647582 w 1013820"/>
                  <a:gd name="connsiteY45" fmla="*/ 1417167 h 2023215"/>
                  <a:gd name="connsiteX46" fmla="*/ 604130 w 1013820"/>
                  <a:gd name="connsiteY46" fmla="*/ 1371181 h 2023215"/>
                  <a:gd name="connsiteX47" fmla="*/ 591081 w 1013820"/>
                  <a:gd name="connsiteY47" fmla="*/ 1302392 h 2023215"/>
                  <a:gd name="connsiteX48" fmla="*/ 587027 w 1013820"/>
                  <a:gd name="connsiteY48" fmla="*/ 1224736 h 2023215"/>
                  <a:gd name="connsiteX49" fmla="*/ 587281 w 1013820"/>
                  <a:gd name="connsiteY49" fmla="*/ 1187364 h 2023215"/>
                  <a:gd name="connsiteX50" fmla="*/ 561184 w 1013820"/>
                  <a:gd name="connsiteY50" fmla="*/ 1110468 h 2023215"/>
                  <a:gd name="connsiteX51" fmla="*/ 542942 w 1013820"/>
                  <a:gd name="connsiteY51" fmla="*/ 1087792 h 2023215"/>
                  <a:gd name="connsiteX52" fmla="*/ 535975 w 1013820"/>
                  <a:gd name="connsiteY52" fmla="*/ 1023817 h 2023215"/>
                  <a:gd name="connsiteX53" fmla="*/ 555864 w 1013820"/>
                  <a:gd name="connsiteY53" fmla="*/ 944514 h 2023215"/>
                  <a:gd name="connsiteX54" fmla="*/ 566885 w 1013820"/>
                  <a:gd name="connsiteY54" fmla="*/ 904482 h 2023215"/>
                  <a:gd name="connsiteX55" fmla="*/ 534834 w 1013820"/>
                  <a:gd name="connsiteY55" fmla="*/ 889661 h 2023215"/>
                  <a:gd name="connsiteX56" fmla="*/ 535468 w 1013820"/>
                  <a:gd name="connsiteY56" fmla="*/ 875979 h 2023215"/>
                  <a:gd name="connsiteX57" fmla="*/ 516972 w 1013820"/>
                  <a:gd name="connsiteY57" fmla="*/ 837341 h 2023215"/>
                  <a:gd name="connsiteX58" fmla="*/ 480107 w 1013820"/>
                  <a:gd name="connsiteY58" fmla="*/ 807824 h 2023215"/>
                  <a:gd name="connsiteX59" fmla="*/ 439316 w 1013820"/>
                  <a:gd name="connsiteY59" fmla="*/ 787428 h 2023215"/>
                  <a:gd name="connsiteX60" fmla="*/ 403338 w 1013820"/>
                  <a:gd name="connsiteY60" fmla="*/ 746636 h 2023215"/>
                  <a:gd name="connsiteX61" fmla="*/ 391050 w 1013820"/>
                  <a:gd name="connsiteY61" fmla="*/ 688996 h 2023215"/>
                  <a:gd name="connsiteX62" fmla="*/ 412332 w 1013820"/>
                  <a:gd name="connsiteY62" fmla="*/ 641870 h 2023215"/>
                  <a:gd name="connsiteX63" fmla="*/ 384589 w 1013820"/>
                  <a:gd name="connsiteY63" fmla="*/ 638829 h 2023215"/>
                  <a:gd name="connsiteX64" fmla="*/ 348611 w 1013820"/>
                  <a:gd name="connsiteY64" fmla="*/ 658972 h 2023215"/>
                  <a:gd name="connsiteX65" fmla="*/ 327582 w 1013820"/>
                  <a:gd name="connsiteY65" fmla="*/ 708378 h 2023215"/>
                  <a:gd name="connsiteX66" fmla="*/ 312253 w 1013820"/>
                  <a:gd name="connsiteY66" fmla="*/ 727634 h 2023215"/>
                  <a:gd name="connsiteX67" fmla="*/ 336576 w 1013820"/>
                  <a:gd name="connsiteY67" fmla="*/ 762218 h 2023215"/>
                  <a:gd name="connsiteX68" fmla="*/ 360646 w 1013820"/>
                  <a:gd name="connsiteY68" fmla="*/ 790975 h 2023215"/>
                  <a:gd name="connsiteX69" fmla="*/ 381042 w 1013820"/>
                  <a:gd name="connsiteY69" fmla="*/ 824546 h 2023215"/>
                  <a:gd name="connsiteX70" fmla="*/ 414486 w 1013820"/>
                  <a:gd name="connsiteY70" fmla="*/ 838988 h 2023215"/>
                  <a:gd name="connsiteX71" fmla="*/ 446029 w 1013820"/>
                  <a:gd name="connsiteY71" fmla="*/ 851022 h 2023215"/>
                  <a:gd name="connsiteX72" fmla="*/ 427914 w 1013820"/>
                  <a:gd name="connsiteY72" fmla="*/ 871292 h 2023215"/>
                  <a:gd name="connsiteX73" fmla="*/ 399918 w 1013820"/>
                  <a:gd name="connsiteY73" fmla="*/ 860397 h 2023215"/>
                  <a:gd name="connsiteX74" fmla="*/ 395737 w 1013820"/>
                  <a:gd name="connsiteY74" fmla="*/ 891941 h 2023215"/>
                  <a:gd name="connsiteX75" fmla="*/ 376228 w 1013820"/>
                  <a:gd name="connsiteY75" fmla="*/ 883833 h 2023215"/>
                  <a:gd name="connsiteX76" fmla="*/ 358999 w 1013820"/>
                  <a:gd name="connsiteY76" fmla="*/ 853429 h 2023215"/>
                  <a:gd name="connsiteX77" fmla="*/ 311746 w 1013820"/>
                  <a:gd name="connsiteY77" fmla="*/ 819225 h 2023215"/>
                  <a:gd name="connsiteX78" fmla="*/ 281849 w 1013820"/>
                  <a:gd name="connsiteY78" fmla="*/ 757784 h 2023215"/>
                  <a:gd name="connsiteX79" fmla="*/ 193425 w 1013820"/>
                  <a:gd name="connsiteY79" fmla="*/ 760191 h 2023215"/>
                  <a:gd name="connsiteX80" fmla="*/ 205333 w 1013820"/>
                  <a:gd name="connsiteY80" fmla="*/ 692796 h 2023215"/>
                  <a:gd name="connsiteX81" fmla="*/ 171762 w 1013820"/>
                  <a:gd name="connsiteY81" fmla="*/ 675694 h 2023215"/>
                  <a:gd name="connsiteX82" fmla="*/ 149846 w 1013820"/>
                  <a:gd name="connsiteY82" fmla="*/ 649217 h 2023215"/>
                  <a:gd name="connsiteX83" fmla="*/ 91826 w 1013820"/>
                  <a:gd name="connsiteY83" fmla="*/ 623121 h 2023215"/>
                  <a:gd name="connsiteX84" fmla="*/ 58128 w 1013820"/>
                  <a:gd name="connsiteY84" fmla="*/ 607032 h 2023215"/>
                  <a:gd name="connsiteX85" fmla="*/ 61548 w 1013820"/>
                  <a:gd name="connsiteY85" fmla="*/ 577515 h 2023215"/>
                  <a:gd name="connsiteX86" fmla="*/ 13916 w 1013820"/>
                  <a:gd name="connsiteY86" fmla="*/ 532416 h 2023215"/>
                  <a:gd name="connsiteX87" fmla="*/ 8468 w 1013820"/>
                  <a:gd name="connsiteY87" fmla="*/ 532036 h 2023215"/>
                  <a:gd name="connsiteX88" fmla="*/ 2007 w 1013820"/>
                  <a:gd name="connsiteY88" fmla="*/ 480349 h 2023215"/>
                  <a:gd name="connsiteX89" fmla="*/ 14802 w 1013820"/>
                  <a:gd name="connsiteY89" fmla="*/ 447159 h 2023215"/>
                  <a:gd name="connsiteX90" fmla="*/ 43052 w 1013820"/>
                  <a:gd name="connsiteY90" fmla="*/ 423469 h 2023215"/>
                  <a:gd name="connsiteX91" fmla="*/ 74217 w 1013820"/>
                  <a:gd name="connsiteY91" fmla="*/ 422455 h 2023215"/>
                  <a:gd name="connsiteX92" fmla="*/ 93473 w 1013820"/>
                  <a:gd name="connsiteY92" fmla="*/ 377863 h 2023215"/>
                  <a:gd name="connsiteX93" fmla="*/ 127170 w 1013820"/>
                  <a:gd name="connsiteY93" fmla="*/ 377230 h 2023215"/>
                  <a:gd name="connsiteX94" fmla="*/ 144525 w 1013820"/>
                  <a:gd name="connsiteY94" fmla="*/ 343152 h 2023215"/>
                  <a:gd name="connsiteX95" fmla="*/ 163275 w 1013820"/>
                  <a:gd name="connsiteY95" fmla="*/ 318449 h 2023215"/>
                  <a:gd name="connsiteX96" fmla="*/ 183037 w 1013820"/>
                  <a:gd name="connsiteY96" fmla="*/ 278291 h 2023215"/>
                  <a:gd name="connsiteX97" fmla="*/ 225602 w 1013820"/>
                  <a:gd name="connsiteY97" fmla="*/ 259922 h 2023215"/>
                  <a:gd name="connsiteX98" fmla="*/ 269181 w 1013820"/>
                  <a:gd name="connsiteY98" fmla="*/ 217863 h 2023215"/>
                  <a:gd name="connsiteX99" fmla="*/ 331002 w 1013820"/>
                  <a:gd name="connsiteY99" fmla="*/ 227238 h 2023215"/>
                  <a:gd name="connsiteX100" fmla="*/ 416640 w 1013820"/>
                  <a:gd name="connsiteY100" fmla="*/ 220270 h 2023215"/>
                  <a:gd name="connsiteX101" fmla="*/ 425507 w 1013820"/>
                  <a:gd name="connsiteY101" fmla="*/ 333651 h 2023215"/>
                  <a:gd name="connsiteX102" fmla="*/ 464525 w 1013820"/>
                  <a:gd name="connsiteY102" fmla="*/ 342519 h 2023215"/>
                  <a:gd name="connsiteX103" fmla="*/ 514565 w 1013820"/>
                  <a:gd name="connsiteY103" fmla="*/ 307808 h 2023215"/>
                  <a:gd name="connsiteX104" fmla="*/ 550163 w 1013820"/>
                  <a:gd name="connsiteY104" fmla="*/ 293493 h 2023215"/>
                  <a:gd name="connsiteX105" fmla="*/ 602102 w 1013820"/>
                  <a:gd name="connsiteY105" fmla="*/ 288552 h 2023215"/>
                  <a:gd name="connsiteX106" fmla="*/ 661517 w 1013820"/>
                  <a:gd name="connsiteY106" fmla="*/ 300460 h 2023215"/>
                  <a:gd name="connsiteX107" fmla="*/ 681786 w 1013820"/>
                  <a:gd name="connsiteY107" fmla="*/ 245100 h 2023215"/>
                  <a:gd name="connsiteX108" fmla="*/ 691667 w 1013820"/>
                  <a:gd name="connsiteY108" fmla="*/ 191133 h 2023215"/>
                  <a:gd name="connsiteX109" fmla="*/ 702055 w 1013820"/>
                  <a:gd name="connsiteY109" fmla="*/ 158449 h 2023215"/>
                  <a:gd name="connsiteX110" fmla="*/ 715864 w 1013820"/>
                  <a:gd name="connsiteY110" fmla="*/ 130199 h 2023215"/>
                  <a:gd name="connsiteX111" fmla="*/ 726252 w 1013820"/>
                  <a:gd name="connsiteY111" fmla="*/ 88647 h 2023215"/>
                  <a:gd name="connsiteX112" fmla="*/ 724225 w 1013820"/>
                  <a:gd name="connsiteY112" fmla="*/ 42661 h 2023215"/>
                  <a:gd name="connsiteX113" fmla="*/ 752474 w 1013820"/>
                  <a:gd name="connsiteY113" fmla="*/ 14918 h 2023215"/>
                  <a:gd name="connsiteX114" fmla="*/ 772237 w 1013820"/>
                  <a:gd name="connsiteY114" fmla="*/ 3516 h 2023215"/>
                  <a:gd name="connsiteX115" fmla="*/ 793520 w 1013820"/>
                  <a:gd name="connsiteY115" fmla="*/ 32653 h 2023215"/>
                  <a:gd name="connsiteX116" fmla="*/ 874723 w 1013820"/>
                  <a:gd name="connsiteY116" fmla="*/ 48489 h 2023215"/>
                  <a:gd name="connsiteX117" fmla="*/ 881058 w 1013820"/>
                  <a:gd name="connsiteY117" fmla="*/ 62424 h 2023215"/>
                  <a:gd name="connsiteX118" fmla="*/ 875483 w 1013820"/>
                  <a:gd name="connsiteY118" fmla="*/ 92194 h 2023215"/>
                  <a:gd name="connsiteX119" fmla="*/ 870796 w 1013820"/>
                  <a:gd name="connsiteY119" fmla="*/ 126399 h 2023215"/>
                  <a:gd name="connsiteX120" fmla="*/ 892332 w 1013820"/>
                  <a:gd name="connsiteY120" fmla="*/ 153255 h 2023215"/>
                  <a:gd name="connsiteX121" fmla="*/ 898159 w 1013820"/>
                  <a:gd name="connsiteY121" fmla="*/ 170864 h 2023215"/>
                  <a:gd name="connsiteX122" fmla="*/ 887138 w 1013820"/>
                  <a:gd name="connsiteY122" fmla="*/ 198734 h 2023215"/>
                  <a:gd name="connsiteX123" fmla="*/ 913995 w 1013820"/>
                  <a:gd name="connsiteY123" fmla="*/ 203041 h 2023215"/>
                  <a:gd name="connsiteX124" fmla="*/ 902721 w 1013820"/>
                  <a:gd name="connsiteY124" fmla="*/ 257895 h 2023215"/>
                  <a:gd name="connsiteX125" fmla="*/ 943639 w 1013820"/>
                  <a:gd name="connsiteY125" fmla="*/ 279684 h 2023215"/>
                  <a:gd name="connsiteX126" fmla="*/ 930844 w 1013820"/>
                  <a:gd name="connsiteY126" fmla="*/ 302741 h 2023215"/>
                  <a:gd name="connsiteX127" fmla="*/ 933757 w 1013820"/>
                  <a:gd name="connsiteY127" fmla="*/ 329344 h 2023215"/>
                  <a:gd name="connsiteX128" fmla="*/ 937685 w 1013820"/>
                  <a:gd name="connsiteY128" fmla="*/ 371022 h 2023215"/>
                  <a:gd name="connsiteX129" fmla="*/ 946933 w 1013820"/>
                  <a:gd name="connsiteY129" fmla="*/ 403326 h 2023215"/>
                  <a:gd name="connsiteX130" fmla="*/ 959601 w 1013820"/>
                  <a:gd name="connsiteY130" fmla="*/ 440064 h 2023215"/>
                  <a:gd name="connsiteX131" fmla="*/ 997732 w 1013820"/>
                  <a:gd name="connsiteY131" fmla="*/ 489344 h 2023215"/>
                  <a:gd name="connsiteX132" fmla="*/ 998619 w 1013820"/>
                  <a:gd name="connsiteY132" fmla="*/ 514047 h 2023215"/>
                  <a:gd name="connsiteX133" fmla="*/ 971129 w 1013820"/>
                  <a:gd name="connsiteY133" fmla="*/ 514680 h 2023215"/>
                  <a:gd name="connsiteX134" fmla="*/ 881691 w 1013820"/>
                  <a:gd name="connsiteY134" fmla="*/ 520381 h 2023215"/>
                  <a:gd name="connsiteX135" fmla="*/ 853441 w 1013820"/>
                  <a:gd name="connsiteY135" fmla="*/ 545084 h 2023215"/>
                  <a:gd name="connsiteX136" fmla="*/ 843433 w 1013820"/>
                  <a:gd name="connsiteY136" fmla="*/ 581695 h 2023215"/>
                  <a:gd name="connsiteX137" fmla="*/ 823671 w 1013820"/>
                  <a:gd name="connsiteY137" fmla="*/ 611466 h 2023215"/>
                  <a:gd name="connsiteX138" fmla="*/ 822910 w 1013820"/>
                  <a:gd name="connsiteY138" fmla="*/ 654538 h 2023215"/>
                  <a:gd name="connsiteX139" fmla="*/ 816703 w 1013820"/>
                  <a:gd name="connsiteY139" fmla="*/ 695330 h 2023215"/>
                  <a:gd name="connsiteX140" fmla="*/ 804415 w 1013820"/>
                  <a:gd name="connsiteY140" fmla="*/ 731814 h 2023215"/>
                  <a:gd name="connsiteX141" fmla="*/ 813409 w 1013820"/>
                  <a:gd name="connsiteY141" fmla="*/ 777673 h 2023215"/>
                  <a:gd name="connsiteX142" fmla="*/ 837099 w 1013820"/>
                  <a:gd name="connsiteY142" fmla="*/ 810611 h 2023215"/>
                  <a:gd name="connsiteX143" fmla="*/ 817716 w 1013820"/>
                  <a:gd name="connsiteY143" fmla="*/ 824672 h 2023215"/>
                  <a:gd name="connsiteX144" fmla="*/ 801121 w 1013820"/>
                  <a:gd name="connsiteY144" fmla="*/ 791988 h 2023215"/>
                  <a:gd name="connsiteX145" fmla="*/ 784399 w 1013820"/>
                  <a:gd name="connsiteY145" fmla="*/ 783501 h 2023215"/>
                  <a:gd name="connsiteX146" fmla="*/ 766790 w 1013820"/>
                  <a:gd name="connsiteY146" fmla="*/ 772353 h 2023215"/>
                  <a:gd name="connsiteX147" fmla="*/ 752348 w 1013820"/>
                  <a:gd name="connsiteY147" fmla="*/ 792495 h 2023215"/>
                  <a:gd name="connsiteX148" fmla="*/ 760709 w 1013820"/>
                  <a:gd name="connsiteY148" fmla="*/ 828980 h 2023215"/>
                  <a:gd name="connsiteX149" fmla="*/ 756655 w 1013820"/>
                  <a:gd name="connsiteY149" fmla="*/ 870405 h 2023215"/>
                  <a:gd name="connsiteX150" fmla="*/ 776544 w 1013820"/>
                  <a:gd name="connsiteY150" fmla="*/ 889154 h 2023215"/>
                  <a:gd name="connsiteX151" fmla="*/ 780092 w 1013820"/>
                  <a:gd name="connsiteY151" fmla="*/ 924625 h 2023215"/>
                  <a:gd name="connsiteX152" fmla="*/ 722198 w 1013820"/>
                  <a:gd name="connsiteY152" fmla="*/ 925638 h 2023215"/>
                  <a:gd name="connsiteX153" fmla="*/ 723591 w 1013820"/>
                  <a:gd name="connsiteY153" fmla="*/ 956549 h 2023215"/>
                  <a:gd name="connsiteX154" fmla="*/ 701549 w 1013820"/>
                  <a:gd name="connsiteY154" fmla="*/ 965924 h 2023215"/>
                  <a:gd name="connsiteX155" fmla="*/ 693314 w 1013820"/>
                  <a:gd name="connsiteY155" fmla="*/ 1014316 h 2023215"/>
                  <a:gd name="connsiteX156" fmla="*/ 714977 w 1013820"/>
                  <a:gd name="connsiteY156" fmla="*/ 1062076 h 2023215"/>
                  <a:gd name="connsiteX157" fmla="*/ 749055 w 1013820"/>
                  <a:gd name="connsiteY157" fmla="*/ 1074997 h 2023215"/>
                  <a:gd name="connsiteX158" fmla="*/ 759949 w 1013820"/>
                  <a:gd name="connsiteY158" fmla="*/ 1088679 h 2023215"/>
                  <a:gd name="connsiteX159" fmla="*/ 768817 w 1013820"/>
                  <a:gd name="connsiteY159" fmla="*/ 1100967 h 2023215"/>
                  <a:gd name="connsiteX160" fmla="*/ 787312 w 1013820"/>
                  <a:gd name="connsiteY160" fmla="*/ 1110722 h 2023215"/>
                  <a:gd name="connsiteX161" fmla="*/ 783512 w 1013820"/>
                  <a:gd name="connsiteY161" fmla="*/ 1144799 h 2023215"/>
                  <a:gd name="connsiteX162" fmla="*/ 796940 w 1013820"/>
                  <a:gd name="connsiteY162" fmla="*/ 1153794 h 2023215"/>
                  <a:gd name="connsiteX163" fmla="*/ 807328 w 1013820"/>
                  <a:gd name="connsiteY163" fmla="*/ 1167475 h 2023215"/>
                  <a:gd name="connsiteX164" fmla="*/ 822403 w 1013820"/>
                  <a:gd name="connsiteY164" fmla="*/ 1206493 h 2023215"/>
                  <a:gd name="connsiteX165" fmla="*/ 836845 w 1013820"/>
                  <a:gd name="connsiteY165" fmla="*/ 1252479 h 2023215"/>
                  <a:gd name="connsiteX166" fmla="*/ 856101 w 1013820"/>
                  <a:gd name="connsiteY166" fmla="*/ 1282503 h 2023215"/>
                  <a:gd name="connsiteX167" fmla="*/ 881058 w 1013820"/>
                  <a:gd name="connsiteY167" fmla="*/ 1313034 h 2023215"/>
                  <a:gd name="connsiteX168" fmla="*/ 910954 w 1013820"/>
                  <a:gd name="connsiteY168" fmla="*/ 1312907 h 2023215"/>
                  <a:gd name="connsiteX169" fmla="*/ 930844 w 1013820"/>
                  <a:gd name="connsiteY169" fmla="*/ 1306953 h 2023215"/>
                  <a:gd name="connsiteX170" fmla="*/ 921089 w 1013820"/>
                  <a:gd name="connsiteY170" fmla="*/ 1275916 h 2023215"/>
                  <a:gd name="connsiteX171" fmla="*/ 949592 w 1013820"/>
                  <a:gd name="connsiteY171" fmla="*/ 1258053 h 2023215"/>
                  <a:gd name="connsiteX172" fmla="*/ 980757 w 1013820"/>
                  <a:gd name="connsiteY172" fmla="*/ 1245005 h 2023215"/>
                  <a:gd name="connsiteX173" fmla="*/ 1012048 w 1013820"/>
                  <a:gd name="connsiteY173" fmla="*/ 1305559 h 2023215"/>
                  <a:gd name="connsiteX174" fmla="*/ 1013821 w 1013820"/>
                  <a:gd name="connsiteY174" fmla="*/ 1320128 h 202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13820" h="2023215">
                    <a:moveTo>
                      <a:pt x="1013821" y="1320128"/>
                    </a:moveTo>
                    <a:cubicBezTo>
                      <a:pt x="1012934" y="1320761"/>
                      <a:pt x="1012174" y="1321268"/>
                      <a:pt x="1011161" y="1321775"/>
                    </a:cubicBezTo>
                    <a:cubicBezTo>
                      <a:pt x="997098" y="1330516"/>
                      <a:pt x="987851" y="1337863"/>
                      <a:pt x="979110" y="1352052"/>
                    </a:cubicBezTo>
                    <a:cubicBezTo>
                      <a:pt x="972776" y="1362313"/>
                      <a:pt x="965555" y="1372068"/>
                      <a:pt x="959980" y="1382835"/>
                    </a:cubicBezTo>
                    <a:cubicBezTo>
                      <a:pt x="954027" y="1394364"/>
                      <a:pt x="949086" y="1406525"/>
                      <a:pt x="937685" y="1413746"/>
                    </a:cubicBezTo>
                    <a:cubicBezTo>
                      <a:pt x="921089" y="1424007"/>
                      <a:pt x="898159" y="1416406"/>
                      <a:pt x="883338" y="1429708"/>
                    </a:cubicBezTo>
                    <a:cubicBezTo>
                      <a:pt x="871303" y="1440476"/>
                      <a:pt x="878017" y="1456691"/>
                      <a:pt x="882198" y="1469613"/>
                    </a:cubicBezTo>
                    <a:cubicBezTo>
                      <a:pt x="885618" y="1480254"/>
                      <a:pt x="894866" y="1487602"/>
                      <a:pt x="899680" y="1497483"/>
                    </a:cubicBezTo>
                    <a:cubicBezTo>
                      <a:pt x="903481" y="1504957"/>
                      <a:pt x="902340" y="1511798"/>
                      <a:pt x="903481" y="1519653"/>
                    </a:cubicBezTo>
                    <a:cubicBezTo>
                      <a:pt x="905001" y="1530927"/>
                      <a:pt x="910575" y="1541822"/>
                      <a:pt x="913488" y="1552844"/>
                    </a:cubicBezTo>
                    <a:cubicBezTo>
                      <a:pt x="916655" y="1565005"/>
                      <a:pt x="919189" y="1577420"/>
                      <a:pt x="921976" y="1589708"/>
                    </a:cubicBezTo>
                    <a:cubicBezTo>
                      <a:pt x="925903" y="1607570"/>
                      <a:pt x="929324" y="1626826"/>
                      <a:pt x="922736" y="1644435"/>
                    </a:cubicBezTo>
                    <a:cubicBezTo>
                      <a:pt x="918429" y="1655963"/>
                      <a:pt x="913615" y="1665084"/>
                      <a:pt x="911841" y="1677499"/>
                    </a:cubicBezTo>
                    <a:cubicBezTo>
                      <a:pt x="910448" y="1687887"/>
                      <a:pt x="908295" y="1698908"/>
                      <a:pt x="896260" y="1700935"/>
                    </a:cubicBezTo>
                    <a:cubicBezTo>
                      <a:pt x="884351" y="1702962"/>
                      <a:pt x="873837" y="1700682"/>
                      <a:pt x="862182" y="1705243"/>
                    </a:cubicBezTo>
                    <a:cubicBezTo>
                      <a:pt x="846726" y="1711323"/>
                      <a:pt x="830765" y="1721711"/>
                      <a:pt x="822150" y="1736280"/>
                    </a:cubicBezTo>
                    <a:cubicBezTo>
                      <a:pt x="808088" y="1760096"/>
                      <a:pt x="813789" y="1792907"/>
                      <a:pt x="841912" y="1801395"/>
                    </a:cubicBezTo>
                    <a:cubicBezTo>
                      <a:pt x="854834" y="1805322"/>
                      <a:pt x="868262" y="1804688"/>
                      <a:pt x="881311" y="1801268"/>
                    </a:cubicBezTo>
                    <a:cubicBezTo>
                      <a:pt x="893853" y="1797974"/>
                      <a:pt x="908168" y="1789740"/>
                      <a:pt x="921469" y="1791513"/>
                    </a:cubicBezTo>
                    <a:cubicBezTo>
                      <a:pt x="936671" y="1793540"/>
                      <a:pt x="939838" y="1812036"/>
                      <a:pt x="939585" y="1824704"/>
                    </a:cubicBezTo>
                    <a:cubicBezTo>
                      <a:pt x="939205" y="1840159"/>
                      <a:pt x="930464" y="1853588"/>
                      <a:pt x="929704" y="1868536"/>
                    </a:cubicBezTo>
                    <a:cubicBezTo>
                      <a:pt x="929197" y="1877531"/>
                      <a:pt x="939205" y="1892733"/>
                      <a:pt x="934391" y="1900460"/>
                    </a:cubicBezTo>
                    <a:cubicBezTo>
                      <a:pt x="929197" y="1908948"/>
                      <a:pt x="909942" y="1904894"/>
                      <a:pt x="901580" y="1908568"/>
                    </a:cubicBezTo>
                    <a:cubicBezTo>
                      <a:pt x="892332" y="1912622"/>
                      <a:pt x="889672" y="1922756"/>
                      <a:pt x="884225" y="1930357"/>
                    </a:cubicBezTo>
                    <a:cubicBezTo>
                      <a:pt x="876117" y="1942012"/>
                      <a:pt x="870416" y="1952020"/>
                      <a:pt x="867502" y="1966082"/>
                    </a:cubicBezTo>
                    <a:cubicBezTo>
                      <a:pt x="864716" y="1980017"/>
                      <a:pt x="863322" y="1994712"/>
                      <a:pt x="852300" y="2004847"/>
                    </a:cubicBezTo>
                    <a:cubicBezTo>
                      <a:pt x="844066" y="2012448"/>
                      <a:pt x="832792" y="2017135"/>
                      <a:pt x="821643" y="2018402"/>
                    </a:cubicBezTo>
                    <a:cubicBezTo>
                      <a:pt x="811889" y="2019542"/>
                      <a:pt x="802135" y="2017895"/>
                      <a:pt x="792886" y="2021695"/>
                    </a:cubicBezTo>
                    <a:cubicBezTo>
                      <a:pt x="791747" y="2022075"/>
                      <a:pt x="790606" y="2022709"/>
                      <a:pt x="789340" y="2023216"/>
                    </a:cubicBezTo>
                    <a:cubicBezTo>
                      <a:pt x="786679" y="2021062"/>
                      <a:pt x="784145" y="2018655"/>
                      <a:pt x="781992" y="2015868"/>
                    </a:cubicBezTo>
                    <a:cubicBezTo>
                      <a:pt x="773504" y="2004593"/>
                      <a:pt x="771477" y="1989771"/>
                      <a:pt x="763370" y="1977990"/>
                    </a:cubicBezTo>
                    <a:cubicBezTo>
                      <a:pt x="747154" y="1954680"/>
                      <a:pt x="732586" y="1930357"/>
                      <a:pt x="713584" y="1909582"/>
                    </a:cubicBezTo>
                    <a:cubicBezTo>
                      <a:pt x="703069" y="1898053"/>
                      <a:pt x="704969" y="1887285"/>
                      <a:pt x="704716" y="1872590"/>
                    </a:cubicBezTo>
                    <a:cubicBezTo>
                      <a:pt x="704335" y="1857388"/>
                      <a:pt x="697368" y="1848647"/>
                      <a:pt x="692427" y="1835092"/>
                    </a:cubicBezTo>
                    <a:cubicBezTo>
                      <a:pt x="687867" y="1822804"/>
                      <a:pt x="693060" y="1810896"/>
                      <a:pt x="690780" y="1798481"/>
                    </a:cubicBezTo>
                    <a:cubicBezTo>
                      <a:pt x="688500" y="1786573"/>
                      <a:pt x="678619" y="1778338"/>
                      <a:pt x="674945" y="1766937"/>
                    </a:cubicBezTo>
                    <a:cubicBezTo>
                      <a:pt x="671018" y="1754902"/>
                      <a:pt x="673172" y="1740714"/>
                      <a:pt x="660756" y="1733239"/>
                    </a:cubicBezTo>
                    <a:cubicBezTo>
                      <a:pt x="648975" y="1726145"/>
                      <a:pt x="633140" y="1730959"/>
                      <a:pt x="622118" y="1721711"/>
                    </a:cubicBezTo>
                    <a:cubicBezTo>
                      <a:pt x="613884" y="1714870"/>
                      <a:pt x="606664" y="1697768"/>
                      <a:pt x="612111" y="1687507"/>
                    </a:cubicBezTo>
                    <a:cubicBezTo>
                      <a:pt x="618065" y="1676359"/>
                      <a:pt x="635040" y="1676612"/>
                      <a:pt x="642641" y="1666478"/>
                    </a:cubicBezTo>
                    <a:cubicBezTo>
                      <a:pt x="651509" y="1654696"/>
                      <a:pt x="644668" y="1640508"/>
                      <a:pt x="647201" y="1627333"/>
                    </a:cubicBezTo>
                    <a:cubicBezTo>
                      <a:pt x="649989" y="1613524"/>
                      <a:pt x="662024" y="1604023"/>
                      <a:pt x="665951" y="1590595"/>
                    </a:cubicBezTo>
                    <a:cubicBezTo>
                      <a:pt x="669624" y="1578180"/>
                      <a:pt x="666331" y="1565132"/>
                      <a:pt x="664810" y="1552590"/>
                    </a:cubicBezTo>
                    <a:cubicBezTo>
                      <a:pt x="662657" y="1535361"/>
                      <a:pt x="659110" y="1518639"/>
                      <a:pt x="655563" y="1501790"/>
                    </a:cubicBezTo>
                    <a:cubicBezTo>
                      <a:pt x="652523" y="1487602"/>
                      <a:pt x="653283" y="1471387"/>
                      <a:pt x="653283" y="1456818"/>
                    </a:cubicBezTo>
                    <a:cubicBezTo>
                      <a:pt x="653283" y="1443643"/>
                      <a:pt x="653916" y="1429201"/>
                      <a:pt x="647582" y="1417167"/>
                    </a:cubicBezTo>
                    <a:cubicBezTo>
                      <a:pt x="637067" y="1397277"/>
                      <a:pt x="619458" y="1386509"/>
                      <a:pt x="604130" y="1371181"/>
                    </a:cubicBezTo>
                    <a:cubicBezTo>
                      <a:pt x="583354" y="1350405"/>
                      <a:pt x="589941" y="1328235"/>
                      <a:pt x="591081" y="1302392"/>
                    </a:cubicBezTo>
                    <a:cubicBezTo>
                      <a:pt x="592222" y="1276042"/>
                      <a:pt x="588294" y="1250452"/>
                      <a:pt x="587027" y="1224736"/>
                    </a:cubicBezTo>
                    <a:cubicBezTo>
                      <a:pt x="586394" y="1212321"/>
                      <a:pt x="587914" y="1199653"/>
                      <a:pt x="587281" y="1187364"/>
                    </a:cubicBezTo>
                    <a:cubicBezTo>
                      <a:pt x="585761" y="1163168"/>
                      <a:pt x="572839" y="1131497"/>
                      <a:pt x="561184" y="1110468"/>
                    </a:cubicBezTo>
                    <a:cubicBezTo>
                      <a:pt x="556243" y="1101474"/>
                      <a:pt x="546869" y="1097040"/>
                      <a:pt x="542942" y="1087792"/>
                    </a:cubicBezTo>
                    <a:cubicBezTo>
                      <a:pt x="534074" y="1066383"/>
                      <a:pt x="532807" y="1046367"/>
                      <a:pt x="535975" y="1023817"/>
                    </a:cubicBezTo>
                    <a:cubicBezTo>
                      <a:pt x="540028" y="994427"/>
                      <a:pt x="539775" y="969724"/>
                      <a:pt x="555864" y="944514"/>
                    </a:cubicBezTo>
                    <a:cubicBezTo>
                      <a:pt x="563085" y="933239"/>
                      <a:pt x="572459" y="918291"/>
                      <a:pt x="566885" y="904482"/>
                    </a:cubicBezTo>
                    <a:cubicBezTo>
                      <a:pt x="562071" y="892954"/>
                      <a:pt x="546615" y="887634"/>
                      <a:pt x="534834" y="889661"/>
                    </a:cubicBezTo>
                    <a:cubicBezTo>
                      <a:pt x="534961" y="885100"/>
                      <a:pt x="535214" y="880539"/>
                      <a:pt x="535468" y="875979"/>
                    </a:cubicBezTo>
                    <a:cubicBezTo>
                      <a:pt x="536354" y="856596"/>
                      <a:pt x="535594" y="845955"/>
                      <a:pt x="516972" y="837341"/>
                    </a:cubicBezTo>
                    <a:cubicBezTo>
                      <a:pt x="500630" y="829866"/>
                      <a:pt x="492396" y="820365"/>
                      <a:pt x="480107" y="807824"/>
                    </a:cubicBezTo>
                    <a:cubicBezTo>
                      <a:pt x="467692" y="795155"/>
                      <a:pt x="455657" y="792368"/>
                      <a:pt x="439316" y="787428"/>
                    </a:cubicBezTo>
                    <a:cubicBezTo>
                      <a:pt x="420186" y="781727"/>
                      <a:pt x="411826" y="763358"/>
                      <a:pt x="403338" y="746636"/>
                    </a:cubicBezTo>
                    <a:cubicBezTo>
                      <a:pt x="394090" y="728647"/>
                      <a:pt x="390416" y="709138"/>
                      <a:pt x="391050" y="688996"/>
                    </a:cubicBezTo>
                    <a:cubicBezTo>
                      <a:pt x="391683" y="669486"/>
                      <a:pt x="409925" y="660365"/>
                      <a:pt x="412332" y="641870"/>
                    </a:cubicBezTo>
                    <a:cubicBezTo>
                      <a:pt x="415373" y="618433"/>
                      <a:pt x="395230" y="636929"/>
                      <a:pt x="384589" y="638829"/>
                    </a:cubicBezTo>
                    <a:cubicBezTo>
                      <a:pt x="364826" y="642123"/>
                      <a:pt x="355579" y="635029"/>
                      <a:pt x="348611" y="658972"/>
                    </a:cubicBezTo>
                    <a:cubicBezTo>
                      <a:pt x="343417" y="676834"/>
                      <a:pt x="341010" y="694316"/>
                      <a:pt x="327582" y="708378"/>
                    </a:cubicBezTo>
                    <a:cubicBezTo>
                      <a:pt x="322134" y="714205"/>
                      <a:pt x="312887" y="718893"/>
                      <a:pt x="312253" y="727634"/>
                    </a:cubicBezTo>
                    <a:cubicBezTo>
                      <a:pt x="311493" y="740682"/>
                      <a:pt x="326188" y="756264"/>
                      <a:pt x="336576" y="762218"/>
                    </a:cubicBezTo>
                    <a:cubicBezTo>
                      <a:pt x="351778" y="770959"/>
                      <a:pt x="354311" y="774126"/>
                      <a:pt x="360646" y="790975"/>
                    </a:cubicBezTo>
                    <a:cubicBezTo>
                      <a:pt x="365333" y="803136"/>
                      <a:pt x="371667" y="815551"/>
                      <a:pt x="381042" y="824546"/>
                    </a:cubicBezTo>
                    <a:cubicBezTo>
                      <a:pt x="393457" y="836327"/>
                      <a:pt x="398144" y="838354"/>
                      <a:pt x="414486" y="838988"/>
                    </a:cubicBezTo>
                    <a:cubicBezTo>
                      <a:pt x="422847" y="839368"/>
                      <a:pt x="441723" y="842661"/>
                      <a:pt x="446029" y="851022"/>
                    </a:cubicBezTo>
                    <a:cubicBezTo>
                      <a:pt x="452617" y="863564"/>
                      <a:pt x="439442" y="874839"/>
                      <a:pt x="427914" y="871292"/>
                    </a:cubicBezTo>
                    <a:cubicBezTo>
                      <a:pt x="418540" y="868378"/>
                      <a:pt x="407645" y="846082"/>
                      <a:pt x="399918" y="860397"/>
                    </a:cubicBezTo>
                    <a:cubicBezTo>
                      <a:pt x="396243" y="867238"/>
                      <a:pt x="395483" y="881046"/>
                      <a:pt x="395737" y="891941"/>
                    </a:cubicBezTo>
                    <a:cubicBezTo>
                      <a:pt x="388896" y="889914"/>
                      <a:pt x="382182" y="887887"/>
                      <a:pt x="376228" y="883833"/>
                    </a:cubicBezTo>
                    <a:cubicBezTo>
                      <a:pt x="364953" y="876105"/>
                      <a:pt x="363433" y="865338"/>
                      <a:pt x="358999" y="853429"/>
                    </a:cubicBezTo>
                    <a:cubicBezTo>
                      <a:pt x="350638" y="831007"/>
                      <a:pt x="324415" y="837721"/>
                      <a:pt x="311746" y="819225"/>
                    </a:cubicBezTo>
                    <a:cubicBezTo>
                      <a:pt x="299838" y="801870"/>
                      <a:pt x="306679" y="764245"/>
                      <a:pt x="281849" y="757784"/>
                    </a:cubicBezTo>
                    <a:cubicBezTo>
                      <a:pt x="260060" y="752210"/>
                      <a:pt x="209894" y="783247"/>
                      <a:pt x="193425" y="760191"/>
                    </a:cubicBezTo>
                    <a:cubicBezTo>
                      <a:pt x="179236" y="740175"/>
                      <a:pt x="226489" y="715599"/>
                      <a:pt x="205333" y="692796"/>
                    </a:cubicBezTo>
                    <a:cubicBezTo>
                      <a:pt x="196718" y="683548"/>
                      <a:pt x="182024" y="682408"/>
                      <a:pt x="171762" y="675694"/>
                    </a:cubicBezTo>
                    <a:cubicBezTo>
                      <a:pt x="161501" y="668980"/>
                      <a:pt x="157067" y="658592"/>
                      <a:pt x="149846" y="649217"/>
                    </a:cubicBezTo>
                    <a:cubicBezTo>
                      <a:pt x="135404" y="630215"/>
                      <a:pt x="113235" y="629201"/>
                      <a:pt x="91826" y="623121"/>
                    </a:cubicBezTo>
                    <a:cubicBezTo>
                      <a:pt x="81057" y="620080"/>
                      <a:pt x="65096" y="616913"/>
                      <a:pt x="58128" y="607032"/>
                    </a:cubicBezTo>
                    <a:cubicBezTo>
                      <a:pt x="50147" y="595504"/>
                      <a:pt x="58381" y="588156"/>
                      <a:pt x="61548" y="577515"/>
                    </a:cubicBezTo>
                    <a:cubicBezTo>
                      <a:pt x="69276" y="552812"/>
                      <a:pt x="33805" y="534950"/>
                      <a:pt x="13916" y="532416"/>
                    </a:cubicBezTo>
                    <a:cubicBezTo>
                      <a:pt x="12142" y="532163"/>
                      <a:pt x="10242" y="532036"/>
                      <a:pt x="8468" y="532036"/>
                    </a:cubicBezTo>
                    <a:cubicBezTo>
                      <a:pt x="7962" y="530642"/>
                      <a:pt x="-4833" y="495298"/>
                      <a:pt x="2007" y="480349"/>
                    </a:cubicBezTo>
                    <a:cubicBezTo>
                      <a:pt x="8849" y="465021"/>
                      <a:pt x="10875" y="457547"/>
                      <a:pt x="14802" y="447159"/>
                    </a:cubicBezTo>
                    <a:cubicBezTo>
                      <a:pt x="18730" y="436771"/>
                      <a:pt x="30131" y="418022"/>
                      <a:pt x="43052" y="423469"/>
                    </a:cubicBezTo>
                    <a:cubicBezTo>
                      <a:pt x="55974" y="428916"/>
                      <a:pt x="77257" y="436897"/>
                      <a:pt x="74217" y="422455"/>
                    </a:cubicBezTo>
                    <a:cubicBezTo>
                      <a:pt x="71303" y="408140"/>
                      <a:pt x="75737" y="372036"/>
                      <a:pt x="93473" y="377863"/>
                    </a:cubicBezTo>
                    <a:cubicBezTo>
                      <a:pt x="111334" y="383817"/>
                      <a:pt x="123116" y="389391"/>
                      <a:pt x="127170" y="377230"/>
                    </a:cubicBezTo>
                    <a:cubicBezTo>
                      <a:pt x="131097" y="364942"/>
                      <a:pt x="133631" y="348726"/>
                      <a:pt x="144525" y="343152"/>
                    </a:cubicBezTo>
                    <a:cubicBezTo>
                      <a:pt x="155421" y="337705"/>
                      <a:pt x="160868" y="326304"/>
                      <a:pt x="163275" y="318449"/>
                    </a:cubicBezTo>
                    <a:cubicBezTo>
                      <a:pt x="165808" y="310595"/>
                      <a:pt x="171256" y="280825"/>
                      <a:pt x="183037" y="278291"/>
                    </a:cubicBezTo>
                    <a:cubicBezTo>
                      <a:pt x="194945" y="275757"/>
                      <a:pt x="215214" y="274364"/>
                      <a:pt x="225602" y="259922"/>
                    </a:cubicBezTo>
                    <a:cubicBezTo>
                      <a:pt x="235990" y="245607"/>
                      <a:pt x="250306" y="213429"/>
                      <a:pt x="269181" y="217863"/>
                    </a:cubicBezTo>
                    <a:cubicBezTo>
                      <a:pt x="287930" y="222297"/>
                      <a:pt x="313140" y="238132"/>
                      <a:pt x="331002" y="227238"/>
                    </a:cubicBezTo>
                    <a:cubicBezTo>
                      <a:pt x="348864" y="216343"/>
                      <a:pt x="417146" y="177705"/>
                      <a:pt x="416640" y="220270"/>
                    </a:cubicBezTo>
                    <a:cubicBezTo>
                      <a:pt x="416133" y="262836"/>
                      <a:pt x="418160" y="323136"/>
                      <a:pt x="425507" y="333651"/>
                    </a:cubicBezTo>
                    <a:cubicBezTo>
                      <a:pt x="432855" y="344039"/>
                      <a:pt x="445777" y="361901"/>
                      <a:pt x="464525" y="342519"/>
                    </a:cubicBezTo>
                    <a:cubicBezTo>
                      <a:pt x="483274" y="323136"/>
                      <a:pt x="496196" y="311862"/>
                      <a:pt x="514565" y="307808"/>
                    </a:cubicBezTo>
                    <a:cubicBezTo>
                      <a:pt x="532807" y="303881"/>
                      <a:pt x="539775" y="300840"/>
                      <a:pt x="550163" y="293493"/>
                    </a:cubicBezTo>
                    <a:cubicBezTo>
                      <a:pt x="560551" y="286145"/>
                      <a:pt x="580820" y="283612"/>
                      <a:pt x="602102" y="288552"/>
                    </a:cubicBezTo>
                    <a:cubicBezTo>
                      <a:pt x="623385" y="293493"/>
                      <a:pt x="652523" y="313762"/>
                      <a:pt x="661517" y="300460"/>
                    </a:cubicBezTo>
                    <a:cubicBezTo>
                      <a:pt x="670384" y="287032"/>
                      <a:pt x="680899" y="260809"/>
                      <a:pt x="681786" y="245100"/>
                    </a:cubicBezTo>
                    <a:cubicBezTo>
                      <a:pt x="682799" y="229265"/>
                      <a:pt x="682799" y="204942"/>
                      <a:pt x="691667" y="191133"/>
                    </a:cubicBezTo>
                    <a:cubicBezTo>
                      <a:pt x="700662" y="177325"/>
                      <a:pt x="698634" y="170864"/>
                      <a:pt x="702055" y="158449"/>
                    </a:cubicBezTo>
                    <a:cubicBezTo>
                      <a:pt x="705476" y="146034"/>
                      <a:pt x="711429" y="138687"/>
                      <a:pt x="715864" y="130199"/>
                    </a:cubicBezTo>
                    <a:cubicBezTo>
                      <a:pt x="720297" y="121711"/>
                      <a:pt x="730179" y="104989"/>
                      <a:pt x="726252" y="88647"/>
                    </a:cubicBezTo>
                    <a:cubicBezTo>
                      <a:pt x="722325" y="72305"/>
                      <a:pt x="716877" y="54950"/>
                      <a:pt x="724225" y="42661"/>
                    </a:cubicBezTo>
                    <a:cubicBezTo>
                      <a:pt x="731572" y="30246"/>
                      <a:pt x="746014" y="28346"/>
                      <a:pt x="752474" y="14918"/>
                    </a:cubicBezTo>
                    <a:cubicBezTo>
                      <a:pt x="758935" y="1616"/>
                      <a:pt x="767297" y="-4338"/>
                      <a:pt x="772237" y="3516"/>
                    </a:cubicBezTo>
                    <a:cubicBezTo>
                      <a:pt x="777178" y="11498"/>
                      <a:pt x="783132" y="39114"/>
                      <a:pt x="793520" y="32653"/>
                    </a:cubicBezTo>
                    <a:cubicBezTo>
                      <a:pt x="803908" y="26193"/>
                      <a:pt x="857368" y="30120"/>
                      <a:pt x="874723" y="48489"/>
                    </a:cubicBezTo>
                    <a:cubicBezTo>
                      <a:pt x="876117" y="54189"/>
                      <a:pt x="879791" y="57103"/>
                      <a:pt x="881058" y="62424"/>
                    </a:cubicBezTo>
                    <a:cubicBezTo>
                      <a:pt x="882958" y="70405"/>
                      <a:pt x="876877" y="83960"/>
                      <a:pt x="875483" y="92194"/>
                    </a:cubicBezTo>
                    <a:cubicBezTo>
                      <a:pt x="873457" y="103596"/>
                      <a:pt x="869909" y="114744"/>
                      <a:pt x="870796" y="126399"/>
                    </a:cubicBezTo>
                    <a:cubicBezTo>
                      <a:pt x="872063" y="141727"/>
                      <a:pt x="882198" y="142741"/>
                      <a:pt x="892332" y="153255"/>
                    </a:cubicBezTo>
                    <a:cubicBezTo>
                      <a:pt x="898540" y="159589"/>
                      <a:pt x="900314" y="160729"/>
                      <a:pt x="898159" y="170864"/>
                    </a:cubicBezTo>
                    <a:cubicBezTo>
                      <a:pt x="896893" y="177325"/>
                      <a:pt x="882071" y="193287"/>
                      <a:pt x="887138" y="198734"/>
                    </a:cubicBezTo>
                    <a:cubicBezTo>
                      <a:pt x="893219" y="205448"/>
                      <a:pt x="908168" y="194807"/>
                      <a:pt x="913995" y="203041"/>
                    </a:cubicBezTo>
                    <a:cubicBezTo>
                      <a:pt x="925523" y="219130"/>
                      <a:pt x="897399" y="242060"/>
                      <a:pt x="902721" y="257895"/>
                    </a:cubicBezTo>
                    <a:cubicBezTo>
                      <a:pt x="907914" y="273477"/>
                      <a:pt x="942245" y="262329"/>
                      <a:pt x="943639" y="279684"/>
                    </a:cubicBezTo>
                    <a:cubicBezTo>
                      <a:pt x="944272" y="288679"/>
                      <a:pt x="934011" y="295140"/>
                      <a:pt x="930844" y="302741"/>
                    </a:cubicBezTo>
                    <a:cubicBezTo>
                      <a:pt x="926283" y="313509"/>
                      <a:pt x="930590" y="319589"/>
                      <a:pt x="933757" y="329344"/>
                    </a:cubicBezTo>
                    <a:cubicBezTo>
                      <a:pt x="938191" y="343279"/>
                      <a:pt x="935911" y="356834"/>
                      <a:pt x="937685" y="371022"/>
                    </a:cubicBezTo>
                    <a:cubicBezTo>
                      <a:pt x="938952" y="381917"/>
                      <a:pt x="944272" y="392558"/>
                      <a:pt x="946933" y="403326"/>
                    </a:cubicBezTo>
                    <a:cubicBezTo>
                      <a:pt x="950100" y="416121"/>
                      <a:pt x="952380" y="428790"/>
                      <a:pt x="959601" y="440064"/>
                    </a:cubicBezTo>
                    <a:cubicBezTo>
                      <a:pt x="970622" y="457673"/>
                      <a:pt x="987471" y="471228"/>
                      <a:pt x="997732" y="489344"/>
                    </a:cubicBezTo>
                    <a:cubicBezTo>
                      <a:pt x="1001660" y="496185"/>
                      <a:pt x="1005206" y="507840"/>
                      <a:pt x="998619" y="514047"/>
                    </a:cubicBezTo>
                    <a:cubicBezTo>
                      <a:pt x="991651" y="520508"/>
                      <a:pt x="979236" y="515314"/>
                      <a:pt x="971129" y="514680"/>
                    </a:cubicBezTo>
                    <a:cubicBezTo>
                      <a:pt x="942879" y="512273"/>
                      <a:pt x="909055" y="512527"/>
                      <a:pt x="881691" y="520381"/>
                    </a:cubicBezTo>
                    <a:cubicBezTo>
                      <a:pt x="868389" y="524308"/>
                      <a:pt x="858255" y="531783"/>
                      <a:pt x="853441" y="545084"/>
                    </a:cubicBezTo>
                    <a:cubicBezTo>
                      <a:pt x="849133" y="557246"/>
                      <a:pt x="851794" y="571181"/>
                      <a:pt x="843433" y="581695"/>
                    </a:cubicBezTo>
                    <a:cubicBezTo>
                      <a:pt x="834565" y="592843"/>
                      <a:pt x="825444" y="595630"/>
                      <a:pt x="823671" y="611466"/>
                    </a:cubicBezTo>
                    <a:cubicBezTo>
                      <a:pt x="822024" y="625401"/>
                      <a:pt x="822024" y="640603"/>
                      <a:pt x="822910" y="654538"/>
                    </a:cubicBezTo>
                    <a:cubicBezTo>
                      <a:pt x="823797" y="669993"/>
                      <a:pt x="825444" y="681775"/>
                      <a:pt x="816703" y="695330"/>
                    </a:cubicBezTo>
                    <a:cubicBezTo>
                      <a:pt x="808596" y="707745"/>
                      <a:pt x="804034" y="716612"/>
                      <a:pt x="804415" y="731814"/>
                    </a:cubicBezTo>
                    <a:cubicBezTo>
                      <a:pt x="804794" y="746636"/>
                      <a:pt x="806189" y="764245"/>
                      <a:pt x="813409" y="777673"/>
                    </a:cubicBezTo>
                    <a:cubicBezTo>
                      <a:pt x="819870" y="789455"/>
                      <a:pt x="832538" y="797689"/>
                      <a:pt x="837099" y="810611"/>
                    </a:cubicBezTo>
                    <a:cubicBezTo>
                      <a:pt x="841912" y="823912"/>
                      <a:pt x="829878" y="830120"/>
                      <a:pt x="817716" y="824672"/>
                    </a:cubicBezTo>
                    <a:cubicBezTo>
                      <a:pt x="803655" y="818465"/>
                      <a:pt x="809608" y="801996"/>
                      <a:pt x="801121" y="791988"/>
                    </a:cubicBezTo>
                    <a:cubicBezTo>
                      <a:pt x="796813" y="787048"/>
                      <a:pt x="789973" y="786034"/>
                      <a:pt x="784399" y="783501"/>
                    </a:cubicBezTo>
                    <a:cubicBezTo>
                      <a:pt x="778065" y="780714"/>
                      <a:pt x="772871" y="775140"/>
                      <a:pt x="766790" y="772353"/>
                    </a:cubicBezTo>
                    <a:cubicBezTo>
                      <a:pt x="754248" y="766779"/>
                      <a:pt x="752348" y="780840"/>
                      <a:pt x="752348" y="792495"/>
                    </a:cubicBezTo>
                    <a:cubicBezTo>
                      <a:pt x="752474" y="805417"/>
                      <a:pt x="760836" y="816058"/>
                      <a:pt x="760709" y="828980"/>
                    </a:cubicBezTo>
                    <a:cubicBezTo>
                      <a:pt x="760582" y="842155"/>
                      <a:pt x="753869" y="857483"/>
                      <a:pt x="756655" y="870405"/>
                    </a:cubicBezTo>
                    <a:cubicBezTo>
                      <a:pt x="759062" y="881680"/>
                      <a:pt x="768817" y="881933"/>
                      <a:pt x="776544" y="889154"/>
                    </a:cubicBezTo>
                    <a:cubicBezTo>
                      <a:pt x="784399" y="896375"/>
                      <a:pt x="785792" y="915757"/>
                      <a:pt x="780092" y="924625"/>
                    </a:cubicBezTo>
                    <a:cubicBezTo>
                      <a:pt x="764383" y="949708"/>
                      <a:pt x="737146" y="904609"/>
                      <a:pt x="722198" y="925638"/>
                    </a:cubicBezTo>
                    <a:cubicBezTo>
                      <a:pt x="715230" y="935520"/>
                      <a:pt x="723845" y="946288"/>
                      <a:pt x="723591" y="956549"/>
                    </a:cubicBezTo>
                    <a:cubicBezTo>
                      <a:pt x="723085" y="972004"/>
                      <a:pt x="712443" y="967570"/>
                      <a:pt x="701549" y="965924"/>
                    </a:cubicBezTo>
                    <a:cubicBezTo>
                      <a:pt x="673425" y="961870"/>
                      <a:pt x="687233" y="999494"/>
                      <a:pt x="693314" y="1014316"/>
                    </a:cubicBezTo>
                    <a:cubicBezTo>
                      <a:pt x="699902" y="1030531"/>
                      <a:pt x="706109" y="1047000"/>
                      <a:pt x="714977" y="1062076"/>
                    </a:cubicBezTo>
                    <a:cubicBezTo>
                      <a:pt x="725998" y="1080444"/>
                      <a:pt x="729925" y="1073224"/>
                      <a:pt x="749055" y="1074997"/>
                    </a:cubicBezTo>
                    <a:cubicBezTo>
                      <a:pt x="758935" y="1076010"/>
                      <a:pt x="757922" y="1079304"/>
                      <a:pt x="759949" y="1088679"/>
                    </a:cubicBezTo>
                    <a:cubicBezTo>
                      <a:pt x="761723" y="1097167"/>
                      <a:pt x="761216" y="1097673"/>
                      <a:pt x="768817" y="1100967"/>
                    </a:cubicBezTo>
                    <a:cubicBezTo>
                      <a:pt x="775658" y="1103881"/>
                      <a:pt x="783385" y="1102614"/>
                      <a:pt x="787312" y="1110722"/>
                    </a:cubicBezTo>
                    <a:cubicBezTo>
                      <a:pt x="794533" y="1125417"/>
                      <a:pt x="772491" y="1129090"/>
                      <a:pt x="783512" y="1144799"/>
                    </a:cubicBezTo>
                    <a:cubicBezTo>
                      <a:pt x="786806" y="1149486"/>
                      <a:pt x="792380" y="1150627"/>
                      <a:pt x="796940" y="1153794"/>
                    </a:cubicBezTo>
                    <a:cubicBezTo>
                      <a:pt x="802895" y="1157974"/>
                      <a:pt x="804034" y="1160761"/>
                      <a:pt x="807328" y="1167475"/>
                    </a:cubicBezTo>
                    <a:cubicBezTo>
                      <a:pt x="813789" y="1180904"/>
                      <a:pt x="817843" y="1192559"/>
                      <a:pt x="822403" y="1206493"/>
                    </a:cubicBezTo>
                    <a:cubicBezTo>
                      <a:pt x="827598" y="1221695"/>
                      <a:pt x="831905" y="1237151"/>
                      <a:pt x="836845" y="1252479"/>
                    </a:cubicBezTo>
                    <a:cubicBezTo>
                      <a:pt x="840646" y="1264514"/>
                      <a:pt x="849767" y="1271735"/>
                      <a:pt x="856101" y="1282503"/>
                    </a:cubicBezTo>
                    <a:cubicBezTo>
                      <a:pt x="862688" y="1293651"/>
                      <a:pt x="869530" y="1305813"/>
                      <a:pt x="881058" y="1313034"/>
                    </a:cubicBezTo>
                    <a:cubicBezTo>
                      <a:pt x="891192" y="1319368"/>
                      <a:pt x="900440" y="1314807"/>
                      <a:pt x="910954" y="1312907"/>
                    </a:cubicBezTo>
                    <a:cubicBezTo>
                      <a:pt x="917289" y="1311767"/>
                      <a:pt x="926410" y="1312780"/>
                      <a:pt x="930844" y="1306953"/>
                    </a:cubicBezTo>
                    <a:cubicBezTo>
                      <a:pt x="938952" y="1296438"/>
                      <a:pt x="919822" y="1286937"/>
                      <a:pt x="921089" y="1275916"/>
                    </a:cubicBezTo>
                    <a:cubicBezTo>
                      <a:pt x="922610" y="1262867"/>
                      <a:pt x="940091" y="1261347"/>
                      <a:pt x="949592" y="1258053"/>
                    </a:cubicBezTo>
                    <a:cubicBezTo>
                      <a:pt x="960361" y="1254253"/>
                      <a:pt x="968469" y="1243485"/>
                      <a:pt x="980757" y="1245005"/>
                    </a:cubicBezTo>
                    <a:cubicBezTo>
                      <a:pt x="1007740" y="1248299"/>
                      <a:pt x="1010401" y="1284657"/>
                      <a:pt x="1012048" y="1305559"/>
                    </a:cubicBezTo>
                    <a:cubicBezTo>
                      <a:pt x="1012934" y="1310753"/>
                      <a:pt x="1013314" y="1315567"/>
                      <a:pt x="1013821" y="132012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87" name="Полилиния: фигура 686">
                <a:extLst>
                  <a:ext uri="{FF2B5EF4-FFF2-40B4-BE49-F238E27FC236}">
                    <a16:creationId xmlns:a16="http://schemas.microsoft.com/office/drawing/2014/main" id="{D1555AE3-F895-4F35-89A4-EBB6EADA3B8F}"/>
                  </a:ext>
                </a:extLst>
              </p:cNvPr>
              <p:cNvSpPr/>
              <p:nvPr/>
            </p:nvSpPr>
            <p:spPr>
              <a:xfrm>
                <a:off x="12491382" y="2804054"/>
                <a:ext cx="53890" cy="150695"/>
              </a:xfrm>
              <a:custGeom>
                <a:avLst/>
                <a:gdLst>
                  <a:gd name="connsiteX0" fmla="*/ 10743 w 53890"/>
                  <a:gd name="connsiteY0" fmla="*/ 93350 h 150695"/>
                  <a:gd name="connsiteX1" fmla="*/ 1115 w 53890"/>
                  <a:gd name="connsiteY1" fmla="*/ 71814 h 150695"/>
                  <a:gd name="connsiteX2" fmla="*/ 14924 w 53890"/>
                  <a:gd name="connsiteY2" fmla="*/ 38496 h 150695"/>
                  <a:gd name="connsiteX3" fmla="*/ 6436 w 53890"/>
                  <a:gd name="connsiteY3" fmla="*/ 12146 h 150695"/>
                  <a:gd name="connsiteX4" fmla="*/ 27465 w 53890"/>
                  <a:gd name="connsiteY4" fmla="*/ 1632 h 150695"/>
                  <a:gd name="connsiteX5" fmla="*/ 51915 w 53890"/>
                  <a:gd name="connsiteY5" fmla="*/ 24434 h 150695"/>
                  <a:gd name="connsiteX6" fmla="*/ 49635 w 53890"/>
                  <a:gd name="connsiteY6" fmla="*/ 44197 h 150695"/>
                  <a:gd name="connsiteX7" fmla="*/ 44441 w 53890"/>
                  <a:gd name="connsiteY7" fmla="*/ 69027 h 150695"/>
                  <a:gd name="connsiteX8" fmla="*/ 48114 w 53890"/>
                  <a:gd name="connsiteY8" fmla="*/ 115139 h 150695"/>
                  <a:gd name="connsiteX9" fmla="*/ 51661 w 53890"/>
                  <a:gd name="connsiteY9" fmla="*/ 128694 h 150695"/>
                  <a:gd name="connsiteX10" fmla="*/ 53435 w 53890"/>
                  <a:gd name="connsiteY10" fmla="*/ 144656 h 150695"/>
                  <a:gd name="connsiteX11" fmla="*/ 28858 w 53890"/>
                  <a:gd name="connsiteY11" fmla="*/ 143516 h 150695"/>
                  <a:gd name="connsiteX12" fmla="*/ 24552 w 53890"/>
                  <a:gd name="connsiteY12" fmla="*/ 116913 h 150695"/>
                  <a:gd name="connsiteX13" fmla="*/ 10743 w 53890"/>
                  <a:gd name="connsiteY13" fmla="*/ 93350 h 15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890" h="150695">
                    <a:moveTo>
                      <a:pt x="10743" y="93350"/>
                    </a:moveTo>
                    <a:cubicBezTo>
                      <a:pt x="3902" y="86382"/>
                      <a:pt x="-2685" y="82455"/>
                      <a:pt x="1115" y="71814"/>
                    </a:cubicBezTo>
                    <a:cubicBezTo>
                      <a:pt x="5042" y="60919"/>
                      <a:pt x="14670" y="50278"/>
                      <a:pt x="14924" y="38496"/>
                    </a:cubicBezTo>
                    <a:cubicBezTo>
                      <a:pt x="15177" y="28995"/>
                      <a:pt x="6689" y="21647"/>
                      <a:pt x="6436" y="12146"/>
                    </a:cubicBezTo>
                    <a:cubicBezTo>
                      <a:pt x="6056" y="-522"/>
                      <a:pt x="17837" y="-1789"/>
                      <a:pt x="27465" y="1632"/>
                    </a:cubicBezTo>
                    <a:cubicBezTo>
                      <a:pt x="37853" y="5305"/>
                      <a:pt x="50141" y="12653"/>
                      <a:pt x="51915" y="24434"/>
                    </a:cubicBezTo>
                    <a:cubicBezTo>
                      <a:pt x="52928" y="31022"/>
                      <a:pt x="51155" y="37863"/>
                      <a:pt x="49635" y="44197"/>
                    </a:cubicBezTo>
                    <a:cubicBezTo>
                      <a:pt x="47734" y="52431"/>
                      <a:pt x="45581" y="60539"/>
                      <a:pt x="44441" y="69027"/>
                    </a:cubicBezTo>
                    <a:cubicBezTo>
                      <a:pt x="42414" y="84609"/>
                      <a:pt x="44187" y="100064"/>
                      <a:pt x="48114" y="115139"/>
                    </a:cubicBezTo>
                    <a:cubicBezTo>
                      <a:pt x="49381" y="119700"/>
                      <a:pt x="50648" y="124134"/>
                      <a:pt x="51661" y="128694"/>
                    </a:cubicBezTo>
                    <a:cubicBezTo>
                      <a:pt x="52675" y="133508"/>
                      <a:pt x="54828" y="139842"/>
                      <a:pt x="53435" y="144656"/>
                    </a:cubicBezTo>
                    <a:cubicBezTo>
                      <a:pt x="50648" y="154791"/>
                      <a:pt x="32659" y="150610"/>
                      <a:pt x="28858" y="143516"/>
                    </a:cubicBezTo>
                    <a:cubicBezTo>
                      <a:pt x="24425" y="135408"/>
                      <a:pt x="24931" y="125907"/>
                      <a:pt x="24552" y="116913"/>
                    </a:cubicBezTo>
                    <a:cubicBezTo>
                      <a:pt x="24298" y="108805"/>
                      <a:pt x="16317" y="98924"/>
                      <a:pt x="10743" y="9335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sp>
          <p:nvSpPr>
            <p:cNvPr id="688" name="Полилиния: фигура 687">
              <a:extLst>
                <a:ext uri="{FF2B5EF4-FFF2-40B4-BE49-F238E27FC236}">
                  <a16:creationId xmlns:a16="http://schemas.microsoft.com/office/drawing/2014/main" id="{9AC60F08-7AF6-406F-A8AD-58753D85D1BA}"/>
                </a:ext>
              </a:extLst>
            </p:cNvPr>
            <p:cNvSpPr/>
            <p:nvPr/>
          </p:nvSpPr>
          <p:spPr>
            <a:xfrm>
              <a:off x="2028039" y="3707802"/>
              <a:ext cx="342019" cy="410948"/>
            </a:xfrm>
            <a:custGeom>
              <a:avLst/>
              <a:gdLst>
                <a:gd name="connsiteX0" fmla="*/ 342020 w 342019"/>
                <a:gd name="connsiteY0" fmla="*/ 113624 h 410948"/>
                <a:gd name="connsiteX1" fmla="*/ 338599 w 342019"/>
                <a:gd name="connsiteY1" fmla="*/ 122492 h 410948"/>
                <a:gd name="connsiteX2" fmla="*/ 316810 w 342019"/>
                <a:gd name="connsiteY2" fmla="*/ 156189 h 410948"/>
                <a:gd name="connsiteX3" fmla="*/ 310349 w 342019"/>
                <a:gd name="connsiteY3" fmla="*/ 230426 h 410948"/>
                <a:gd name="connsiteX4" fmla="*/ 283619 w 342019"/>
                <a:gd name="connsiteY4" fmla="*/ 272484 h 410948"/>
                <a:gd name="connsiteX5" fmla="*/ 242194 w 342019"/>
                <a:gd name="connsiteY5" fmla="*/ 352927 h 410948"/>
                <a:gd name="connsiteX6" fmla="*/ 240800 w 342019"/>
                <a:gd name="connsiteY6" fmla="*/ 350774 h 410948"/>
                <a:gd name="connsiteX7" fmla="*/ 221544 w 342019"/>
                <a:gd name="connsiteY7" fmla="*/ 348873 h 410948"/>
                <a:gd name="connsiteX8" fmla="*/ 188860 w 342019"/>
                <a:gd name="connsiteY8" fmla="*/ 372183 h 410948"/>
                <a:gd name="connsiteX9" fmla="*/ 141861 w 342019"/>
                <a:gd name="connsiteY9" fmla="*/ 390806 h 410948"/>
                <a:gd name="connsiteX10" fmla="*/ 107150 w 342019"/>
                <a:gd name="connsiteY10" fmla="*/ 410948 h 410948"/>
                <a:gd name="connsiteX11" fmla="*/ 8844 w 342019"/>
                <a:gd name="connsiteY11" fmla="*/ 281099 h 410948"/>
                <a:gd name="connsiteX12" fmla="*/ 19359 w 342019"/>
                <a:gd name="connsiteY12" fmla="*/ 228272 h 410948"/>
                <a:gd name="connsiteX13" fmla="*/ 14292 w 342019"/>
                <a:gd name="connsiteY13" fmla="*/ 210029 h 410948"/>
                <a:gd name="connsiteX14" fmla="*/ 53057 w 342019"/>
                <a:gd name="connsiteY14" fmla="*/ 162144 h 410948"/>
                <a:gd name="connsiteX15" fmla="*/ 65978 w 342019"/>
                <a:gd name="connsiteY15" fmla="*/ 80054 h 410948"/>
                <a:gd name="connsiteX16" fmla="*/ 155036 w 342019"/>
                <a:gd name="connsiteY16" fmla="*/ 39008 h 410948"/>
                <a:gd name="connsiteX17" fmla="*/ 174799 w 342019"/>
                <a:gd name="connsiteY17" fmla="*/ 1763 h 410948"/>
                <a:gd name="connsiteX18" fmla="*/ 177839 w 342019"/>
                <a:gd name="connsiteY18" fmla="*/ 3917 h 410948"/>
                <a:gd name="connsiteX19" fmla="*/ 204569 w 342019"/>
                <a:gd name="connsiteY19" fmla="*/ 28114 h 410948"/>
                <a:gd name="connsiteX20" fmla="*/ 250048 w 342019"/>
                <a:gd name="connsiteY20" fmla="*/ 51930 h 410948"/>
                <a:gd name="connsiteX21" fmla="*/ 258029 w 342019"/>
                <a:gd name="connsiteY21" fmla="*/ 84614 h 410948"/>
                <a:gd name="connsiteX22" fmla="*/ 314909 w 342019"/>
                <a:gd name="connsiteY22" fmla="*/ 78153 h 410948"/>
                <a:gd name="connsiteX23" fmla="*/ 342020 w 342019"/>
                <a:gd name="connsiteY23" fmla="*/ 113624 h 41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2019" h="410948">
                  <a:moveTo>
                    <a:pt x="342020" y="113624"/>
                  </a:moveTo>
                  <a:cubicBezTo>
                    <a:pt x="342020" y="116791"/>
                    <a:pt x="341006" y="119832"/>
                    <a:pt x="338599" y="122492"/>
                  </a:cubicBezTo>
                  <a:cubicBezTo>
                    <a:pt x="327198" y="135414"/>
                    <a:pt x="313896" y="139341"/>
                    <a:pt x="316810" y="156189"/>
                  </a:cubicBezTo>
                  <a:cubicBezTo>
                    <a:pt x="319850" y="173038"/>
                    <a:pt x="326691" y="220038"/>
                    <a:pt x="310349" y="230426"/>
                  </a:cubicBezTo>
                  <a:cubicBezTo>
                    <a:pt x="294007" y="240813"/>
                    <a:pt x="280705" y="254622"/>
                    <a:pt x="283619" y="272484"/>
                  </a:cubicBezTo>
                  <a:cubicBezTo>
                    <a:pt x="286533" y="290346"/>
                    <a:pt x="300594" y="351154"/>
                    <a:pt x="242194" y="352927"/>
                  </a:cubicBezTo>
                  <a:cubicBezTo>
                    <a:pt x="241814" y="352167"/>
                    <a:pt x="241307" y="351407"/>
                    <a:pt x="240800" y="350774"/>
                  </a:cubicBezTo>
                  <a:cubicBezTo>
                    <a:pt x="236113" y="345453"/>
                    <a:pt x="227499" y="346973"/>
                    <a:pt x="221544" y="348873"/>
                  </a:cubicBezTo>
                  <a:cubicBezTo>
                    <a:pt x="207863" y="353434"/>
                    <a:pt x="199628" y="363569"/>
                    <a:pt x="188860" y="372183"/>
                  </a:cubicBezTo>
                  <a:cubicBezTo>
                    <a:pt x="175052" y="383078"/>
                    <a:pt x="158583" y="387005"/>
                    <a:pt x="141861" y="390806"/>
                  </a:cubicBezTo>
                  <a:cubicBezTo>
                    <a:pt x="128940" y="393719"/>
                    <a:pt x="114244" y="399420"/>
                    <a:pt x="107150" y="410948"/>
                  </a:cubicBezTo>
                  <a:cubicBezTo>
                    <a:pt x="111964" y="375224"/>
                    <a:pt x="29367" y="296300"/>
                    <a:pt x="8844" y="281099"/>
                  </a:cubicBezTo>
                  <a:cubicBezTo>
                    <a:pt x="-11551" y="265897"/>
                    <a:pt x="8211" y="238913"/>
                    <a:pt x="19359" y="228272"/>
                  </a:cubicBezTo>
                  <a:cubicBezTo>
                    <a:pt x="22653" y="225105"/>
                    <a:pt x="19993" y="218391"/>
                    <a:pt x="14292" y="210029"/>
                  </a:cubicBezTo>
                  <a:cubicBezTo>
                    <a:pt x="14292" y="210029"/>
                    <a:pt x="56477" y="188367"/>
                    <a:pt x="53057" y="162144"/>
                  </a:cubicBezTo>
                  <a:cubicBezTo>
                    <a:pt x="49636" y="135920"/>
                    <a:pt x="38742" y="98802"/>
                    <a:pt x="65978" y="80054"/>
                  </a:cubicBezTo>
                  <a:cubicBezTo>
                    <a:pt x="93215" y="61178"/>
                    <a:pt x="154529" y="56364"/>
                    <a:pt x="155036" y="39008"/>
                  </a:cubicBezTo>
                  <a:cubicBezTo>
                    <a:pt x="155543" y="22666"/>
                    <a:pt x="159470" y="-7611"/>
                    <a:pt x="174799" y="1763"/>
                  </a:cubicBezTo>
                  <a:cubicBezTo>
                    <a:pt x="175812" y="2270"/>
                    <a:pt x="176826" y="3030"/>
                    <a:pt x="177839" y="3917"/>
                  </a:cubicBezTo>
                  <a:cubicBezTo>
                    <a:pt x="195701" y="19246"/>
                    <a:pt x="194688" y="34068"/>
                    <a:pt x="204569" y="28114"/>
                  </a:cubicBezTo>
                  <a:cubicBezTo>
                    <a:pt x="214450" y="22160"/>
                    <a:pt x="259423" y="26087"/>
                    <a:pt x="250048" y="51930"/>
                  </a:cubicBezTo>
                  <a:cubicBezTo>
                    <a:pt x="240674" y="77647"/>
                    <a:pt x="230792" y="92468"/>
                    <a:pt x="258029" y="84614"/>
                  </a:cubicBezTo>
                  <a:cubicBezTo>
                    <a:pt x="285266" y="76760"/>
                    <a:pt x="299074" y="66752"/>
                    <a:pt x="314909" y="78153"/>
                  </a:cubicBezTo>
                  <a:cubicBezTo>
                    <a:pt x="327324" y="86894"/>
                    <a:pt x="342020" y="101589"/>
                    <a:pt x="342020" y="11362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89" name="Полилиния: фигура 688">
              <a:extLst>
                <a:ext uri="{FF2B5EF4-FFF2-40B4-BE49-F238E27FC236}">
                  <a16:creationId xmlns:a16="http://schemas.microsoft.com/office/drawing/2014/main" id="{630437FF-65BA-4FC7-AB7F-A4248567F132}"/>
                </a:ext>
              </a:extLst>
            </p:cNvPr>
            <p:cNvSpPr/>
            <p:nvPr/>
          </p:nvSpPr>
          <p:spPr>
            <a:xfrm>
              <a:off x="1706369" y="3293920"/>
              <a:ext cx="300190" cy="381821"/>
            </a:xfrm>
            <a:custGeom>
              <a:avLst/>
              <a:gdLst>
                <a:gd name="connsiteX0" fmla="*/ 297577 w 300190"/>
                <a:gd name="connsiteY0" fmla="*/ 269580 h 381821"/>
                <a:gd name="connsiteX1" fmla="*/ 247918 w 300190"/>
                <a:gd name="connsiteY1" fmla="*/ 292383 h 381821"/>
                <a:gd name="connsiteX2" fmla="*/ 212953 w 300190"/>
                <a:gd name="connsiteY2" fmla="*/ 340523 h 381821"/>
                <a:gd name="connsiteX3" fmla="*/ 144291 w 300190"/>
                <a:gd name="connsiteY3" fmla="*/ 381821 h 381821"/>
                <a:gd name="connsiteX4" fmla="*/ 103626 w 300190"/>
                <a:gd name="connsiteY4" fmla="*/ 354584 h 381821"/>
                <a:gd name="connsiteX5" fmla="*/ 98306 w 300190"/>
                <a:gd name="connsiteY5" fmla="*/ 302391 h 381821"/>
                <a:gd name="connsiteX6" fmla="*/ 97292 w 300190"/>
                <a:gd name="connsiteY6" fmla="*/ 197751 h 381821"/>
                <a:gd name="connsiteX7" fmla="*/ 61441 w 300190"/>
                <a:gd name="connsiteY7" fmla="*/ 178749 h 381821"/>
                <a:gd name="connsiteX8" fmla="*/ 52700 w 300190"/>
                <a:gd name="connsiteY8" fmla="*/ 149865 h 381821"/>
                <a:gd name="connsiteX9" fmla="*/ 40665 w 300190"/>
                <a:gd name="connsiteY9" fmla="*/ 121235 h 381821"/>
                <a:gd name="connsiteX10" fmla="*/ 8234 w 300190"/>
                <a:gd name="connsiteY10" fmla="*/ 100839 h 381821"/>
                <a:gd name="connsiteX11" fmla="*/ 0 w 300190"/>
                <a:gd name="connsiteY11" fmla="*/ 93745 h 381821"/>
                <a:gd name="connsiteX12" fmla="*/ 42565 w 300190"/>
                <a:gd name="connsiteY12" fmla="*/ 63468 h 381821"/>
                <a:gd name="connsiteX13" fmla="*/ 55107 w 300190"/>
                <a:gd name="connsiteY13" fmla="*/ 33064 h 381821"/>
                <a:gd name="connsiteX14" fmla="*/ 112494 w 300190"/>
                <a:gd name="connsiteY14" fmla="*/ 46239 h 381821"/>
                <a:gd name="connsiteX15" fmla="*/ 157846 w 300190"/>
                <a:gd name="connsiteY15" fmla="*/ 0 h 381821"/>
                <a:gd name="connsiteX16" fmla="*/ 216754 w 300190"/>
                <a:gd name="connsiteY16" fmla="*/ 25083 h 381821"/>
                <a:gd name="connsiteX17" fmla="*/ 243737 w 300190"/>
                <a:gd name="connsiteY17" fmla="*/ 62075 h 381821"/>
                <a:gd name="connsiteX18" fmla="*/ 248678 w 300190"/>
                <a:gd name="connsiteY18" fmla="*/ 69042 h 381821"/>
                <a:gd name="connsiteX19" fmla="*/ 245764 w 300190"/>
                <a:gd name="connsiteY19" fmla="*/ 155059 h 381821"/>
                <a:gd name="connsiteX20" fmla="*/ 297197 w 300190"/>
                <a:gd name="connsiteY20" fmla="*/ 249438 h 381821"/>
                <a:gd name="connsiteX21" fmla="*/ 297577 w 300190"/>
                <a:gd name="connsiteY21" fmla="*/ 269580 h 38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0190" h="381821">
                  <a:moveTo>
                    <a:pt x="297577" y="269580"/>
                  </a:moveTo>
                  <a:cubicBezTo>
                    <a:pt x="289216" y="281995"/>
                    <a:pt x="263120" y="284276"/>
                    <a:pt x="247918" y="292383"/>
                  </a:cubicBezTo>
                  <a:cubicBezTo>
                    <a:pt x="226762" y="303531"/>
                    <a:pt x="222834" y="322027"/>
                    <a:pt x="212953" y="340523"/>
                  </a:cubicBezTo>
                  <a:cubicBezTo>
                    <a:pt x="203072" y="358892"/>
                    <a:pt x="144291" y="381821"/>
                    <a:pt x="144291" y="381821"/>
                  </a:cubicBezTo>
                  <a:cubicBezTo>
                    <a:pt x="130230" y="373333"/>
                    <a:pt x="114774" y="365986"/>
                    <a:pt x="103626" y="354584"/>
                  </a:cubicBezTo>
                  <a:cubicBezTo>
                    <a:pt x="89184" y="339889"/>
                    <a:pt x="94125" y="320380"/>
                    <a:pt x="98306" y="302391"/>
                  </a:cubicBezTo>
                  <a:cubicBezTo>
                    <a:pt x="105527" y="271987"/>
                    <a:pt x="126429" y="223215"/>
                    <a:pt x="97292" y="197751"/>
                  </a:cubicBezTo>
                  <a:cubicBezTo>
                    <a:pt x="87158" y="188884"/>
                    <a:pt x="72969" y="185717"/>
                    <a:pt x="61441" y="178749"/>
                  </a:cubicBezTo>
                  <a:cubicBezTo>
                    <a:pt x="48139" y="170768"/>
                    <a:pt x="48773" y="164181"/>
                    <a:pt x="52700" y="149865"/>
                  </a:cubicBezTo>
                  <a:cubicBezTo>
                    <a:pt x="56627" y="135424"/>
                    <a:pt x="57007" y="124656"/>
                    <a:pt x="40665" y="121235"/>
                  </a:cubicBezTo>
                  <a:cubicBezTo>
                    <a:pt x="22930" y="117561"/>
                    <a:pt x="19889" y="114394"/>
                    <a:pt x="8234" y="100839"/>
                  </a:cubicBezTo>
                  <a:cubicBezTo>
                    <a:pt x="5321" y="97419"/>
                    <a:pt x="2660" y="95139"/>
                    <a:pt x="0" y="93745"/>
                  </a:cubicBezTo>
                  <a:cubicBezTo>
                    <a:pt x="10261" y="56754"/>
                    <a:pt x="30657" y="65495"/>
                    <a:pt x="42565" y="63468"/>
                  </a:cubicBezTo>
                  <a:cubicBezTo>
                    <a:pt x="54474" y="61441"/>
                    <a:pt x="53840" y="54854"/>
                    <a:pt x="55107" y="33064"/>
                  </a:cubicBezTo>
                  <a:cubicBezTo>
                    <a:pt x="56500" y="11275"/>
                    <a:pt x="93365" y="44339"/>
                    <a:pt x="112494" y="46239"/>
                  </a:cubicBezTo>
                  <a:cubicBezTo>
                    <a:pt x="129470" y="48013"/>
                    <a:pt x="141124" y="18242"/>
                    <a:pt x="157846" y="0"/>
                  </a:cubicBezTo>
                  <a:cubicBezTo>
                    <a:pt x="157846" y="0"/>
                    <a:pt x="204212" y="22423"/>
                    <a:pt x="216754" y="25083"/>
                  </a:cubicBezTo>
                  <a:cubicBezTo>
                    <a:pt x="229295" y="27743"/>
                    <a:pt x="227902" y="50800"/>
                    <a:pt x="243737" y="62075"/>
                  </a:cubicBezTo>
                  <a:cubicBezTo>
                    <a:pt x="245891" y="63595"/>
                    <a:pt x="247538" y="66002"/>
                    <a:pt x="248678" y="69042"/>
                  </a:cubicBezTo>
                  <a:cubicBezTo>
                    <a:pt x="256025" y="88171"/>
                    <a:pt x="245764" y="132890"/>
                    <a:pt x="245764" y="155059"/>
                  </a:cubicBezTo>
                  <a:cubicBezTo>
                    <a:pt x="245764" y="180776"/>
                    <a:pt x="283389" y="217767"/>
                    <a:pt x="297197" y="249438"/>
                  </a:cubicBezTo>
                  <a:cubicBezTo>
                    <a:pt x="301378" y="258432"/>
                    <a:pt x="300871" y="264767"/>
                    <a:pt x="297577" y="26958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0" name="Полилиния: фигура 689">
              <a:extLst>
                <a:ext uri="{FF2B5EF4-FFF2-40B4-BE49-F238E27FC236}">
                  <a16:creationId xmlns:a16="http://schemas.microsoft.com/office/drawing/2014/main" id="{DEEBA671-39B8-457B-9A9D-1A088C162ED1}"/>
                </a:ext>
              </a:extLst>
            </p:cNvPr>
            <p:cNvSpPr/>
            <p:nvPr/>
          </p:nvSpPr>
          <p:spPr>
            <a:xfrm>
              <a:off x="2250305" y="3821299"/>
              <a:ext cx="432137" cy="505969"/>
            </a:xfrm>
            <a:custGeom>
              <a:avLst/>
              <a:gdLst>
                <a:gd name="connsiteX0" fmla="*/ 405423 w 432137"/>
                <a:gd name="connsiteY0" fmla="*/ 410325 h 505969"/>
                <a:gd name="connsiteX1" fmla="*/ 389587 w 432137"/>
                <a:gd name="connsiteY1" fmla="*/ 450356 h 505969"/>
                <a:gd name="connsiteX2" fmla="*/ 356903 w 432137"/>
                <a:gd name="connsiteY2" fmla="*/ 459731 h 505969"/>
                <a:gd name="connsiteX3" fmla="*/ 315605 w 432137"/>
                <a:gd name="connsiteY3" fmla="*/ 505970 h 505969"/>
                <a:gd name="connsiteX4" fmla="*/ 310538 w 432137"/>
                <a:gd name="connsiteY4" fmla="*/ 494315 h 505969"/>
                <a:gd name="connsiteX5" fmla="*/ 303824 w 432137"/>
                <a:gd name="connsiteY5" fmla="*/ 481900 h 505969"/>
                <a:gd name="connsiteX6" fmla="*/ 292042 w 432137"/>
                <a:gd name="connsiteY6" fmla="*/ 469612 h 505969"/>
                <a:gd name="connsiteX7" fmla="*/ 273800 w 432137"/>
                <a:gd name="connsiteY7" fmla="*/ 447316 h 505969"/>
                <a:gd name="connsiteX8" fmla="*/ 244536 w 432137"/>
                <a:gd name="connsiteY8" fmla="*/ 459731 h 505969"/>
                <a:gd name="connsiteX9" fmla="*/ 210332 w 432137"/>
                <a:gd name="connsiteY9" fmla="*/ 452003 h 505969"/>
                <a:gd name="connsiteX10" fmla="*/ 205645 w 432137"/>
                <a:gd name="connsiteY10" fmla="*/ 431607 h 505969"/>
                <a:gd name="connsiteX11" fmla="*/ 192596 w 432137"/>
                <a:gd name="connsiteY11" fmla="*/ 417292 h 505969"/>
                <a:gd name="connsiteX12" fmla="*/ 173340 w 432137"/>
                <a:gd name="connsiteY12" fmla="*/ 409818 h 505969"/>
                <a:gd name="connsiteX13" fmla="*/ 151298 w 432137"/>
                <a:gd name="connsiteY13" fmla="*/ 410325 h 505969"/>
                <a:gd name="connsiteX14" fmla="*/ 131029 w 432137"/>
                <a:gd name="connsiteY14" fmla="*/ 385242 h 505969"/>
                <a:gd name="connsiteX15" fmla="*/ 125581 w 432137"/>
                <a:gd name="connsiteY15" fmla="*/ 364592 h 505969"/>
                <a:gd name="connsiteX16" fmla="*/ 111646 w 432137"/>
                <a:gd name="connsiteY16" fmla="*/ 347110 h 505969"/>
                <a:gd name="connsiteX17" fmla="*/ 95557 w 432137"/>
                <a:gd name="connsiteY17" fmla="*/ 347744 h 505969"/>
                <a:gd name="connsiteX18" fmla="*/ 80862 w 432137"/>
                <a:gd name="connsiteY18" fmla="*/ 347870 h 505969"/>
                <a:gd name="connsiteX19" fmla="*/ 48432 w 432137"/>
                <a:gd name="connsiteY19" fmla="*/ 322660 h 505969"/>
                <a:gd name="connsiteX20" fmla="*/ 22208 w 432137"/>
                <a:gd name="connsiteY20" fmla="*/ 301504 h 505969"/>
                <a:gd name="connsiteX21" fmla="*/ 4853 w 432137"/>
                <a:gd name="connsiteY21" fmla="*/ 301884 h 505969"/>
                <a:gd name="connsiteX22" fmla="*/ 926 w 432137"/>
                <a:gd name="connsiteY22" fmla="*/ 288456 h 505969"/>
                <a:gd name="connsiteX23" fmla="*/ 17394 w 432137"/>
                <a:gd name="connsiteY23" fmla="*/ 258179 h 505969"/>
                <a:gd name="connsiteX24" fmla="*/ 20435 w 432137"/>
                <a:gd name="connsiteY24" fmla="*/ 239303 h 505969"/>
                <a:gd name="connsiteX25" fmla="*/ 61860 w 432137"/>
                <a:gd name="connsiteY25" fmla="*/ 158860 h 505969"/>
                <a:gd name="connsiteX26" fmla="*/ 88590 w 432137"/>
                <a:gd name="connsiteY26" fmla="*/ 116801 h 505969"/>
                <a:gd name="connsiteX27" fmla="*/ 95051 w 432137"/>
                <a:gd name="connsiteY27" fmla="*/ 42566 h 505969"/>
                <a:gd name="connsiteX28" fmla="*/ 116840 w 432137"/>
                <a:gd name="connsiteY28" fmla="*/ 8868 h 505969"/>
                <a:gd name="connsiteX29" fmla="*/ 120260 w 432137"/>
                <a:gd name="connsiteY29" fmla="*/ 0 h 505969"/>
                <a:gd name="connsiteX30" fmla="*/ 154972 w 432137"/>
                <a:gd name="connsiteY30" fmla="*/ 45099 h 505969"/>
                <a:gd name="connsiteX31" fmla="*/ 177774 w 432137"/>
                <a:gd name="connsiteY31" fmla="*/ 65875 h 505969"/>
                <a:gd name="connsiteX32" fmla="*/ 239089 w 432137"/>
                <a:gd name="connsiteY32" fmla="*/ 100459 h 505969"/>
                <a:gd name="connsiteX33" fmla="*/ 257964 w 432137"/>
                <a:gd name="connsiteY33" fmla="*/ 161773 h 505969"/>
                <a:gd name="connsiteX34" fmla="*/ 292169 w 432137"/>
                <a:gd name="connsiteY34" fmla="*/ 207253 h 505969"/>
                <a:gd name="connsiteX35" fmla="*/ 311931 w 432137"/>
                <a:gd name="connsiteY35" fmla="*/ 193951 h 505969"/>
                <a:gd name="connsiteX36" fmla="*/ 339168 w 432137"/>
                <a:gd name="connsiteY36" fmla="*/ 201425 h 505969"/>
                <a:gd name="connsiteX37" fmla="*/ 342081 w 432137"/>
                <a:gd name="connsiteY37" fmla="*/ 237023 h 505969"/>
                <a:gd name="connsiteX38" fmla="*/ 352976 w 432137"/>
                <a:gd name="connsiteY38" fmla="*/ 262739 h 505969"/>
                <a:gd name="connsiteX39" fmla="*/ 399089 w 432137"/>
                <a:gd name="connsiteY39" fmla="*/ 266160 h 505969"/>
                <a:gd name="connsiteX40" fmla="*/ 402763 w 432137"/>
                <a:gd name="connsiteY40" fmla="*/ 266033 h 505969"/>
                <a:gd name="connsiteX41" fmla="*/ 403523 w 432137"/>
                <a:gd name="connsiteY41" fmla="*/ 266160 h 505969"/>
                <a:gd name="connsiteX42" fmla="*/ 404536 w 432137"/>
                <a:gd name="connsiteY42" fmla="*/ 266286 h 505969"/>
                <a:gd name="connsiteX43" fmla="*/ 405803 w 432137"/>
                <a:gd name="connsiteY43" fmla="*/ 266540 h 505969"/>
                <a:gd name="connsiteX44" fmla="*/ 407323 w 432137"/>
                <a:gd name="connsiteY44" fmla="*/ 267047 h 505969"/>
                <a:gd name="connsiteX45" fmla="*/ 408717 w 432137"/>
                <a:gd name="connsiteY45" fmla="*/ 267680 h 505969"/>
                <a:gd name="connsiteX46" fmla="*/ 411504 w 432137"/>
                <a:gd name="connsiteY46" fmla="*/ 269454 h 505969"/>
                <a:gd name="connsiteX47" fmla="*/ 413150 w 432137"/>
                <a:gd name="connsiteY47" fmla="*/ 270847 h 505969"/>
                <a:gd name="connsiteX48" fmla="*/ 414797 w 432137"/>
                <a:gd name="connsiteY48" fmla="*/ 272367 h 505969"/>
                <a:gd name="connsiteX49" fmla="*/ 415811 w 432137"/>
                <a:gd name="connsiteY49" fmla="*/ 273507 h 505969"/>
                <a:gd name="connsiteX50" fmla="*/ 417838 w 432137"/>
                <a:gd name="connsiteY50" fmla="*/ 275914 h 505969"/>
                <a:gd name="connsiteX51" fmla="*/ 418851 w 432137"/>
                <a:gd name="connsiteY51" fmla="*/ 277181 h 505969"/>
                <a:gd name="connsiteX52" fmla="*/ 421638 w 432137"/>
                <a:gd name="connsiteY52" fmla="*/ 281489 h 505969"/>
                <a:gd name="connsiteX53" fmla="*/ 421638 w 432137"/>
                <a:gd name="connsiteY53" fmla="*/ 281489 h 505969"/>
                <a:gd name="connsiteX54" fmla="*/ 431139 w 432137"/>
                <a:gd name="connsiteY54" fmla="*/ 304671 h 505969"/>
                <a:gd name="connsiteX55" fmla="*/ 402382 w 432137"/>
                <a:gd name="connsiteY55" fmla="*/ 327854 h 505969"/>
                <a:gd name="connsiteX56" fmla="*/ 405423 w 432137"/>
                <a:gd name="connsiteY56" fmla="*/ 410325 h 50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2137" h="505969">
                  <a:moveTo>
                    <a:pt x="405423" y="410325"/>
                  </a:moveTo>
                  <a:cubicBezTo>
                    <a:pt x="409350" y="435661"/>
                    <a:pt x="400482" y="438575"/>
                    <a:pt x="389587" y="450356"/>
                  </a:cubicBezTo>
                  <a:cubicBezTo>
                    <a:pt x="378693" y="462264"/>
                    <a:pt x="365898" y="461758"/>
                    <a:pt x="356903" y="459731"/>
                  </a:cubicBezTo>
                  <a:cubicBezTo>
                    <a:pt x="347909" y="457704"/>
                    <a:pt x="315605" y="505970"/>
                    <a:pt x="315605" y="505970"/>
                  </a:cubicBezTo>
                  <a:cubicBezTo>
                    <a:pt x="314085" y="502043"/>
                    <a:pt x="312311" y="498116"/>
                    <a:pt x="310538" y="494315"/>
                  </a:cubicBezTo>
                  <a:cubicBezTo>
                    <a:pt x="308511" y="490135"/>
                    <a:pt x="306484" y="485574"/>
                    <a:pt x="303824" y="481900"/>
                  </a:cubicBezTo>
                  <a:cubicBezTo>
                    <a:pt x="300403" y="477213"/>
                    <a:pt x="295716" y="473919"/>
                    <a:pt x="292042" y="469612"/>
                  </a:cubicBezTo>
                  <a:cubicBezTo>
                    <a:pt x="286215" y="462518"/>
                    <a:pt x="282034" y="452130"/>
                    <a:pt x="273800" y="447316"/>
                  </a:cubicBezTo>
                  <a:cubicBezTo>
                    <a:pt x="265819" y="442755"/>
                    <a:pt x="251124" y="455550"/>
                    <a:pt x="244536" y="459731"/>
                  </a:cubicBezTo>
                  <a:cubicBezTo>
                    <a:pt x="235161" y="465685"/>
                    <a:pt x="214512" y="464291"/>
                    <a:pt x="210332" y="452003"/>
                  </a:cubicBezTo>
                  <a:cubicBezTo>
                    <a:pt x="208051" y="445543"/>
                    <a:pt x="207925" y="438195"/>
                    <a:pt x="205645" y="431607"/>
                  </a:cubicBezTo>
                  <a:cubicBezTo>
                    <a:pt x="203491" y="425273"/>
                    <a:pt x="198170" y="420586"/>
                    <a:pt x="192596" y="417292"/>
                  </a:cubicBezTo>
                  <a:cubicBezTo>
                    <a:pt x="186769" y="413998"/>
                    <a:pt x="179928" y="410831"/>
                    <a:pt x="173340" y="409818"/>
                  </a:cubicBezTo>
                  <a:cubicBezTo>
                    <a:pt x="166119" y="408678"/>
                    <a:pt x="158519" y="410705"/>
                    <a:pt x="151298" y="410325"/>
                  </a:cubicBezTo>
                  <a:cubicBezTo>
                    <a:pt x="139009" y="409438"/>
                    <a:pt x="131535" y="396390"/>
                    <a:pt x="131029" y="385242"/>
                  </a:cubicBezTo>
                  <a:cubicBezTo>
                    <a:pt x="130648" y="378401"/>
                    <a:pt x="129255" y="370546"/>
                    <a:pt x="125581" y="364592"/>
                  </a:cubicBezTo>
                  <a:cubicBezTo>
                    <a:pt x="122034" y="359018"/>
                    <a:pt x="117347" y="350657"/>
                    <a:pt x="111646" y="347110"/>
                  </a:cubicBezTo>
                  <a:cubicBezTo>
                    <a:pt x="106452" y="343943"/>
                    <a:pt x="100751" y="345337"/>
                    <a:pt x="95557" y="347744"/>
                  </a:cubicBezTo>
                  <a:cubicBezTo>
                    <a:pt x="90237" y="350151"/>
                    <a:pt x="86436" y="350277"/>
                    <a:pt x="80862" y="347870"/>
                  </a:cubicBezTo>
                  <a:cubicBezTo>
                    <a:pt x="67434" y="342043"/>
                    <a:pt x="59453" y="331655"/>
                    <a:pt x="48432" y="322660"/>
                  </a:cubicBezTo>
                  <a:cubicBezTo>
                    <a:pt x="40577" y="316199"/>
                    <a:pt x="32343" y="304418"/>
                    <a:pt x="22208" y="301504"/>
                  </a:cubicBezTo>
                  <a:cubicBezTo>
                    <a:pt x="16381" y="299858"/>
                    <a:pt x="10427" y="304545"/>
                    <a:pt x="4853" y="301884"/>
                  </a:cubicBezTo>
                  <a:cubicBezTo>
                    <a:pt x="-595" y="299351"/>
                    <a:pt x="-721" y="293397"/>
                    <a:pt x="926" y="288456"/>
                  </a:cubicBezTo>
                  <a:cubicBezTo>
                    <a:pt x="4599" y="277181"/>
                    <a:pt x="12200" y="268567"/>
                    <a:pt x="17394" y="258179"/>
                  </a:cubicBezTo>
                  <a:cubicBezTo>
                    <a:pt x="20055" y="252858"/>
                    <a:pt x="23348" y="245131"/>
                    <a:pt x="20435" y="239303"/>
                  </a:cubicBezTo>
                  <a:cubicBezTo>
                    <a:pt x="78962" y="237530"/>
                    <a:pt x="64900" y="176722"/>
                    <a:pt x="61860" y="158860"/>
                  </a:cubicBezTo>
                  <a:cubicBezTo>
                    <a:pt x="58946" y="140998"/>
                    <a:pt x="72248" y="127189"/>
                    <a:pt x="88590" y="116801"/>
                  </a:cubicBezTo>
                  <a:cubicBezTo>
                    <a:pt x="104932" y="106413"/>
                    <a:pt x="97964" y="59414"/>
                    <a:pt x="95051" y="42566"/>
                  </a:cubicBezTo>
                  <a:cubicBezTo>
                    <a:pt x="92137" y="25717"/>
                    <a:pt x="105439" y="21789"/>
                    <a:pt x="116840" y="8868"/>
                  </a:cubicBezTo>
                  <a:cubicBezTo>
                    <a:pt x="119247" y="6207"/>
                    <a:pt x="120260" y="3167"/>
                    <a:pt x="120260" y="0"/>
                  </a:cubicBezTo>
                  <a:cubicBezTo>
                    <a:pt x="126848" y="18622"/>
                    <a:pt x="140783" y="32431"/>
                    <a:pt x="154972" y="45099"/>
                  </a:cubicBezTo>
                  <a:cubicBezTo>
                    <a:pt x="162952" y="52193"/>
                    <a:pt x="170933" y="58907"/>
                    <a:pt x="177774" y="65875"/>
                  </a:cubicBezTo>
                  <a:cubicBezTo>
                    <a:pt x="196650" y="85131"/>
                    <a:pt x="220213" y="90071"/>
                    <a:pt x="239089" y="100459"/>
                  </a:cubicBezTo>
                  <a:cubicBezTo>
                    <a:pt x="257964" y="110847"/>
                    <a:pt x="257331" y="144545"/>
                    <a:pt x="257964" y="161773"/>
                  </a:cubicBezTo>
                  <a:cubicBezTo>
                    <a:pt x="258471" y="179129"/>
                    <a:pt x="280261" y="200412"/>
                    <a:pt x="292169" y="207253"/>
                  </a:cubicBezTo>
                  <a:cubicBezTo>
                    <a:pt x="304077" y="214220"/>
                    <a:pt x="305977" y="198892"/>
                    <a:pt x="311931" y="193951"/>
                  </a:cubicBezTo>
                  <a:cubicBezTo>
                    <a:pt x="317885" y="188884"/>
                    <a:pt x="329287" y="196865"/>
                    <a:pt x="339168" y="201425"/>
                  </a:cubicBezTo>
                  <a:cubicBezTo>
                    <a:pt x="349049" y="205859"/>
                    <a:pt x="345629" y="218781"/>
                    <a:pt x="342081" y="237023"/>
                  </a:cubicBezTo>
                  <a:cubicBezTo>
                    <a:pt x="338661" y="255392"/>
                    <a:pt x="338661" y="251338"/>
                    <a:pt x="352976" y="262739"/>
                  </a:cubicBezTo>
                  <a:cubicBezTo>
                    <a:pt x="367418" y="274141"/>
                    <a:pt x="383127" y="268693"/>
                    <a:pt x="399089" y="266160"/>
                  </a:cubicBezTo>
                  <a:cubicBezTo>
                    <a:pt x="400356" y="266033"/>
                    <a:pt x="401622" y="265906"/>
                    <a:pt x="402763" y="266033"/>
                  </a:cubicBezTo>
                  <a:cubicBezTo>
                    <a:pt x="403016" y="266033"/>
                    <a:pt x="403269" y="266033"/>
                    <a:pt x="403523" y="266160"/>
                  </a:cubicBezTo>
                  <a:cubicBezTo>
                    <a:pt x="403903" y="266160"/>
                    <a:pt x="404156" y="266286"/>
                    <a:pt x="404536" y="266286"/>
                  </a:cubicBezTo>
                  <a:cubicBezTo>
                    <a:pt x="404916" y="266413"/>
                    <a:pt x="405423" y="266540"/>
                    <a:pt x="405803" y="266540"/>
                  </a:cubicBezTo>
                  <a:cubicBezTo>
                    <a:pt x="406310" y="266667"/>
                    <a:pt x="406816" y="266920"/>
                    <a:pt x="407323" y="267047"/>
                  </a:cubicBezTo>
                  <a:cubicBezTo>
                    <a:pt x="407830" y="267300"/>
                    <a:pt x="408337" y="267427"/>
                    <a:pt x="408717" y="267680"/>
                  </a:cubicBezTo>
                  <a:cubicBezTo>
                    <a:pt x="409730" y="268187"/>
                    <a:pt x="410617" y="268693"/>
                    <a:pt x="411504" y="269454"/>
                  </a:cubicBezTo>
                  <a:cubicBezTo>
                    <a:pt x="412010" y="269960"/>
                    <a:pt x="412644" y="270340"/>
                    <a:pt x="413150" y="270847"/>
                  </a:cubicBezTo>
                  <a:cubicBezTo>
                    <a:pt x="413657" y="271354"/>
                    <a:pt x="414291" y="271861"/>
                    <a:pt x="414797" y="272367"/>
                  </a:cubicBezTo>
                  <a:cubicBezTo>
                    <a:pt x="415177" y="272747"/>
                    <a:pt x="415557" y="273127"/>
                    <a:pt x="415811" y="273507"/>
                  </a:cubicBezTo>
                  <a:cubicBezTo>
                    <a:pt x="416571" y="274268"/>
                    <a:pt x="417204" y="275154"/>
                    <a:pt x="417838" y="275914"/>
                  </a:cubicBezTo>
                  <a:cubicBezTo>
                    <a:pt x="418218" y="276295"/>
                    <a:pt x="418471" y="276801"/>
                    <a:pt x="418851" y="277181"/>
                  </a:cubicBezTo>
                  <a:cubicBezTo>
                    <a:pt x="419738" y="278575"/>
                    <a:pt x="420751" y="279968"/>
                    <a:pt x="421638" y="281489"/>
                  </a:cubicBezTo>
                  <a:lnTo>
                    <a:pt x="421638" y="281489"/>
                  </a:lnTo>
                  <a:cubicBezTo>
                    <a:pt x="425692" y="288456"/>
                    <a:pt x="428859" y="296817"/>
                    <a:pt x="431139" y="304671"/>
                  </a:cubicBezTo>
                  <a:cubicBezTo>
                    <a:pt x="436587" y="323420"/>
                    <a:pt x="418724" y="321520"/>
                    <a:pt x="402382" y="327854"/>
                  </a:cubicBezTo>
                  <a:cubicBezTo>
                    <a:pt x="385534" y="334695"/>
                    <a:pt x="401369" y="385115"/>
                    <a:pt x="405423" y="41032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1" name="Полилиния: фигура 690">
              <a:extLst>
                <a:ext uri="{FF2B5EF4-FFF2-40B4-BE49-F238E27FC236}">
                  <a16:creationId xmlns:a16="http://schemas.microsoft.com/office/drawing/2014/main" id="{599EE5A1-53E9-4A5F-A760-FAD3ADD91FAD}"/>
                </a:ext>
              </a:extLst>
            </p:cNvPr>
            <p:cNvSpPr/>
            <p:nvPr/>
          </p:nvSpPr>
          <p:spPr>
            <a:xfrm>
              <a:off x="1952513" y="3302690"/>
              <a:ext cx="299794" cy="331768"/>
            </a:xfrm>
            <a:custGeom>
              <a:avLst/>
              <a:gdLst>
                <a:gd name="connsiteX0" fmla="*/ 292256 w 299794"/>
                <a:gd name="connsiteY0" fmla="*/ 155664 h 331768"/>
                <a:gd name="connsiteX1" fmla="*/ 270087 w 299794"/>
                <a:gd name="connsiteY1" fmla="*/ 182901 h 331768"/>
                <a:gd name="connsiteX2" fmla="*/ 259953 w 299794"/>
                <a:gd name="connsiteY2" fmla="*/ 201143 h 331768"/>
                <a:gd name="connsiteX3" fmla="*/ 209913 w 299794"/>
                <a:gd name="connsiteY3" fmla="*/ 291721 h 331768"/>
                <a:gd name="connsiteX4" fmla="*/ 182930 w 299794"/>
                <a:gd name="connsiteY4" fmla="*/ 288554 h 331768"/>
                <a:gd name="connsiteX5" fmla="*/ 122755 w 299794"/>
                <a:gd name="connsiteY5" fmla="*/ 329092 h 331768"/>
                <a:gd name="connsiteX6" fmla="*/ 51560 w 299794"/>
                <a:gd name="connsiteY6" fmla="*/ 260810 h 331768"/>
                <a:gd name="connsiteX7" fmla="*/ 51433 w 299794"/>
                <a:gd name="connsiteY7" fmla="*/ 240668 h 331768"/>
                <a:gd name="connsiteX8" fmla="*/ 0 w 299794"/>
                <a:gd name="connsiteY8" fmla="*/ 146289 h 331768"/>
                <a:gd name="connsiteX9" fmla="*/ 2914 w 299794"/>
                <a:gd name="connsiteY9" fmla="*/ 60272 h 331768"/>
                <a:gd name="connsiteX10" fmla="*/ 48773 w 299794"/>
                <a:gd name="connsiteY10" fmla="*/ 24294 h 331768"/>
                <a:gd name="connsiteX11" fmla="*/ 85131 w 299794"/>
                <a:gd name="connsiteY11" fmla="*/ 23661 h 331768"/>
                <a:gd name="connsiteX12" fmla="*/ 113508 w 299794"/>
                <a:gd name="connsiteY12" fmla="*/ 1745 h 331768"/>
                <a:gd name="connsiteX13" fmla="*/ 165574 w 299794"/>
                <a:gd name="connsiteY13" fmla="*/ 15553 h 331768"/>
                <a:gd name="connsiteX14" fmla="*/ 222961 w 299794"/>
                <a:gd name="connsiteY14" fmla="*/ 40003 h 331768"/>
                <a:gd name="connsiteX15" fmla="*/ 247791 w 299794"/>
                <a:gd name="connsiteY15" fmla="*/ 40256 h 331768"/>
                <a:gd name="connsiteX16" fmla="*/ 267807 w 299794"/>
                <a:gd name="connsiteY16" fmla="*/ 55838 h 331768"/>
                <a:gd name="connsiteX17" fmla="*/ 265146 w 299794"/>
                <a:gd name="connsiteY17" fmla="*/ 91436 h 331768"/>
                <a:gd name="connsiteX18" fmla="*/ 297450 w 299794"/>
                <a:gd name="connsiteY18" fmla="*/ 113225 h 331768"/>
                <a:gd name="connsiteX19" fmla="*/ 292256 w 299794"/>
                <a:gd name="connsiteY19" fmla="*/ 155664 h 33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99794" h="331768">
                  <a:moveTo>
                    <a:pt x="292256" y="155664"/>
                  </a:moveTo>
                  <a:cubicBezTo>
                    <a:pt x="284909" y="166305"/>
                    <a:pt x="276801" y="174160"/>
                    <a:pt x="270087" y="182901"/>
                  </a:cubicBezTo>
                  <a:cubicBezTo>
                    <a:pt x="266033" y="188348"/>
                    <a:pt x="262360" y="194175"/>
                    <a:pt x="259953" y="201143"/>
                  </a:cubicBezTo>
                  <a:cubicBezTo>
                    <a:pt x="253365" y="219639"/>
                    <a:pt x="234363" y="274239"/>
                    <a:pt x="209913" y="291721"/>
                  </a:cubicBezTo>
                  <a:cubicBezTo>
                    <a:pt x="208900" y="285007"/>
                    <a:pt x="201172" y="285387"/>
                    <a:pt x="182930" y="288554"/>
                  </a:cubicBezTo>
                  <a:cubicBezTo>
                    <a:pt x="160000" y="292481"/>
                    <a:pt x="140618" y="310343"/>
                    <a:pt x="122755" y="329092"/>
                  </a:cubicBezTo>
                  <a:cubicBezTo>
                    <a:pt x="104893" y="347968"/>
                    <a:pt x="51560" y="260810"/>
                    <a:pt x="51560" y="260810"/>
                  </a:cubicBezTo>
                  <a:cubicBezTo>
                    <a:pt x="54854" y="255997"/>
                    <a:pt x="55360" y="249536"/>
                    <a:pt x="51433" y="240668"/>
                  </a:cubicBezTo>
                  <a:cubicBezTo>
                    <a:pt x="37625" y="208997"/>
                    <a:pt x="0" y="172006"/>
                    <a:pt x="0" y="146289"/>
                  </a:cubicBezTo>
                  <a:cubicBezTo>
                    <a:pt x="0" y="124120"/>
                    <a:pt x="10261" y="79275"/>
                    <a:pt x="2914" y="60272"/>
                  </a:cubicBezTo>
                  <a:cubicBezTo>
                    <a:pt x="2914" y="60272"/>
                    <a:pt x="29644" y="18340"/>
                    <a:pt x="48773" y="24294"/>
                  </a:cubicBezTo>
                  <a:cubicBezTo>
                    <a:pt x="67902" y="30248"/>
                    <a:pt x="78417" y="39623"/>
                    <a:pt x="85131" y="23661"/>
                  </a:cubicBezTo>
                  <a:cubicBezTo>
                    <a:pt x="91718" y="7699"/>
                    <a:pt x="95012" y="-4716"/>
                    <a:pt x="113508" y="1745"/>
                  </a:cubicBezTo>
                  <a:cubicBezTo>
                    <a:pt x="132003" y="8332"/>
                    <a:pt x="144545" y="3772"/>
                    <a:pt x="165574" y="15553"/>
                  </a:cubicBezTo>
                  <a:cubicBezTo>
                    <a:pt x="186730" y="27461"/>
                    <a:pt x="196611" y="39369"/>
                    <a:pt x="222961" y="40003"/>
                  </a:cubicBezTo>
                  <a:cubicBezTo>
                    <a:pt x="231702" y="40256"/>
                    <a:pt x="240443" y="40003"/>
                    <a:pt x="247791" y="40256"/>
                  </a:cubicBezTo>
                  <a:cubicBezTo>
                    <a:pt x="262993" y="40763"/>
                    <a:pt x="273127" y="43423"/>
                    <a:pt x="267807" y="55838"/>
                  </a:cubicBezTo>
                  <a:cubicBezTo>
                    <a:pt x="259826" y="74334"/>
                    <a:pt x="248044" y="82822"/>
                    <a:pt x="265146" y="91436"/>
                  </a:cubicBezTo>
                  <a:cubicBezTo>
                    <a:pt x="282249" y="100050"/>
                    <a:pt x="296184" y="94096"/>
                    <a:pt x="297450" y="113225"/>
                  </a:cubicBezTo>
                  <a:cubicBezTo>
                    <a:pt x="298844" y="132481"/>
                    <a:pt x="304038" y="138435"/>
                    <a:pt x="292256" y="15566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2" name="Полилиния: фигура 691">
              <a:extLst>
                <a:ext uri="{FF2B5EF4-FFF2-40B4-BE49-F238E27FC236}">
                  <a16:creationId xmlns:a16="http://schemas.microsoft.com/office/drawing/2014/main" id="{84AC7110-0FD0-4FB0-B2BE-1A66AA93E601}"/>
                </a:ext>
              </a:extLst>
            </p:cNvPr>
            <p:cNvSpPr/>
            <p:nvPr/>
          </p:nvSpPr>
          <p:spPr>
            <a:xfrm>
              <a:off x="1864596" y="3081216"/>
              <a:ext cx="390862" cy="281872"/>
            </a:xfrm>
            <a:custGeom>
              <a:avLst/>
              <a:gdLst>
                <a:gd name="connsiteX0" fmla="*/ 387775 w 390862"/>
                <a:gd name="connsiteY0" fmla="*/ 171532 h 281872"/>
                <a:gd name="connsiteX1" fmla="*/ 335709 w 390862"/>
                <a:gd name="connsiteY1" fmla="*/ 261857 h 281872"/>
                <a:gd name="connsiteX2" fmla="*/ 310879 w 390862"/>
                <a:gd name="connsiteY2" fmla="*/ 261603 h 281872"/>
                <a:gd name="connsiteX3" fmla="*/ 253492 w 390862"/>
                <a:gd name="connsiteY3" fmla="*/ 237154 h 281872"/>
                <a:gd name="connsiteX4" fmla="*/ 201425 w 390862"/>
                <a:gd name="connsiteY4" fmla="*/ 223345 h 281872"/>
                <a:gd name="connsiteX5" fmla="*/ 173048 w 390862"/>
                <a:gd name="connsiteY5" fmla="*/ 245261 h 281872"/>
                <a:gd name="connsiteX6" fmla="*/ 136690 w 390862"/>
                <a:gd name="connsiteY6" fmla="*/ 245895 h 281872"/>
                <a:gd name="connsiteX7" fmla="*/ 90831 w 390862"/>
                <a:gd name="connsiteY7" fmla="*/ 281872 h 281872"/>
                <a:gd name="connsiteX8" fmla="*/ 85891 w 390862"/>
                <a:gd name="connsiteY8" fmla="*/ 274905 h 281872"/>
                <a:gd name="connsiteX9" fmla="*/ 58907 w 390862"/>
                <a:gd name="connsiteY9" fmla="*/ 237914 h 281872"/>
                <a:gd name="connsiteX10" fmla="*/ 0 w 390862"/>
                <a:gd name="connsiteY10" fmla="*/ 212831 h 281872"/>
                <a:gd name="connsiteX11" fmla="*/ 6841 w 390862"/>
                <a:gd name="connsiteY11" fmla="*/ 206243 h 281872"/>
                <a:gd name="connsiteX12" fmla="*/ 5574 w 390862"/>
                <a:gd name="connsiteY12" fmla="*/ 164058 h 281872"/>
                <a:gd name="connsiteX13" fmla="*/ 29390 w 390862"/>
                <a:gd name="connsiteY13" fmla="*/ 106671 h 281872"/>
                <a:gd name="connsiteX14" fmla="*/ 21663 w 390862"/>
                <a:gd name="connsiteY14" fmla="*/ 34082 h 281872"/>
                <a:gd name="connsiteX15" fmla="*/ 52067 w 390862"/>
                <a:gd name="connsiteY15" fmla="*/ 17106 h 281872"/>
                <a:gd name="connsiteX16" fmla="*/ 82977 w 390862"/>
                <a:gd name="connsiteY16" fmla="*/ 4 h 281872"/>
                <a:gd name="connsiteX17" fmla="*/ 109200 w 390862"/>
                <a:gd name="connsiteY17" fmla="*/ 20653 h 281872"/>
                <a:gd name="connsiteX18" fmla="*/ 181409 w 390862"/>
                <a:gd name="connsiteY18" fmla="*/ 68539 h 281872"/>
                <a:gd name="connsiteX19" fmla="*/ 219161 w 390862"/>
                <a:gd name="connsiteY19" fmla="*/ 58151 h 281872"/>
                <a:gd name="connsiteX20" fmla="*/ 246017 w 390862"/>
                <a:gd name="connsiteY20" fmla="*/ 60938 h 281872"/>
                <a:gd name="connsiteX21" fmla="*/ 310879 w 390862"/>
                <a:gd name="connsiteY21" fmla="*/ 46496 h 281872"/>
                <a:gd name="connsiteX22" fmla="*/ 327728 w 390862"/>
                <a:gd name="connsiteY22" fmla="*/ 94002 h 281872"/>
                <a:gd name="connsiteX23" fmla="*/ 387775 w 390862"/>
                <a:gd name="connsiteY23" fmla="*/ 171532 h 2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862" h="281872">
                  <a:moveTo>
                    <a:pt x="387775" y="171532"/>
                  </a:moveTo>
                  <a:cubicBezTo>
                    <a:pt x="369913" y="212197"/>
                    <a:pt x="334695" y="245388"/>
                    <a:pt x="335709" y="261857"/>
                  </a:cubicBezTo>
                  <a:cubicBezTo>
                    <a:pt x="328234" y="261603"/>
                    <a:pt x="319493" y="261857"/>
                    <a:pt x="310879" y="261603"/>
                  </a:cubicBezTo>
                  <a:cubicBezTo>
                    <a:pt x="284529" y="260970"/>
                    <a:pt x="274648" y="249062"/>
                    <a:pt x="253492" y="237154"/>
                  </a:cubicBezTo>
                  <a:cubicBezTo>
                    <a:pt x="232336" y="225245"/>
                    <a:pt x="219794" y="229933"/>
                    <a:pt x="201425" y="223345"/>
                  </a:cubicBezTo>
                  <a:cubicBezTo>
                    <a:pt x="182930" y="216758"/>
                    <a:pt x="179636" y="229299"/>
                    <a:pt x="173048" y="245261"/>
                  </a:cubicBezTo>
                  <a:cubicBezTo>
                    <a:pt x="166461" y="261223"/>
                    <a:pt x="155946" y="251849"/>
                    <a:pt x="136690" y="245895"/>
                  </a:cubicBezTo>
                  <a:cubicBezTo>
                    <a:pt x="117561" y="239941"/>
                    <a:pt x="90831" y="281872"/>
                    <a:pt x="90831" y="281872"/>
                  </a:cubicBezTo>
                  <a:cubicBezTo>
                    <a:pt x="89691" y="278832"/>
                    <a:pt x="88044" y="276425"/>
                    <a:pt x="85891" y="274905"/>
                  </a:cubicBezTo>
                  <a:cubicBezTo>
                    <a:pt x="70055" y="263757"/>
                    <a:pt x="71322" y="240574"/>
                    <a:pt x="58907" y="237914"/>
                  </a:cubicBezTo>
                  <a:cubicBezTo>
                    <a:pt x="46366" y="235253"/>
                    <a:pt x="0" y="212831"/>
                    <a:pt x="0" y="212831"/>
                  </a:cubicBezTo>
                  <a:cubicBezTo>
                    <a:pt x="2154" y="210424"/>
                    <a:pt x="4434" y="208143"/>
                    <a:pt x="6841" y="206243"/>
                  </a:cubicBezTo>
                  <a:cubicBezTo>
                    <a:pt x="27363" y="189774"/>
                    <a:pt x="17482" y="181793"/>
                    <a:pt x="5574" y="164058"/>
                  </a:cubicBezTo>
                  <a:cubicBezTo>
                    <a:pt x="-6334" y="146195"/>
                    <a:pt x="13428" y="125166"/>
                    <a:pt x="29390" y="106671"/>
                  </a:cubicBezTo>
                  <a:cubicBezTo>
                    <a:pt x="44972" y="88428"/>
                    <a:pt x="22169" y="35222"/>
                    <a:pt x="21663" y="34082"/>
                  </a:cubicBezTo>
                  <a:cubicBezTo>
                    <a:pt x="32051" y="30788"/>
                    <a:pt x="41805" y="24580"/>
                    <a:pt x="52067" y="17106"/>
                  </a:cubicBezTo>
                  <a:cubicBezTo>
                    <a:pt x="60681" y="10772"/>
                    <a:pt x="71576" y="257"/>
                    <a:pt x="82977" y="4"/>
                  </a:cubicBezTo>
                  <a:cubicBezTo>
                    <a:pt x="95265" y="-250"/>
                    <a:pt x="102993" y="11912"/>
                    <a:pt x="109200" y="20653"/>
                  </a:cubicBezTo>
                  <a:cubicBezTo>
                    <a:pt x="126936" y="45103"/>
                    <a:pt x="146952" y="74746"/>
                    <a:pt x="181409" y="68539"/>
                  </a:cubicBezTo>
                  <a:cubicBezTo>
                    <a:pt x="193698" y="66386"/>
                    <a:pt x="206366" y="62585"/>
                    <a:pt x="219161" y="58151"/>
                  </a:cubicBezTo>
                  <a:cubicBezTo>
                    <a:pt x="220428" y="57644"/>
                    <a:pt x="217261" y="70819"/>
                    <a:pt x="246017" y="60938"/>
                  </a:cubicBezTo>
                  <a:cubicBezTo>
                    <a:pt x="274648" y="51057"/>
                    <a:pt x="289596" y="34715"/>
                    <a:pt x="310879" y="46496"/>
                  </a:cubicBezTo>
                  <a:cubicBezTo>
                    <a:pt x="332162" y="58405"/>
                    <a:pt x="313413" y="78167"/>
                    <a:pt x="327728" y="94002"/>
                  </a:cubicBezTo>
                  <a:cubicBezTo>
                    <a:pt x="341663" y="109584"/>
                    <a:pt x="405511" y="130994"/>
                    <a:pt x="387775" y="17153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3" name="Полилиния: фигура 692">
              <a:extLst>
                <a:ext uri="{FF2B5EF4-FFF2-40B4-BE49-F238E27FC236}">
                  <a16:creationId xmlns:a16="http://schemas.microsoft.com/office/drawing/2014/main" id="{5224E0E3-9DCA-4CAA-838D-E806411236D5}"/>
                </a:ext>
              </a:extLst>
            </p:cNvPr>
            <p:cNvSpPr/>
            <p:nvPr/>
          </p:nvSpPr>
          <p:spPr>
            <a:xfrm>
              <a:off x="2155387" y="3462282"/>
              <a:ext cx="400095" cy="404115"/>
            </a:xfrm>
            <a:custGeom>
              <a:avLst/>
              <a:gdLst>
                <a:gd name="connsiteX0" fmla="*/ 399502 w 400095"/>
                <a:gd name="connsiteY0" fmla="*/ 247283 h 404115"/>
                <a:gd name="connsiteX1" fmla="*/ 398868 w 400095"/>
                <a:gd name="connsiteY1" fmla="*/ 249817 h 404115"/>
                <a:gd name="connsiteX2" fmla="*/ 397982 w 400095"/>
                <a:gd name="connsiteY2" fmla="*/ 252477 h 404115"/>
                <a:gd name="connsiteX3" fmla="*/ 395575 w 400095"/>
                <a:gd name="connsiteY3" fmla="*/ 257798 h 404115"/>
                <a:gd name="connsiteX4" fmla="*/ 395575 w 400095"/>
                <a:gd name="connsiteY4" fmla="*/ 257924 h 404115"/>
                <a:gd name="connsiteX5" fmla="*/ 389114 w 400095"/>
                <a:gd name="connsiteY5" fmla="*/ 268566 h 404115"/>
                <a:gd name="connsiteX6" fmla="*/ 386707 w 400095"/>
                <a:gd name="connsiteY6" fmla="*/ 271986 h 404115"/>
                <a:gd name="connsiteX7" fmla="*/ 384680 w 400095"/>
                <a:gd name="connsiteY7" fmla="*/ 274900 h 404115"/>
                <a:gd name="connsiteX8" fmla="*/ 384553 w 400095"/>
                <a:gd name="connsiteY8" fmla="*/ 275153 h 404115"/>
                <a:gd name="connsiteX9" fmla="*/ 376192 w 400095"/>
                <a:gd name="connsiteY9" fmla="*/ 286808 h 404115"/>
                <a:gd name="connsiteX10" fmla="*/ 340088 w 400095"/>
                <a:gd name="connsiteY10" fmla="*/ 338241 h 404115"/>
                <a:gd name="connsiteX11" fmla="*/ 298029 w 400095"/>
                <a:gd name="connsiteY11" fmla="*/ 339761 h 404115"/>
                <a:gd name="connsiteX12" fmla="*/ 294989 w 400095"/>
                <a:gd name="connsiteY12" fmla="*/ 371432 h 404115"/>
                <a:gd name="connsiteX13" fmla="*/ 270286 w 400095"/>
                <a:gd name="connsiteY13" fmla="*/ 363958 h 404115"/>
                <a:gd name="connsiteX14" fmla="*/ 249510 w 400095"/>
                <a:gd name="connsiteY14" fmla="*/ 404116 h 404115"/>
                <a:gd name="connsiteX15" fmla="*/ 214799 w 400095"/>
                <a:gd name="connsiteY15" fmla="*/ 359017 h 404115"/>
                <a:gd name="connsiteX16" fmla="*/ 187562 w 400095"/>
                <a:gd name="connsiteY16" fmla="*/ 323419 h 404115"/>
                <a:gd name="connsiteX17" fmla="*/ 130682 w 400095"/>
                <a:gd name="connsiteY17" fmla="*/ 329880 h 404115"/>
                <a:gd name="connsiteX18" fmla="*/ 122701 w 400095"/>
                <a:gd name="connsiteY18" fmla="*/ 297196 h 404115"/>
                <a:gd name="connsiteX19" fmla="*/ 77222 w 400095"/>
                <a:gd name="connsiteY19" fmla="*/ 273380 h 404115"/>
                <a:gd name="connsiteX20" fmla="*/ 50492 w 400095"/>
                <a:gd name="connsiteY20" fmla="*/ 249183 h 404115"/>
                <a:gd name="connsiteX21" fmla="*/ 47451 w 400095"/>
                <a:gd name="connsiteY21" fmla="*/ 247030 h 404115"/>
                <a:gd name="connsiteX22" fmla="*/ 10840 w 400095"/>
                <a:gd name="connsiteY22" fmla="*/ 196737 h 404115"/>
                <a:gd name="connsiteX23" fmla="*/ 6406 w 400095"/>
                <a:gd name="connsiteY23" fmla="*/ 138843 h 404115"/>
                <a:gd name="connsiteX24" fmla="*/ 6913 w 400095"/>
                <a:gd name="connsiteY24" fmla="*/ 132129 h 404115"/>
                <a:gd name="connsiteX25" fmla="*/ 56952 w 400095"/>
                <a:gd name="connsiteY25" fmla="*/ 41551 h 404115"/>
                <a:gd name="connsiteX26" fmla="*/ 67087 w 400095"/>
                <a:gd name="connsiteY26" fmla="*/ 23308 h 404115"/>
                <a:gd name="connsiteX27" fmla="*/ 125108 w 400095"/>
                <a:gd name="connsiteY27" fmla="*/ 5700 h 404115"/>
                <a:gd name="connsiteX28" fmla="*/ 185028 w 400095"/>
                <a:gd name="connsiteY28" fmla="*/ 23688 h 404115"/>
                <a:gd name="connsiteX29" fmla="*/ 235955 w 400095"/>
                <a:gd name="connsiteY29" fmla="*/ 42311 h 404115"/>
                <a:gd name="connsiteX30" fmla="*/ 271046 w 400095"/>
                <a:gd name="connsiteY30" fmla="*/ 25969 h 404115"/>
                <a:gd name="connsiteX31" fmla="*/ 315638 w 400095"/>
                <a:gd name="connsiteY31" fmla="*/ 52065 h 404115"/>
                <a:gd name="connsiteX32" fmla="*/ 322479 w 400095"/>
                <a:gd name="connsiteY32" fmla="*/ 56119 h 404115"/>
                <a:gd name="connsiteX33" fmla="*/ 342241 w 400095"/>
                <a:gd name="connsiteY33" fmla="*/ 100205 h 404115"/>
                <a:gd name="connsiteX34" fmla="*/ 370491 w 400095"/>
                <a:gd name="connsiteY34" fmla="*/ 147711 h 404115"/>
                <a:gd name="connsiteX35" fmla="*/ 387847 w 400095"/>
                <a:gd name="connsiteY35" fmla="*/ 188756 h 404115"/>
                <a:gd name="connsiteX36" fmla="*/ 387974 w 400095"/>
                <a:gd name="connsiteY36" fmla="*/ 203958 h 404115"/>
                <a:gd name="connsiteX37" fmla="*/ 397221 w 400095"/>
                <a:gd name="connsiteY37" fmla="*/ 232841 h 404115"/>
                <a:gd name="connsiteX38" fmla="*/ 398235 w 400095"/>
                <a:gd name="connsiteY38" fmla="*/ 234615 h 404115"/>
                <a:gd name="connsiteX39" fmla="*/ 398995 w 400095"/>
                <a:gd name="connsiteY39" fmla="*/ 236262 h 404115"/>
                <a:gd name="connsiteX40" fmla="*/ 399628 w 400095"/>
                <a:gd name="connsiteY40" fmla="*/ 238669 h 404115"/>
                <a:gd name="connsiteX41" fmla="*/ 399882 w 400095"/>
                <a:gd name="connsiteY41" fmla="*/ 239809 h 404115"/>
                <a:gd name="connsiteX42" fmla="*/ 399502 w 400095"/>
                <a:gd name="connsiteY42" fmla="*/ 247283 h 40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00095" h="404115">
                  <a:moveTo>
                    <a:pt x="399502" y="247283"/>
                  </a:moveTo>
                  <a:cubicBezTo>
                    <a:pt x="399248" y="248170"/>
                    <a:pt x="399122" y="248930"/>
                    <a:pt x="398868" y="249817"/>
                  </a:cubicBezTo>
                  <a:cubicBezTo>
                    <a:pt x="398615" y="250704"/>
                    <a:pt x="398235" y="251590"/>
                    <a:pt x="397982" y="252477"/>
                  </a:cubicBezTo>
                  <a:cubicBezTo>
                    <a:pt x="397221" y="254251"/>
                    <a:pt x="396461" y="256024"/>
                    <a:pt x="395575" y="257798"/>
                  </a:cubicBezTo>
                  <a:cubicBezTo>
                    <a:pt x="395575" y="257798"/>
                    <a:pt x="395575" y="257924"/>
                    <a:pt x="395575" y="257924"/>
                  </a:cubicBezTo>
                  <a:cubicBezTo>
                    <a:pt x="393801" y="261345"/>
                    <a:pt x="391521" y="264892"/>
                    <a:pt x="389114" y="268566"/>
                  </a:cubicBezTo>
                  <a:cubicBezTo>
                    <a:pt x="388354" y="269706"/>
                    <a:pt x="387594" y="270846"/>
                    <a:pt x="386707" y="271986"/>
                  </a:cubicBezTo>
                  <a:cubicBezTo>
                    <a:pt x="386074" y="273000"/>
                    <a:pt x="385313" y="273886"/>
                    <a:pt x="384680" y="274900"/>
                  </a:cubicBezTo>
                  <a:cubicBezTo>
                    <a:pt x="384680" y="275026"/>
                    <a:pt x="384553" y="275026"/>
                    <a:pt x="384553" y="275153"/>
                  </a:cubicBezTo>
                  <a:cubicBezTo>
                    <a:pt x="381893" y="278954"/>
                    <a:pt x="378979" y="282881"/>
                    <a:pt x="376192" y="286808"/>
                  </a:cubicBezTo>
                  <a:cubicBezTo>
                    <a:pt x="361877" y="307204"/>
                    <a:pt x="351489" y="329373"/>
                    <a:pt x="340088" y="338241"/>
                  </a:cubicBezTo>
                  <a:cubicBezTo>
                    <a:pt x="328686" y="346982"/>
                    <a:pt x="309431" y="346729"/>
                    <a:pt x="298029" y="339761"/>
                  </a:cubicBezTo>
                  <a:cubicBezTo>
                    <a:pt x="286628" y="332794"/>
                    <a:pt x="284094" y="350149"/>
                    <a:pt x="294989" y="371432"/>
                  </a:cubicBezTo>
                  <a:cubicBezTo>
                    <a:pt x="305884" y="392715"/>
                    <a:pt x="284601" y="373459"/>
                    <a:pt x="270286" y="363958"/>
                  </a:cubicBezTo>
                  <a:cubicBezTo>
                    <a:pt x="256224" y="354710"/>
                    <a:pt x="249763" y="402343"/>
                    <a:pt x="249510" y="404116"/>
                  </a:cubicBezTo>
                  <a:cubicBezTo>
                    <a:pt x="235321" y="391575"/>
                    <a:pt x="221386" y="377766"/>
                    <a:pt x="214799" y="359017"/>
                  </a:cubicBezTo>
                  <a:cubicBezTo>
                    <a:pt x="214799" y="346982"/>
                    <a:pt x="200104" y="332287"/>
                    <a:pt x="187562" y="323419"/>
                  </a:cubicBezTo>
                  <a:cubicBezTo>
                    <a:pt x="171727" y="312018"/>
                    <a:pt x="157918" y="321899"/>
                    <a:pt x="130682" y="329880"/>
                  </a:cubicBezTo>
                  <a:cubicBezTo>
                    <a:pt x="103445" y="337861"/>
                    <a:pt x="113326" y="322912"/>
                    <a:pt x="122701" y="297196"/>
                  </a:cubicBezTo>
                  <a:cubicBezTo>
                    <a:pt x="132075" y="271479"/>
                    <a:pt x="87103" y="267552"/>
                    <a:pt x="77222" y="273380"/>
                  </a:cubicBezTo>
                  <a:cubicBezTo>
                    <a:pt x="67340" y="279334"/>
                    <a:pt x="68354" y="264512"/>
                    <a:pt x="50492" y="249183"/>
                  </a:cubicBezTo>
                  <a:cubicBezTo>
                    <a:pt x="49478" y="248297"/>
                    <a:pt x="48465" y="247537"/>
                    <a:pt x="47451" y="247030"/>
                  </a:cubicBezTo>
                  <a:cubicBezTo>
                    <a:pt x="63666" y="193823"/>
                    <a:pt x="30222" y="200664"/>
                    <a:pt x="10840" y="196737"/>
                  </a:cubicBezTo>
                  <a:cubicBezTo>
                    <a:pt x="-8543" y="192810"/>
                    <a:pt x="3366" y="152144"/>
                    <a:pt x="6406" y="138843"/>
                  </a:cubicBezTo>
                  <a:cubicBezTo>
                    <a:pt x="7039" y="136056"/>
                    <a:pt x="7293" y="133902"/>
                    <a:pt x="6913" y="132129"/>
                  </a:cubicBezTo>
                  <a:cubicBezTo>
                    <a:pt x="31489" y="114520"/>
                    <a:pt x="50365" y="59920"/>
                    <a:pt x="56952" y="41551"/>
                  </a:cubicBezTo>
                  <a:cubicBezTo>
                    <a:pt x="59486" y="34457"/>
                    <a:pt x="63033" y="28629"/>
                    <a:pt x="67087" y="23308"/>
                  </a:cubicBezTo>
                  <a:cubicBezTo>
                    <a:pt x="110159" y="72968"/>
                    <a:pt x="115100" y="21155"/>
                    <a:pt x="125108" y="5700"/>
                  </a:cubicBezTo>
                  <a:cubicBezTo>
                    <a:pt x="134989" y="-9629"/>
                    <a:pt x="162225" y="9247"/>
                    <a:pt x="185028" y="23688"/>
                  </a:cubicBezTo>
                  <a:cubicBezTo>
                    <a:pt x="207831" y="38130"/>
                    <a:pt x="217712" y="41804"/>
                    <a:pt x="235955" y="42311"/>
                  </a:cubicBezTo>
                  <a:cubicBezTo>
                    <a:pt x="254197" y="42818"/>
                    <a:pt x="257744" y="36357"/>
                    <a:pt x="271046" y="25969"/>
                  </a:cubicBezTo>
                  <a:cubicBezTo>
                    <a:pt x="283081" y="16594"/>
                    <a:pt x="294482" y="38004"/>
                    <a:pt x="315638" y="52065"/>
                  </a:cubicBezTo>
                  <a:cubicBezTo>
                    <a:pt x="317792" y="53459"/>
                    <a:pt x="320072" y="54852"/>
                    <a:pt x="322479" y="56119"/>
                  </a:cubicBezTo>
                  <a:cubicBezTo>
                    <a:pt x="348195" y="69421"/>
                    <a:pt x="344268" y="81329"/>
                    <a:pt x="342241" y="100205"/>
                  </a:cubicBezTo>
                  <a:cubicBezTo>
                    <a:pt x="340214" y="118954"/>
                    <a:pt x="355163" y="128835"/>
                    <a:pt x="370491" y="147711"/>
                  </a:cubicBezTo>
                  <a:cubicBezTo>
                    <a:pt x="385820" y="166586"/>
                    <a:pt x="387847" y="165953"/>
                    <a:pt x="387847" y="188756"/>
                  </a:cubicBezTo>
                  <a:cubicBezTo>
                    <a:pt x="387847" y="194837"/>
                    <a:pt x="387847" y="199777"/>
                    <a:pt x="387974" y="203958"/>
                  </a:cubicBezTo>
                  <a:cubicBezTo>
                    <a:pt x="388480" y="215739"/>
                    <a:pt x="390254" y="222200"/>
                    <a:pt x="397221" y="232841"/>
                  </a:cubicBezTo>
                  <a:cubicBezTo>
                    <a:pt x="397602" y="233475"/>
                    <a:pt x="397982" y="233981"/>
                    <a:pt x="398235" y="234615"/>
                  </a:cubicBezTo>
                  <a:cubicBezTo>
                    <a:pt x="398488" y="235122"/>
                    <a:pt x="398742" y="235628"/>
                    <a:pt x="398995" y="236262"/>
                  </a:cubicBezTo>
                  <a:cubicBezTo>
                    <a:pt x="399248" y="237022"/>
                    <a:pt x="399502" y="237782"/>
                    <a:pt x="399628" y="238669"/>
                  </a:cubicBezTo>
                  <a:cubicBezTo>
                    <a:pt x="399755" y="239049"/>
                    <a:pt x="399755" y="239429"/>
                    <a:pt x="399882" y="239809"/>
                  </a:cubicBezTo>
                  <a:cubicBezTo>
                    <a:pt x="400262" y="242216"/>
                    <a:pt x="400135" y="244750"/>
                    <a:pt x="399502" y="24728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4" name="Полилиния: фигура 693">
              <a:extLst>
                <a:ext uri="{FF2B5EF4-FFF2-40B4-BE49-F238E27FC236}">
                  <a16:creationId xmlns:a16="http://schemas.microsoft.com/office/drawing/2014/main" id="{1AF2EC73-84F8-46C7-ABEC-A57C9E4FC879}"/>
                </a:ext>
              </a:extLst>
            </p:cNvPr>
            <p:cNvSpPr/>
            <p:nvPr/>
          </p:nvSpPr>
          <p:spPr>
            <a:xfrm>
              <a:off x="2083630" y="3018328"/>
              <a:ext cx="461504" cy="496272"/>
            </a:xfrm>
            <a:custGeom>
              <a:avLst/>
              <a:gdLst>
                <a:gd name="connsiteX0" fmla="*/ 461251 w 461504"/>
                <a:gd name="connsiteY0" fmla="*/ 187041 h 496272"/>
                <a:gd name="connsiteX1" fmla="*/ 460871 w 461504"/>
                <a:gd name="connsiteY1" fmla="*/ 188687 h 496272"/>
                <a:gd name="connsiteX2" fmla="*/ 460364 w 461504"/>
                <a:gd name="connsiteY2" fmla="*/ 190081 h 496272"/>
                <a:gd name="connsiteX3" fmla="*/ 460237 w 461504"/>
                <a:gd name="connsiteY3" fmla="*/ 190334 h 496272"/>
                <a:gd name="connsiteX4" fmla="*/ 459224 w 461504"/>
                <a:gd name="connsiteY4" fmla="*/ 192361 h 496272"/>
                <a:gd name="connsiteX5" fmla="*/ 458211 w 461504"/>
                <a:gd name="connsiteY5" fmla="*/ 194135 h 496272"/>
                <a:gd name="connsiteX6" fmla="*/ 457197 w 461504"/>
                <a:gd name="connsiteY6" fmla="*/ 195655 h 496272"/>
                <a:gd name="connsiteX7" fmla="*/ 455677 w 461504"/>
                <a:gd name="connsiteY7" fmla="*/ 197682 h 496272"/>
                <a:gd name="connsiteX8" fmla="*/ 452257 w 461504"/>
                <a:gd name="connsiteY8" fmla="*/ 201609 h 496272"/>
                <a:gd name="connsiteX9" fmla="*/ 449723 w 461504"/>
                <a:gd name="connsiteY9" fmla="*/ 204269 h 496272"/>
                <a:gd name="connsiteX10" fmla="*/ 432621 w 461504"/>
                <a:gd name="connsiteY10" fmla="*/ 219725 h 496272"/>
                <a:gd name="connsiteX11" fmla="*/ 425907 w 461504"/>
                <a:gd name="connsiteY11" fmla="*/ 225552 h 496272"/>
                <a:gd name="connsiteX12" fmla="*/ 386382 w 461504"/>
                <a:gd name="connsiteY12" fmla="*/ 243414 h 496272"/>
                <a:gd name="connsiteX13" fmla="*/ 375994 w 461504"/>
                <a:gd name="connsiteY13" fmla="*/ 284459 h 496272"/>
                <a:gd name="connsiteX14" fmla="*/ 355851 w 461504"/>
                <a:gd name="connsiteY14" fmla="*/ 315623 h 496272"/>
                <a:gd name="connsiteX15" fmla="*/ 357751 w 461504"/>
                <a:gd name="connsiteY15" fmla="*/ 356668 h 496272"/>
                <a:gd name="connsiteX16" fmla="*/ 361298 w 461504"/>
                <a:gd name="connsiteY16" fmla="*/ 404174 h 496272"/>
                <a:gd name="connsiteX17" fmla="*/ 403864 w 461504"/>
                <a:gd name="connsiteY17" fmla="*/ 394800 h 496272"/>
                <a:gd name="connsiteX18" fmla="*/ 403357 w 461504"/>
                <a:gd name="connsiteY18" fmla="*/ 412662 h 496272"/>
                <a:gd name="connsiteX19" fmla="*/ 405384 w 461504"/>
                <a:gd name="connsiteY19" fmla="*/ 444079 h 496272"/>
                <a:gd name="connsiteX20" fmla="*/ 387648 w 461504"/>
                <a:gd name="connsiteY20" fmla="*/ 496273 h 496272"/>
                <a:gd name="connsiteX21" fmla="*/ 343056 w 461504"/>
                <a:gd name="connsiteY21" fmla="*/ 470176 h 496272"/>
                <a:gd name="connsiteX22" fmla="*/ 307965 w 461504"/>
                <a:gd name="connsiteY22" fmla="*/ 486518 h 496272"/>
                <a:gd name="connsiteX23" fmla="*/ 257039 w 461504"/>
                <a:gd name="connsiteY23" fmla="*/ 467896 h 496272"/>
                <a:gd name="connsiteX24" fmla="*/ 197118 w 461504"/>
                <a:gd name="connsiteY24" fmla="*/ 449907 h 496272"/>
                <a:gd name="connsiteX25" fmla="*/ 139097 w 461504"/>
                <a:gd name="connsiteY25" fmla="*/ 467516 h 496272"/>
                <a:gd name="connsiteX26" fmla="*/ 161267 w 461504"/>
                <a:gd name="connsiteY26" fmla="*/ 440279 h 496272"/>
                <a:gd name="connsiteX27" fmla="*/ 166588 w 461504"/>
                <a:gd name="connsiteY27" fmla="*/ 397967 h 496272"/>
                <a:gd name="connsiteX28" fmla="*/ 134283 w 461504"/>
                <a:gd name="connsiteY28" fmla="*/ 376177 h 496272"/>
                <a:gd name="connsiteX29" fmla="*/ 136944 w 461504"/>
                <a:gd name="connsiteY29" fmla="*/ 340580 h 496272"/>
                <a:gd name="connsiteX30" fmla="*/ 116928 w 461504"/>
                <a:gd name="connsiteY30" fmla="*/ 324998 h 496272"/>
                <a:gd name="connsiteX31" fmla="*/ 168995 w 461504"/>
                <a:gd name="connsiteY31" fmla="*/ 234673 h 496272"/>
                <a:gd name="connsiteX32" fmla="*/ 108567 w 461504"/>
                <a:gd name="connsiteY32" fmla="*/ 157017 h 496272"/>
                <a:gd name="connsiteX33" fmla="*/ 91718 w 461504"/>
                <a:gd name="connsiteY33" fmla="*/ 109511 h 496272"/>
                <a:gd name="connsiteX34" fmla="*/ 26857 w 461504"/>
                <a:gd name="connsiteY34" fmla="*/ 123953 h 496272"/>
                <a:gd name="connsiteX35" fmla="*/ 0 w 461504"/>
                <a:gd name="connsiteY35" fmla="*/ 121166 h 496272"/>
                <a:gd name="connsiteX36" fmla="*/ 41552 w 461504"/>
                <a:gd name="connsiteY36" fmla="*/ 105330 h 496272"/>
                <a:gd name="connsiteX37" fmla="*/ 111734 w 461504"/>
                <a:gd name="connsiteY37" fmla="*/ 69352 h 496272"/>
                <a:gd name="connsiteX38" fmla="*/ 160633 w 461504"/>
                <a:gd name="connsiteY38" fmla="*/ 21086 h 496272"/>
                <a:gd name="connsiteX39" fmla="*/ 157340 w 461504"/>
                <a:gd name="connsiteY39" fmla="*/ 10319 h 496272"/>
                <a:gd name="connsiteX40" fmla="*/ 203959 w 461504"/>
                <a:gd name="connsiteY40" fmla="*/ 24380 h 496272"/>
                <a:gd name="connsiteX41" fmla="*/ 258432 w 461504"/>
                <a:gd name="connsiteY41" fmla="*/ 564 h 496272"/>
                <a:gd name="connsiteX42" fmla="*/ 254505 w 461504"/>
                <a:gd name="connsiteY42" fmla="*/ 64919 h 496272"/>
                <a:gd name="connsiteX43" fmla="*/ 297577 w 461504"/>
                <a:gd name="connsiteY43" fmla="*/ 91142 h 496272"/>
                <a:gd name="connsiteX44" fmla="*/ 345590 w 461504"/>
                <a:gd name="connsiteY44" fmla="*/ 115338 h 496272"/>
                <a:gd name="connsiteX45" fmla="*/ 392082 w 461504"/>
                <a:gd name="connsiteY45" fmla="*/ 133201 h 496272"/>
                <a:gd name="connsiteX46" fmla="*/ 453397 w 461504"/>
                <a:gd name="connsiteY46" fmla="*/ 175766 h 496272"/>
                <a:gd name="connsiteX47" fmla="*/ 459351 w 461504"/>
                <a:gd name="connsiteY47" fmla="*/ 179946 h 496272"/>
                <a:gd name="connsiteX48" fmla="*/ 459984 w 461504"/>
                <a:gd name="connsiteY48" fmla="*/ 180706 h 496272"/>
                <a:gd name="connsiteX49" fmla="*/ 460491 w 461504"/>
                <a:gd name="connsiteY49" fmla="*/ 181467 h 496272"/>
                <a:gd name="connsiteX50" fmla="*/ 461124 w 461504"/>
                <a:gd name="connsiteY50" fmla="*/ 182860 h 496272"/>
                <a:gd name="connsiteX51" fmla="*/ 461504 w 461504"/>
                <a:gd name="connsiteY51" fmla="*/ 184254 h 496272"/>
                <a:gd name="connsiteX52" fmla="*/ 461251 w 461504"/>
                <a:gd name="connsiteY52" fmla="*/ 187041 h 49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61504" h="496272">
                  <a:moveTo>
                    <a:pt x="461251" y="187041"/>
                  </a:moveTo>
                  <a:cubicBezTo>
                    <a:pt x="461124" y="187547"/>
                    <a:pt x="460998" y="188181"/>
                    <a:pt x="460871" y="188687"/>
                  </a:cubicBezTo>
                  <a:cubicBezTo>
                    <a:pt x="460744" y="189194"/>
                    <a:pt x="460618" y="189701"/>
                    <a:pt x="460364" y="190081"/>
                  </a:cubicBezTo>
                  <a:cubicBezTo>
                    <a:pt x="460364" y="190208"/>
                    <a:pt x="460237" y="190334"/>
                    <a:pt x="460237" y="190334"/>
                  </a:cubicBezTo>
                  <a:cubicBezTo>
                    <a:pt x="459984" y="190968"/>
                    <a:pt x="459604" y="191728"/>
                    <a:pt x="459224" y="192361"/>
                  </a:cubicBezTo>
                  <a:cubicBezTo>
                    <a:pt x="458971" y="192868"/>
                    <a:pt x="458591" y="193501"/>
                    <a:pt x="458211" y="194135"/>
                  </a:cubicBezTo>
                  <a:cubicBezTo>
                    <a:pt x="457957" y="194641"/>
                    <a:pt x="457577" y="195021"/>
                    <a:pt x="457197" y="195655"/>
                  </a:cubicBezTo>
                  <a:cubicBezTo>
                    <a:pt x="456690" y="196288"/>
                    <a:pt x="456184" y="197048"/>
                    <a:pt x="455677" y="197682"/>
                  </a:cubicBezTo>
                  <a:cubicBezTo>
                    <a:pt x="454664" y="198949"/>
                    <a:pt x="453523" y="200216"/>
                    <a:pt x="452257" y="201609"/>
                  </a:cubicBezTo>
                  <a:cubicBezTo>
                    <a:pt x="451497" y="202496"/>
                    <a:pt x="450610" y="203383"/>
                    <a:pt x="449723" y="204269"/>
                  </a:cubicBezTo>
                  <a:cubicBezTo>
                    <a:pt x="444402" y="209590"/>
                    <a:pt x="438195" y="214784"/>
                    <a:pt x="432621" y="219725"/>
                  </a:cubicBezTo>
                  <a:cubicBezTo>
                    <a:pt x="430214" y="221751"/>
                    <a:pt x="427934" y="223652"/>
                    <a:pt x="425907" y="225552"/>
                  </a:cubicBezTo>
                  <a:cubicBezTo>
                    <a:pt x="409058" y="240881"/>
                    <a:pt x="405131" y="233533"/>
                    <a:pt x="386382" y="243414"/>
                  </a:cubicBezTo>
                  <a:cubicBezTo>
                    <a:pt x="367506" y="253296"/>
                    <a:pt x="372573" y="266724"/>
                    <a:pt x="375994" y="284459"/>
                  </a:cubicBezTo>
                  <a:cubicBezTo>
                    <a:pt x="379541" y="302322"/>
                    <a:pt x="372573" y="302322"/>
                    <a:pt x="355851" y="315623"/>
                  </a:cubicBezTo>
                  <a:cubicBezTo>
                    <a:pt x="339129" y="328925"/>
                    <a:pt x="344323" y="335893"/>
                    <a:pt x="357751" y="356668"/>
                  </a:cubicBezTo>
                  <a:cubicBezTo>
                    <a:pt x="371180" y="377444"/>
                    <a:pt x="345337" y="384919"/>
                    <a:pt x="361298" y="404174"/>
                  </a:cubicBezTo>
                  <a:cubicBezTo>
                    <a:pt x="377134" y="423557"/>
                    <a:pt x="384481" y="394800"/>
                    <a:pt x="403864" y="394800"/>
                  </a:cubicBezTo>
                  <a:cubicBezTo>
                    <a:pt x="423246" y="394800"/>
                    <a:pt x="408804" y="402147"/>
                    <a:pt x="403357" y="412662"/>
                  </a:cubicBezTo>
                  <a:cubicBezTo>
                    <a:pt x="397910" y="423050"/>
                    <a:pt x="398923" y="423050"/>
                    <a:pt x="405384" y="444079"/>
                  </a:cubicBezTo>
                  <a:cubicBezTo>
                    <a:pt x="410578" y="460928"/>
                    <a:pt x="394236" y="486645"/>
                    <a:pt x="387648" y="496273"/>
                  </a:cubicBezTo>
                  <a:cubicBezTo>
                    <a:pt x="366492" y="482211"/>
                    <a:pt x="355091" y="460802"/>
                    <a:pt x="343056" y="470176"/>
                  </a:cubicBezTo>
                  <a:cubicBezTo>
                    <a:pt x="329755" y="480564"/>
                    <a:pt x="326208" y="487025"/>
                    <a:pt x="307965" y="486518"/>
                  </a:cubicBezTo>
                  <a:cubicBezTo>
                    <a:pt x="289596" y="486011"/>
                    <a:pt x="279715" y="482337"/>
                    <a:pt x="257039" y="467896"/>
                  </a:cubicBezTo>
                  <a:cubicBezTo>
                    <a:pt x="234236" y="453327"/>
                    <a:pt x="206999" y="434578"/>
                    <a:pt x="197118" y="449907"/>
                  </a:cubicBezTo>
                  <a:cubicBezTo>
                    <a:pt x="187237" y="465235"/>
                    <a:pt x="182169" y="517175"/>
                    <a:pt x="139097" y="467516"/>
                  </a:cubicBezTo>
                  <a:cubicBezTo>
                    <a:pt x="145812" y="458775"/>
                    <a:pt x="153919" y="450920"/>
                    <a:pt x="161267" y="440279"/>
                  </a:cubicBezTo>
                  <a:cubicBezTo>
                    <a:pt x="173175" y="423050"/>
                    <a:pt x="167854" y="417223"/>
                    <a:pt x="166588" y="397967"/>
                  </a:cubicBezTo>
                  <a:cubicBezTo>
                    <a:pt x="165194" y="378838"/>
                    <a:pt x="151386" y="384792"/>
                    <a:pt x="134283" y="376177"/>
                  </a:cubicBezTo>
                  <a:cubicBezTo>
                    <a:pt x="117181" y="367563"/>
                    <a:pt x="129089" y="358949"/>
                    <a:pt x="136944" y="340580"/>
                  </a:cubicBezTo>
                  <a:cubicBezTo>
                    <a:pt x="142265" y="328165"/>
                    <a:pt x="132130" y="325504"/>
                    <a:pt x="116928" y="324998"/>
                  </a:cubicBezTo>
                  <a:cubicBezTo>
                    <a:pt x="115915" y="308529"/>
                    <a:pt x="151132" y="275212"/>
                    <a:pt x="168995" y="234673"/>
                  </a:cubicBezTo>
                  <a:cubicBezTo>
                    <a:pt x="186857" y="194135"/>
                    <a:pt x="123009" y="172852"/>
                    <a:pt x="108567" y="157017"/>
                  </a:cubicBezTo>
                  <a:cubicBezTo>
                    <a:pt x="94252" y="141181"/>
                    <a:pt x="113001" y="121419"/>
                    <a:pt x="91718" y="109511"/>
                  </a:cubicBezTo>
                  <a:cubicBezTo>
                    <a:pt x="70436" y="97603"/>
                    <a:pt x="55614" y="113945"/>
                    <a:pt x="26857" y="123953"/>
                  </a:cubicBezTo>
                  <a:cubicBezTo>
                    <a:pt x="-1900" y="133834"/>
                    <a:pt x="1267" y="120659"/>
                    <a:pt x="0" y="121166"/>
                  </a:cubicBezTo>
                  <a:cubicBezTo>
                    <a:pt x="14315" y="116225"/>
                    <a:pt x="28504" y="110398"/>
                    <a:pt x="41552" y="105330"/>
                  </a:cubicBezTo>
                  <a:cubicBezTo>
                    <a:pt x="66255" y="95829"/>
                    <a:pt x="87284" y="79234"/>
                    <a:pt x="111734" y="69352"/>
                  </a:cubicBezTo>
                  <a:cubicBezTo>
                    <a:pt x="133523" y="60485"/>
                    <a:pt x="167094" y="51364"/>
                    <a:pt x="160633" y="21086"/>
                  </a:cubicBezTo>
                  <a:cubicBezTo>
                    <a:pt x="159873" y="17413"/>
                    <a:pt x="158733" y="13866"/>
                    <a:pt x="157340" y="10319"/>
                  </a:cubicBezTo>
                  <a:cubicBezTo>
                    <a:pt x="174442" y="8798"/>
                    <a:pt x="189517" y="19946"/>
                    <a:pt x="203959" y="24380"/>
                  </a:cubicBezTo>
                  <a:cubicBezTo>
                    <a:pt x="219794" y="29321"/>
                    <a:pt x="242090" y="7532"/>
                    <a:pt x="258432" y="564"/>
                  </a:cubicBezTo>
                  <a:cubicBezTo>
                    <a:pt x="274774" y="-6277"/>
                    <a:pt x="259446" y="51110"/>
                    <a:pt x="254505" y="64919"/>
                  </a:cubicBezTo>
                  <a:cubicBezTo>
                    <a:pt x="249565" y="78727"/>
                    <a:pt x="281235" y="91649"/>
                    <a:pt x="297577" y="91142"/>
                  </a:cubicBezTo>
                  <a:cubicBezTo>
                    <a:pt x="313919" y="90635"/>
                    <a:pt x="322787" y="101530"/>
                    <a:pt x="345590" y="115338"/>
                  </a:cubicBezTo>
                  <a:cubicBezTo>
                    <a:pt x="368393" y="129147"/>
                    <a:pt x="373840" y="121799"/>
                    <a:pt x="392082" y="133201"/>
                  </a:cubicBezTo>
                  <a:cubicBezTo>
                    <a:pt x="410451" y="144602"/>
                    <a:pt x="429707" y="164871"/>
                    <a:pt x="453397" y="175766"/>
                  </a:cubicBezTo>
                  <a:cubicBezTo>
                    <a:pt x="456184" y="177033"/>
                    <a:pt x="458084" y="178426"/>
                    <a:pt x="459351" y="179946"/>
                  </a:cubicBezTo>
                  <a:cubicBezTo>
                    <a:pt x="459604" y="180200"/>
                    <a:pt x="459731" y="180453"/>
                    <a:pt x="459984" y="180706"/>
                  </a:cubicBezTo>
                  <a:cubicBezTo>
                    <a:pt x="460237" y="180960"/>
                    <a:pt x="460364" y="181213"/>
                    <a:pt x="460491" y="181467"/>
                  </a:cubicBezTo>
                  <a:cubicBezTo>
                    <a:pt x="460744" y="181973"/>
                    <a:pt x="460871" y="182353"/>
                    <a:pt x="461124" y="182860"/>
                  </a:cubicBezTo>
                  <a:cubicBezTo>
                    <a:pt x="461251" y="183240"/>
                    <a:pt x="461378" y="183747"/>
                    <a:pt x="461504" y="184254"/>
                  </a:cubicBezTo>
                  <a:cubicBezTo>
                    <a:pt x="461504" y="185014"/>
                    <a:pt x="461504" y="186027"/>
                    <a:pt x="461251" y="1870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5" name="Полилиния: фигура 694">
              <a:extLst>
                <a:ext uri="{FF2B5EF4-FFF2-40B4-BE49-F238E27FC236}">
                  <a16:creationId xmlns:a16="http://schemas.microsoft.com/office/drawing/2014/main" id="{E43C0F2C-0B41-41C3-A94C-B264BB076BA0}"/>
                </a:ext>
              </a:extLst>
            </p:cNvPr>
            <p:cNvSpPr/>
            <p:nvPr/>
          </p:nvSpPr>
          <p:spPr>
            <a:xfrm>
              <a:off x="2404770" y="3737689"/>
              <a:ext cx="411429" cy="383341"/>
            </a:xfrm>
            <a:custGeom>
              <a:avLst/>
              <a:gdLst>
                <a:gd name="connsiteX0" fmla="*/ 408171 w 411429"/>
                <a:gd name="connsiteY0" fmla="*/ 276168 h 383341"/>
                <a:gd name="connsiteX1" fmla="*/ 385748 w 411429"/>
                <a:gd name="connsiteY1" fmla="*/ 336722 h 383341"/>
                <a:gd name="connsiteX2" fmla="*/ 349644 w 411429"/>
                <a:gd name="connsiteY2" fmla="*/ 383341 h 383341"/>
                <a:gd name="connsiteX3" fmla="*/ 266667 w 411429"/>
                <a:gd name="connsiteY3" fmla="*/ 365352 h 383341"/>
                <a:gd name="connsiteX4" fmla="*/ 266667 w 411429"/>
                <a:gd name="connsiteY4" fmla="*/ 365352 h 383341"/>
                <a:gd name="connsiteX5" fmla="*/ 263880 w 411429"/>
                <a:gd name="connsiteY5" fmla="*/ 361045 h 383341"/>
                <a:gd name="connsiteX6" fmla="*/ 262866 w 411429"/>
                <a:gd name="connsiteY6" fmla="*/ 359778 h 383341"/>
                <a:gd name="connsiteX7" fmla="*/ 260839 w 411429"/>
                <a:gd name="connsiteY7" fmla="*/ 357372 h 383341"/>
                <a:gd name="connsiteX8" fmla="*/ 259826 w 411429"/>
                <a:gd name="connsiteY8" fmla="*/ 356231 h 383341"/>
                <a:gd name="connsiteX9" fmla="*/ 258179 w 411429"/>
                <a:gd name="connsiteY9" fmla="*/ 354711 h 383341"/>
                <a:gd name="connsiteX10" fmla="*/ 256532 w 411429"/>
                <a:gd name="connsiteY10" fmla="*/ 353318 h 383341"/>
                <a:gd name="connsiteX11" fmla="*/ 253745 w 411429"/>
                <a:gd name="connsiteY11" fmla="*/ 351544 h 383341"/>
                <a:gd name="connsiteX12" fmla="*/ 252352 w 411429"/>
                <a:gd name="connsiteY12" fmla="*/ 350911 h 383341"/>
                <a:gd name="connsiteX13" fmla="*/ 250831 w 411429"/>
                <a:gd name="connsiteY13" fmla="*/ 350404 h 383341"/>
                <a:gd name="connsiteX14" fmla="*/ 249564 w 411429"/>
                <a:gd name="connsiteY14" fmla="*/ 350151 h 383341"/>
                <a:gd name="connsiteX15" fmla="*/ 248551 w 411429"/>
                <a:gd name="connsiteY15" fmla="*/ 350024 h 383341"/>
                <a:gd name="connsiteX16" fmla="*/ 247791 w 411429"/>
                <a:gd name="connsiteY16" fmla="*/ 349897 h 383341"/>
                <a:gd name="connsiteX17" fmla="*/ 244117 w 411429"/>
                <a:gd name="connsiteY17" fmla="*/ 350024 h 383341"/>
                <a:gd name="connsiteX18" fmla="*/ 198005 w 411429"/>
                <a:gd name="connsiteY18" fmla="*/ 346604 h 383341"/>
                <a:gd name="connsiteX19" fmla="*/ 187110 w 411429"/>
                <a:gd name="connsiteY19" fmla="*/ 320887 h 383341"/>
                <a:gd name="connsiteX20" fmla="*/ 184196 w 411429"/>
                <a:gd name="connsiteY20" fmla="*/ 285289 h 383341"/>
                <a:gd name="connsiteX21" fmla="*/ 156960 w 411429"/>
                <a:gd name="connsiteY21" fmla="*/ 277815 h 383341"/>
                <a:gd name="connsiteX22" fmla="*/ 137197 w 411429"/>
                <a:gd name="connsiteY22" fmla="*/ 291117 h 383341"/>
                <a:gd name="connsiteX23" fmla="*/ 102993 w 411429"/>
                <a:gd name="connsiteY23" fmla="*/ 245638 h 383341"/>
                <a:gd name="connsiteX24" fmla="*/ 84117 w 411429"/>
                <a:gd name="connsiteY24" fmla="*/ 184323 h 383341"/>
                <a:gd name="connsiteX25" fmla="*/ 22803 w 411429"/>
                <a:gd name="connsiteY25" fmla="*/ 149739 h 383341"/>
                <a:gd name="connsiteX26" fmla="*/ 0 w 411429"/>
                <a:gd name="connsiteY26" fmla="*/ 128963 h 383341"/>
                <a:gd name="connsiteX27" fmla="*/ 20776 w 411429"/>
                <a:gd name="connsiteY27" fmla="*/ 88805 h 383341"/>
                <a:gd name="connsiteX28" fmla="*/ 45479 w 411429"/>
                <a:gd name="connsiteY28" fmla="*/ 96279 h 383341"/>
                <a:gd name="connsiteX29" fmla="*/ 48519 w 411429"/>
                <a:gd name="connsiteY29" fmla="*/ 64608 h 383341"/>
                <a:gd name="connsiteX30" fmla="*/ 90578 w 411429"/>
                <a:gd name="connsiteY30" fmla="*/ 63088 h 383341"/>
                <a:gd name="connsiteX31" fmla="*/ 126683 w 411429"/>
                <a:gd name="connsiteY31" fmla="*/ 11655 h 383341"/>
                <a:gd name="connsiteX32" fmla="*/ 135044 w 411429"/>
                <a:gd name="connsiteY32" fmla="*/ 0 h 383341"/>
                <a:gd name="connsiteX33" fmla="*/ 167221 w 411429"/>
                <a:gd name="connsiteY33" fmla="*/ 51433 h 383341"/>
                <a:gd name="connsiteX34" fmla="*/ 226002 w 411429"/>
                <a:gd name="connsiteY34" fmla="*/ 75756 h 383341"/>
                <a:gd name="connsiteX35" fmla="*/ 215487 w 411429"/>
                <a:gd name="connsiteY35" fmla="*/ 114774 h 383341"/>
                <a:gd name="connsiteX36" fmla="*/ 222708 w 411429"/>
                <a:gd name="connsiteY36" fmla="*/ 146445 h 383341"/>
                <a:gd name="connsiteX37" fmla="*/ 228155 w 411429"/>
                <a:gd name="connsiteY37" fmla="*/ 180143 h 383341"/>
                <a:gd name="connsiteX38" fmla="*/ 249691 w 411429"/>
                <a:gd name="connsiteY38" fmla="*/ 211813 h 383341"/>
                <a:gd name="connsiteX39" fmla="*/ 332162 w 411429"/>
                <a:gd name="connsiteY39" fmla="*/ 211813 h 383341"/>
                <a:gd name="connsiteX40" fmla="*/ 373080 w 411429"/>
                <a:gd name="connsiteY40" fmla="*/ 187997 h 383341"/>
                <a:gd name="connsiteX41" fmla="*/ 376374 w 411429"/>
                <a:gd name="connsiteY41" fmla="*/ 227522 h 383341"/>
                <a:gd name="connsiteX42" fmla="*/ 396770 w 411429"/>
                <a:gd name="connsiteY42" fmla="*/ 239177 h 383341"/>
                <a:gd name="connsiteX43" fmla="*/ 408171 w 411429"/>
                <a:gd name="connsiteY43" fmla="*/ 276168 h 38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29" h="383341">
                  <a:moveTo>
                    <a:pt x="408171" y="276168"/>
                  </a:moveTo>
                  <a:cubicBezTo>
                    <a:pt x="394996" y="301251"/>
                    <a:pt x="397023" y="326587"/>
                    <a:pt x="385748" y="336722"/>
                  </a:cubicBezTo>
                  <a:cubicBezTo>
                    <a:pt x="374473" y="346857"/>
                    <a:pt x="352557" y="363199"/>
                    <a:pt x="349644" y="383341"/>
                  </a:cubicBezTo>
                  <a:cubicBezTo>
                    <a:pt x="317593" y="381694"/>
                    <a:pt x="268947" y="366112"/>
                    <a:pt x="266667" y="365352"/>
                  </a:cubicBezTo>
                  <a:lnTo>
                    <a:pt x="266667" y="365352"/>
                  </a:lnTo>
                  <a:cubicBezTo>
                    <a:pt x="265780" y="363832"/>
                    <a:pt x="264767" y="362439"/>
                    <a:pt x="263880" y="361045"/>
                  </a:cubicBezTo>
                  <a:cubicBezTo>
                    <a:pt x="263500" y="360665"/>
                    <a:pt x="263246" y="360158"/>
                    <a:pt x="262866" y="359778"/>
                  </a:cubicBezTo>
                  <a:cubicBezTo>
                    <a:pt x="262233" y="359018"/>
                    <a:pt x="261599" y="358132"/>
                    <a:pt x="260839" y="357372"/>
                  </a:cubicBezTo>
                  <a:cubicBezTo>
                    <a:pt x="260459" y="356991"/>
                    <a:pt x="260079" y="356611"/>
                    <a:pt x="259826" y="356231"/>
                  </a:cubicBezTo>
                  <a:cubicBezTo>
                    <a:pt x="259319" y="355725"/>
                    <a:pt x="258812" y="355218"/>
                    <a:pt x="258179" y="354711"/>
                  </a:cubicBezTo>
                  <a:cubicBezTo>
                    <a:pt x="257672" y="354205"/>
                    <a:pt x="257039" y="353824"/>
                    <a:pt x="256532" y="353318"/>
                  </a:cubicBezTo>
                  <a:cubicBezTo>
                    <a:pt x="255645" y="352684"/>
                    <a:pt x="254759" y="352051"/>
                    <a:pt x="253745" y="351544"/>
                  </a:cubicBezTo>
                  <a:cubicBezTo>
                    <a:pt x="253238" y="351291"/>
                    <a:pt x="252858" y="351164"/>
                    <a:pt x="252352" y="350911"/>
                  </a:cubicBezTo>
                  <a:cubicBezTo>
                    <a:pt x="251845" y="350657"/>
                    <a:pt x="251338" y="350531"/>
                    <a:pt x="250831" y="350404"/>
                  </a:cubicBezTo>
                  <a:cubicBezTo>
                    <a:pt x="250325" y="350277"/>
                    <a:pt x="249945" y="350151"/>
                    <a:pt x="249564" y="350151"/>
                  </a:cubicBezTo>
                  <a:cubicBezTo>
                    <a:pt x="249311" y="350024"/>
                    <a:pt x="248931" y="350024"/>
                    <a:pt x="248551" y="350024"/>
                  </a:cubicBezTo>
                  <a:cubicBezTo>
                    <a:pt x="248298" y="350024"/>
                    <a:pt x="248044" y="349897"/>
                    <a:pt x="247791" y="349897"/>
                  </a:cubicBezTo>
                  <a:cubicBezTo>
                    <a:pt x="246651" y="349771"/>
                    <a:pt x="245384" y="349771"/>
                    <a:pt x="244117" y="350024"/>
                  </a:cubicBezTo>
                  <a:cubicBezTo>
                    <a:pt x="228282" y="352558"/>
                    <a:pt x="212447" y="357878"/>
                    <a:pt x="198005" y="346604"/>
                  </a:cubicBezTo>
                  <a:cubicBezTo>
                    <a:pt x="183690" y="335202"/>
                    <a:pt x="183690" y="339256"/>
                    <a:pt x="187110" y="320887"/>
                  </a:cubicBezTo>
                  <a:cubicBezTo>
                    <a:pt x="190531" y="302518"/>
                    <a:pt x="194078" y="289723"/>
                    <a:pt x="184196" y="285289"/>
                  </a:cubicBezTo>
                  <a:cubicBezTo>
                    <a:pt x="174315" y="280855"/>
                    <a:pt x="162914" y="272874"/>
                    <a:pt x="156960" y="277815"/>
                  </a:cubicBezTo>
                  <a:cubicBezTo>
                    <a:pt x="151006" y="282755"/>
                    <a:pt x="149105" y="298084"/>
                    <a:pt x="137197" y="291117"/>
                  </a:cubicBezTo>
                  <a:cubicBezTo>
                    <a:pt x="125289" y="284149"/>
                    <a:pt x="103500" y="262866"/>
                    <a:pt x="102993" y="245638"/>
                  </a:cubicBezTo>
                  <a:cubicBezTo>
                    <a:pt x="102486" y="228282"/>
                    <a:pt x="102993" y="194711"/>
                    <a:pt x="84117" y="184323"/>
                  </a:cubicBezTo>
                  <a:cubicBezTo>
                    <a:pt x="65368" y="173935"/>
                    <a:pt x="41679" y="168994"/>
                    <a:pt x="22803" y="149739"/>
                  </a:cubicBezTo>
                  <a:cubicBezTo>
                    <a:pt x="15962" y="142771"/>
                    <a:pt x="7981" y="136057"/>
                    <a:pt x="0" y="128963"/>
                  </a:cubicBezTo>
                  <a:cubicBezTo>
                    <a:pt x="253" y="127189"/>
                    <a:pt x="6714" y="79557"/>
                    <a:pt x="20776" y="88805"/>
                  </a:cubicBezTo>
                  <a:cubicBezTo>
                    <a:pt x="35091" y="98179"/>
                    <a:pt x="56374" y="117561"/>
                    <a:pt x="45479" y="96279"/>
                  </a:cubicBezTo>
                  <a:cubicBezTo>
                    <a:pt x="34584" y="74996"/>
                    <a:pt x="37118" y="57641"/>
                    <a:pt x="48519" y="64608"/>
                  </a:cubicBezTo>
                  <a:cubicBezTo>
                    <a:pt x="59921" y="71576"/>
                    <a:pt x="79177" y="71829"/>
                    <a:pt x="90578" y="63088"/>
                  </a:cubicBezTo>
                  <a:cubicBezTo>
                    <a:pt x="101979" y="54220"/>
                    <a:pt x="112367" y="31924"/>
                    <a:pt x="126683" y="11655"/>
                  </a:cubicBezTo>
                  <a:cubicBezTo>
                    <a:pt x="129470" y="7728"/>
                    <a:pt x="132383" y="3801"/>
                    <a:pt x="135044" y="0"/>
                  </a:cubicBezTo>
                  <a:cubicBezTo>
                    <a:pt x="135044" y="0"/>
                    <a:pt x="146192" y="51433"/>
                    <a:pt x="167221" y="51433"/>
                  </a:cubicBezTo>
                  <a:cubicBezTo>
                    <a:pt x="188377" y="51433"/>
                    <a:pt x="239177" y="58654"/>
                    <a:pt x="226002" y="75756"/>
                  </a:cubicBezTo>
                  <a:cubicBezTo>
                    <a:pt x="212827" y="92985"/>
                    <a:pt x="206873" y="105400"/>
                    <a:pt x="215487" y="114774"/>
                  </a:cubicBezTo>
                  <a:cubicBezTo>
                    <a:pt x="223975" y="124022"/>
                    <a:pt x="226002" y="140491"/>
                    <a:pt x="222708" y="146445"/>
                  </a:cubicBezTo>
                  <a:cubicBezTo>
                    <a:pt x="219414" y="152399"/>
                    <a:pt x="211813" y="167601"/>
                    <a:pt x="228155" y="180143"/>
                  </a:cubicBezTo>
                  <a:cubicBezTo>
                    <a:pt x="244497" y="192684"/>
                    <a:pt x="227268" y="211813"/>
                    <a:pt x="249691" y="211813"/>
                  </a:cubicBezTo>
                  <a:cubicBezTo>
                    <a:pt x="272114" y="211813"/>
                    <a:pt x="313033" y="224355"/>
                    <a:pt x="332162" y="211813"/>
                  </a:cubicBezTo>
                  <a:cubicBezTo>
                    <a:pt x="351291" y="199272"/>
                    <a:pt x="360539" y="172795"/>
                    <a:pt x="373080" y="187997"/>
                  </a:cubicBezTo>
                  <a:cubicBezTo>
                    <a:pt x="385622" y="203199"/>
                    <a:pt x="361172" y="221694"/>
                    <a:pt x="376374" y="227522"/>
                  </a:cubicBezTo>
                  <a:cubicBezTo>
                    <a:pt x="382201" y="229802"/>
                    <a:pt x="390056" y="233729"/>
                    <a:pt x="396770" y="239177"/>
                  </a:cubicBezTo>
                  <a:cubicBezTo>
                    <a:pt x="408044" y="247918"/>
                    <a:pt x="416279" y="260713"/>
                    <a:pt x="408171" y="27616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6" name="Полилиния: фигура 695">
              <a:extLst>
                <a:ext uri="{FF2B5EF4-FFF2-40B4-BE49-F238E27FC236}">
                  <a16:creationId xmlns:a16="http://schemas.microsoft.com/office/drawing/2014/main" id="{3B92028E-24E7-41C9-92C3-2171717A191F}"/>
                </a:ext>
              </a:extLst>
            </p:cNvPr>
            <p:cNvSpPr/>
            <p:nvPr/>
          </p:nvSpPr>
          <p:spPr>
            <a:xfrm>
              <a:off x="2565910" y="4082813"/>
              <a:ext cx="473792" cy="371028"/>
            </a:xfrm>
            <a:custGeom>
              <a:avLst/>
              <a:gdLst>
                <a:gd name="connsiteX0" fmla="*/ 473792 w 473792"/>
                <a:gd name="connsiteY0" fmla="*/ 246356 h 371028"/>
                <a:gd name="connsiteX1" fmla="*/ 438068 w 473792"/>
                <a:gd name="connsiteY1" fmla="*/ 278787 h 371028"/>
                <a:gd name="connsiteX2" fmla="*/ 394869 w 473792"/>
                <a:gd name="connsiteY2" fmla="*/ 315144 h 371028"/>
                <a:gd name="connsiteX3" fmla="*/ 350024 w 473792"/>
                <a:gd name="connsiteY3" fmla="*/ 296016 h 371028"/>
                <a:gd name="connsiteX4" fmla="*/ 297197 w 473792"/>
                <a:gd name="connsiteY4" fmla="*/ 338581 h 371028"/>
                <a:gd name="connsiteX5" fmla="*/ 286049 w 473792"/>
                <a:gd name="connsiteY5" fmla="*/ 354796 h 371028"/>
                <a:gd name="connsiteX6" fmla="*/ 263626 w 473792"/>
                <a:gd name="connsiteY6" fmla="*/ 328066 h 371028"/>
                <a:gd name="connsiteX7" fmla="*/ 305178 w 473792"/>
                <a:gd name="connsiteY7" fmla="*/ 262445 h 371028"/>
                <a:gd name="connsiteX8" fmla="*/ 293270 w 473792"/>
                <a:gd name="connsiteY8" fmla="*/ 247623 h 371028"/>
                <a:gd name="connsiteX9" fmla="*/ 266287 w 473792"/>
                <a:gd name="connsiteY9" fmla="*/ 228367 h 371028"/>
                <a:gd name="connsiteX10" fmla="*/ 233223 w 473792"/>
                <a:gd name="connsiteY10" fmla="*/ 254844 h 371028"/>
                <a:gd name="connsiteX11" fmla="*/ 221694 w 473792"/>
                <a:gd name="connsiteY11" fmla="*/ 243316 h 371028"/>
                <a:gd name="connsiteX12" fmla="*/ 191037 w 473792"/>
                <a:gd name="connsiteY12" fmla="*/ 228367 h 371028"/>
                <a:gd name="connsiteX13" fmla="*/ 150879 w 473792"/>
                <a:gd name="connsiteY13" fmla="*/ 291708 h 371028"/>
                <a:gd name="connsiteX14" fmla="*/ 166714 w 473792"/>
                <a:gd name="connsiteY14" fmla="*/ 327053 h 371028"/>
                <a:gd name="connsiteX15" fmla="*/ 151892 w 473792"/>
                <a:gd name="connsiteY15" fmla="*/ 338454 h 371028"/>
                <a:gd name="connsiteX16" fmla="*/ 139477 w 473792"/>
                <a:gd name="connsiteY16" fmla="*/ 349982 h 371028"/>
                <a:gd name="connsiteX17" fmla="*/ 138717 w 473792"/>
                <a:gd name="connsiteY17" fmla="*/ 343268 h 371028"/>
                <a:gd name="connsiteX18" fmla="*/ 138337 w 473792"/>
                <a:gd name="connsiteY18" fmla="*/ 341748 h 371028"/>
                <a:gd name="connsiteX19" fmla="*/ 137451 w 473792"/>
                <a:gd name="connsiteY19" fmla="*/ 338961 h 371028"/>
                <a:gd name="connsiteX20" fmla="*/ 137071 w 473792"/>
                <a:gd name="connsiteY20" fmla="*/ 338074 h 371028"/>
                <a:gd name="connsiteX21" fmla="*/ 136437 w 473792"/>
                <a:gd name="connsiteY21" fmla="*/ 336807 h 371028"/>
                <a:gd name="connsiteX22" fmla="*/ 135677 w 473792"/>
                <a:gd name="connsiteY22" fmla="*/ 335540 h 371028"/>
                <a:gd name="connsiteX23" fmla="*/ 133777 w 473792"/>
                <a:gd name="connsiteY23" fmla="*/ 333007 h 371028"/>
                <a:gd name="connsiteX24" fmla="*/ 98812 w 473792"/>
                <a:gd name="connsiteY24" fmla="*/ 319452 h 371028"/>
                <a:gd name="connsiteX25" fmla="*/ 81584 w 473792"/>
                <a:gd name="connsiteY25" fmla="*/ 303236 h 371028"/>
                <a:gd name="connsiteX26" fmla="*/ 70689 w 473792"/>
                <a:gd name="connsiteY26" fmla="*/ 288921 h 371028"/>
                <a:gd name="connsiteX27" fmla="*/ 51813 w 473792"/>
                <a:gd name="connsiteY27" fmla="*/ 294749 h 371028"/>
                <a:gd name="connsiteX28" fmla="*/ 32938 w 473792"/>
                <a:gd name="connsiteY28" fmla="*/ 293609 h 371028"/>
                <a:gd name="connsiteX29" fmla="*/ 11528 w 473792"/>
                <a:gd name="connsiteY29" fmla="*/ 274099 h 371028"/>
                <a:gd name="connsiteX30" fmla="*/ 0 w 473792"/>
                <a:gd name="connsiteY30" fmla="*/ 244456 h 371028"/>
                <a:gd name="connsiteX31" fmla="*/ 41298 w 473792"/>
                <a:gd name="connsiteY31" fmla="*/ 198217 h 371028"/>
                <a:gd name="connsiteX32" fmla="*/ 73983 w 473792"/>
                <a:gd name="connsiteY32" fmla="*/ 188842 h 371028"/>
                <a:gd name="connsiteX33" fmla="*/ 89818 w 473792"/>
                <a:gd name="connsiteY33" fmla="*/ 148811 h 371028"/>
                <a:gd name="connsiteX34" fmla="*/ 86398 w 473792"/>
                <a:gd name="connsiteY34" fmla="*/ 66720 h 371028"/>
                <a:gd name="connsiteX35" fmla="*/ 115154 w 473792"/>
                <a:gd name="connsiteY35" fmla="*/ 43537 h 371028"/>
                <a:gd name="connsiteX36" fmla="*/ 105653 w 473792"/>
                <a:gd name="connsiteY36" fmla="*/ 20354 h 371028"/>
                <a:gd name="connsiteX37" fmla="*/ 188630 w 473792"/>
                <a:gd name="connsiteY37" fmla="*/ 38343 h 371028"/>
                <a:gd name="connsiteX38" fmla="*/ 213080 w 473792"/>
                <a:gd name="connsiteY38" fmla="*/ 34163 h 371028"/>
                <a:gd name="connsiteX39" fmla="*/ 259953 w 473792"/>
                <a:gd name="connsiteY39" fmla="*/ 7813 h 371028"/>
                <a:gd name="connsiteX40" fmla="*/ 262233 w 473792"/>
                <a:gd name="connsiteY40" fmla="*/ 38470 h 371028"/>
                <a:gd name="connsiteX41" fmla="*/ 274521 w 473792"/>
                <a:gd name="connsiteY41" fmla="*/ 74068 h 371028"/>
                <a:gd name="connsiteX42" fmla="*/ 315820 w 473792"/>
                <a:gd name="connsiteY42" fmla="*/ 87876 h 371028"/>
                <a:gd name="connsiteX43" fmla="*/ 334569 w 473792"/>
                <a:gd name="connsiteY43" fmla="*/ 117900 h 371028"/>
                <a:gd name="connsiteX44" fmla="*/ 372446 w 473792"/>
                <a:gd name="connsiteY44" fmla="*/ 127401 h 371028"/>
                <a:gd name="connsiteX45" fmla="*/ 396516 w 473792"/>
                <a:gd name="connsiteY45" fmla="*/ 144250 h 371028"/>
                <a:gd name="connsiteX46" fmla="*/ 436421 w 473792"/>
                <a:gd name="connsiteY46" fmla="*/ 115493 h 371028"/>
                <a:gd name="connsiteX47" fmla="*/ 446682 w 473792"/>
                <a:gd name="connsiteY47" fmla="*/ 156158 h 371028"/>
                <a:gd name="connsiteX48" fmla="*/ 466445 w 473792"/>
                <a:gd name="connsiteY48" fmla="*/ 182508 h 371028"/>
                <a:gd name="connsiteX49" fmla="*/ 473792 w 473792"/>
                <a:gd name="connsiteY49" fmla="*/ 246356 h 371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73792" h="371028">
                  <a:moveTo>
                    <a:pt x="473792" y="246356"/>
                  </a:moveTo>
                  <a:cubicBezTo>
                    <a:pt x="468599" y="242176"/>
                    <a:pt x="454790" y="271819"/>
                    <a:pt x="438068" y="278787"/>
                  </a:cubicBezTo>
                  <a:cubicBezTo>
                    <a:pt x="419192" y="286768"/>
                    <a:pt x="404117" y="300956"/>
                    <a:pt x="394869" y="315144"/>
                  </a:cubicBezTo>
                  <a:cubicBezTo>
                    <a:pt x="385622" y="329333"/>
                    <a:pt x="358892" y="323125"/>
                    <a:pt x="350024" y="296016"/>
                  </a:cubicBezTo>
                  <a:cubicBezTo>
                    <a:pt x="341156" y="268905"/>
                    <a:pt x="252985" y="270299"/>
                    <a:pt x="297197" y="338581"/>
                  </a:cubicBezTo>
                  <a:cubicBezTo>
                    <a:pt x="341409" y="406863"/>
                    <a:pt x="290610" y="344535"/>
                    <a:pt x="286049" y="354796"/>
                  </a:cubicBezTo>
                  <a:cubicBezTo>
                    <a:pt x="281362" y="365057"/>
                    <a:pt x="289343" y="318185"/>
                    <a:pt x="263626" y="328066"/>
                  </a:cubicBezTo>
                  <a:cubicBezTo>
                    <a:pt x="237910" y="337947"/>
                    <a:pt x="289090" y="281194"/>
                    <a:pt x="305178" y="262445"/>
                  </a:cubicBezTo>
                  <a:cubicBezTo>
                    <a:pt x="321393" y="243696"/>
                    <a:pt x="299604" y="247876"/>
                    <a:pt x="293270" y="247623"/>
                  </a:cubicBezTo>
                  <a:cubicBezTo>
                    <a:pt x="287063" y="247243"/>
                    <a:pt x="278702" y="237108"/>
                    <a:pt x="266287" y="228367"/>
                  </a:cubicBezTo>
                  <a:cubicBezTo>
                    <a:pt x="253745" y="219752"/>
                    <a:pt x="237276" y="241035"/>
                    <a:pt x="233223" y="254844"/>
                  </a:cubicBezTo>
                  <a:cubicBezTo>
                    <a:pt x="229295" y="268779"/>
                    <a:pt x="221694" y="255477"/>
                    <a:pt x="221694" y="243316"/>
                  </a:cubicBezTo>
                  <a:cubicBezTo>
                    <a:pt x="221694" y="231027"/>
                    <a:pt x="213333" y="229380"/>
                    <a:pt x="191037" y="228367"/>
                  </a:cubicBezTo>
                  <a:cubicBezTo>
                    <a:pt x="168741" y="227353"/>
                    <a:pt x="153159" y="270679"/>
                    <a:pt x="150879" y="291708"/>
                  </a:cubicBezTo>
                  <a:cubicBezTo>
                    <a:pt x="148599" y="312737"/>
                    <a:pt x="154806" y="319452"/>
                    <a:pt x="166714" y="327053"/>
                  </a:cubicBezTo>
                  <a:cubicBezTo>
                    <a:pt x="178622" y="334780"/>
                    <a:pt x="164307" y="333513"/>
                    <a:pt x="151892" y="338454"/>
                  </a:cubicBezTo>
                  <a:cubicBezTo>
                    <a:pt x="139604" y="343395"/>
                    <a:pt x="139477" y="349982"/>
                    <a:pt x="139477" y="349982"/>
                  </a:cubicBezTo>
                  <a:cubicBezTo>
                    <a:pt x="139477" y="347702"/>
                    <a:pt x="139224" y="345422"/>
                    <a:pt x="138717" y="343268"/>
                  </a:cubicBezTo>
                  <a:cubicBezTo>
                    <a:pt x="138591" y="342761"/>
                    <a:pt x="138464" y="342255"/>
                    <a:pt x="138337" y="341748"/>
                  </a:cubicBezTo>
                  <a:cubicBezTo>
                    <a:pt x="138084" y="340734"/>
                    <a:pt x="137831" y="339848"/>
                    <a:pt x="137451" y="338961"/>
                  </a:cubicBezTo>
                  <a:cubicBezTo>
                    <a:pt x="137324" y="338708"/>
                    <a:pt x="137197" y="338454"/>
                    <a:pt x="137071" y="338074"/>
                  </a:cubicBezTo>
                  <a:cubicBezTo>
                    <a:pt x="136817" y="337694"/>
                    <a:pt x="136691" y="337187"/>
                    <a:pt x="136437" y="336807"/>
                  </a:cubicBezTo>
                  <a:cubicBezTo>
                    <a:pt x="136184" y="336301"/>
                    <a:pt x="135930" y="335920"/>
                    <a:pt x="135677" y="335540"/>
                  </a:cubicBezTo>
                  <a:cubicBezTo>
                    <a:pt x="135170" y="334654"/>
                    <a:pt x="134537" y="333894"/>
                    <a:pt x="133777" y="333007"/>
                  </a:cubicBezTo>
                  <a:cubicBezTo>
                    <a:pt x="125162" y="323379"/>
                    <a:pt x="109961" y="324772"/>
                    <a:pt x="98812" y="319452"/>
                  </a:cubicBezTo>
                  <a:cubicBezTo>
                    <a:pt x="91338" y="315778"/>
                    <a:pt x="85384" y="310711"/>
                    <a:pt x="81584" y="303236"/>
                  </a:cubicBezTo>
                  <a:cubicBezTo>
                    <a:pt x="78923" y="298043"/>
                    <a:pt x="77150" y="290568"/>
                    <a:pt x="70689" y="288921"/>
                  </a:cubicBezTo>
                  <a:cubicBezTo>
                    <a:pt x="63975" y="287148"/>
                    <a:pt x="57514" y="292215"/>
                    <a:pt x="51813" y="294749"/>
                  </a:cubicBezTo>
                  <a:cubicBezTo>
                    <a:pt x="45099" y="297789"/>
                    <a:pt x="39398" y="297029"/>
                    <a:pt x="32938" y="293609"/>
                  </a:cubicBezTo>
                  <a:cubicBezTo>
                    <a:pt x="24196" y="289048"/>
                    <a:pt x="15962" y="283094"/>
                    <a:pt x="11528" y="274099"/>
                  </a:cubicBezTo>
                  <a:cubicBezTo>
                    <a:pt x="6841" y="264725"/>
                    <a:pt x="3927" y="254210"/>
                    <a:pt x="0" y="244456"/>
                  </a:cubicBezTo>
                  <a:cubicBezTo>
                    <a:pt x="0" y="244456"/>
                    <a:pt x="32431" y="196190"/>
                    <a:pt x="41298" y="198217"/>
                  </a:cubicBezTo>
                  <a:cubicBezTo>
                    <a:pt x="50166" y="200244"/>
                    <a:pt x="63088" y="200750"/>
                    <a:pt x="73983" y="188842"/>
                  </a:cubicBezTo>
                  <a:cubicBezTo>
                    <a:pt x="84877" y="176934"/>
                    <a:pt x="93745" y="174020"/>
                    <a:pt x="89818" y="148811"/>
                  </a:cubicBezTo>
                  <a:cubicBezTo>
                    <a:pt x="85891" y="123600"/>
                    <a:pt x="70055" y="73054"/>
                    <a:pt x="86398" y="66720"/>
                  </a:cubicBezTo>
                  <a:cubicBezTo>
                    <a:pt x="102740" y="60259"/>
                    <a:pt x="120602" y="62286"/>
                    <a:pt x="115154" y="43537"/>
                  </a:cubicBezTo>
                  <a:cubicBezTo>
                    <a:pt x="112874" y="35683"/>
                    <a:pt x="109707" y="27322"/>
                    <a:pt x="105653" y="20354"/>
                  </a:cubicBezTo>
                  <a:cubicBezTo>
                    <a:pt x="107934" y="21114"/>
                    <a:pt x="156580" y="36696"/>
                    <a:pt x="188630" y="38343"/>
                  </a:cubicBezTo>
                  <a:cubicBezTo>
                    <a:pt x="199525" y="38977"/>
                    <a:pt x="208519" y="37837"/>
                    <a:pt x="213080" y="34163"/>
                  </a:cubicBezTo>
                  <a:cubicBezTo>
                    <a:pt x="231829" y="18961"/>
                    <a:pt x="256025" y="-15370"/>
                    <a:pt x="259953" y="7813"/>
                  </a:cubicBezTo>
                  <a:cubicBezTo>
                    <a:pt x="261473" y="16427"/>
                    <a:pt x="261599" y="27702"/>
                    <a:pt x="262233" y="38470"/>
                  </a:cubicBezTo>
                  <a:cubicBezTo>
                    <a:pt x="263120" y="56712"/>
                    <a:pt x="264766" y="73688"/>
                    <a:pt x="274521" y="74068"/>
                  </a:cubicBezTo>
                  <a:cubicBezTo>
                    <a:pt x="290103" y="74701"/>
                    <a:pt x="311512" y="73434"/>
                    <a:pt x="315820" y="87876"/>
                  </a:cubicBezTo>
                  <a:cubicBezTo>
                    <a:pt x="320127" y="102445"/>
                    <a:pt x="315439" y="117900"/>
                    <a:pt x="334569" y="117900"/>
                  </a:cubicBezTo>
                  <a:cubicBezTo>
                    <a:pt x="353698" y="117900"/>
                    <a:pt x="362565" y="114986"/>
                    <a:pt x="372446" y="127401"/>
                  </a:cubicBezTo>
                  <a:cubicBezTo>
                    <a:pt x="382328" y="139943"/>
                    <a:pt x="380681" y="159452"/>
                    <a:pt x="396516" y="144250"/>
                  </a:cubicBezTo>
                  <a:cubicBezTo>
                    <a:pt x="412352" y="129048"/>
                    <a:pt x="420586" y="118913"/>
                    <a:pt x="436421" y="115493"/>
                  </a:cubicBezTo>
                  <a:cubicBezTo>
                    <a:pt x="452257" y="112199"/>
                    <a:pt x="428567" y="150457"/>
                    <a:pt x="446682" y="156158"/>
                  </a:cubicBezTo>
                  <a:cubicBezTo>
                    <a:pt x="464798" y="161732"/>
                    <a:pt x="477720" y="173260"/>
                    <a:pt x="466445" y="182508"/>
                  </a:cubicBezTo>
                  <a:cubicBezTo>
                    <a:pt x="455297" y="191629"/>
                    <a:pt x="457957" y="230267"/>
                    <a:pt x="473792" y="24635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7" name="Полилиния: фигура 696">
              <a:extLst>
                <a:ext uri="{FF2B5EF4-FFF2-40B4-BE49-F238E27FC236}">
                  <a16:creationId xmlns:a16="http://schemas.microsoft.com/office/drawing/2014/main" id="{58C8039D-E6E4-4D77-91B9-8D67AA22640B}"/>
                </a:ext>
              </a:extLst>
            </p:cNvPr>
            <p:cNvSpPr/>
            <p:nvPr/>
          </p:nvSpPr>
          <p:spPr>
            <a:xfrm>
              <a:off x="2754287" y="3874671"/>
              <a:ext cx="297694" cy="258384"/>
            </a:xfrm>
            <a:custGeom>
              <a:avLst/>
              <a:gdLst>
                <a:gd name="connsiteX0" fmla="*/ 290863 w 297694"/>
                <a:gd name="connsiteY0" fmla="*/ 137285 h 258384"/>
                <a:gd name="connsiteX1" fmla="*/ 290610 w 297694"/>
                <a:gd name="connsiteY1" fmla="*/ 142226 h 258384"/>
                <a:gd name="connsiteX2" fmla="*/ 226002 w 297694"/>
                <a:gd name="connsiteY2" fmla="*/ 151600 h 258384"/>
                <a:gd name="connsiteX3" fmla="*/ 202185 w 297694"/>
                <a:gd name="connsiteY3" fmla="*/ 167436 h 258384"/>
                <a:gd name="connsiteX4" fmla="*/ 216627 w 297694"/>
                <a:gd name="connsiteY4" fmla="*/ 205060 h 258384"/>
                <a:gd name="connsiteX5" fmla="*/ 146825 w 297694"/>
                <a:gd name="connsiteY5" fmla="*/ 254086 h 258384"/>
                <a:gd name="connsiteX6" fmla="*/ 130483 w 297694"/>
                <a:gd name="connsiteY6" fmla="*/ 238758 h 258384"/>
                <a:gd name="connsiteX7" fmla="*/ 101346 w 297694"/>
                <a:gd name="connsiteY7" fmla="*/ 231030 h 258384"/>
                <a:gd name="connsiteX8" fmla="*/ 73603 w 297694"/>
                <a:gd name="connsiteY8" fmla="*/ 246486 h 258384"/>
                <a:gd name="connsiteX9" fmla="*/ 71322 w 297694"/>
                <a:gd name="connsiteY9" fmla="*/ 215828 h 258384"/>
                <a:gd name="connsiteX10" fmla="*/ 24450 w 297694"/>
                <a:gd name="connsiteY10" fmla="*/ 242178 h 258384"/>
                <a:gd name="connsiteX11" fmla="*/ 0 w 297694"/>
                <a:gd name="connsiteY11" fmla="*/ 246359 h 258384"/>
                <a:gd name="connsiteX12" fmla="*/ 36105 w 297694"/>
                <a:gd name="connsiteY12" fmla="*/ 199740 h 258384"/>
                <a:gd name="connsiteX13" fmla="*/ 58527 w 297694"/>
                <a:gd name="connsiteY13" fmla="*/ 139186 h 258384"/>
                <a:gd name="connsiteX14" fmla="*/ 47253 w 297694"/>
                <a:gd name="connsiteY14" fmla="*/ 102067 h 258384"/>
                <a:gd name="connsiteX15" fmla="*/ 104640 w 297694"/>
                <a:gd name="connsiteY15" fmla="*/ 105614 h 258384"/>
                <a:gd name="connsiteX16" fmla="*/ 141251 w 297694"/>
                <a:gd name="connsiteY16" fmla="*/ 60642 h 258384"/>
                <a:gd name="connsiteX17" fmla="*/ 171401 w 297694"/>
                <a:gd name="connsiteY17" fmla="*/ 44300 h 258384"/>
                <a:gd name="connsiteX18" fmla="*/ 200538 w 297694"/>
                <a:gd name="connsiteY18" fmla="*/ 9082 h 258384"/>
                <a:gd name="connsiteX19" fmla="*/ 204972 w 297694"/>
                <a:gd name="connsiteY19" fmla="*/ 2368 h 258384"/>
                <a:gd name="connsiteX20" fmla="*/ 272747 w 297694"/>
                <a:gd name="connsiteY20" fmla="*/ 11616 h 258384"/>
                <a:gd name="connsiteX21" fmla="*/ 285542 w 297694"/>
                <a:gd name="connsiteY21" fmla="*/ 72424 h 258384"/>
                <a:gd name="connsiteX22" fmla="*/ 290863 w 297694"/>
                <a:gd name="connsiteY22" fmla="*/ 137285 h 25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7694" h="258384">
                  <a:moveTo>
                    <a:pt x="290863" y="137285"/>
                  </a:moveTo>
                  <a:cubicBezTo>
                    <a:pt x="291750" y="139312"/>
                    <a:pt x="291623" y="140959"/>
                    <a:pt x="290610" y="142226"/>
                  </a:cubicBezTo>
                  <a:cubicBezTo>
                    <a:pt x="283896" y="151474"/>
                    <a:pt x="238543" y="146406"/>
                    <a:pt x="226002" y="151600"/>
                  </a:cubicBezTo>
                  <a:cubicBezTo>
                    <a:pt x="211687" y="157554"/>
                    <a:pt x="204719" y="155527"/>
                    <a:pt x="202185" y="167436"/>
                  </a:cubicBezTo>
                  <a:cubicBezTo>
                    <a:pt x="199778" y="179344"/>
                    <a:pt x="214600" y="188212"/>
                    <a:pt x="216627" y="205060"/>
                  </a:cubicBezTo>
                  <a:cubicBezTo>
                    <a:pt x="218654" y="221909"/>
                    <a:pt x="163674" y="242685"/>
                    <a:pt x="146825" y="254086"/>
                  </a:cubicBezTo>
                  <a:cubicBezTo>
                    <a:pt x="130103" y="265488"/>
                    <a:pt x="128963" y="252060"/>
                    <a:pt x="130483" y="238758"/>
                  </a:cubicBezTo>
                  <a:cubicBezTo>
                    <a:pt x="132003" y="225330"/>
                    <a:pt x="116675" y="230397"/>
                    <a:pt x="101346" y="231030"/>
                  </a:cubicBezTo>
                  <a:cubicBezTo>
                    <a:pt x="86144" y="231664"/>
                    <a:pt x="73603" y="246486"/>
                    <a:pt x="73603" y="246486"/>
                  </a:cubicBezTo>
                  <a:cubicBezTo>
                    <a:pt x="73096" y="235718"/>
                    <a:pt x="72842" y="224443"/>
                    <a:pt x="71322" y="215828"/>
                  </a:cubicBezTo>
                  <a:cubicBezTo>
                    <a:pt x="67395" y="192772"/>
                    <a:pt x="43326" y="227103"/>
                    <a:pt x="24450" y="242178"/>
                  </a:cubicBezTo>
                  <a:cubicBezTo>
                    <a:pt x="19763" y="245979"/>
                    <a:pt x="10768" y="246992"/>
                    <a:pt x="0" y="246359"/>
                  </a:cubicBezTo>
                  <a:cubicBezTo>
                    <a:pt x="2914" y="226216"/>
                    <a:pt x="24830" y="209747"/>
                    <a:pt x="36105" y="199740"/>
                  </a:cubicBezTo>
                  <a:cubicBezTo>
                    <a:pt x="47253" y="189605"/>
                    <a:pt x="45352" y="164268"/>
                    <a:pt x="58527" y="139186"/>
                  </a:cubicBezTo>
                  <a:cubicBezTo>
                    <a:pt x="66762" y="123604"/>
                    <a:pt x="58401" y="110935"/>
                    <a:pt x="47253" y="102067"/>
                  </a:cubicBezTo>
                  <a:cubicBezTo>
                    <a:pt x="64102" y="74704"/>
                    <a:pt x="85891" y="100674"/>
                    <a:pt x="104640" y="105614"/>
                  </a:cubicBezTo>
                  <a:cubicBezTo>
                    <a:pt x="123515" y="110555"/>
                    <a:pt x="134284" y="76478"/>
                    <a:pt x="141251" y="60642"/>
                  </a:cubicBezTo>
                  <a:cubicBezTo>
                    <a:pt x="148219" y="44807"/>
                    <a:pt x="155566" y="49241"/>
                    <a:pt x="171401" y="44300"/>
                  </a:cubicBezTo>
                  <a:cubicBezTo>
                    <a:pt x="187237" y="39360"/>
                    <a:pt x="195598" y="26945"/>
                    <a:pt x="200538" y="9082"/>
                  </a:cubicBezTo>
                  <a:cubicBezTo>
                    <a:pt x="201425" y="6042"/>
                    <a:pt x="202819" y="3762"/>
                    <a:pt x="204972" y="2368"/>
                  </a:cubicBezTo>
                  <a:cubicBezTo>
                    <a:pt x="214854" y="-4472"/>
                    <a:pt x="238037" y="5029"/>
                    <a:pt x="272747" y="11616"/>
                  </a:cubicBezTo>
                  <a:cubicBezTo>
                    <a:pt x="314806" y="19470"/>
                    <a:pt x="292510" y="46707"/>
                    <a:pt x="285542" y="72424"/>
                  </a:cubicBezTo>
                  <a:cubicBezTo>
                    <a:pt x="278828" y="98140"/>
                    <a:pt x="284022" y="121450"/>
                    <a:pt x="290863" y="13728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8" name="Полилиния: фигура 697">
              <a:extLst>
                <a:ext uri="{FF2B5EF4-FFF2-40B4-BE49-F238E27FC236}">
                  <a16:creationId xmlns:a16="http://schemas.microsoft.com/office/drawing/2014/main" id="{90D5DB6A-EA9A-4B72-8D34-84694CF13F8C}"/>
                </a:ext>
              </a:extLst>
            </p:cNvPr>
            <p:cNvSpPr/>
            <p:nvPr/>
          </p:nvSpPr>
          <p:spPr>
            <a:xfrm>
              <a:off x="2540194" y="3514601"/>
              <a:ext cx="720938" cy="466065"/>
            </a:xfrm>
            <a:custGeom>
              <a:avLst/>
              <a:gdLst>
                <a:gd name="connsiteX0" fmla="*/ 716136 w 720938"/>
                <a:gd name="connsiteY0" fmla="*/ 214220 h 466065"/>
                <a:gd name="connsiteX1" fmla="*/ 665717 w 720938"/>
                <a:gd name="connsiteY1" fmla="*/ 229042 h 466065"/>
                <a:gd name="connsiteX2" fmla="*/ 642660 w 720938"/>
                <a:gd name="connsiteY2" fmla="*/ 232336 h 466065"/>
                <a:gd name="connsiteX3" fmla="*/ 615930 w 720938"/>
                <a:gd name="connsiteY3" fmla="*/ 205985 h 466065"/>
                <a:gd name="connsiteX4" fmla="*/ 556643 w 720938"/>
                <a:gd name="connsiteY4" fmla="*/ 265780 h 466065"/>
                <a:gd name="connsiteX5" fmla="*/ 546635 w 720938"/>
                <a:gd name="connsiteY5" fmla="*/ 261726 h 466065"/>
                <a:gd name="connsiteX6" fmla="*/ 436801 w 720938"/>
                <a:gd name="connsiteY6" fmla="*/ 229549 h 466065"/>
                <a:gd name="connsiteX7" fmla="*/ 408551 w 720938"/>
                <a:gd name="connsiteY7" fmla="*/ 281995 h 466065"/>
                <a:gd name="connsiteX8" fmla="*/ 419446 w 720938"/>
                <a:gd name="connsiteY8" fmla="*/ 362312 h 466065"/>
                <a:gd name="connsiteX9" fmla="*/ 415012 w 720938"/>
                <a:gd name="connsiteY9" fmla="*/ 369026 h 466065"/>
                <a:gd name="connsiteX10" fmla="*/ 385875 w 720938"/>
                <a:gd name="connsiteY10" fmla="*/ 404244 h 466065"/>
                <a:gd name="connsiteX11" fmla="*/ 355725 w 720938"/>
                <a:gd name="connsiteY11" fmla="*/ 420586 h 466065"/>
                <a:gd name="connsiteX12" fmla="*/ 319113 w 720938"/>
                <a:gd name="connsiteY12" fmla="*/ 465558 h 466065"/>
                <a:gd name="connsiteX13" fmla="*/ 261726 w 720938"/>
                <a:gd name="connsiteY13" fmla="*/ 462011 h 466065"/>
                <a:gd name="connsiteX14" fmla="*/ 241330 w 720938"/>
                <a:gd name="connsiteY14" fmla="*/ 450356 h 466065"/>
                <a:gd name="connsiteX15" fmla="*/ 238036 w 720938"/>
                <a:gd name="connsiteY15" fmla="*/ 410831 h 466065"/>
                <a:gd name="connsiteX16" fmla="*/ 197118 w 720938"/>
                <a:gd name="connsiteY16" fmla="*/ 434648 h 466065"/>
                <a:gd name="connsiteX17" fmla="*/ 114648 w 720938"/>
                <a:gd name="connsiteY17" fmla="*/ 434648 h 466065"/>
                <a:gd name="connsiteX18" fmla="*/ 93112 w 720938"/>
                <a:gd name="connsiteY18" fmla="*/ 402977 h 466065"/>
                <a:gd name="connsiteX19" fmla="*/ 87664 w 720938"/>
                <a:gd name="connsiteY19" fmla="*/ 369279 h 466065"/>
                <a:gd name="connsiteX20" fmla="*/ 80443 w 720938"/>
                <a:gd name="connsiteY20" fmla="*/ 337609 h 466065"/>
                <a:gd name="connsiteX21" fmla="*/ 90958 w 720938"/>
                <a:gd name="connsiteY21" fmla="*/ 298591 h 466065"/>
                <a:gd name="connsiteX22" fmla="*/ 32177 w 720938"/>
                <a:gd name="connsiteY22" fmla="*/ 274268 h 466065"/>
                <a:gd name="connsiteX23" fmla="*/ 0 w 720938"/>
                <a:gd name="connsiteY23" fmla="*/ 222834 h 466065"/>
                <a:gd name="connsiteX24" fmla="*/ 127 w 720938"/>
                <a:gd name="connsiteY24" fmla="*/ 222581 h 466065"/>
                <a:gd name="connsiteX25" fmla="*/ 2154 w 720938"/>
                <a:gd name="connsiteY25" fmla="*/ 219667 h 466065"/>
                <a:gd name="connsiteX26" fmla="*/ 4561 w 720938"/>
                <a:gd name="connsiteY26" fmla="*/ 216247 h 466065"/>
                <a:gd name="connsiteX27" fmla="*/ 11021 w 720938"/>
                <a:gd name="connsiteY27" fmla="*/ 205605 h 466065"/>
                <a:gd name="connsiteX28" fmla="*/ 11021 w 720938"/>
                <a:gd name="connsiteY28" fmla="*/ 205479 h 466065"/>
                <a:gd name="connsiteX29" fmla="*/ 13428 w 720938"/>
                <a:gd name="connsiteY29" fmla="*/ 200158 h 466065"/>
                <a:gd name="connsiteX30" fmla="*/ 14315 w 720938"/>
                <a:gd name="connsiteY30" fmla="*/ 197498 h 466065"/>
                <a:gd name="connsiteX31" fmla="*/ 14948 w 720938"/>
                <a:gd name="connsiteY31" fmla="*/ 194964 h 466065"/>
                <a:gd name="connsiteX32" fmla="*/ 15329 w 720938"/>
                <a:gd name="connsiteY32" fmla="*/ 187490 h 466065"/>
                <a:gd name="connsiteX33" fmla="*/ 15075 w 720938"/>
                <a:gd name="connsiteY33" fmla="*/ 186350 h 466065"/>
                <a:gd name="connsiteX34" fmla="*/ 14442 w 720938"/>
                <a:gd name="connsiteY34" fmla="*/ 183943 h 466065"/>
                <a:gd name="connsiteX35" fmla="*/ 13682 w 720938"/>
                <a:gd name="connsiteY35" fmla="*/ 182296 h 466065"/>
                <a:gd name="connsiteX36" fmla="*/ 12668 w 720938"/>
                <a:gd name="connsiteY36" fmla="*/ 180523 h 466065"/>
                <a:gd name="connsiteX37" fmla="*/ 3420 w 720938"/>
                <a:gd name="connsiteY37" fmla="*/ 151639 h 466065"/>
                <a:gd name="connsiteX38" fmla="*/ 105400 w 720938"/>
                <a:gd name="connsiteY38" fmla="*/ 126302 h 466065"/>
                <a:gd name="connsiteX39" fmla="*/ 171148 w 720938"/>
                <a:gd name="connsiteY39" fmla="*/ 142771 h 466065"/>
                <a:gd name="connsiteX40" fmla="*/ 210040 w 720938"/>
                <a:gd name="connsiteY40" fmla="*/ 133523 h 466065"/>
                <a:gd name="connsiteX41" fmla="*/ 221948 w 720938"/>
                <a:gd name="connsiteY41" fmla="*/ 110340 h 466065"/>
                <a:gd name="connsiteX42" fmla="*/ 232462 w 720938"/>
                <a:gd name="connsiteY42" fmla="*/ 69422 h 466065"/>
                <a:gd name="connsiteX43" fmla="*/ 234363 w 720938"/>
                <a:gd name="connsiteY43" fmla="*/ 66255 h 466065"/>
                <a:gd name="connsiteX44" fmla="*/ 333808 w 720938"/>
                <a:gd name="connsiteY44" fmla="*/ 25843 h 466065"/>
                <a:gd name="connsiteX45" fmla="*/ 421473 w 720938"/>
                <a:gd name="connsiteY45" fmla="*/ 4560 h 466065"/>
                <a:gd name="connsiteX46" fmla="*/ 430847 w 720938"/>
                <a:gd name="connsiteY46" fmla="*/ 0 h 466065"/>
                <a:gd name="connsiteX47" fmla="*/ 453903 w 720938"/>
                <a:gd name="connsiteY47" fmla="*/ 39018 h 466065"/>
                <a:gd name="connsiteX48" fmla="*/ 491528 w 720938"/>
                <a:gd name="connsiteY48" fmla="*/ 39018 h 466065"/>
                <a:gd name="connsiteX49" fmla="*/ 533713 w 720938"/>
                <a:gd name="connsiteY49" fmla="*/ 33444 h 466065"/>
                <a:gd name="connsiteX50" fmla="*/ 596801 w 720938"/>
                <a:gd name="connsiteY50" fmla="*/ 38385 h 466065"/>
                <a:gd name="connsiteX51" fmla="*/ 599462 w 720938"/>
                <a:gd name="connsiteY51" fmla="*/ 77023 h 466065"/>
                <a:gd name="connsiteX52" fmla="*/ 660903 w 720938"/>
                <a:gd name="connsiteY52" fmla="*/ 92478 h 466065"/>
                <a:gd name="connsiteX53" fmla="*/ 662803 w 720938"/>
                <a:gd name="connsiteY53" fmla="*/ 94378 h 466065"/>
                <a:gd name="connsiteX54" fmla="*/ 663943 w 720938"/>
                <a:gd name="connsiteY54" fmla="*/ 95519 h 466065"/>
                <a:gd name="connsiteX55" fmla="*/ 668124 w 720938"/>
                <a:gd name="connsiteY55" fmla="*/ 100713 h 466065"/>
                <a:gd name="connsiteX56" fmla="*/ 669137 w 720938"/>
                <a:gd name="connsiteY56" fmla="*/ 102233 h 466065"/>
                <a:gd name="connsiteX57" fmla="*/ 670150 w 720938"/>
                <a:gd name="connsiteY57" fmla="*/ 103753 h 466065"/>
                <a:gd name="connsiteX58" fmla="*/ 671291 w 720938"/>
                <a:gd name="connsiteY58" fmla="*/ 105526 h 466065"/>
                <a:gd name="connsiteX59" fmla="*/ 672431 w 720938"/>
                <a:gd name="connsiteY59" fmla="*/ 107300 h 466065"/>
                <a:gd name="connsiteX60" fmla="*/ 673444 w 720938"/>
                <a:gd name="connsiteY60" fmla="*/ 109073 h 466065"/>
                <a:gd name="connsiteX61" fmla="*/ 675218 w 720938"/>
                <a:gd name="connsiteY61" fmla="*/ 112114 h 466065"/>
                <a:gd name="connsiteX62" fmla="*/ 675978 w 720938"/>
                <a:gd name="connsiteY62" fmla="*/ 113634 h 466065"/>
                <a:gd name="connsiteX63" fmla="*/ 678131 w 720938"/>
                <a:gd name="connsiteY63" fmla="*/ 117688 h 466065"/>
                <a:gd name="connsiteX64" fmla="*/ 684086 w 720938"/>
                <a:gd name="connsiteY64" fmla="*/ 128709 h 466065"/>
                <a:gd name="connsiteX65" fmla="*/ 685732 w 720938"/>
                <a:gd name="connsiteY65" fmla="*/ 131623 h 466065"/>
                <a:gd name="connsiteX66" fmla="*/ 686873 w 720938"/>
                <a:gd name="connsiteY66" fmla="*/ 133523 h 466065"/>
                <a:gd name="connsiteX67" fmla="*/ 686999 w 720938"/>
                <a:gd name="connsiteY67" fmla="*/ 133777 h 466065"/>
                <a:gd name="connsiteX68" fmla="*/ 688139 w 720938"/>
                <a:gd name="connsiteY68" fmla="*/ 135423 h 466065"/>
                <a:gd name="connsiteX69" fmla="*/ 689660 w 720938"/>
                <a:gd name="connsiteY69" fmla="*/ 137450 h 466065"/>
                <a:gd name="connsiteX70" fmla="*/ 716136 w 720938"/>
                <a:gd name="connsiteY70" fmla="*/ 21422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20938" h="466065">
                  <a:moveTo>
                    <a:pt x="716136" y="214220"/>
                  </a:moveTo>
                  <a:cubicBezTo>
                    <a:pt x="698654" y="216880"/>
                    <a:pt x="672304" y="223468"/>
                    <a:pt x="665717" y="229042"/>
                  </a:cubicBezTo>
                  <a:cubicBezTo>
                    <a:pt x="659129" y="234616"/>
                    <a:pt x="650261" y="240950"/>
                    <a:pt x="642660" y="232336"/>
                  </a:cubicBezTo>
                  <a:cubicBezTo>
                    <a:pt x="635059" y="223848"/>
                    <a:pt x="629105" y="193444"/>
                    <a:pt x="615930" y="205985"/>
                  </a:cubicBezTo>
                  <a:cubicBezTo>
                    <a:pt x="604529" y="216880"/>
                    <a:pt x="575012" y="252478"/>
                    <a:pt x="556643" y="265780"/>
                  </a:cubicBezTo>
                  <a:cubicBezTo>
                    <a:pt x="553603" y="264260"/>
                    <a:pt x="550309" y="262993"/>
                    <a:pt x="546635" y="261726"/>
                  </a:cubicBezTo>
                  <a:cubicBezTo>
                    <a:pt x="507110" y="248804"/>
                    <a:pt x="465938" y="218654"/>
                    <a:pt x="436801" y="229549"/>
                  </a:cubicBezTo>
                  <a:cubicBezTo>
                    <a:pt x="407664" y="240443"/>
                    <a:pt x="406651" y="266667"/>
                    <a:pt x="408551" y="281995"/>
                  </a:cubicBezTo>
                  <a:cubicBezTo>
                    <a:pt x="410578" y="297324"/>
                    <a:pt x="409565" y="340269"/>
                    <a:pt x="419446" y="362312"/>
                  </a:cubicBezTo>
                  <a:cubicBezTo>
                    <a:pt x="417419" y="363705"/>
                    <a:pt x="415899" y="365986"/>
                    <a:pt x="415012" y="369026"/>
                  </a:cubicBezTo>
                  <a:cubicBezTo>
                    <a:pt x="410071" y="386888"/>
                    <a:pt x="401710" y="399176"/>
                    <a:pt x="385875" y="404244"/>
                  </a:cubicBezTo>
                  <a:cubicBezTo>
                    <a:pt x="370040" y="409184"/>
                    <a:pt x="362565" y="404750"/>
                    <a:pt x="355725" y="420586"/>
                  </a:cubicBezTo>
                  <a:cubicBezTo>
                    <a:pt x="348757" y="436421"/>
                    <a:pt x="337862" y="470625"/>
                    <a:pt x="319113" y="465558"/>
                  </a:cubicBezTo>
                  <a:cubicBezTo>
                    <a:pt x="300364" y="460617"/>
                    <a:pt x="278448" y="434774"/>
                    <a:pt x="261726" y="462011"/>
                  </a:cubicBezTo>
                  <a:cubicBezTo>
                    <a:pt x="254885" y="456563"/>
                    <a:pt x="247031" y="452636"/>
                    <a:pt x="241330" y="450356"/>
                  </a:cubicBezTo>
                  <a:cubicBezTo>
                    <a:pt x="226128" y="444402"/>
                    <a:pt x="250578" y="425907"/>
                    <a:pt x="238036" y="410831"/>
                  </a:cubicBezTo>
                  <a:cubicBezTo>
                    <a:pt x="225495" y="395629"/>
                    <a:pt x="216247" y="421979"/>
                    <a:pt x="197118" y="434648"/>
                  </a:cubicBezTo>
                  <a:cubicBezTo>
                    <a:pt x="177989" y="447189"/>
                    <a:pt x="137071" y="434648"/>
                    <a:pt x="114648" y="434648"/>
                  </a:cubicBezTo>
                  <a:cubicBezTo>
                    <a:pt x="92225" y="434648"/>
                    <a:pt x="109327" y="415518"/>
                    <a:pt x="93112" y="402977"/>
                  </a:cubicBezTo>
                  <a:cubicBezTo>
                    <a:pt x="76770" y="390436"/>
                    <a:pt x="84371" y="375234"/>
                    <a:pt x="87664" y="369279"/>
                  </a:cubicBezTo>
                  <a:cubicBezTo>
                    <a:pt x="90958" y="363325"/>
                    <a:pt x="88931" y="346857"/>
                    <a:pt x="80443" y="337609"/>
                  </a:cubicBezTo>
                  <a:cubicBezTo>
                    <a:pt x="71829" y="328361"/>
                    <a:pt x="77783" y="315819"/>
                    <a:pt x="90958" y="298591"/>
                  </a:cubicBezTo>
                  <a:cubicBezTo>
                    <a:pt x="104133" y="281489"/>
                    <a:pt x="53333" y="274268"/>
                    <a:pt x="32177" y="274268"/>
                  </a:cubicBezTo>
                  <a:cubicBezTo>
                    <a:pt x="11021" y="274268"/>
                    <a:pt x="0" y="222834"/>
                    <a:pt x="0" y="222834"/>
                  </a:cubicBezTo>
                  <a:cubicBezTo>
                    <a:pt x="0" y="222708"/>
                    <a:pt x="127" y="222708"/>
                    <a:pt x="127" y="222581"/>
                  </a:cubicBezTo>
                  <a:cubicBezTo>
                    <a:pt x="887" y="221568"/>
                    <a:pt x="1520" y="220554"/>
                    <a:pt x="2154" y="219667"/>
                  </a:cubicBezTo>
                  <a:cubicBezTo>
                    <a:pt x="3040" y="218527"/>
                    <a:pt x="3801" y="217387"/>
                    <a:pt x="4561" y="216247"/>
                  </a:cubicBezTo>
                  <a:cubicBezTo>
                    <a:pt x="6968" y="212573"/>
                    <a:pt x="9121" y="209026"/>
                    <a:pt x="11021" y="205605"/>
                  </a:cubicBezTo>
                  <a:cubicBezTo>
                    <a:pt x="11021" y="205605"/>
                    <a:pt x="11021" y="205479"/>
                    <a:pt x="11021" y="205479"/>
                  </a:cubicBezTo>
                  <a:cubicBezTo>
                    <a:pt x="11908" y="203705"/>
                    <a:pt x="12795" y="201932"/>
                    <a:pt x="13428" y="200158"/>
                  </a:cubicBezTo>
                  <a:cubicBezTo>
                    <a:pt x="13808" y="199271"/>
                    <a:pt x="14062" y="198385"/>
                    <a:pt x="14315" y="197498"/>
                  </a:cubicBezTo>
                  <a:cubicBezTo>
                    <a:pt x="14568" y="196611"/>
                    <a:pt x="14822" y="195851"/>
                    <a:pt x="14948" y="194964"/>
                  </a:cubicBezTo>
                  <a:cubicBezTo>
                    <a:pt x="15582" y="192431"/>
                    <a:pt x="15709" y="189897"/>
                    <a:pt x="15329" y="187490"/>
                  </a:cubicBezTo>
                  <a:cubicBezTo>
                    <a:pt x="15329" y="187110"/>
                    <a:pt x="15202" y="186730"/>
                    <a:pt x="15075" y="186350"/>
                  </a:cubicBezTo>
                  <a:cubicBezTo>
                    <a:pt x="14948" y="185590"/>
                    <a:pt x="14695" y="184703"/>
                    <a:pt x="14442" y="183943"/>
                  </a:cubicBezTo>
                  <a:cubicBezTo>
                    <a:pt x="14188" y="183436"/>
                    <a:pt x="14062" y="182803"/>
                    <a:pt x="13682" y="182296"/>
                  </a:cubicBezTo>
                  <a:cubicBezTo>
                    <a:pt x="13428" y="181663"/>
                    <a:pt x="13048" y="181029"/>
                    <a:pt x="12668" y="180523"/>
                  </a:cubicBezTo>
                  <a:cubicBezTo>
                    <a:pt x="5827" y="170008"/>
                    <a:pt x="3927" y="163420"/>
                    <a:pt x="3420" y="151639"/>
                  </a:cubicBezTo>
                  <a:cubicBezTo>
                    <a:pt x="24703" y="145685"/>
                    <a:pt x="80063" y="130610"/>
                    <a:pt x="105400" y="126302"/>
                  </a:cubicBezTo>
                  <a:cubicBezTo>
                    <a:pt x="137324" y="120982"/>
                    <a:pt x="144798" y="134157"/>
                    <a:pt x="171148" y="142771"/>
                  </a:cubicBezTo>
                  <a:cubicBezTo>
                    <a:pt x="197498" y="151386"/>
                    <a:pt x="183056" y="135550"/>
                    <a:pt x="210040" y="133523"/>
                  </a:cubicBezTo>
                  <a:cubicBezTo>
                    <a:pt x="237023" y="131496"/>
                    <a:pt x="235123" y="133523"/>
                    <a:pt x="221948" y="110340"/>
                  </a:cubicBezTo>
                  <a:cubicBezTo>
                    <a:pt x="208773" y="87284"/>
                    <a:pt x="223215" y="83230"/>
                    <a:pt x="232462" y="69422"/>
                  </a:cubicBezTo>
                  <a:cubicBezTo>
                    <a:pt x="232716" y="69042"/>
                    <a:pt x="233476" y="67775"/>
                    <a:pt x="234363" y="66255"/>
                  </a:cubicBezTo>
                  <a:cubicBezTo>
                    <a:pt x="265780" y="73983"/>
                    <a:pt x="308092" y="36738"/>
                    <a:pt x="333808" y="25843"/>
                  </a:cubicBezTo>
                  <a:cubicBezTo>
                    <a:pt x="359525" y="14948"/>
                    <a:pt x="400570" y="10008"/>
                    <a:pt x="421473" y="4560"/>
                  </a:cubicBezTo>
                  <a:cubicBezTo>
                    <a:pt x="426540" y="3294"/>
                    <a:pt x="429454" y="1774"/>
                    <a:pt x="430847" y="0"/>
                  </a:cubicBezTo>
                  <a:cubicBezTo>
                    <a:pt x="431607" y="12161"/>
                    <a:pt x="435788" y="36358"/>
                    <a:pt x="453903" y="39018"/>
                  </a:cubicBezTo>
                  <a:cubicBezTo>
                    <a:pt x="478606" y="42692"/>
                    <a:pt x="477340" y="39018"/>
                    <a:pt x="491528" y="39018"/>
                  </a:cubicBezTo>
                  <a:cubicBezTo>
                    <a:pt x="505717" y="39018"/>
                    <a:pt x="519905" y="42312"/>
                    <a:pt x="533713" y="33444"/>
                  </a:cubicBezTo>
                  <a:cubicBezTo>
                    <a:pt x="547522" y="24576"/>
                    <a:pt x="595028" y="20523"/>
                    <a:pt x="596801" y="38385"/>
                  </a:cubicBezTo>
                  <a:cubicBezTo>
                    <a:pt x="598448" y="56247"/>
                    <a:pt x="589200" y="74996"/>
                    <a:pt x="599462" y="77023"/>
                  </a:cubicBezTo>
                  <a:cubicBezTo>
                    <a:pt x="609723" y="79050"/>
                    <a:pt x="646714" y="79050"/>
                    <a:pt x="660903" y="92478"/>
                  </a:cubicBezTo>
                  <a:cubicBezTo>
                    <a:pt x="661536" y="93112"/>
                    <a:pt x="662170" y="93745"/>
                    <a:pt x="662803" y="94378"/>
                  </a:cubicBezTo>
                  <a:cubicBezTo>
                    <a:pt x="663183" y="94758"/>
                    <a:pt x="663563" y="95138"/>
                    <a:pt x="663943" y="95519"/>
                  </a:cubicBezTo>
                  <a:cubicBezTo>
                    <a:pt x="665463" y="97165"/>
                    <a:pt x="666857" y="98939"/>
                    <a:pt x="668124" y="100713"/>
                  </a:cubicBezTo>
                  <a:cubicBezTo>
                    <a:pt x="668504" y="101219"/>
                    <a:pt x="668884" y="101726"/>
                    <a:pt x="669137" y="102233"/>
                  </a:cubicBezTo>
                  <a:cubicBezTo>
                    <a:pt x="669517" y="102739"/>
                    <a:pt x="669897" y="103246"/>
                    <a:pt x="670150" y="103753"/>
                  </a:cubicBezTo>
                  <a:cubicBezTo>
                    <a:pt x="670530" y="104386"/>
                    <a:pt x="670911" y="104893"/>
                    <a:pt x="671291" y="105526"/>
                  </a:cubicBezTo>
                  <a:cubicBezTo>
                    <a:pt x="671671" y="106160"/>
                    <a:pt x="672051" y="106667"/>
                    <a:pt x="672431" y="107300"/>
                  </a:cubicBezTo>
                  <a:cubicBezTo>
                    <a:pt x="672811" y="107933"/>
                    <a:pt x="673191" y="108440"/>
                    <a:pt x="673444" y="109073"/>
                  </a:cubicBezTo>
                  <a:cubicBezTo>
                    <a:pt x="674078" y="110087"/>
                    <a:pt x="674584" y="111100"/>
                    <a:pt x="675218" y="112114"/>
                  </a:cubicBezTo>
                  <a:cubicBezTo>
                    <a:pt x="675471" y="112621"/>
                    <a:pt x="675724" y="113127"/>
                    <a:pt x="675978" y="113634"/>
                  </a:cubicBezTo>
                  <a:cubicBezTo>
                    <a:pt x="676738" y="115028"/>
                    <a:pt x="677498" y="116294"/>
                    <a:pt x="678131" y="117688"/>
                  </a:cubicBezTo>
                  <a:cubicBezTo>
                    <a:pt x="680285" y="121615"/>
                    <a:pt x="682185" y="125416"/>
                    <a:pt x="684086" y="128709"/>
                  </a:cubicBezTo>
                  <a:cubicBezTo>
                    <a:pt x="684592" y="129723"/>
                    <a:pt x="685226" y="130736"/>
                    <a:pt x="685732" y="131623"/>
                  </a:cubicBezTo>
                  <a:cubicBezTo>
                    <a:pt x="686113" y="132256"/>
                    <a:pt x="686493" y="132890"/>
                    <a:pt x="686873" y="133523"/>
                  </a:cubicBezTo>
                  <a:cubicBezTo>
                    <a:pt x="686873" y="133523"/>
                    <a:pt x="686999" y="133650"/>
                    <a:pt x="686999" y="133777"/>
                  </a:cubicBezTo>
                  <a:cubicBezTo>
                    <a:pt x="687379" y="134283"/>
                    <a:pt x="687759" y="134917"/>
                    <a:pt x="688139" y="135423"/>
                  </a:cubicBezTo>
                  <a:cubicBezTo>
                    <a:pt x="688646" y="136184"/>
                    <a:pt x="689153" y="136817"/>
                    <a:pt x="689660" y="137450"/>
                  </a:cubicBezTo>
                  <a:cubicBezTo>
                    <a:pt x="698401" y="147585"/>
                    <a:pt x="733618" y="211560"/>
                    <a:pt x="716136" y="21422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699" name="Полилиния: фигура 698">
              <a:extLst>
                <a:ext uri="{FF2B5EF4-FFF2-40B4-BE49-F238E27FC236}">
                  <a16:creationId xmlns:a16="http://schemas.microsoft.com/office/drawing/2014/main" id="{A0F56620-944A-4E1E-9FEA-81C6E3E35EC9}"/>
                </a:ext>
              </a:extLst>
            </p:cNvPr>
            <p:cNvSpPr/>
            <p:nvPr/>
          </p:nvSpPr>
          <p:spPr>
            <a:xfrm>
              <a:off x="2428971" y="3238180"/>
              <a:ext cx="345694" cy="428440"/>
            </a:xfrm>
            <a:custGeom>
              <a:avLst/>
              <a:gdLst>
                <a:gd name="connsiteX0" fmla="*/ 345205 w 345694"/>
                <a:gd name="connsiteY0" fmla="*/ 342930 h 428440"/>
                <a:gd name="connsiteX1" fmla="*/ 345585 w 345694"/>
                <a:gd name="connsiteY1" fmla="*/ 343056 h 428440"/>
                <a:gd name="connsiteX2" fmla="*/ 343685 w 345694"/>
                <a:gd name="connsiteY2" fmla="*/ 346223 h 428440"/>
                <a:gd name="connsiteX3" fmla="*/ 333171 w 345694"/>
                <a:gd name="connsiteY3" fmla="*/ 387142 h 428440"/>
                <a:gd name="connsiteX4" fmla="*/ 321262 w 345694"/>
                <a:gd name="connsiteY4" fmla="*/ 410325 h 428440"/>
                <a:gd name="connsiteX5" fmla="*/ 282371 w 345694"/>
                <a:gd name="connsiteY5" fmla="*/ 419572 h 428440"/>
                <a:gd name="connsiteX6" fmla="*/ 216623 w 345694"/>
                <a:gd name="connsiteY6" fmla="*/ 403104 h 428440"/>
                <a:gd name="connsiteX7" fmla="*/ 114643 w 345694"/>
                <a:gd name="connsiteY7" fmla="*/ 428440 h 428440"/>
                <a:gd name="connsiteX8" fmla="*/ 114516 w 345694"/>
                <a:gd name="connsiteY8" fmla="*/ 413238 h 428440"/>
                <a:gd name="connsiteX9" fmla="*/ 97161 w 345694"/>
                <a:gd name="connsiteY9" fmla="*/ 372193 h 428440"/>
                <a:gd name="connsiteX10" fmla="*/ 68911 w 345694"/>
                <a:gd name="connsiteY10" fmla="*/ 324687 h 428440"/>
                <a:gd name="connsiteX11" fmla="*/ 49148 w 345694"/>
                <a:gd name="connsiteY11" fmla="*/ 280602 h 428440"/>
                <a:gd name="connsiteX12" fmla="*/ 42307 w 345694"/>
                <a:gd name="connsiteY12" fmla="*/ 276548 h 428440"/>
                <a:gd name="connsiteX13" fmla="*/ 60043 w 345694"/>
                <a:gd name="connsiteY13" fmla="*/ 224355 h 428440"/>
                <a:gd name="connsiteX14" fmla="*/ 58016 w 345694"/>
                <a:gd name="connsiteY14" fmla="*/ 192937 h 428440"/>
                <a:gd name="connsiteX15" fmla="*/ 58523 w 345694"/>
                <a:gd name="connsiteY15" fmla="*/ 175075 h 428440"/>
                <a:gd name="connsiteX16" fmla="*/ 15957 w 345694"/>
                <a:gd name="connsiteY16" fmla="*/ 184450 h 428440"/>
                <a:gd name="connsiteX17" fmla="*/ 12410 w 345694"/>
                <a:gd name="connsiteY17" fmla="*/ 136944 h 428440"/>
                <a:gd name="connsiteX18" fmla="*/ 10510 w 345694"/>
                <a:gd name="connsiteY18" fmla="*/ 95899 h 428440"/>
                <a:gd name="connsiteX19" fmla="*/ 30653 w 345694"/>
                <a:gd name="connsiteY19" fmla="*/ 64735 h 428440"/>
                <a:gd name="connsiteX20" fmla="*/ 41041 w 345694"/>
                <a:gd name="connsiteY20" fmla="*/ 23690 h 428440"/>
                <a:gd name="connsiteX21" fmla="*/ 80566 w 345694"/>
                <a:gd name="connsiteY21" fmla="*/ 5827 h 428440"/>
                <a:gd name="connsiteX22" fmla="*/ 87280 w 345694"/>
                <a:gd name="connsiteY22" fmla="*/ 0 h 428440"/>
                <a:gd name="connsiteX23" fmla="*/ 126425 w 345694"/>
                <a:gd name="connsiteY23" fmla="*/ 30784 h 428440"/>
                <a:gd name="connsiteX24" fmla="*/ 180011 w 345694"/>
                <a:gd name="connsiteY24" fmla="*/ 73476 h 428440"/>
                <a:gd name="connsiteX25" fmla="*/ 181278 w 345694"/>
                <a:gd name="connsiteY25" fmla="*/ 86904 h 428440"/>
                <a:gd name="connsiteX26" fmla="*/ 191159 w 345694"/>
                <a:gd name="connsiteY26" fmla="*/ 146952 h 428440"/>
                <a:gd name="connsiteX27" fmla="*/ 220170 w 345694"/>
                <a:gd name="connsiteY27" fmla="*/ 168741 h 428440"/>
                <a:gd name="connsiteX28" fmla="*/ 231318 w 345694"/>
                <a:gd name="connsiteY28" fmla="*/ 224228 h 428440"/>
                <a:gd name="connsiteX29" fmla="*/ 255768 w 345694"/>
                <a:gd name="connsiteY29" fmla="*/ 246017 h 428440"/>
                <a:gd name="connsiteX30" fmla="*/ 258301 w 345694"/>
                <a:gd name="connsiteY30" fmla="*/ 257926 h 428440"/>
                <a:gd name="connsiteX31" fmla="*/ 278824 w 345694"/>
                <a:gd name="connsiteY31" fmla="*/ 273761 h 428440"/>
                <a:gd name="connsiteX32" fmla="*/ 303907 w 345694"/>
                <a:gd name="connsiteY32" fmla="*/ 283009 h 428440"/>
                <a:gd name="connsiteX33" fmla="*/ 312395 w 345694"/>
                <a:gd name="connsiteY33" fmla="*/ 311386 h 428440"/>
                <a:gd name="connsiteX34" fmla="*/ 345205 w 345694"/>
                <a:gd name="connsiteY34" fmla="*/ 342930 h 42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5694" h="428440">
                  <a:moveTo>
                    <a:pt x="345205" y="342930"/>
                  </a:moveTo>
                  <a:cubicBezTo>
                    <a:pt x="345332" y="342930"/>
                    <a:pt x="345459" y="342930"/>
                    <a:pt x="345585" y="343056"/>
                  </a:cubicBezTo>
                  <a:cubicBezTo>
                    <a:pt x="344698" y="344576"/>
                    <a:pt x="343938" y="345843"/>
                    <a:pt x="343685" y="346223"/>
                  </a:cubicBezTo>
                  <a:cubicBezTo>
                    <a:pt x="334437" y="360032"/>
                    <a:pt x="319869" y="363959"/>
                    <a:pt x="333171" y="387142"/>
                  </a:cubicBezTo>
                  <a:cubicBezTo>
                    <a:pt x="346345" y="410325"/>
                    <a:pt x="348372" y="408298"/>
                    <a:pt x="321262" y="410325"/>
                  </a:cubicBezTo>
                  <a:cubicBezTo>
                    <a:pt x="294279" y="412225"/>
                    <a:pt x="308721" y="428060"/>
                    <a:pt x="282371" y="419572"/>
                  </a:cubicBezTo>
                  <a:cubicBezTo>
                    <a:pt x="256021" y="410958"/>
                    <a:pt x="248420" y="397783"/>
                    <a:pt x="216623" y="403104"/>
                  </a:cubicBezTo>
                  <a:cubicBezTo>
                    <a:pt x="191159" y="407284"/>
                    <a:pt x="135926" y="422359"/>
                    <a:pt x="114643" y="428440"/>
                  </a:cubicBezTo>
                  <a:cubicBezTo>
                    <a:pt x="114516" y="424260"/>
                    <a:pt x="114516" y="419319"/>
                    <a:pt x="114516" y="413238"/>
                  </a:cubicBezTo>
                  <a:cubicBezTo>
                    <a:pt x="114516" y="390436"/>
                    <a:pt x="112490" y="390942"/>
                    <a:pt x="97161" y="372193"/>
                  </a:cubicBezTo>
                  <a:cubicBezTo>
                    <a:pt x="81832" y="353444"/>
                    <a:pt x="67010" y="343563"/>
                    <a:pt x="68911" y="324687"/>
                  </a:cubicBezTo>
                  <a:cubicBezTo>
                    <a:pt x="70938" y="305812"/>
                    <a:pt x="74865" y="294030"/>
                    <a:pt x="49148" y="280602"/>
                  </a:cubicBezTo>
                  <a:cubicBezTo>
                    <a:pt x="46741" y="279335"/>
                    <a:pt x="44461" y="277941"/>
                    <a:pt x="42307" y="276548"/>
                  </a:cubicBezTo>
                  <a:cubicBezTo>
                    <a:pt x="48895" y="266920"/>
                    <a:pt x="65237" y="241203"/>
                    <a:pt x="60043" y="224355"/>
                  </a:cubicBezTo>
                  <a:cubicBezTo>
                    <a:pt x="53582" y="203325"/>
                    <a:pt x="52569" y="203325"/>
                    <a:pt x="58016" y="192937"/>
                  </a:cubicBezTo>
                  <a:cubicBezTo>
                    <a:pt x="63463" y="182550"/>
                    <a:pt x="77779" y="175075"/>
                    <a:pt x="58523" y="175075"/>
                  </a:cubicBezTo>
                  <a:cubicBezTo>
                    <a:pt x="39267" y="175075"/>
                    <a:pt x="31793" y="203832"/>
                    <a:pt x="15957" y="184450"/>
                  </a:cubicBezTo>
                  <a:cubicBezTo>
                    <a:pt x="122" y="165194"/>
                    <a:pt x="25839" y="157720"/>
                    <a:pt x="12410" y="136944"/>
                  </a:cubicBezTo>
                  <a:cubicBezTo>
                    <a:pt x="-1018" y="116168"/>
                    <a:pt x="-6212" y="109200"/>
                    <a:pt x="10510" y="95899"/>
                  </a:cubicBezTo>
                  <a:cubicBezTo>
                    <a:pt x="27232" y="82597"/>
                    <a:pt x="34200" y="82597"/>
                    <a:pt x="30653" y="64735"/>
                  </a:cubicBezTo>
                  <a:cubicBezTo>
                    <a:pt x="27232" y="46872"/>
                    <a:pt x="22292" y="33571"/>
                    <a:pt x="41041" y="23690"/>
                  </a:cubicBezTo>
                  <a:cubicBezTo>
                    <a:pt x="59790" y="13808"/>
                    <a:pt x="63843" y="21283"/>
                    <a:pt x="80566" y="5827"/>
                  </a:cubicBezTo>
                  <a:cubicBezTo>
                    <a:pt x="82593" y="4054"/>
                    <a:pt x="84873" y="2027"/>
                    <a:pt x="87280" y="0"/>
                  </a:cubicBezTo>
                  <a:cubicBezTo>
                    <a:pt x="88040" y="760"/>
                    <a:pt x="115403" y="26983"/>
                    <a:pt x="126425" y="30784"/>
                  </a:cubicBezTo>
                  <a:cubicBezTo>
                    <a:pt x="135292" y="33951"/>
                    <a:pt x="170383" y="55487"/>
                    <a:pt x="180011" y="73476"/>
                  </a:cubicBezTo>
                  <a:cubicBezTo>
                    <a:pt x="182545" y="78416"/>
                    <a:pt x="183305" y="82977"/>
                    <a:pt x="181278" y="86904"/>
                  </a:cubicBezTo>
                  <a:cubicBezTo>
                    <a:pt x="171397" y="105400"/>
                    <a:pt x="171397" y="140998"/>
                    <a:pt x="191159" y="146952"/>
                  </a:cubicBezTo>
                  <a:cubicBezTo>
                    <a:pt x="210922" y="152906"/>
                    <a:pt x="220803" y="151512"/>
                    <a:pt x="220170" y="168741"/>
                  </a:cubicBezTo>
                  <a:cubicBezTo>
                    <a:pt x="219536" y="185843"/>
                    <a:pt x="212949" y="209660"/>
                    <a:pt x="231318" y="224228"/>
                  </a:cubicBezTo>
                  <a:cubicBezTo>
                    <a:pt x="249813" y="238670"/>
                    <a:pt x="264382" y="240063"/>
                    <a:pt x="255768" y="246017"/>
                  </a:cubicBezTo>
                  <a:cubicBezTo>
                    <a:pt x="247153" y="251971"/>
                    <a:pt x="252980" y="255899"/>
                    <a:pt x="258301" y="257926"/>
                  </a:cubicBezTo>
                  <a:cubicBezTo>
                    <a:pt x="263748" y="259953"/>
                    <a:pt x="267042" y="273761"/>
                    <a:pt x="278824" y="273761"/>
                  </a:cubicBezTo>
                  <a:cubicBezTo>
                    <a:pt x="290732" y="273761"/>
                    <a:pt x="309861" y="271100"/>
                    <a:pt x="303907" y="283009"/>
                  </a:cubicBezTo>
                  <a:cubicBezTo>
                    <a:pt x="297953" y="294917"/>
                    <a:pt x="296559" y="305432"/>
                    <a:pt x="312395" y="311386"/>
                  </a:cubicBezTo>
                  <a:cubicBezTo>
                    <a:pt x="327216" y="316706"/>
                    <a:pt x="349259" y="330008"/>
                    <a:pt x="345205" y="342930"/>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0" name="Полилиния: фигура 699">
              <a:extLst>
                <a:ext uri="{FF2B5EF4-FFF2-40B4-BE49-F238E27FC236}">
                  <a16:creationId xmlns:a16="http://schemas.microsoft.com/office/drawing/2014/main" id="{74FB212C-4DCE-4B8D-8C5B-31D75AA725D3}"/>
                </a:ext>
              </a:extLst>
            </p:cNvPr>
            <p:cNvSpPr/>
            <p:nvPr/>
          </p:nvSpPr>
          <p:spPr>
            <a:xfrm>
              <a:off x="2948102" y="3742074"/>
              <a:ext cx="351933" cy="311777"/>
            </a:xfrm>
            <a:custGeom>
              <a:avLst/>
              <a:gdLst>
                <a:gd name="connsiteX0" fmla="*/ 351933 w 351933"/>
                <a:gd name="connsiteY0" fmla="*/ 234665 h 311777"/>
                <a:gd name="connsiteX1" fmla="*/ 344079 w 351933"/>
                <a:gd name="connsiteY1" fmla="*/ 282171 h 311777"/>
                <a:gd name="connsiteX2" fmla="*/ 331031 w 351933"/>
                <a:gd name="connsiteY2" fmla="*/ 300033 h 311777"/>
                <a:gd name="connsiteX3" fmla="*/ 303034 w 351933"/>
                <a:gd name="connsiteY3" fmla="*/ 310928 h 311777"/>
                <a:gd name="connsiteX4" fmla="*/ 292139 w 351933"/>
                <a:gd name="connsiteY4" fmla="*/ 290278 h 311777"/>
                <a:gd name="connsiteX5" fmla="*/ 266422 w 351933"/>
                <a:gd name="connsiteY5" fmla="*/ 289898 h 311777"/>
                <a:gd name="connsiteX6" fmla="*/ 249194 w 351933"/>
                <a:gd name="connsiteY6" fmla="*/ 270389 h 311777"/>
                <a:gd name="connsiteX7" fmla="*/ 166470 w 351933"/>
                <a:gd name="connsiteY7" fmla="*/ 289772 h 311777"/>
                <a:gd name="connsiteX8" fmla="*/ 96921 w 351933"/>
                <a:gd name="connsiteY8" fmla="*/ 274950 h 311777"/>
                <a:gd name="connsiteX9" fmla="*/ 97175 w 351933"/>
                <a:gd name="connsiteY9" fmla="*/ 270009 h 311777"/>
                <a:gd name="connsiteX10" fmla="*/ 92107 w 351933"/>
                <a:gd name="connsiteY10" fmla="*/ 205148 h 311777"/>
                <a:gd name="connsiteX11" fmla="*/ 79313 w 351933"/>
                <a:gd name="connsiteY11" fmla="*/ 144340 h 311777"/>
                <a:gd name="connsiteX12" fmla="*/ 11537 w 351933"/>
                <a:gd name="connsiteY12" fmla="*/ 135092 h 311777"/>
                <a:gd name="connsiteX13" fmla="*/ 643 w 351933"/>
                <a:gd name="connsiteY13" fmla="*/ 54776 h 311777"/>
                <a:gd name="connsiteX14" fmla="*/ 28893 w 351933"/>
                <a:gd name="connsiteY14" fmla="*/ 2329 h 311777"/>
                <a:gd name="connsiteX15" fmla="*/ 138726 w 351933"/>
                <a:gd name="connsiteY15" fmla="*/ 34506 h 311777"/>
                <a:gd name="connsiteX16" fmla="*/ 148734 w 351933"/>
                <a:gd name="connsiteY16" fmla="*/ 38560 h 311777"/>
                <a:gd name="connsiteX17" fmla="*/ 197634 w 351933"/>
                <a:gd name="connsiteY17" fmla="*/ 101775 h 311777"/>
                <a:gd name="connsiteX18" fmla="*/ 272377 w 351933"/>
                <a:gd name="connsiteY18" fmla="*/ 129518 h 311777"/>
                <a:gd name="connsiteX19" fmla="*/ 304047 w 351933"/>
                <a:gd name="connsiteY19" fmla="*/ 164229 h 311777"/>
                <a:gd name="connsiteX20" fmla="*/ 336225 w 351933"/>
                <a:gd name="connsiteY20" fmla="*/ 156882 h 311777"/>
                <a:gd name="connsiteX21" fmla="*/ 337111 w 351933"/>
                <a:gd name="connsiteY21" fmla="*/ 174110 h 311777"/>
                <a:gd name="connsiteX22" fmla="*/ 343572 w 351933"/>
                <a:gd name="connsiteY22" fmla="*/ 209708 h 311777"/>
                <a:gd name="connsiteX23" fmla="*/ 351933 w 351933"/>
                <a:gd name="connsiteY23" fmla="*/ 234665 h 31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1933" h="311777">
                  <a:moveTo>
                    <a:pt x="351933" y="234665"/>
                  </a:moveTo>
                  <a:cubicBezTo>
                    <a:pt x="351933" y="244039"/>
                    <a:pt x="345472" y="263928"/>
                    <a:pt x="344079" y="282171"/>
                  </a:cubicBezTo>
                  <a:cubicBezTo>
                    <a:pt x="343445" y="290278"/>
                    <a:pt x="337998" y="295979"/>
                    <a:pt x="331031" y="300033"/>
                  </a:cubicBezTo>
                  <a:cubicBezTo>
                    <a:pt x="322036" y="305354"/>
                    <a:pt x="310508" y="308394"/>
                    <a:pt x="303034" y="310928"/>
                  </a:cubicBezTo>
                  <a:cubicBezTo>
                    <a:pt x="289605" y="315362"/>
                    <a:pt x="292139" y="301553"/>
                    <a:pt x="292139" y="290278"/>
                  </a:cubicBezTo>
                  <a:cubicBezTo>
                    <a:pt x="292139" y="279003"/>
                    <a:pt x="277824" y="287238"/>
                    <a:pt x="266422" y="289898"/>
                  </a:cubicBezTo>
                  <a:cubicBezTo>
                    <a:pt x="255021" y="292559"/>
                    <a:pt x="253501" y="280777"/>
                    <a:pt x="249194" y="270389"/>
                  </a:cubicBezTo>
                  <a:cubicBezTo>
                    <a:pt x="244760" y="260001"/>
                    <a:pt x="194213" y="287238"/>
                    <a:pt x="166470" y="289772"/>
                  </a:cubicBezTo>
                  <a:cubicBezTo>
                    <a:pt x="142654" y="291925"/>
                    <a:pt x="106676" y="278750"/>
                    <a:pt x="96921" y="274950"/>
                  </a:cubicBezTo>
                  <a:cubicBezTo>
                    <a:pt x="97935" y="273556"/>
                    <a:pt x="98061" y="272036"/>
                    <a:pt x="97175" y="270009"/>
                  </a:cubicBezTo>
                  <a:cubicBezTo>
                    <a:pt x="90207" y="254174"/>
                    <a:pt x="85140" y="230864"/>
                    <a:pt x="92107" y="205148"/>
                  </a:cubicBezTo>
                  <a:cubicBezTo>
                    <a:pt x="99202" y="179431"/>
                    <a:pt x="121371" y="152195"/>
                    <a:pt x="79313" y="144340"/>
                  </a:cubicBezTo>
                  <a:cubicBezTo>
                    <a:pt x="44601" y="137753"/>
                    <a:pt x="21292" y="128251"/>
                    <a:pt x="11537" y="135092"/>
                  </a:cubicBezTo>
                  <a:cubicBezTo>
                    <a:pt x="1656" y="113050"/>
                    <a:pt x="2670" y="70104"/>
                    <a:pt x="643" y="54776"/>
                  </a:cubicBezTo>
                  <a:cubicBezTo>
                    <a:pt x="-1384" y="39447"/>
                    <a:pt x="-244" y="13224"/>
                    <a:pt x="28893" y="2329"/>
                  </a:cubicBezTo>
                  <a:cubicBezTo>
                    <a:pt x="58030" y="-8566"/>
                    <a:pt x="99202" y="21585"/>
                    <a:pt x="138726" y="34506"/>
                  </a:cubicBezTo>
                  <a:cubicBezTo>
                    <a:pt x="142400" y="35646"/>
                    <a:pt x="145694" y="37040"/>
                    <a:pt x="148734" y="38560"/>
                  </a:cubicBezTo>
                  <a:cubicBezTo>
                    <a:pt x="178632" y="53002"/>
                    <a:pt x="180912" y="80365"/>
                    <a:pt x="197634" y="101775"/>
                  </a:cubicBezTo>
                  <a:cubicBezTo>
                    <a:pt x="215876" y="125591"/>
                    <a:pt x="253501" y="138386"/>
                    <a:pt x="272377" y="129518"/>
                  </a:cubicBezTo>
                  <a:cubicBezTo>
                    <a:pt x="291125" y="120650"/>
                    <a:pt x="291632" y="150801"/>
                    <a:pt x="304047" y="164229"/>
                  </a:cubicBezTo>
                  <a:cubicBezTo>
                    <a:pt x="316462" y="177531"/>
                    <a:pt x="326343" y="161316"/>
                    <a:pt x="336225" y="156882"/>
                  </a:cubicBezTo>
                  <a:cubicBezTo>
                    <a:pt x="346106" y="152448"/>
                    <a:pt x="344079" y="166763"/>
                    <a:pt x="337111" y="174110"/>
                  </a:cubicBezTo>
                  <a:cubicBezTo>
                    <a:pt x="330271" y="181585"/>
                    <a:pt x="336225" y="202361"/>
                    <a:pt x="343572" y="209708"/>
                  </a:cubicBezTo>
                  <a:cubicBezTo>
                    <a:pt x="350920" y="216929"/>
                    <a:pt x="351933" y="225290"/>
                    <a:pt x="351933" y="234665"/>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1" name="Полилиния: фигура 700">
              <a:extLst>
                <a:ext uri="{FF2B5EF4-FFF2-40B4-BE49-F238E27FC236}">
                  <a16:creationId xmlns:a16="http://schemas.microsoft.com/office/drawing/2014/main" id="{981ECC11-A5A1-47C0-BDAC-2D656DEA4669}"/>
                </a:ext>
              </a:extLst>
            </p:cNvPr>
            <p:cNvSpPr/>
            <p:nvPr/>
          </p:nvSpPr>
          <p:spPr>
            <a:xfrm>
              <a:off x="2828143" y="4010035"/>
              <a:ext cx="697822" cy="596062"/>
            </a:xfrm>
            <a:custGeom>
              <a:avLst/>
              <a:gdLst>
                <a:gd name="connsiteX0" fmla="*/ 689913 w 697822"/>
                <a:gd name="connsiteY0" fmla="*/ 251993 h 596062"/>
                <a:gd name="connsiteX1" fmla="*/ 640760 w 697822"/>
                <a:gd name="connsiteY1" fmla="*/ 286957 h 596062"/>
                <a:gd name="connsiteX2" fmla="*/ 660903 w 697822"/>
                <a:gd name="connsiteY2" fmla="*/ 327242 h 596062"/>
                <a:gd name="connsiteX3" fmla="*/ 653302 w 697822"/>
                <a:gd name="connsiteY3" fmla="*/ 359546 h 596062"/>
                <a:gd name="connsiteX4" fmla="*/ 653808 w 697822"/>
                <a:gd name="connsiteY4" fmla="*/ 361700 h 596062"/>
                <a:gd name="connsiteX5" fmla="*/ 654442 w 697822"/>
                <a:gd name="connsiteY5" fmla="*/ 365247 h 596062"/>
                <a:gd name="connsiteX6" fmla="*/ 654949 w 697822"/>
                <a:gd name="connsiteY6" fmla="*/ 368541 h 596062"/>
                <a:gd name="connsiteX7" fmla="*/ 655329 w 697822"/>
                <a:gd name="connsiteY7" fmla="*/ 371454 h 596062"/>
                <a:gd name="connsiteX8" fmla="*/ 655582 w 697822"/>
                <a:gd name="connsiteY8" fmla="*/ 373355 h 596062"/>
                <a:gd name="connsiteX9" fmla="*/ 655962 w 697822"/>
                <a:gd name="connsiteY9" fmla="*/ 376522 h 596062"/>
                <a:gd name="connsiteX10" fmla="*/ 656722 w 697822"/>
                <a:gd name="connsiteY10" fmla="*/ 384503 h 596062"/>
                <a:gd name="connsiteX11" fmla="*/ 656849 w 697822"/>
                <a:gd name="connsiteY11" fmla="*/ 387416 h 596062"/>
                <a:gd name="connsiteX12" fmla="*/ 656975 w 697822"/>
                <a:gd name="connsiteY12" fmla="*/ 388810 h 596062"/>
                <a:gd name="connsiteX13" fmla="*/ 657229 w 697822"/>
                <a:gd name="connsiteY13" fmla="*/ 393244 h 596062"/>
                <a:gd name="connsiteX14" fmla="*/ 657356 w 697822"/>
                <a:gd name="connsiteY14" fmla="*/ 397298 h 596062"/>
                <a:gd name="connsiteX15" fmla="*/ 657356 w 697822"/>
                <a:gd name="connsiteY15" fmla="*/ 404392 h 596062"/>
                <a:gd name="connsiteX16" fmla="*/ 657229 w 697822"/>
                <a:gd name="connsiteY16" fmla="*/ 407432 h 596062"/>
                <a:gd name="connsiteX17" fmla="*/ 651275 w 697822"/>
                <a:gd name="connsiteY17" fmla="*/ 439103 h 596062"/>
                <a:gd name="connsiteX18" fmla="*/ 650008 w 697822"/>
                <a:gd name="connsiteY18" fmla="*/ 441510 h 596062"/>
                <a:gd name="connsiteX19" fmla="*/ 648614 w 697822"/>
                <a:gd name="connsiteY19" fmla="*/ 443664 h 596062"/>
                <a:gd name="connsiteX20" fmla="*/ 647094 w 697822"/>
                <a:gd name="connsiteY20" fmla="*/ 445564 h 596062"/>
                <a:gd name="connsiteX21" fmla="*/ 645447 w 697822"/>
                <a:gd name="connsiteY21" fmla="*/ 447337 h 596062"/>
                <a:gd name="connsiteX22" fmla="*/ 644814 w 697822"/>
                <a:gd name="connsiteY22" fmla="*/ 447844 h 596062"/>
                <a:gd name="connsiteX23" fmla="*/ 640254 w 697822"/>
                <a:gd name="connsiteY23" fmla="*/ 450758 h 596062"/>
                <a:gd name="connsiteX24" fmla="*/ 637213 w 697822"/>
                <a:gd name="connsiteY24" fmla="*/ 451644 h 596062"/>
                <a:gd name="connsiteX25" fmla="*/ 633793 w 697822"/>
                <a:gd name="connsiteY25" fmla="*/ 452024 h 596062"/>
                <a:gd name="connsiteX26" fmla="*/ 552969 w 697822"/>
                <a:gd name="connsiteY26" fmla="*/ 464186 h 596062"/>
                <a:gd name="connsiteX27" fmla="*/ 507363 w 697822"/>
                <a:gd name="connsiteY27" fmla="*/ 456965 h 596062"/>
                <a:gd name="connsiteX28" fmla="*/ 499382 w 697822"/>
                <a:gd name="connsiteY28" fmla="*/ 538802 h 596062"/>
                <a:gd name="connsiteX29" fmla="*/ 426287 w 697822"/>
                <a:gd name="connsiteY29" fmla="*/ 596063 h 596062"/>
                <a:gd name="connsiteX30" fmla="*/ 410325 w 697822"/>
                <a:gd name="connsiteY30" fmla="*/ 584281 h 596062"/>
                <a:gd name="connsiteX31" fmla="*/ 398670 w 697822"/>
                <a:gd name="connsiteY31" fmla="*/ 563252 h 596062"/>
                <a:gd name="connsiteX32" fmla="*/ 397276 w 697822"/>
                <a:gd name="connsiteY32" fmla="*/ 543489 h 596062"/>
                <a:gd name="connsiteX33" fmla="*/ 367633 w 697822"/>
                <a:gd name="connsiteY33" fmla="*/ 522967 h 596062"/>
                <a:gd name="connsiteX34" fmla="*/ 353318 w 697822"/>
                <a:gd name="connsiteY34" fmla="*/ 515492 h 596062"/>
                <a:gd name="connsiteX35" fmla="*/ 334189 w 697822"/>
                <a:gd name="connsiteY35" fmla="*/ 475587 h 596062"/>
                <a:gd name="connsiteX36" fmla="*/ 327601 w 697822"/>
                <a:gd name="connsiteY36" fmla="*/ 436316 h 596062"/>
                <a:gd name="connsiteX37" fmla="*/ 315693 w 697822"/>
                <a:gd name="connsiteY37" fmla="*/ 411866 h 596062"/>
                <a:gd name="connsiteX38" fmla="*/ 306065 w 697822"/>
                <a:gd name="connsiteY38" fmla="*/ 385770 h 596062"/>
                <a:gd name="connsiteX39" fmla="*/ 256912 w 697822"/>
                <a:gd name="connsiteY39" fmla="*/ 368921 h 596062"/>
                <a:gd name="connsiteX40" fmla="*/ 213080 w 697822"/>
                <a:gd name="connsiteY40" fmla="*/ 322175 h 596062"/>
                <a:gd name="connsiteX41" fmla="*/ 211940 w 697822"/>
                <a:gd name="connsiteY41" fmla="*/ 319514 h 596062"/>
                <a:gd name="connsiteX42" fmla="*/ 211560 w 697822"/>
                <a:gd name="connsiteY42" fmla="*/ 319008 h 596062"/>
                <a:gd name="connsiteX43" fmla="*/ 204212 w 697822"/>
                <a:gd name="connsiteY43" fmla="*/ 255160 h 596062"/>
                <a:gd name="connsiteX44" fmla="*/ 184450 w 697822"/>
                <a:gd name="connsiteY44" fmla="*/ 228810 h 596062"/>
                <a:gd name="connsiteX45" fmla="*/ 174188 w 697822"/>
                <a:gd name="connsiteY45" fmla="*/ 188145 h 596062"/>
                <a:gd name="connsiteX46" fmla="*/ 134284 w 697822"/>
                <a:gd name="connsiteY46" fmla="*/ 216902 h 596062"/>
                <a:gd name="connsiteX47" fmla="*/ 110214 w 697822"/>
                <a:gd name="connsiteY47" fmla="*/ 200053 h 596062"/>
                <a:gd name="connsiteX48" fmla="*/ 72336 w 697822"/>
                <a:gd name="connsiteY48" fmla="*/ 190552 h 596062"/>
                <a:gd name="connsiteX49" fmla="*/ 53587 w 697822"/>
                <a:gd name="connsiteY49" fmla="*/ 160528 h 596062"/>
                <a:gd name="connsiteX50" fmla="*/ 12288 w 697822"/>
                <a:gd name="connsiteY50" fmla="*/ 146720 h 596062"/>
                <a:gd name="connsiteX51" fmla="*/ 0 w 697822"/>
                <a:gd name="connsiteY51" fmla="*/ 111122 h 596062"/>
                <a:gd name="connsiteX52" fmla="*/ 27743 w 697822"/>
                <a:gd name="connsiteY52" fmla="*/ 95667 h 596062"/>
                <a:gd name="connsiteX53" fmla="*/ 56881 w 697822"/>
                <a:gd name="connsiteY53" fmla="*/ 103394 h 596062"/>
                <a:gd name="connsiteX54" fmla="*/ 73222 w 697822"/>
                <a:gd name="connsiteY54" fmla="*/ 118723 h 596062"/>
                <a:gd name="connsiteX55" fmla="*/ 143025 w 697822"/>
                <a:gd name="connsiteY55" fmla="*/ 69697 h 596062"/>
                <a:gd name="connsiteX56" fmla="*/ 128583 w 697822"/>
                <a:gd name="connsiteY56" fmla="*/ 32072 h 596062"/>
                <a:gd name="connsiteX57" fmla="*/ 152399 w 697822"/>
                <a:gd name="connsiteY57" fmla="*/ 16237 h 596062"/>
                <a:gd name="connsiteX58" fmla="*/ 217007 w 697822"/>
                <a:gd name="connsiteY58" fmla="*/ 6862 h 596062"/>
                <a:gd name="connsiteX59" fmla="*/ 286556 w 697822"/>
                <a:gd name="connsiteY59" fmla="*/ 21684 h 596062"/>
                <a:gd name="connsiteX60" fmla="*/ 369280 w 697822"/>
                <a:gd name="connsiteY60" fmla="*/ 2301 h 596062"/>
                <a:gd name="connsiteX61" fmla="*/ 386508 w 697822"/>
                <a:gd name="connsiteY61" fmla="*/ 21811 h 596062"/>
                <a:gd name="connsiteX62" fmla="*/ 412225 w 697822"/>
                <a:gd name="connsiteY62" fmla="*/ 22191 h 596062"/>
                <a:gd name="connsiteX63" fmla="*/ 423120 w 697822"/>
                <a:gd name="connsiteY63" fmla="*/ 42840 h 596062"/>
                <a:gd name="connsiteX64" fmla="*/ 451116 w 697822"/>
                <a:gd name="connsiteY64" fmla="*/ 31945 h 596062"/>
                <a:gd name="connsiteX65" fmla="*/ 469992 w 697822"/>
                <a:gd name="connsiteY65" fmla="*/ 74637 h 596062"/>
                <a:gd name="connsiteX66" fmla="*/ 455550 w 697822"/>
                <a:gd name="connsiteY66" fmla="*/ 104028 h 596062"/>
                <a:gd name="connsiteX67" fmla="*/ 472019 w 697822"/>
                <a:gd name="connsiteY67" fmla="*/ 128731 h 596062"/>
                <a:gd name="connsiteX68" fmla="*/ 458464 w 697822"/>
                <a:gd name="connsiteY68" fmla="*/ 166355 h 596062"/>
                <a:gd name="connsiteX69" fmla="*/ 495835 w 697822"/>
                <a:gd name="connsiteY69" fmla="*/ 193972 h 596062"/>
                <a:gd name="connsiteX70" fmla="*/ 494822 w 697822"/>
                <a:gd name="connsiteY70" fmla="*/ 200686 h 596062"/>
                <a:gd name="connsiteX71" fmla="*/ 488234 w 697822"/>
                <a:gd name="connsiteY71" fmla="*/ 225136 h 596062"/>
                <a:gd name="connsiteX72" fmla="*/ 504703 w 697822"/>
                <a:gd name="connsiteY72" fmla="*/ 265421 h 596062"/>
                <a:gd name="connsiteX73" fmla="*/ 569438 w 697822"/>
                <a:gd name="connsiteY73" fmla="*/ 270362 h 596062"/>
                <a:gd name="connsiteX74" fmla="*/ 579953 w 697822"/>
                <a:gd name="connsiteY74" fmla="*/ 294432 h 596062"/>
                <a:gd name="connsiteX75" fmla="*/ 601108 w 697822"/>
                <a:gd name="connsiteY75" fmla="*/ 272642 h 596062"/>
                <a:gd name="connsiteX76" fmla="*/ 604782 w 697822"/>
                <a:gd name="connsiteY76" fmla="*/ 244265 h 596062"/>
                <a:gd name="connsiteX77" fmla="*/ 638480 w 697822"/>
                <a:gd name="connsiteY77" fmla="*/ 236031 h 596062"/>
                <a:gd name="connsiteX78" fmla="*/ 666857 w 697822"/>
                <a:gd name="connsiteY78" fmla="*/ 212594 h 596062"/>
                <a:gd name="connsiteX79" fmla="*/ 689913 w 697822"/>
                <a:gd name="connsiteY79" fmla="*/ 251993 h 596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7822" h="596062">
                  <a:moveTo>
                    <a:pt x="689913" y="251993"/>
                  </a:moveTo>
                  <a:cubicBezTo>
                    <a:pt x="667744" y="263901"/>
                    <a:pt x="626825" y="273782"/>
                    <a:pt x="640760" y="286957"/>
                  </a:cubicBezTo>
                  <a:cubicBezTo>
                    <a:pt x="654568" y="300132"/>
                    <a:pt x="679652" y="308746"/>
                    <a:pt x="660903" y="327242"/>
                  </a:cubicBezTo>
                  <a:cubicBezTo>
                    <a:pt x="642154" y="345738"/>
                    <a:pt x="650008" y="346751"/>
                    <a:pt x="653302" y="359546"/>
                  </a:cubicBezTo>
                  <a:cubicBezTo>
                    <a:pt x="653428" y="360053"/>
                    <a:pt x="653555" y="360813"/>
                    <a:pt x="653808" y="361700"/>
                  </a:cubicBezTo>
                  <a:cubicBezTo>
                    <a:pt x="654062" y="362713"/>
                    <a:pt x="654315" y="363853"/>
                    <a:pt x="654442" y="365247"/>
                  </a:cubicBezTo>
                  <a:cubicBezTo>
                    <a:pt x="654568" y="366260"/>
                    <a:pt x="654822" y="367400"/>
                    <a:pt x="654949" y="368541"/>
                  </a:cubicBezTo>
                  <a:cubicBezTo>
                    <a:pt x="655075" y="369554"/>
                    <a:pt x="655202" y="370568"/>
                    <a:pt x="655329" y="371454"/>
                  </a:cubicBezTo>
                  <a:cubicBezTo>
                    <a:pt x="655455" y="372088"/>
                    <a:pt x="655455" y="372721"/>
                    <a:pt x="655582" y="373355"/>
                  </a:cubicBezTo>
                  <a:cubicBezTo>
                    <a:pt x="655709" y="374368"/>
                    <a:pt x="655835" y="375382"/>
                    <a:pt x="655962" y="376522"/>
                  </a:cubicBezTo>
                  <a:cubicBezTo>
                    <a:pt x="656215" y="379055"/>
                    <a:pt x="656469" y="381716"/>
                    <a:pt x="656722" y="384503"/>
                  </a:cubicBezTo>
                  <a:cubicBezTo>
                    <a:pt x="656849" y="385390"/>
                    <a:pt x="656849" y="386403"/>
                    <a:pt x="656849" y="387416"/>
                  </a:cubicBezTo>
                  <a:cubicBezTo>
                    <a:pt x="656849" y="387797"/>
                    <a:pt x="656975" y="388303"/>
                    <a:pt x="656975" y="388810"/>
                  </a:cubicBezTo>
                  <a:cubicBezTo>
                    <a:pt x="657102" y="390204"/>
                    <a:pt x="657102" y="391850"/>
                    <a:pt x="657229" y="393244"/>
                  </a:cubicBezTo>
                  <a:cubicBezTo>
                    <a:pt x="657356" y="394637"/>
                    <a:pt x="657356" y="396031"/>
                    <a:pt x="657356" y="397298"/>
                  </a:cubicBezTo>
                  <a:cubicBezTo>
                    <a:pt x="657356" y="399578"/>
                    <a:pt x="657356" y="402112"/>
                    <a:pt x="657356" y="404392"/>
                  </a:cubicBezTo>
                  <a:cubicBezTo>
                    <a:pt x="657356" y="405405"/>
                    <a:pt x="657356" y="406419"/>
                    <a:pt x="657229" y="407432"/>
                  </a:cubicBezTo>
                  <a:cubicBezTo>
                    <a:pt x="656849" y="419214"/>
                    <a:pt x="655075" y="430742"/>
                    <a:pt x="651275" y="439103"/>
                  </a:cubicBezTo>
                  <a:cubicBezTo>
                    <a:pt x="650895" y="439863"/>
                    <a:pt x="650515" y="440750"/>
                    <a:pt x="650008" y="441510"/>
                  </a:cubicBezTo>
                  <a:cubicBezTo>
                    <a:pt x="649628" y="442270"/>
                    <a:pt x="649121" y="443030"/>
                    <a:pt x="648614" y="443664"/>
                  </a:cubicBezTo>
                  <a:cubicBezTo>
                    <a:pt x="648108" y="444424"/>
                    <a:pt x="647601" y="445057"/>
                    <a:pt x="647094" y="445564"/>
                  </a:cubicBezTo>
                  <a:cubicBezTo>
                    <a:pt x="646588" y="446197"/>
                    <a:pt x="646081" y="446831"/>
                    <a:pt x="645447" y="447337"/>
                  </a:cubicBezTo>
                  <a:cubicBezTo>
                    <a:pt x="645194" y="447591"/>
                    <a:pt x="645067" y="447717"/>
                    <a:pt x="644814" y="447844"/>
                  </a:cubicBezTo>
                  <a:cubicBezTo>
                    <a:pt x="643421" y="449111"/>
                    <a:pt x="641900" y="449998"/>
                    <a:pt x="640254" y="450758"/>
                  </a:cubicBezTo>
                  <a:cubicBezTo>
                    <a:pt x="639240" y="451138"/>
                    <a:pt x="638227" y="451518"/>
                    <a:pt x="637213" y="451644"/>
                  </a:cubicBezTo>
                  <a:cubicBezTo>
                    <a:pt x="636200" y="451898"/>
                    <a:pt x="635059" y="452024"/>
                    <a:pt x="633793" y="452024"/>
                  </a:cubicBezTo>
                  <a:cubicBezTo>
                    <a:pt x="601108" y="453038"/>
                    <a:pt x="566144" y="474827"/>
                    <a:pt x="552969" y="464186"/>
                  </a:cubicBezTo>
                  <a:cubicBezTo>
                    <a:pt x="539794" y="453671"/>
                    <a:pt x="501536" y="433909"/>
                    <a:pt x="507363" y="456965"/>
                  </a:cubicBezTo>
                  <a:cubicBezTo>
                    <a:pt x="513318" y="480021"/>
                    <a:pt x="532447" y="520940"/>
                    <a:pt x="499382" y="538802"/>
                  </a:cubicBezTo>
                  <a:cubicBezTo>
                    <a:pt x="466445" y="556664"/>
                    <a:pt x="452510" y="563885"/>
                    <a:pt x="426287" y="596063"/>
                  </a:cubicBezTo>
                  <a:cubicBezTo>
                    <a:pt x="423753" y="590615"/>
                    <a:pt x="416912" y="587702"/>
                    <a:pt x="410325" y="584281"/>
                  </a:cubicBezTo>
                  <a:cubicBezTo>
                    <a:pt x="401077" y="579467"/>
                    <a:pt x="395249" y="574020"/>
                    <a:pt x="398670" y="563252"/>
                  </a:cubicBezTo>
                  <a:cubicBezTo>
                    <a:pt x="401330" y="555017"/>
                    <a:pt x="405257" y="549950"/>
                    <a:pt x="397276" y="543489"/>
                  </a:cubicBezTo>
                  <a:cubicBezTo>
                    <a:pt x="387902" y="535888"/>
                    <a:pt x="376880" y="530821"/>
                    <a:pt x="367633" y="522967"/>
                  </a:cubicBezTo>
                  <a:cubicBezTo>
                    <a:pt x="362312" y="518406"/>
                    <a:pt x="358258" y="514985"/>
                    <a:pt x="353318" y="515492"/>
                  </a:cubicBezTo>
                  <a:cubicBezTo>
                    <a:pt x="358638" y="495857"/>
                    <a:pt x="345337" y="484202"/>
                    <a:pt x="334189" y="475587"/>
                  </a:cubicBezTo>
                  <a:cubicBezTo>
                    <a:pt x="323040" y="466973"/>
                    <a:pt x="325701" y="448224"/>
                    <a:pt x="327601" y="436316"/>
                  </a:cubicBezTo>
                  <a:cubicBezTo>
                    <a:pt x="329628" y="424408"/>
                    <a:pt x="324561" y="419847"/>
                    <a:pt x="315693" y="411866"/>
                  </a:cubicBezTo>
                  <a:cubicBezTo>
                    <a:pt x="306825" y="403885"/>
                    <a:pt x="311766" y="399325"/>
                    <a:pt x="306065" y="385770"/>
                  </a:cubicBezTo>
                  <a:cubicBezTo>
                    <a:pt x="300491" y="372214"/>
                    <a:pt x="281995" y="368287"/>
                    <a:pt x="256912" y="368921"/>
                  </a:cubicBezTo>
                  <a:cubicBezTo>
                    <a:pt x="231829" y="369554"/>
                    <a:pt x="216374" y="336997"/>
                    <a:pt x="213080" y="322175"/>
                  </a:cubicBezTo>
                  <a:cubicBezTo>
                    <a:pt x="212827" y="320908"/>
                    <a:pt x="212447" y="320021"/>
                    <a:pt x="211940" y="319514"/>
                  </a:cubicBezTo>
                  <a:cubicBezTo>
                    <a:pt x="211813" y="319388"/>
                    <a:pt x="211687" y="319261"/>
                    <a:pt x="211560" y="319008"/>
                  </a:cubicBezTo>
                  <a:cubicBezTo>
                    <a:pt x="195598" y="302919"/>
                    <a:pt x="193064" y="264281"/>
                    <a:pt x="204212" y="255160"/>
                  </a:cubicBezTo>
                  <a:cubicBezTo>
                    <a:pt x="215360" y="245912"/>
                    <a:pt x="202565" y="234384"/>
                    <a:pt x="184450" y="228810"/>
                  </a:cubicBezTo>
                  <a:cubicBezTo>
                    <a:pt x="166334" y="223236"/>
                    <a:pt x="190024" y="184978"/>
                    <a:pt x="174188" y="188145"/>
                  </a:cubicBezTo>
                  <a:cubicBezTo>
                    <a:pt x="158353" y="191439"/>
                    <a:pt x="150119" y="201700"/>
                    <a:pt x="134284" y="216902"/>
                  </a:cubicBezTo>
                  <a:cubicBezTo>
                    <a:pt x="118448" y="232104"/>
                    <a:pt x="120095" y="212594"/>
                    <a:pt x="110214" y="200053"/>
                  </a:cubicBezTo>
                  <a:cubicBezTo>
                    <a:pt x="100333" y="187512"/>
                    <a:pt x="91465" y="190552"/>
                    <a:pt x="72336" y="190552"/>
                  </a:cubicBezTo>
                  <a:cubicBezTo>
                    <a:pt x="53207" y="190552"/>
                    <a:pt x="57767" y="174970"/>
                    <a:pt x="53587" y="160528"/>
                  </a:cubicBezTo>
                  <a:cubicBezTo>
                    <a:pt x="49279" y="146086"/>
                    <a:pt x="27870" y="147353"/>
                    <a:pt x="12288" y="146720"/>
                  </a:cubicBezTo>
                  <a:cubicBezTo>
                    <a:pt x="2534" y="146340"/>
                    <a:pt x="887" y="129364"/>
                    <a:pt x="0" y="111122"/>
                  </a:cubicBezTo>
                  <a:cubicBezTo>
                    <a:pt x="0" y="111122"/>
                    <a:pt x="12542" y="96300"/>
                    <a:pt x="27743" y="95667"/>
                  </a:cubicBezTo>
                  <a:cubicBezTo>
                    <a:pt x="42945" y="95033"/>
                    <a:pt x="58401" y="89966"/>
                    <a:pt x="56881" y="103394"/>
                  </a:cubicBezTo>
                  <a:cubicBezTo>
                    <a:pt x="55360" y="116822"/>
                    <a:pt x="56374" y="130124"/>
                    <a:pt x="73222" y="118723"/>
                  </a:cubicBezTo>
                  <a:cubicBezTo>
                    <a:pt x="90071" y="107321"/>
                    <a:pt x="145051" y="86546"/>
                    <a:pt x="143025" y="69697"/>
                  </a:cubicBezTo>
                  <a:cubicBezTo>
                    <a:pt x="140998" y="52848"/>
                    <a:pt x="126176" y="43980"/>
                    <a:pt x="128583" y="32072"/>
                  </a:cubicBezTo>
                  <a:cubicBezTo>
                    <a:pt x="131116" y="20164"/>
                    <a:pt x="137957" y="22191"/>
                    <a:pt x="152399" y="16237"/>
                  </a:cubicBezTo>
                  <a:cubicBezTo>
                    <a:pt x="164941" y="11043"/>
                    <a:pt x="210293" y="16110"/>
                    <a:pt x="217007" y="6862"/>
                  </a:cubicBezTo>
                  <a:cubicBezTo>
                    <a:pt x="226762" y="10662"/>
                    <a:pt x="262866" y="23838"/>
                    <a:pt x="286556" y="21684"/>
                  </a:cubicBezTo>
                  <a:cubicBezTo>
                    <a:pt x="314299" y="19277"/>
                    <a:pt x="364719" y="-7960"/>
                    <a:pt x="369280" y="2301"/>
                  </a:cubicBezTo>
                  <a:cubicBezTo>
                    <a:pt x="373713" y="12689"/>
                    <a:pt x="375234" y="24598"/>
                    <a:pt x="386508" y="21811"/>
                  </a:cubicBezTo>
                  <a:cubicBezTo>
                    <a:pt x="397910" y="19150"/>
                    <a:pt x="412225" y="10916"/>
                    <a:pt x="412225" y="22191"/>
                  </a:cubicBezTo>
                  <a:cubicBezTo>
                    <a:pt x="412225" y="33466"/>
                    <a:pt x="409691" y="47274"/>
                    <a:pt x="423120" y="42840"/>
                  </a:cubicBezTo>
                  <a:cubicBezTo>
                    <a:pt x="430594" y="40306"/>
                    <a:pt x="442122" y="37393"/>
                    <a:pt x="451116" y="31945"/>
                  </a:cubicBezTo>
                  <a:cubicBezTo>
                    <a:pt x="451116" y="31945"/>
                    <a:pt x="479493" y="64376"/>
                    <a:pt x="469992" y="74637"/>
                  </a:cubicBezTo>
                  <a:cubicBezTo>
                    <a:pt x="460491" y="84899"/>
                    <a:pt x="452130" y="92753"/>
                    <a:pt x="455550" y="104028"/>
                  </a:cubicBezTo>
                  <a:cubicBezTo>
                    <a:pt x="458844" y="115302"/>
                    <a:pt x="481900" y="114542"/>
                    <a:pt x="472019" y="128731"/>
                  </a:cubicBezTo>
                  <a:cubicBezTo>
                    <a:pt x="462138" y="142919"/>
                    <a:pt x="449216" y="153180"/>
                    <a:pt x="458464" y="166355"/>
                  </a:cubicBezTo>
                  <a:cubicBezTo>
                    <a:pt x="465558" y="176490"/>
                    <a:pt x="490135" y="186118"/>
                    <a:pt x="495835" y="193972"/>
                  </a:cubicBezTo>
                  <a:cubicBezTo>
                    <a:pt x="497482" y="196379"/>
                    <a:pt x="497482" y="198659"/>
                    <a:pt x="494822" y="200686"/>
                  </a:cubicBezTo>
                  <a:cubicBezTo>
                    <a:pt x="482914" y="209554"/>
                    <a:pt x="474046" y="218802"/>
                    <a:pt x="488234" y="225136"/>
                  </a:cubicBezTo>
                  <a:cubicBezTo>
                    <a:pt x="502423" y="231470"/>
                    <a:pt x="490515" y="264788"/>
                    <a:pt x="504703" y="265421"/>
                  </a:cubicBezTo>
                  <a:cubicBezTo>
                    <a:pt x="518892" y="266054"/>
                    <a:pt x="574379" y="254146"/>
                    <a:pt x="569438" y="270362"/>
                  </a:cubicBezTo>
                  <a:cubicBezTo>
                    <a:pt x="564497" y="286577"/>
                    <a:pt x="572352" y="299752"/>
                    <a:pt x="579953" y="294432"/>
                  </a:cubicBezTo>
                  <a:cubicBezTo>
                    <a:pt x="587554" y="289111"/>
                    <a:pt x="605416" y="288477"/>
                    <a:pt x="601108" y="272642"/>
                  </a:cubicBezTo>
                  <a:cubicBezTo>
                    <a:pt x="596801" y="256807"/>
                    <a:pt x="583246" y="245532"/>
                    <a:pt x="604782" y="244265"/>
                  </a:cubicBezTo>
                  <a:cubicBezTo>
                    <a:pt x="626192" y="242998"/>
                    <a:pt x="633539" y="247939"/>
                    <a:pt x="638480" y="236031"/>
                  </a:cubicBezTo>
                  <a:cubicBezTo>
                    <a:pt x="643421" y="224123"/>
                    <a:pt x="650768" y="205374"/>
                    <a:pt x="666857" y="212594"/>
                  </a:cubicBezTo>
                  <a:cubicBezTo>
                    <a:pt x="682565" y="219942"/>
                    <a:pt x="711956" y="240211"/>
                    <a:pt x="689913" y="25199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2" name="Полилиния: фигура 701">
              <a:extLst>
                <a:ext uri="{FF2B5EF4-FFF2-40B4-BE49-F238E27FC236}">
                  <a16:creationId xmlns:a16="http://schemas.microsoft.com/office/drawing/2014/main" id="{8B54549B-40D5-4974-A33C-CD3D7D9C24F3}"/>
                </a:ext>
              </a:extLst>
            </p:cNvPr>
            <p:cNvSpPr/>
            <p:nvPr/>
          </p:nvSpPr>
          <p:spPr>
            <a:xfrm>
              <a:off x="2028523" y="2639478"/>
              <a:ext cx="717754" cy="571591"/>
            </a:xfrm>
            <a:custGeom>
              <a:avLst/>
              <a:gdLst>
                <a:gd name="connsiteX0" fmla="*/ 711829 w 717754"/>
                <a:gd name="connsiteY0" fmla="*/ 321267 h 571591"/>
                <a:gd name="connsiteX1" fmla="*/ 707268 w 717754"/>
                <a:gd name="connsiteY1" fmla="*/ 331275 h 571591"/>
                <a:gd name="connsiteX2" fmla="*/ 663310 w 717754"/>
                <a:gd name="connsiteY2" fmla="*/ 352937 h 571591"/>
                <a:gd name="connsiteX3" fmla="*/ 632652 w 717754"/>
                <a:gd name="connsiteY3" fmla="*/ 378654 h 571591"/>
                <a:gd name="connsiteX4" fmla="*/ 619224 w 717754"/>
                <a:gd name="connsiteY4" fmla="*/ 421853 h 571591"/>
                <a:gd name="connsiteX5" fmla="*/ 590974 w 717754"/>
                <a:gd name="connsiteY5" fmla="*/ 461504 h 571591"/>
                <a:gd name="connsiteX6" fmla="*/ 588567 w 717754"/>
                <a:gd name="connsiteY6" fmla="*/ 501156 h 571591"/>
                <a:gd name="connsiteX7" fmla="*/ 547522 w 717754"/>
                <a:gd name="connsiteY7" fmla="*/ 553096 h 571591"/>
                <a:gd name="connsiteX8" fmla="*/ 514458 w 717754"/>
                <a:gd name="connsiteY8" fmla="*/ 571591 h 571591"/>
                <a:gd name="connsiteX9" fmla="*/ 515471 w 717754"/>
                <a:gd name="connsiteY9" fmla="*/ 569564 h 571591"/>
                <a:gd name="connsiteX10" fmla="*/ 515598 w 717754"/>
                <a:gd name="connsiteY10" fmla="*/ 569311 h 571591"/>
                <a:gd name="connsiteX11" fmla="*/ 516105 w 717754"/>
                <a:gd name="connsiteY11" fmla="*/ 567918 h 571591"/>
                <a:gd name="connsiteX12" fmla="*/ 516485 w 717754"/>
                <a:gd name="connsiteY12" fmla="*/ 566271 h 571591"/>
                <a:gd name="connsiteX13" fmla="*/ 516485 w 717754"/>
                <a:gd name="connsiteY13" fmla="*/ 563230 h 571591"/>
                <a:gd name="connsiteX14" fmla="*/ 516105 w 717754"/>
                <a:gd name="connsiteY14" fmla="*/ 561837 h 571591"/>
                <a:gd name="connsiteX15" fmla="*/ 515471 w 717754"/>
                <a:gd name="connsiteY15" fmla="*/ 560443 h 571591"/>
                <a:gd name="connsiteX16" fmla="*/ 514964 w 717754"/>
                <a:gd name="connsiteY16" fmla="*/ 559683 h 571591"/>
                <a:gd name="connsiteX17" fmla="*/ 514331 w 717754"/>
                <a:gd name="connsiteY17" fmla="*/ 558923 h 571591"/>
                <a:gd name="connsiteX18" fmla="*/ 508377 w 717754"/>
                <a:gd name="connsiteY18" fmla="*/ 554743 h 571591"/>
                <a:gd name="connsiteX19" fmla="*/ 447062 w 717754"/>
                <a:gd name="connsiteY19" fmla="*/ 512177 h 571591"/>
                <a:gd name="connsiteX20" fmla="*/ 400570 w 717754"/>
                <a:gd name="connsiteY20" fmla="*/ 494315 h 571591"/>
                <a:gd name="connsiteX21" fmla="*/ 352557 w 717754"/>
                <a:gd name="connsiteY21" fmla="*/ 470119 h 571591"/>
                <a:gd name="connsiteX22" fmla="*/ 309485 w 717754"/>
                <a:gd name="connsiteY22" fmla="*/ 443895 h 571591"/>
                <a:gd name="connsiteX23" fmla="*/ 313413 w 717754"/>
                <a:gd name="connsiteY23" fmla="*/ 379541 h 571591"/>
                <a:gd name="connsiteX24" fmla="*/ 258939 w 717754"/>
                <a:gd name="connsiteY24" fmla="*/ 403357 h 571591"/>
                <a:gd name="connsiteX25" fmla="*/ 212320 w 717754"/>
                <a:gd name="connsiteY25" fmla="*/ 389295 h 571591"/>
                <a:gd name="connsiteX26" fmla="*/ 212193 w 717754"/>
                <a:gd name="connsiteY26" fmla="*/ 389042 h 571591"/>
                <a:gd name="connsiteX27" fmla="*/ 195471 w 717754"/>
                <a:gd name="connsiteY27" fmla="*/ 357751 h 571591"/>
                <a:gd name="connsiteX28" fmla="*/ 171781 w 717754"/>
                <a:gd name="connsiteY28" fmla="*/ 317720 h 571591"/>
                <a:gd name="connsiteX29" fmla="*/ 83991 w 717754"/>
                <a:gd name="connsiteY29" fmla="*/ 285162 h 571591"/>
                <a:gd name="connsiteX30" fmla="*/ 37371 w 717754"/>
                <a:gd name="connsiteY30" fmla="*/ 237276 h 571591"/>
                <a:gd name="connsiteX31" fmla="*/ 27237 w 717754"/>
                <a:gd name="connsiteY31" fmla="*/ 203959 h 571591"/>
                <a:gd name="connsiteX32" fmla="*/ 7221 w 717754"/>
                <a:gd name="connsiteY32" fmla="*/ 161140 h 571591"/>
                <a:gd name="connsiteX33" fmla="*/ 5701 w 717754"/>
                <a:gd name="connsiteY33" fmla="*/ 158100 h 571591"/>
                <a:gd name="connsiteX34" fmla="*/ 3547 w 717754"/>
                <a:gd name="connsiteY34" fmla="*/ 153413 h 571591"/>
                <a:gd name="connsiteX35" fmla="*/ 1900 w 717754"/>
                <a:gd name="connsiteY35" fmla="*/ 149739 h 571591"/>
                <a:gd name="connsiteX36" fmla="*/ 0 w 717754"/>
                <a:gd name="connsiteY36" fmla="*/ 146192 h 571591"/>
                <a:gd name="connsiteX37" fmla="*/ 73349 w 717754"/>
                <a:gd name="connsiteY37" fmla="*/ 101093 h 571591"/>
                <a:gd name="connsiteX38" fmla="*/ 78797 w 717754"/>
                <a:gd name="connsiteY38" fmla="*/ 58021 h 571591"/>
                <a:gd name="connsiteX39" fmla="*/ 71956 w 717754"/>
                <a:gd name="connsiteY39" fmla="*/ 32304 h 571591"/>
                <a:gd name="connsiteX40" fmla="*/ 103626 w 717754"/>
                <a:gd name="connsiteY40" fmla="*/ 1647 h 571591"/>
                <a:gd name="connsiteX41" fmla="*/ 129470 w 717754"/>
                <a:gd name="connsiteY41" fmla="*/ 0 h 571591"/>
                <a:gd name="connsiteX42" fmla="*/ 153919 w 717754"/>
                <a:gd name="connsiteY42" fmla="*/ 24450 h 571591"/>
                <a:gd name="connsiteX43" fmla="*/ 202059 w 717754"/>
                <a:gd name="connsiteY43" fmla="*/ 39271 h 571591"/>
                <a:gd name="connsiteX44" fmla="*/ 254505 w 717754"/>
                <a:gd name="connsiteY44" fmla="*/ 72969 h 571591"/>
                <a:gd name="connsiteX45" fmla="*/ 314933 w 717754"/>
                <a:gd name="connsiteY45" fmla="*/ 69549 h 571591"/>
                <a:gd name="connsiteX46" fmla="*/ 332288 w 717754"/>
                <a:gd name="connsiteY46" fmla="*/ 86904 h 571591"/>
                <a:gd name="connsiteX47" fmla="*/ 364972 w 717754"/>
                <a:gd name="connsiteY47" fmla="*/ 109200 h 571591"/>
                <a:gd name="connsiteX48" fmla="*/ 422359 w 717754"/>
                <a:gd name="connsiteY48" fmla="*/ 85511 h 571591"/>
                <a:gd name="connsiteX49" fmla="*/ 427807 w 717754"/>
                <a:gd name="connsiteY49" fmla="*/ 51813 h 571591"/>
                <a:gd name="connsiteX50" fmla="*/ 467965 w 717754"/>
                <a:gd name="connsiteY50" fmla="*/ 84497 h 571591"/>
                <a:gd name="connsiteX51" fmla="*/ 495709 w 717754"/>
                <a:gd name="connsiteY51" fmla="*/ 93365 h 571591"/>
                <a:gd name="connsiteX52" fmla="*/ 495709 w 717754"/>
                <a:gd name="connsiteY52" fmla="*/ 156200 h 571591"/>
                <a:gd name="connsiteX53" fmla="*/ 516738 w 717754"/>
                <a:gd name="connsiteY53" fmla="*/ 163674 h 571591"/>
                <a:gd name="connsiteX54" fmla="*/ 547268 w 717754"/>
                <a:gd name="connsiteY54" fmla="*/ 184956 h 571591"/>
                <a:gd name="connsiteX55" fmla="*/ 588820 w 717754"/>
                <a:gd name="connsiteY55" fmla="*/ 184956 h 571591"/>
                <a:gd name="connsiteX56" fmla="*/ 632399 w 717754"/>
                <a:gd name="connsiteY56" fmla="*/ 246777 h 571591"/>
                <a:gd name="connsiteX57" fmla="*/ 652415 w 717754"/>
                <a:gd name="connsiteY57" fmla="*/ 254252 h 571591"/>
                <a:gd name="connsiteX58" fmla="*/ 699667 w 717754"/>
                <a:gd name="connsiteY58" fmla="*/ 254252 h 571591"/>
                <a:gd name="connsiteX59" fmla="*/ 711829 w 717754"/>
                <a:gd name="connsiteY59" fmla="*/ 321267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717754" h="571591">
                  <a:moveTo>
                    <a:pt x="711829" y="321267"/>
                  </a:moveTo>
                  <a:cubicBezTo>
                    <a:pt x="710816" y="325321"/>
                    <a:pt x="709295" y="328614"/>
                    <a:pt x="707268" y="331275"/>
                  </a:cubicBezTo>
                  <a:cubicBezTo>
                    <a:pt x="697134" y="345463"/>
                    <a:pt x="676231" y="343816"/>
                    <a:pt x="663310" y="352937"/>
                  </a:cubicBezTo>
                  <a:cubicBezTo>
                    <a:pt x="647981" y="363832"/>
                    <a:pt x="647981" y="369279"/>
                    <a:pt x="632652" y="378654"/>
                  </a:cubicBezTo>
                  <a:cubicBezTo>
                    <a:pt x="617324" y="387902"/>
                    <a:pt x="618844" y="402977"/>
                    <a:pt x="619224" y="421853"/>
                  </a:cubicBezTo>
                  <a:cubicBezTo>
                    <a:pt x="619731" y="440602"/>
                    <a:pt x="605416" y="448076"/>
                    <a:pt x="590974" y="461504"/>
                  </a:cubicBezTo>
                  <a:cubicBezTo>
                    <a:pt x="576659" y="474806"/>
                    <a:pt x="590467" y="479367"/>
                    <a:pt x="588567" y="501156"/>
                  </a:cubicBezTo>
                  <a:cubicBezTo>
                    <a:pt x="586540" y="522945"/>
                    <a:pt x="558290" y="537767"/>
                    <a:pt x="547522" y="553096"/>
                  </a:cubicBezTo>
                  <a:cubicBezTo>
                    <a:pt x="536627" y="568424"/>
                    <a:pt x="514458" y="571591"/>
                    <a:pt x="514458" y="571591"/>
                  </a:cubicBezTo>
                  <a:cubicBezTo>
                    <a:pt x="514838" y="570831"/>
                    <a:pt x="515218" y="570198"/>
                    <a:pt x="515471" y="569564"/>
                  </a:cubicBezTo>
                  <a:cubicBezTo>
                    <a:pt x="515471" y="569438"/>
                    <a:pt x="515598" y="569438"/>
                    <a:pt x="515598" y="569311"/>
                  </a:cubicBezTo>
                  <a:cubicBezTo>
                    <a:pt x="515851" y="568804"/>
                    <a:pt x="515978" y="568424"/>
                    <a:pt x="516105" y="567918"/>
                  </a:cubicBezTo>
                  <a:cubicBezTo>
                    <a:pt x="516231" y="567411"/>
                    <a:pt x="516358" y="566777"/>
                    <a:pt x="516485" y="566271"/>
                  </a:cubicBezTo>
                  <a:cubicBezTo>
                    <a:pt x="516738" y="565257"/>
                    <a:pt x="516738" y="564244"/>
                    <a:pt x="516485" y="563230"/>
                  </a:cubicBezTo>
                  <a:cubicBezTo>
                    <a:pt x="516358" y="562724"/>
                    <a:pt x="516358" y="562344"/>
                    <a:pt x="516105" y="561837"/>
                  </a:cubicBezTo>
                  <a:cubicBezTo>
                    <a:pt x="515978" y="561330"/>
                    <a:pt x="515725" y="560950"/>
                    <a:pt x="515471" y="560443"/>
                  </a:cubicBezTo>
                  <a:cubicBezTo>
                    <a:pt x="515344" y="560190"/>
                    <a:pt x="515091" y="559937"/>
                    <a:pt x="514964" y="559683"/>
                  </a:cubicBezTo>
                  <a:cubicBezTo>
                    <a:pt x="514838" y="559430"/>
                    <a:pt x="514584" y="559177"/>
                    <a:pt x="514331" y="558923"/>
                  </a:cubicBezTo>
                  <a:cubicBezTo>
                    <a:pt x="513064" y="557403"/>
                    <a:pt x="511037" y="556009"/>
                    <a:pt x="508377" y="554743"/>
                  </a:cubicBezTo>
                  <a:cubicBezTo>
                    <a:pt x="484561" y="543848"/>
                    <a:pt x="465305" y="523579"/>
                    <a:pt x="447062" y="512177"/>
                  </a:cubicBezTo>
                  <a:cubicBezTo>
                    <a:pt x="428820" y="500776"/>
                    <a:pt x="423373" y="508250"/>
                    <a:pt x="400570" y="494315"/>
                  </a:cubicBezTo>
                  <a:cubicBezTo>
                    <a:pt x="377767" y="480507"/>
                    <a:pt x="368899" y="469612"/>
                    <a:pt x="352557" y="470119"/>
                  </a:cubicBezTo>
                  <a:cubicBezTo>
                    <a:pt x="336215" y="470625"/>
                    <a:pt x="304545" y="457704"/>
                    <a:pt x="309485" y="443895"/>
                  </a:cubicBezTo>
                  <a:cubicBezTo>
                    <a:pt x="314426" y="430087"/>
                    <a:pt x="329755" y="372573"/>
                    <a:pt x="313413" y="379541"/>
                  </a:cubicBezTo>
                  <a:cubicBezTo>
                    <a:pt x="297070" y="386508"/>
                    <a:pt x="274774" y="408298"/>
                    <a:pt x="258939" y="403357"/>
                  </a:cubicBezTo>
                  <a:cubicBezTo>
                    <a:pt x="244497" y="398923"/>
                    <a:pt x="229295" y="387775"/>
                    <a:pt x="212320" y="389295"/>
                  </a:cubicBezTo>
                  <a:cubicBezTo>
                    <a:pt x="212320" y="389169"/>
                    <a:pt x="212320" y="389042"/>
                    <a:pt x="212193" y="389042"/>
                  </a:cubicBezTo>
                  <a:cubicBezTo>
                    <a:pt x="207886" y="378147"/>
                    <a:pt x="201172" y="367759"/>
                    <a:pt x="195471" y="357751"/>
                  </a:cubicBezTo>
                  <a:cubicBezTo>
                    <a:pt x="187997" y="344450"/>
                    <a:pt x="181283" y="329755"/>
                    <a:pt x="171781" y="317720"/>
                  </a:cubicBezTo>
                  <a:cubicBezTo>
                    <a:pt x="150245" y="290483"/>
                    <a:pt x="114268" y="294283"/>
                    <a:pt x="83991" y="285162"/>
                  </a:cubicBezTo>
                  <a:cubicBezTo>
                    <a:pt x="60428" y="278068"/>
                    <a:pt x="46239" y="259192"/>
                    <a:pt x="37371" y="237276"/>
                  </a:cubicBezTo>
                  <a:cubicBezTo>
                    <a:pt x="32937" y="226382"/>
                    <a:pt x="30530" y="215107"/>
                    <a:pt x="27237" y="203959"/>
                  </a:cubicBezTo>
                  <a:cubicBezTo>
                    <a:pt x="22930" y="189137"/>
                    <a:pt x="14442" y="174695"/>
                    <a:pt x="7221" y="161140"/>
                  </a:cubicBezTo>
                  <a:cubicBezTo>
                    <a:pt x="6714" y="160127"/>
                    <a:pt x="6207" y="159113"/>
                    <a:pt x="5701" y="158100"/>
                  </a:cubicBezTo>
                  <a:cubicBezTo>
                    <a:pt x="4941" y="156580"/>
                    <a:pt x="4181" y="154933"/>
                    <a:pt x="3547" y="153413"/>
                  </a:cubicBezTo>
                  <a:cubicBezTo>
                    <a:pt x="3040" y="152146"/>
                    <a:pt x="2407" y="150879"/>
                    <a:pt x="1900" y="149739"/>
                  </a:cubicBezTo>
                  <a:cubicBezTo>
                    <a:pt x="1267" y="148472"/>
                    <a:pt x="633" y="147332"/>
                    <a:pt x="0" y="146192"/>
                  </a:cubicBezTo>
                  <a:cubicBezTo>
                    <a:pt x="0" y="146192"/>
                    <a:pt x="66002" y="122375"/>
                    <a:pt x="73349" y="101093"/>
                  </a:cubicBezTo>
                  <a:cubicBezTo>
                    <a:pt x="80697" y="79810"/>
                    <a:pt x="89184" y="71956"/>
                    <a:pt x="78797" y="58021"/>
                  </a:cubicBezTo>
                  <a:cubicBezTo>
                    <a:pt x="68408" y="44212"/>
                    <a:pt x="62454" y="44592"/>
                    <a:pt x="71956" y="32304"/>
                  </a:cubicBezTo>
                  <a:cubicBezTo>
                    <a:pt x="81330" y="19889"/>
                    <a:pt x="84751" y="1647"/>
                    <a:pt x="103626" y="1647"/>
                  </a:cubicBezTo>
                  <a:cubicBezTo>
                    <a:pt x="118448" y="1647"/>
                    <a:pt x="126556" y="5321"/>
                    <a:pt x="129470" y="0"/>
                  </a:cubicBezTo>
                  <a:cubicBezTo>
                    <a:pt x="129470" y="0"/>
                    <a:pt x="139731" y="12035"/>
                    <a:pt x="153919" y="24450"/>
                  </a:cubicBezTo>
                  <a:cubicBezTo>
                    <a:pt x="168108" y="36864"/>
                    <a:pt x="185717" y="41298"/>
                    <a:pt x="202059" y="39271"/>
                  </a:cubicBezTo>
                  <a:cubicBezTo>
                    <a:pt x="218401" y="37244"/>
                    <a:pt x="232716" y="61568"/>
                    <a:pt x="254505" y="72969"/>
                  </a:cubicBezTo>
                  <a:cubicBezTo>
                    <a:pt x="276295" y="84370"/>
                    <a:pt x="303531" y="71956"/>
                    <a:pt x="314933" y="69549"/>
                  </a:cubicBezTo>
                  <a:cubicBezTo>
                    <a:pt x="326334" y="67015"/>
                    <a:pt x="324814" y="84370"/>
                    <a:pt x="332288" y="86904"/>
                  </a:cubicBezTo>
                  <a:cubicBezTo>
                    <a:pt x="339762" y="89311"/>
                    <a:pt x="340776" y="103753"/>
                    <a:pt x="364972" y="109200"/>
                  </a:cubicBezTo>
                  <a:cubicBezTo>
                    <a:pt x="389169" y="114648"/>
                    <a:pt x="403104" y="100839"/>
                    <a:pt x="422359" y="85511"/>
                  </a:cubicBezTo>
                  <a:cubicBezTo>
                    <a:pt x="441615" y="70182"/>
                    <a:pt x="423880" y="66255"/>
                    <a:pt x="427807" y="51813"/>
                  </a:cubicBezTo>
                  <a:cubicBezTo>
                    <a:pt x="431734" y="37498"/>
                    <a:pt x="458464" y="69675"/>
                    <a:pt x="467965" y="84497"/>
                  </a:cubicBezTo>
                  <a:cubicBezTo>
                    <a:pt x="477340" y="99319"/>
                    <a:pt x="481267" y="93872"/>
                    <a:pt x="495709" y="93365"/>
                  </a:cubicBezTo>
                  <a:cubicBezTo>
                    <a:pt x="510024" y="92858"/>
                    <a:pt x="495202" y="129470"/>
                    <a:pt x="495709" y="156200"/>
                  </a:cubicBezTo>
                  <a:cubicBezTo>
                    <a:pt x="496215" y="182929"/>
                    <a:pt x="506603" y="164054"/>
                    <a:pt x="516738" y="163674"/>
                  </a:cubicBezTo>
                  <a:cubicBezTo>
                    <a:pt x="526873" y="163167"/>
                    <a:pt x="536247" y="177989"/>
                    <a:pt x="547268" y="184956"/>
                  </a:cubicBezTo>
                  <a:cubicBezTo>
                    <a:pt x="558163" y="191797"/>
                    <a:pt x="565131" y="184956"/>
                    <a:pt x="588820" y="184956"/>
                  </a:cubicBezTo>
                  <a:cubicBezTo>
                    <a:pt x="612510" y="184956"/>
                    <a:pt x="620491" y="232969"/>
                    <a:pt x="632399" y="246777"/>
                  </a:cubicBezTo>
                  <a:cubicBezTo>
                    <a:pt x="636960" y="251971"/>
                    <a:pt x="643927" y="253872"/>
                    <a:pt x="652415" y="254252"/>
                  </a:cubicBezTo>
                  <a:cubicBezTo>
                    <a:pt x="666223" y="254885"/>
                    <a:pt x="683706" y="251845"/>
                    <a:pt x="699667" y="254252"/>
                  </a:cubicBezTo>
                  <a:cubicBezTo>
                    <a:pt x="725131" y="257419"/>
                    <a:pt x="718163" y="295930"/>
                    <a:pt x="711829" y="32126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3" name="Полилиния: фигура 702">
              <a:extLst>
                <a:ext uri="{FF2B5EF4-FFF2-40B4-BE49-F238E27FC236}">
                  <a16:creationId xmlns:a16="http://schemas.microsoft.com/office/drawing/2014/main" id="{4349D2A9-8138-4490-915F-8562171A6C2C}"/>
                </a:ext>
              </a:extLst>
            </p:cNvPr>
            <p:cNvSpPr/>
            <p:nvPr/>
          </p:nvSpPr>
          <p:spPr>
            <a:xfrm>
              <a:off x="2603885" y="3284672"/>
              <a:ext cx="368042" cy="297483"/>
            </a:xfrm>
            <a:custGeom>
              <a:avLst/>
              <a:gdLst>
                <a:gd name="connsiteX0" fmla="*/ 368042 w 368042"/>
                <a:gd name="connsiteY0" fmla="*/ 225748 h 297483"/>
                <a:gd name="connsiteX1" fmla="*/ 367916 w 368042"/>
                <a:gd name="connsiteY1" fmla="*/ 228662 h 297483"/>
                <a:gd name="connsiteX2" fmla="*/ 367029 w 368042"/>
                <a:gd name="connsiteY2" fmla="*/ 230182 h 297483"/>
                <a:gd name="connsiteX3" fmla="*/ 367029 w 368042"/>
                <a:gd name="connsiteY3" fmla="*/ 230182 h 297483"/>
                <a:gd name="connsiteX4" fmla="*/ 357654 w 368042"/>
                <a:gd name="connsiteY4" fmla="*/ 234743 h 297483"/>
                <a:gd name="connsiteX5" fmla="*/ 269990 w 368042"/>
                <a:gd name="connsiteY5" fmla="*/ 256025 h 297483"/>
                <a:gd name="connsiteX6" fmla="*/ 170545 w 368042"/>
                <a:gd name="connsiteY6" fmla="*/ 296437 h 297483"/>
                <a:gd name="connsiteX7" fmla="*/ 170164 w 368042"/>
                <a:gd name="connsiteY7" fmla="*/ 296310 h 297483"/>
                <a:gd name="connsiteX8" fmla="*/ 137607 w 368042"/>
                <a:gd name="connsiteY8" fmla="*/ 264640 h 297483"/>
                <a:gd name="connsiteX9" fmla="*/ 129119 w 368042"/>
                <a:gd name="connsiteY9" fmla="*/ 236263 h 297483"/>
                <a:gd name="connsiteX10" fmla="*/ 104036 w 368042"/>
                <a:gd name="connsiteY10" fmla="*/ 227015 h 297483"/>
                <a:gd name="connsiteX11" fmla="*/ 83513 w 368042"/>
                <a:gd name="connsiteY11" fmla="*/ 211180 h 297483"/>
                <a:gd name="connsiteX12" fmla="*/ 80980 w 368042"/>
                <a:gd name="connsiteY12" fmla="*/ 199272 h 297483"/>
                <a:gd name="connsiteX13" fmla="*/ 56530 w 368042"/>
                <a:gd name="connsiteY13" fmla="*/ 177482 h 297483"/>
                <a:gd name="connsiteX14" fmla="*/ 45382 w 368042"/>
                <a:gd name="connsiteY14" fmla="*/ 121995 h 297483"/>
                <a:gd name="connsiteX15" fmla="*/ 16372 w 368042"/>
                <a:gd name="connsiteY15" fmla="*/ 100206 h 297483"/>
                <a:gd name="connsiteX16" fmla="*/ 6491 w 368042"/>
                <a:gd name="connsiteY16" fmla="*/ 40158 h 297483"/>
                <a:gd name="connsiteX17" fmla="*/ 5224 w 368042"/>
                <a:gd name="connsiteY17" fmla="*/ 26730 h 297483"/>
                <a:gd name="connsiteX18" fmla="*/ 60711 w 368042"/>
                <a:gd name="connsiteY18" fmla="*/ 0 h 297483"/>
                <a:gd name="connsiteX19" fmla="*/ 125065 w 368042"/>
                <a:gd name="connsiteY19" fmla="*/ 23183 h 297483"/>
                <a:gd name="connsiteX20" fmla="*/ 126966 w 368042"/>
                <a:gd name="connsiteY20" fmla="*/ 23436 h 297483"/>
                <a:gd name="connsiteX21" fmla="*/ 128106 w 368042"/>
                <a:gd name="connsiteY21" fmla="*/ 23690 h 297483"/>
                <a:gd name="connsiteX22" fmla="*/ 128106 w 368042"/>
                <a:gd name="connsiteY22" fmla="*/ 23690 h 297483"/>
                <a:gd name="connsiteX23" fmla="*/ 128866 w 368042"/>
                <a:gd name="connsiteY23" fmla="*/ 23816 h 297483"/>
                <a:gd name="connsiteX24" fmla="*/ 128866 w 368042"/>
                <a:gd name="connsiteY24" fmla="*/ 23816 h 297483"/>
                <a:gd name="connsiteX25" fmla="*/ 129246 w 368042"/>
                <a:gd name="connsiteY25" fmla="*/ 23943 h 297483"/>
                <a:gd name="connsiteX26" fmla="*/ 130513 w 368042"/>
                <a:gd name="connsiteY26" fmla="*/ 24196 h 297483"/>
                <a:gd name="connsiteX27" fmla="*/ 130893 w 368042"/>
                <a:gd name="connsiteY27" fmla="*/ 24323 h 297483"/>
                <a:gd name="connsiteX28" fmla="*/ 132793 w 368042"/>
                <a:gd name="connsiteY28" fmla="*/ 24830 h 297483"/>
                <a:gd name="connsiteX29" fmla="*/ 136087 w 368042"/>
                <a:gd name="connsiteY29" fmla="*/ 26097 h 297483"/>
                <a:gd name="connsiteX30" fmla="*/ 137734 w 368042"/>
                <a:gd name="connsiteY30" fmla="*/ 26857 h 297483"/>
                <a:gd name="connsiteX31" fmla="*/ 140141 w 368042"/>
                <a:gd name="connsiteY31" fmla="*/ 27997 h 297483"/>
                <a:gd name="connsiteX32" fmla="*/ 156356 w 368042"/>
                <a:gd name="connsiteY32" fmla="*/ 38765 h 297483"/>
                <a:gd name="connsiteX33" fmla="*/ 157623 w 368042"/>
                <a:gd name="connsiteY33" fmla="*/ 39778 h 297483"/>
                <a:gd name="connsiteX34" fmla="*/ 158890 w 368042"/>
                <a:gd name="connsiteY34" fmla="*/ 40792 h 297483"/>
                <a:gd name="connsiteX35" fmla="*/ 161803 w 368042"/>
                <a:gd name="connsiteY35" fmla="*/ 43325 h 297483"/>
                <a:gd name="connsiteX36" fmla="*/ 170671 w 368042"/>
                <a:gd name="connsiteY36" fmla="*/ 51940 h 297483"/>
                <a:gd name="connsiteX37" fmla="*/ 227805 w 368042"/>
                <a:gd name="connsiteY37" fmla="*/ 99952 h 297483"/>
                <a:gd name="connsiteX38" fmla="*/ 258969 w 368042"/>
                <a:gd name="connsiteY38" fmla="*/ 91591 h 297483"/>
                <a:gd name="connsiteX39" fmla="*/ 279238 w 368042"/>
                <a:gd name="connsiteY39" fmla="*/ 127696 h 297483"/>
                <a:gd name="connsiteX40" fmla="*/ 321297 w 368042"/>
                <a:gd name="connsiteY40" fmla="*/ 157846 h 297483"/>
                <a:gd name="connsiteX41" fmla="*/ 319776 w 368042"/>
                <a:gd name="connsiteY41" fmla="*/ 185590 h 297483"/>
                <a:gd name="connsiteX42" fmla="*/ 357401 w 368042"/>
                <a:gd name="connsiteY42" fmla="*/ 203452 h 297483"/>
                <a:gd name="connsiteX43" fmla="*/ 368042 w 368042"/>
                <a:gd name="connsiteY43" fmla="*/ 225748 h 29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8042" h="297483">
                  <a:moveTo>
                    <a:pt x="368042" y="225748"/>
                  </a:moveTo>
                  <a:cubicBezTo>
                    <a:pt x="368042" y="226128"/>
                    <a:pt x="367916" y="227142"/>
                    <a:pt x="367916" y="228662"/>
                  </a:cubicBezTo>
                  <a:cubicBezTo>
                    <a:pt x="367789" y="229169"/>
                    <a:pt x="367409" y="229675"/>
                    <a:pt x="367029" y="230182"/>
                  </a:cubicBezTo>
                  <a:lnTo>
                    <a:pt x="367029" y="230182"/>
                  </a:lnTo>
                  <a:cubicBezTo>
                    <a:pt x="365635" y="231956"/>
                    <a:pt x="362722" y="233349"/>
                    <a:pt x="357654" y="234743"/>
                  </a:cubicBezTo>
                  <a:cubicBezTo>
                    <a:pt x="336879" y="240190"/>
                    <a:pt x="295834" y="245131"/>
                    <a:pt x="269990" y="256025"/>
                  </a:cubicBezTo>
                  <a:cubicBezTo>
                    <a:pt x="244274" y="266920"/>
                    <a:pt x="201962" y="304165"/>
                    <a:pt x="170545" y="296437"/>
                  </a:cubicBezTo>
                  <a:cubicBezTo>
                    <a:pt x="170418" y="296437"/>
                    <a:pt x="170291" y="296437"/>
                    <a:pt x="170164" y="296310"/>
                  </a:cubicBezTo>
                  <a:cubicBezTo>
                    <a:pt x="174092" y="283389"/>
                    <a:pt x="152175" y="270087"/>
                    <a:pt x="137607" y="264640"/>
                  </a:cubicBezTo>
                  <a:cubicBezTo>
                    <a:pt x="121772" y="258686"/>
                    <a:pt x="123165" y="248171"/>
                    <a:pt x="129119" y="236263"/>
                  </a:cubicBezTo>
                  <a:cubicBezTo>
                    <a:pt x="135073" y="224355"/>
                    <a:pt x="115944" y="227015"/>
                    <a:pt x="104036" y="227015"/>
                  </a:cubicBezTo>
                  <a:cubicBezTo>
                    <a:pt x="92128" y="227015"/>
                    <a:pt x="88834" y="213207"/>
                    <a:pt x="83513" y="211180"/>
                  </a:cubicBezTo>
                  <a:cubicBezTo>
                    <a:pt x="78066" y="209280"/>
                    <a:pt x="72366" y="205226"/>
                    <a:pt x="80980" y="199272"/>
                  </a:cubicBezTo>
                  <a:cubicBezTo>
                    <a:pt x="89594" y="193317"/>
                    <a:pt x="75026" y="191924"/>
                    <a:pt x="56530" y="177482"/>
                  </a:cubicBezTo>
                  <a:cubicBezTo>
                    <a:pt x="38035" y="163040"/>
                    <a:pt x="44622" y="139224"/>
                    <a:pt x="45382" y="121995"/>
                  </a:cubicBezTo>
                  <a:cubicBezTo>
                    <a:pt x="46016" y="104766"/>
                    <a:pt x="36134" y="106160"/>
                    <a:pt x="16372" y="100206"/>
                  </a:cubicBezTo>
                  <a:cubicBezTo>
                    <a:pt x="-3391" y="94252"/>
                    <a:pt x="-3391" y="58654"/>
                    <a:pt x="6491" y="40158"/>
                  </a:cubicBezTo>
                  <a:cubicBezTo>
                    <a:pt x="8644" y="36231"/>
                    <a:pt x="7884" y="31671"/>
                    <a:pt x="5224" y="26730"/>
                  </a:cubicBezTo>
                  <a:cubicBezTo>
                    <a:pt x="6110" y="25970"/>
                    <a:pt x="35881" y="0"/>
                    <a:pt x="60711" y="0"/>
                  </a:cubicBezTo>
                  <a:cubicBezTo>
                    <a:pt x="85920" y="0"/>
                    <a:pt x="114171" y="22676"/>
                    <a:pt x="125065" y="23183"/>
                  </a:cubicBezTo>
                  <a:cubicBezTo>
                    <a:pt x="125699" y="23183"/>
                    <a:pt x="126332" y="23310"/>
                    <a:pt x="126966" y="23436"/>
                  </a:cubicBezTo>
                  <a:cubicBezTo>
                    <a:pt x="127346" y="23563"/>
                    <a:pt x="127726" y="23563"/>
                    <a:pt x="128106" y="23690"/>
                  </a:cubicBezTo>
                  <a:lnTo>
                    <a:pt x="128106" y="23690"/>
                  </a:lnTo>
                  <a:cubicBezTo>
                    <a:pt x="128359" y="23690"/>
                    <a:pt x="128612" y="23690"/>
                    <a:pt x="128866" y="23816"/>
                  </a:cubicBezTo>
                  <a:lnTo>
                    <a:pt x="128866" y="23816"/>
                  </a:lnTo>
                  <a:cubicBezTo>
                    <a:pt x="128993" y="23816"/>
                    <a:pt x="129119" y="23816"/>
                    <a:pt x="129246" y="23943"/>
                  </a:cubicBezTo>
                  <a:cubicBezTo>
                    <a:pt x="129626" y="23943"/>
                    <a:pt x="130133" y="24070"/>
                    <a:pt x="130513" y="24196"/>
                  </a:cubicBezTo>
                  <a:cubicBezTo>
                    <a:pt x="130639" y="24196"/>
                    <a:pt x="130766" y="24196"/>
                    <a:pt x="130893" y="24323"/>
                  </a:cubicBezTo>
                  <a:cubicBezTo>
                    <a:pt x="131526" y="24450"/>
                    <a:pt x="132160" y="24703"/>
                    <a:pt x="132793" y="24830"/>
                  </a:cubicBezTo>
                  <a:cubicBezTo>
                    <a:pt x="133806" y="25083"/>
                    <a:pt x="134947" y="25590"/>
                    <a:pt x="136087" y="26097"/>
                  </a:cubicBezTo>
                  <a:cubicBezTo>
                    <a:pt x="136593" y="26350"/>
                    <a:pt x="137100" y="26603"/>
                    <a:pt x="137734" y="26857"/>
                  </a:cubicBezTo>
                  <a:cubicBezTo>
                    <a:pt x="138494" y="27237"/>
                    <a:pt x="139381" y="27617"/>
                    <a:pt x="140141" y="27997"/>
                  </a:cubicBezTo>
                  <a:cubicBezTo>
                    <a:pt x="145081" y="30531"/>
                    <a:pt x="150655" y="34078"/>
                    <a:pt x="156356" y="38765"/>
                  </a:cubicBezTo>
                  <a:cubicBezTo>
                    <a:pt x="156736" y="39145"/>
                    <a:pt x="157243" y="39398"/>
                    <a:pt x="157623" y="39778"/>
                  </a:cubicBezTo>
                  <a:cubicBezTo>
                    <a:pt x="158003" y="40032"/>
                    <a:pt x="158510" y="40412"/>
                    <a:pt x="158890" y="40792"/>
                  </a:cubicBezTo>
                  <a:cubicBezTo>
                    <a:pt x="159903" y="41552"/>
                    <a:pt x="160790" y="42439"/>
                    <a:pt x="161803" y="43325"/>
                  </a:cubicBezTo>
                  <a:cubicBezTo>
                    <a:pt x="164717" y="45859"/>
                    <a:pt x="167631" y="48773"/>
                    <a:pt x="170671" y="51940"/>
                  </a:cubicBezTo>
                  <a:cubicBezTo>
                    <a:pt x="188787" y="70689"/>
                    <a:pt x="209056" y="108314"/>
                    <a:pt x="227805" y="99952"/>
                  </a:cubicBezTo>
                  <a:cubicBezTo>
                    <a:pt x="246681" y="91591"/>
                    <a:pt x="255548" y="77656"/>
                    <a:pt x="258969" y="91591"/>
                  </a:cubicBezTo>
                  <a:cubicBezTo>
                    <a:pt x="262389" y="105400"/>
                    <a:pt x="268850" y="123769"/>
                    <a:pt x="279238" y="127696"/>
                  </a:cubicBezTo>
                  <a:cubicBezTo>
                    <a:pt x="289626" y="131623"/>
                    <a:pt x="329784" y="144545"/>
                    <a:pt x="321297" y="157846"/>
                  </a:cubicBezTo>
                  <a:cubicBezTo>
                    <a:pt x="312809" y="171148"/>
                    <a:pt x="307995" y="185590"/>
                    <a:pt x="319776" y="185590"/>
                  </a:cubicBezTo>
                  <a:cubicBezTo>
                    <a:pt x="331685" y="185590"/>
                    <a:pt x="351954" y="185590"/>
                    <a:pt x="357401" y="203452"/>
                  </a:cubicBezTo>
                  <a:cubicBezTo>
                    <a:pt x="360821" y="213713"/>
                    <a:pt x="367029" y="220681"/>
                    <a:pt x="368042" y="22574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4" name="Полилиния: фигура 703">
              <a:extLst>
                <a:ext uri="{FF2B5EF4-FFF2-40B4-BE49-F238E27FC236}">
                  <a16:creationId xmlns:a16="http://schemas.microsoft.com/office/drawing/2014/main" id="{5F9D1AC5-759B-43EA-BEE8-C7BBDB692880}"/>
                </a:ext>
              </a:extLst>
            </p:cNvPr>
            <p:cNvSpPr/>
            <p:nvPr/>
          </p:nvSpPr>
          <p:spPr>
            <a:xfrm>
              <a:off x="2733131" y="3161699"/>
              <a:ext cx="709664" cy="470843"/>
            </a:xfrm>
            <a:custGeom>
              <a:avLst/>
              <a:gdLst>
                <a:gd name="connsiteX0" fmla="*/ 709042 w 709664"/>
                <a:gd name="connsiteY0" fmla="*/ 338587 h 470843"/>
                <a:gd name="connsiteX1" fmla="*/ 684212 w 709664"/>
                <a:gd name="connsiteY1" fmla="*/ 353282 h 470843"/>
                <a:gd name="connsiteX2" fmla="*/ 678258 w 709664"/>
                <a:gd name="connsiteY2" fmla="*/ 394454 h 470843"/>
                <a:gd name="connsiteX3" fmla="*/ 664830 w 709664"/>
                <a:gd name="connsiteY3" fmla="*/ 431066 h 470843"/>
                <a:gd name="connsiteX4" fmla="*/ 643041 w 709664"/>
                <a:gd name="connsiteY4" fmla="*/ 427138 h 470843"/>
                <a:gd name="connsiteX5" fmla="*/ 607949 w 709664"/>
                <a:gd name="connsiteY5" fmla="*/ 424605 h 470843"/>
                <a:gd name="connsiteX6" fmla="*/ 572858 w 709664"/>
                <a:gd name="connsiteY6" fmla="*/ 432459 h 470843"/>
                <a:gd name="connsiteX7" fmla="*/ 540174 w 709664"/>
                <a:gd name="connsiteY7" fmla="*/ 421564 h 470843"/>
                <a:gd name="connsiteX8" fmla="*/ 485194 w 709664"/>
                <a:gd name="connsiteY8" fmla="*/ 470844 h 470843"/>
                <a:gd name="connsiteX9" fmla="*/ 483040 w 709664"/>
                <a:gd name="connsiteY9" fmla="*/ 466790 h 470843"/>
                <a:gd name="connsiteX10" fmla="*/ 482280 w 709664"/>
                <a:gd name="connsiteY10" fmla="*/ 465270 h 470843"/>
                <a:gd name="connsiteX11" fmla="*/ 480507 w 709664"/>
                <a:gd name="connsiteY11" fmla="*/ 462229 h 470843"/>
                <a:gd name="connsiteX12" fmla="*/ 479493 w 709664"/>
                <a:gd name="connsiteY12" fmla="*/ 460456 h 470843"/>
                <a:gd name="connsiteX13" fmla="*/ 478353 w 709664"/>
                <a:gd name="connsiteY13" fmla="*/ 458682 h 470843"/>
                <a:gd name="connsiteX14" fmla="*/ 477213 w 709664"/>
                <a:gd name="connsiteY14" fmla="*/ 456909 h 470843"/>
                <a:gd name="connsiteX15" fmla="*/ 476200 w 709664"/>
                <a:gd name="connsiteY15" fmla="*/ 455389 h 470843"/>
                <a:gd name="connsiteX16" fmla="*/ 475186 w 709664"/>
                <a:gd name="connsiteY16" fmla="*/ 453868 h 470843"/>
                <a:gd name="connsiteX17" fmla="*/ 471006 w 709664"/>
                <a:gd name="connsiteY17" fmla="*/ 448674 h 470843"/>
                <a:gd name="connsiteX18" fmla="*/ 469866 w 709664"/>
                <a:gd name="connsiteY18" fmla="*/ 447534 h 470843"/>
                <a:gd name="connsiteX19" fmla="*/ 467965 w 709664"/>
                <a:gd name="connsiteY19" fmla="*/ 445634 h 470843"/>
                <a:gd name="connsiteX20" fmla="*/ 406524 w 709664"/>
                <a:gd name="connsiteY20" fmla="*/ 430179 h 470843"/>
                <a:gd name="connsiteX21" fmla="*/ 403864 w 709664"/>
                <a:gd name="connsiteY21" fmla="*/ 391540 h 470843"/>
                <a:gd name="connsiteX22" fmla="*/ 340776 w 709664"/>
                <a:gd name="connsiteY22" fmla="*/ 386600 h 470843"/>
                <a:gd name="connsiteX23" fmla="*/ 298591 w 709664"/>
                <a:gd name="connsiteY23" fmla="*/ 392174 h 470843"/>
                <a:gd name="connsiteX24" fmla="*/ 260966 w 709664"/>
                <a:gd name="connsiteY24" fmla="*/ 392174 h 470843"/>
                <a:gd name="connsiteX25" fmla="*/ 237910 w 709664"/>
                <a:gd name="connsiteY25" fmla="*/ 353156 h 470843"/>
                <a:gd name="connsiteX26" fmla="*/ 237910 w 709664"/>
                <a:gd name="connsiteY26" fmla="*/ 353156 h 470843"/>
                <a:gd name="connsiteX27" fmla="*/ 238797 w 709664"/>
                <a:gd name="connsiteY27" fmla="*/ 351636 h 470843"/>
                <a:gd name="connsiteX28" fmla="*/ 238923 w 709664"/>
                <a:gd name="connsiteY28" fmla="*/ 348722 h 470843"/>
                <a:gd name="connsiteX29" fmla="*/ 228535 w 709664"/>
                <a:gd name="connsiteY29" fmla="*/ 326552 h 470843"/>
                <a:gd name="connsiteX30" fmla="*/ 190911 w 709664"/>
                <a:gd name="connsiteY30" fmla="*/ 308690 h 470843"/>
                <a:gd name="connsiteX31" fmla="*/ 192431 w 709664"/>
                <a:gd name="connsiteY31" fmla="*/ 280947 h 470843"/>
                <a:gd name="connsiteX32" fmla="*/ 150372 w 709664"/>
                <a:gd name="connsiteY32" fmla="*/ 250796 h 470843"/>
                <a:gd name="connsiteX33" fmla="*/ 130103 w 709664"/>
                <a:gd name="connsiteY33" fmla="*/ 214692 h 470843"/>
                <a:gd name="connsiteX34" fmla="*/ 98939 w 709664"/>
                <a:gd name="connsiteY34" fmla="*/ 223053 h 470843"/>
                <a:gd name="connsiteX35" fmla="*/ 41805 w 709664"/>
                <a:gd name="connsiteY35" fmla="*/ 175040 h 470843"/>
                <a:gd name="connsiteX36" fmla="*/ 32938 w 709664"/>
                <a:gd name="connsiteY36" fmla="*/ 166426 h 470843"/>
                <a:gd name="connsiteX37" fmla="*/ 30024 w 709664"/>
                <a:gd name="connsiteY37" fmla="*/ 163892 h 470843"/>
                <a:gd name="connsiteX38" fmla="*/ 28757 w 709664"/>
                <a:gd name="connsiteY38" fmla="*/ 162879 h 470843"/>
                <a:gd name="connsiteX39" fmla="*/ 27490 w 709664"/>
                <a:gd name="connsiteY39" fmla="*/ 161865 h 470843"/>
                <a:gd name="connsiteX40" fmla="*/ 11275 w 709664"/>
                <a:gd name="connsiteY40" fmla="*/ 151097 h 470843"/>
                <a:gd name="connsiteX41" fmla="*/ 8868 w 709664"/>
                <a:gd name="connsiteY41" fmla="*/ 149957 h 470843"/>
                <a:gd name="connsiteX42" fmla="*/ 7221 w 709664"/>
                <a:gd name="connsiteY42" fmla="*/ 149197 h 470843"/>
                <a:gd name="connsiteX43" fmla="*/ 3927 w 709664"/>
                <a:gd name="connsiteY43" fmla="*/ 147930 h 470843"/>
                <a:gd name="connsiteX44" fmla="*/ 2027 w 709664"/>
                <a:gd name="connsiteY44" fmla="*/ 147423 h 470843"/>
                <a:gd name="connsiteX45" fmla="*/ 1647 w 709664"/>
                <a:gd name="connsiteY45" fmla="*/ 147297 h 470843"/>
                <a:gd name="connsiteX46" fmla="*/ 380 w 709664"/>
                <a:gd name="connsiteY46" fmla="*/ 147043 h 470843"/>
                <a:gd name="connsiteX47" fmla="*/ 0 w 709664"/>
                <a:gd name="connsiteY47" fmla="*/ 146917 h 470843"/>
                <a:gd name="connsiteX48" fmla="*/ 103880 w 709664"/>
                <a:gd name="connsiteY48" fmla="*/ 123100 h 470843"/>
                <a:gd name="connsiteX49" fmla="*/ 117181 w 709664"/>
                <a:gd name="connsiteY49" fmla="*/ 95357 h 470843"/>
                <a:gd name="connsiteX50" fmla="*/ 149865 w 709664"/>
                <a:gd name="connsiteY50" fmla="*/ 82435 h 470843"/>
                <a:gd name="connsiteX51" fmla="*/ 206746 w 709664"/>
                <a:gd name="connsiteY51" fmla="*/ 42784 h 470843"/>
                <a:gd name="connsiteX52" fmla="*/ 209026 w 709664"/>
                <a:gd name="connsiteY52" fmla="*/ 40757 h 470843"/>
                <a:gd name="connsiteX53" fmla="*/ 209026 w 709664"/>
                <a:gd name="connsiteY53" fmla="*/ 40757 h 470843"/>
                <a:gd name="connsiteX54" fmla="*/ 266160 w 709664"/>
                <a:gd name="connsiteY54" fmla="*/ 1232 h 470843"/>
                <a:gd name="connsiteX55" fmla="*/ 329501 w 709664"/>
                <a:gd name="connsiteY55" fmla="*/ 44811 h 470843"/>
                <a:gd name="connsiteX56" fmla="*/ 376627 w 709664"/>
                <a:gd name="connsiteY56" fmla="*/ 22514 h 470843"/>
                <a:gd name="connsiteX57" fmla="*/ 377007 w 709664"/>
                <a:gd name="connsiteY57" fmla="*/ 45824 h 470843"/>
                <a:gd name="connsiteX58" fmla="*/ 418559 w 709664"/>
                <a:gd name="connsiteY58" fmla="*/ 85476 h 470843"/>
                <a:gd name="connsiteX59" fmla="*/ 456184 w 709664"/>
                <a:gd name="connsiteY59" fmla="*/ 156798 h 470843"/>
                <a:gd name="connsiteX60" fmla="*/ 488868 w 709664"/>
                <a:gd name="connsiteY60" fmla="*/ 219632 h 470843"/>
                <a:gd name="connsiteX61" fmla="*/ 515091 w 709664"/>
                <a:gd name="connsiteY61" fmla="*/ 242435 h 470843"/>
                <a:gd name="connsiteX62" fmla="*/ 571465 w 709664"/>
                <a:gd name="connsiteY62" fmla="*/ 301343 h 470843"/>
                <a:gd name="connsiteX63" fmla="*/ 629865 w 709664"/>
                <a:gd name="connsiteY63" fmla="*/ 311224 h 470843"/>
                <a:gd name="connsiteX64" fmla="*/ 660016 w 709664"/>
                <a:gd name="connsiteY64" fmla="*/ 273092 h 470843"/>
                <a:gd name="connsiteX65" fmla="*/ 707522 w 709664"/>
                <a:gd name="connsiteY65" fmla="*/ 332000 h 470843"/>
                <a:gd name="connsiteX66" fmla="*/ 709042 w 709664"/>
                <a:gd name="connsiteY66" fmla="*/ 338587 h 47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09664" h="470843">
                  <a:moveTo>
                    <a:pt x="709042" y="338587"/>
                  </a:moveTo>
                  <a:cubicBezTo>
                    <a:pt x="706255" y="343528"/>
                    <a:pt x="693967" y="346822"/>
                    <a:pt x="684212" y="353282"/>
                  </a:cubicBezTo>
                  <a:cubicBezTo>
                    <a:pt x="670784" y="362150"/>
                    <a:pt x="677751" y="379632"/>
                    <a:pt x="678258" y="394454"/>
                  </a:cubicBezTo>
                  <a:cubicBezTo>
                    <a:pt x="678765" y="409276"/>
                    <a:pt x="671291" y="423591"/>
                    <a:pt x="664830" y="431066"/>
                  </a:cubicBezTo>
                  <a:cubicBezTo>
                    <a:pt x="658369" y="438540"/>
                    <a:pt x="647474" y="432079"/>
                    <a:pt x="643041" y="427138"/>
                  </a:cubicBezTo>
                  <a:cubicBezTo>
                    <a:pt x="638607" y="422198"/>
                    <a:pt x="625178" y="424605"/>
                    <a:pt x="607949" y="424605"/>
                  </a:cubicBezTo>
                  <a:cubicBezTo>
                    <a:pt x="590594" y="424605"/>
                    <a:pt x="593128" y="427645"/>
                    <a:pt x="572858" y="432459"/>
                  </a:cubicBezTo>
                  <a:cubicBezTo>
                    <a:pt x="552589" y="437400"/>
                    <a:pt x="548029" y="425998"/>
                    <a:pt x="540174" y="421564"/>
                  </a:cubicBezTo>
                  <a:cubicBezTo>
                    <a:pt x="532193" y="417130"/>
                    <a:pt x="485194" y="470844"/>
                    <a:pt x="485194" y="470844"/>
                  </a:cubicBezTo>
                  <a:cubicBezTo>
                    <a:pt x="484561" y="469450"/>
                    <a:pt x="483801" y="468183"/>
                    <a:pt x="483040" y="466790"/>
                  </a:cubicBezTo>
                  <a:cubicBezTo>
                    <a:pt x="482787" y="466283"/>
                    <a:pt x="482534" y="465776"/>
                    <a:pt x="482280" y="465270"/>
                  </a:cubicBezTo>
                  <a:cubicBezTo>
                    <a:pt x="481774" y="464256"/>
                    <a:pt x="481140" y="463243"/>
                    <a:pt x="480507" y="462229"/>
                  </a:cubicBezTo>
                  <a:cubicBezTo>
                    <a:pt x="480127" y="461596"/>
                    <a:pt x="479873" y="461089"/>
                    <a:pt x="479493" y="460456"/>
                  </a:cubicBezTo>
                  <a:cubicBezTo>
                    <a:pt x="479113" y="459822"/>
                    <a:pt x="478733" y="459189"/>
                    <a:pt x="478353" y="458682"/>
                  </a:cubicBezTo>
                  <a:cubicBezTo>
                    <a:pt x="477973" y="458049"/>
                    <a:pt x="477593" y="457542"/>
                    <a:pt x="477213" y="456909"/>
                  </a:cubicBezTo>
                  <a:cubicBezTo>
                    <a:pt x="476833" y="456402"/>
                    <a:pt x="476580" y="455895"/>
                    <a:pt x="476200" y="455389"/>
                  </a:cubicBezTo>
                  <a:cubicBezTo>
                    <a:pt x="475819" y="454882"/>
                    <a:pt x="475439" y="454375"/>
                    <a:pt x="475186" y="453868"/>
                  </a:cubicBezTo>
                  <a:cubicBezTo>
                    <a:pt x="473919" y="452095"/>
                    <a:pt x="472526" y="450321"/>
                    <a:pt x="471006" y="448674"/>
                  </a:cubicBezTo>
                  <a:cubicBezTo>
                    <a:pt x="470626" y="448294"/>
                    <a:pt x="470246" y="447914"/>
                    <a:pt x="469866" y="447534"/>
                  </a:cubicBezTo>
                  <a:cubicBezTo>
                    <a:pt x="469232" y="446901"/>
                    <a:pt x="468599" y="446267"/>
                    <a:pt x="467965" y="445634"/>
                  </a:cubicBezTo>
                  <a:cubicBezTo>
                    <a:pt x="453777" y="432079"/>
                    <a:pt x="416786" y="432079"/>
                    <a:pt x="406524" y="430179"/>
                  </a:cubicBezTo>
                  <a:cubicBezTo>
                    <a:pt x="396263" y="428152"/>
                    <a:pt x="405511" y="409403"/>
                    <a:pt x="403864" y="391540"/>
                  </a:cubicBezTo>
                  <a:cubicBezTo>
                    <a:pt x="402217" y="373805"/>
                    <a:pt x="354711" y="377732"/>
                    <a:pt x="340776" y="386600"/>
                  </a:cubicBezTo>
                  <a:cubicBezTo>
                    <a:pt x="326968" y="395468"/>
                    <a:pt x="312779" y="392174"/>
                    <a:pt x="298591" y="392174"/>
                  </a:cubicBezTo>
                  <a:cubicBezTo>
                    <a:pt x="284402" y="392174"/>
                    <a:pt x="285669" y="395848"/>
                    <a:pt x="260966" y="392174"/>
                  </a:cubicBezTo>
                  <a:cubicBezTo>
                    <a:pt x="242850" y="389514"/>
                    <a:pt x="238670" y="365317"/>
                    <a:pt x="237910" y="353156"/>
                  </a:cubicBezTo>
                  <a:lnTo>
                    <a:pt x="237910" y="353156"/>
                  </a:lnTo>
                  <a:cubicBezTo>
                    <a:pt x="238290" y="352649"/>
                    <a:pt x="238670" y="352142"/>
                    <a:pt x="238797" y="351636"/>
                  </a:cubicBezTo>
                  <a:cubicBezTo>
                    <a:pt x="238797" y="349989"/>
                    <a:pt x="238797" y="348975"/>
                    <a:pt x="238923" y="348722"/>
                  </a:cubicBezTo>
                  <a:cubicBezTo>
                    <a:pt x="237910" y="343654"/>
                    <a:pt x="231576" y="336687"/>
                    <a:pt x="228535" y="326552"/>
                  </a:cubicBezTo>
                  <a:cubicBezTo>
                    <a:pt x="223088" y="308690"/>
                    <a:pt x="202819" y="308690"/>
                    <a:pt x="190911" y="308690"/>
                  </a:cubicBezTo>
                  <a:cubicBezTo>
                    <a:pt x="179002" y="308690"/>
                    <a:pt x="183943" y="294375"/>
                    <a:pt x="192431" y="280947"/>
                  </a:cubicBezTo>
                  <a:cubicBezTo>
                    <a:pt x="200918" y="267645"/>
                    <a:pt x="160760" y="254724"/>
                    <a:pt x="150372" y="250796"/>
                  </a:cubicBezTo>
                  <a:cubicBezTo>
                    <a:pt x="139984" y="246869"/>
                    <a:pt x="133650" y="228500"/>
                    <a:pt x="130103" y="214692"/>
                  </a:cubicBezTo>
                  <a:cubicBezTo>
                    <a:pt x="126556" y="200883"/>
                    <a:pt x="117688" y="214692"/>
                    <a:pt x="98939" y="223053"/>
                  </a:cubicBezTo>
                  <a:cubicBezTo>
                    <a:pt x="80190" y="231414"/>
                    <a:pt x="59794" y="193916"/>
                    <a:pt x="41805" y="175040"/>
                  </a:cubicBezTo>
                  <a:cubicBezTo>
                    <a:pt x="38765" y="171873"/>
                    <a:pt x="35851" y="168959"/>
                    <a:pt x="32938" y="166426"/>
                  </a:cubicBezTo>
                  <a:cubicBezTo>
                    <a:pt x="31924" y="165539"/>
                    <a:pt x="31037" y="164652"/>
                    <a:pt x="30024" y="163892"/>
                  </a:cubicBezTo>
                  <a:cubicBezTo>
                    <a:pt x="29644" y="163512"/>
                    <a:pt x="29137" y="163132"/>
                    <a:pt x="28757" y="162879"/>
                  </a:cubicBezTo>
                  <a:cubicBezTo>
                    <a:pt x="28377" y="162498"/>
                    <a:pt x="27870" y="162245"/>
                    <a:pt x="27490" y="161865"/>
                  </a:cubicBezTo>
                  <a:cubicBezTo>
                    <a:pt x="21663" y="157178"/>
                    <a:pt x="16215" y="153631"/>
                    <a:pt x="11275" y="151097"/>
                  </a:cubicBezTo>
                  <a:cubicBezTo>
                    <a:pt x="10388" y="150717"/>
                    <a:pt x="9628" y="150337"/>
                    <a:pt x="8868" y="149957"/>
                  </a:cubicBezTo>
                  <a:cubicBezTo>
                    <a:pt x="8361" y="149704"/>
                    <a:pt x="7728" y="149450"/>
                    <a:pt x="7221" y="149197"/>
                  </a:cubicBezTo>
                  <a:cubicBezTo>
                    <a:pt x="6081" y="148690"/>
                    <a:pt x="4941" y="148310"/>
                    <a:pt x="3927" y="147930"/>
                  </a:cubicBezTo>
                  <a:cubicBezTo>
                    <a:pt x="3294" y="147677"/>
                    <a:pt x="2660" y="147550"/>
                    <a:pt x="2027" y="147423"/>
                  </a:cubicBezTo>
                  <a:cubicBezTo>
                    <a:pt x="1900" y="147297"/>
                    <a:pt x="1774" y="147297"/>
                    <a:pt x="1647" y="147297"/>
                  </a:cubicBezTo>
                  <a:cubicBezTo>
                    <a:pt x="1140" y="147170"/>
                    <a:pt x="760" y="147043"/>
                    <a:pt x="380" y="147043"/>
                  </a:cubicBezTo>
                  <a:cubicBezTo>
                    <a:pt x="253" y="147043"/>
                    <a:pt x="127" y="146917"/>
                    <a:pt x="0" y="146917"/>
                  </a:cubicBezTo>
                  <a:cubicBezTo>
                    <a:pt x="56881" y="142483"/>
                    <a:pt x="92985" y="128548"/>
                    <a:pt x="103880" y="123100"/>
                  </a:cubicBezTo>
                  <a:cubicBezTo>
                    <a:pt x="114774" y="117653"/>
                    <a:pt x="110721" y="105745"/>
                    <a:pt x="117181" y="95357"/>
                  </a:cubicBezTo>
                  <a:cubicBezTo>
                    <a:pt x="123642" y="84969"/>
                    <a:pt x="137451" y="81928"/>
                    <a:pt x="149865" y="82435"/>
                  </a:cubicBezTo>
                  <a:cubicBezTo>
                    <a:pt x="162280" y="82942"/>
                    <a:pt x="197371" y="45824"/>
                    <a:pt x="206746" y="42784"/>
                  </a:cubicBezTo>
                  <a:cubicBezTo>
                    <a:pt x="208139" y="42404"/>
                    <a:pt x="208773" y="41770"/>
                    <a:pt x="209026" y="40757"/>
                  </a:cubicBezTo>
                  <a:cubicBezTo>
                    <a:pt x="209026" y="40757"/>
                    <a:pt x="209026" y="40757"/>
                    <a:pt x="209026" y="40757"/>
                  </a:cubicBezTo>
                  <a:cubicBezTo>
                    <a:pt x="210673" y="39490"/>
                    <a:pt x="247664" y="9973"/>
                    <a:pt x="266160" y="1232"/>
                  </a:cubicBezTo>
                  <a:cubicBezTo>
                    <a:pt x="284909" y="-7636"/>
                    <a:pt x="314553" y="33916"/>
                    <a:pt x="329501" y="44811"/>
                  </a:cubicBezTo>
                  <a:cubicBezTo>
                    <a:pt x="344323" y="55705"/>
                    <a:pt x="366619" y="27455"/>
                    <a:pt x="376627" y="22514"/>
                  </a:cubicBezTo>
                  <a:cubicBezTo>
                    <a:pt x="386635" y="17574"/>
                    <a:pt x="381061" y="35436"/>
                    <a:pt x="377007" y="45824"/>
                  </a:cubicBezTo>
                  <a:cubicBezTo>
                    <a:pt x="373080" y="56212"/>
                    <a:pt x="397783" y="64066"/>
                    <a:pt x="418559" y="85476"/>
                  </a:cubicBezTo>
                  <a:cubicBezTo>
                    <a:pt x="439335" y="106758"/>
                    <a:pt x="447189" y="129941"/>
                    <a:pt x="456184" y="156798"/>
                  </a:cubicBezTo>
                  <a:cubicBezTo>
                    <a:pt x="465052" y="183528"/>
                    <a:pt x="479367" y="206711"/>
                    <a:pt x="488868" y="219632"/>
                  </a:cubicBezTo>
                  <a:cubicBezTo>
                    <a:pt x="498242" y="232554"/>
                    <a:pt x="501283" y="236481"/>
                    <a:pt x="515091" y="242435"/>
                  </a:cubicBezTo>
                  <a:cubicBezTo>
                    <a:pt x="528899" y="248389"/>
                    <a:pt x="561584" y="288041"/>
                    <a:pt x="571465" y="301343"/>
                  </a:cubicBezTo>
                  <a:cubicBezTo>
                    <a:pt x="581346" y="314644"/>
                    <a:pt x="609596" y="311224"/>
                    <a:pt x="629865" y="311224"/>
                  </a:cubicBezTo>
                  <a:cubicBezTo>
                    <a:pt x="650135" y="311224"/>
                    <a:pt x="650135" y="281960"/>
                    <a:pt x="660016" y="273092"/>
                  </a:cubicBezTo>
                  <a:cubicBezTo>
                    <a:pt x="669897" y="264225"/>
                    <a:pt x="699034" y="322625"/>
                    <a:pt x="707522" y="332000"/>
                  </a:cubicBezTo>
                  <a:cubicBezTo>
                    <a:pt x="709802" y="334660"/>
                    <a:pt x="710182" y="336687"/>
                    <a:pt x="709042" y="3385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5" name="Полилиния: фигура 704">
              <a:extLst>
                <a:ext uri="{FF2B5EF4-FFF2-40B4-BE49-F238E27FC236}">
                  <a16:creationId xmlns:a16="http://schemas.microsoft.com/office/drawing/2014/main" id="{DCE90C97-21C3-4346-A876-C67A065CB3EE}"/>
                </a:ext>
              </a:extLst>
            </p:cNvPr>
            <p:cNvSpPr/>
            <p:nvPr/>
          </p:nvSpPr>
          <p:spPr>
            <a:xfrm>
              <a:off x="2516757" y="2970626"/>
              <a:ext cx="425455" cy="341155"/>
            </a:xfrm>
            <a:custGeom>
              <a:avLst/>
              <a:gdLst>
                <a:gd name="connsiteX0" fmla="*/ 425400 w 425455"/>
                <a:gd name="connsiteY0" fmla="*/ 232082 h 341155"/>
                <a:gd name="connsiteX1" fmla="*/ 425400 w 425455"/>
                <a:gd name="connsiteY1" fmla="*/ 232082 h 341155"/>
                <a:gd name="connsiteX2" fmla="*/ 423120 w 425455"/>
                <a:gd name="connsiteY2" fmla="*/ 234109 h 341155"/>
                <a:gd name="connsiteX3" fmla="*/ 366239 w 425455"/>
                <a:gd name="connsiteY3" fmla="*/ 273761 h 341155"/>
                <a:gd name="connsiteX4" fmla="*/ 333555 w 425455"/>
                <a:gd name="connsiteY4" fmla="*/ 286682 h 341155"/>
                <a:gd name="connsiteX5" fmla="*/ 320253 w 425455"/>
                <a:gd name="connsiteY5" fmla="*/ 314426 h 341155"/>
                <a:gd name="connsiteX6" fmla="*/ 216374 w 425455"/>
                <a:gd name="connsiteY6" fmla="*/ 338242 h 341155"/>
                <a:gd name="connsiteX7" fmla="*/ 216374 w 425455"/>
                <a:gd name="connsiteY7" fmla="*/ 338242 h 341155"/>
                <a:gd name="connsiteX8" fmla="*/ 215614 w 425455"/>
                <a:gd name="connsiteY8" fmla="*/ 338116 h 341155"/>
                <a:gd name="connsiteX9" fmla="*/ 215614 w 425455"/>
                <a:gd name="connsiteY9" fmla="*/ 338116 h 341155"/>
                <a:gd name="connsiteX10" fmla="*/ 214474 w 425455"/>
                <a:gd name="connsiteY10" fmla="*/ 337862 h 341155"/>
                <a:gd name="connsiteX11" fmla="*/ 212573 w 425455"/>
                <a:gd name="connsiteY11" fmla="*/ 337609 h 341155"/>
                <a:gd name="connsiteX12" fmla="*/ 148219 w 425455"/>
                <a:gd name="connsiteY12" fmla="*/ 314426 h 341155"/>
                <a:gd name="connsiteX13" fmla="*/ 92732 w 425455"/>
                <a:gd name="connsiteY13" fmla="*/ 341156 h 341155"/>
                <a:gd name="connsiteX14" fmla="*/ 39145 w 425455"/>
                <a:gd name="connsiteY14" fmla="*/ 298464 h 341155"/>
                <a:gd name="connsiteX15" fmla="*/ 0 w 425455"/>
                <a:gd name="connsiteY15" fmla="*/ 267680 h 341155"/>
                <a:gd name="connsiteX16" fmla="*/ 17102 w 425455"/>
                <a:gd name="connsiteY16" fmla="*/ 252225 h 341155"/>
                <a:gd name="connsiteX17" fmla="*/ 19636 w 425455"/>
                <a:gd name="connsiteY17" fmla="*/ 249564 h 341155"/>
                <a:gd name="connsiteX18" fmla="*/ 23056 w 425455"/>
                <a:gd name="connsiteY18" fmla="*/ 245637 h 341155"/>
                <a:gd name="connsiteX19" fmla="*/ 24576 w 425455"/>
                <a:gd name="connsiteY19" fmla="*/ 243610 h 341155"/>
                <a:gd name="connsiteX20" fmla="*/ 25590 w 425455"/>
                <a:gd name="connsiteY20" fmla="*/ 242090 h 341155"/>
                <a:gd name="connsiteX21" fmla="*/ 26603 w 425455"/>
                <a:gd name="connsiteY21" fmla="*/ 240317 h 341155"/>
                <a:gd name="connsiteX22" fmla="*/ 59668 w 425455"/>
                <a:gd name="connsiteY22" fmla="*/ 221821 h 341155"/>
                <a:gd name="connsiteX23" fmla="*/ 100713 w 425455"/>
                <a:gd name="connsiteY23" fmla="*/ 169881 h 341155"/>
                <a:gd name="connsiteX24" fmla="*/ 103120 w 425455"/>
                <a:gd name="connsiteY24" fmla="*/ 130230 h 341155"/>
                <a:gd name="connsiteX25" fmla="*/ 131370 w 425455"/>
                <a:gd name="connsiteY25" fmla="*/ 90578 h 341155"/>
                <a:gd name="connsiteX26" fmla="*/ 144798 w 425455"/>
                <a:gd name="connsiteY26" fmla="*/ 47379 h 341155"/>
                <a:gd name="connsiteX27" fmla="*/ 175455 w 425455"/>
                <a:gd name="connsiteY27" fmla="*/ 21663 h 341155"/>
                <a:gd name="connsiteX28" fmla="*/ 219414 w 425455"/>
                <a:gd name="connsiteY28" fmla="*/ 0 h 341155"/>
                <a:gd name="connsiteX29" fmla="*/ 310626 w 425455"/>
                <a:gd name="connsiteY29" fmla="*/ 31037 h 341155"/>
                <a:gd name="connsiteX30" fmla="*/ 345210 w 425455"/>
                <a:gd name="connsiteY30" fmla="*/ 71069 h 341155"/>
                <a:gd name="connsiteX31" fmla="*/ 397150 w 425455"/>
                <a:gd name="connsiteY31" fmla="*/ 85384 h 341155"/>
                <a:gd name="connsiteX32" fmla="*/ 400570 w 425455"/>
                <a:gd name="connsiteY32" fmla="*/ 201679 h 341155"/>
                <a:gd name="connsiteX33" fmla="*/ 425400 w 425455"/>
                <a:gd name="connsiteY33" fmla="*/ 232082 h 34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25455" h="341155">
                  <a:moveTo>
                    <a:pt x="425400" y="232082"/>
                  </a:moveTo>
                  <a:cubicBezTo>
                    <a:pt x="425273" y="232082"/>
                    <a:pt x="425273" y="232082"/>
                    <a:pt x="425400" y="232082"/>
                  </a:cubicBezTo>
                  <a:cubicBezTo>
                    <a:pt x="425147" y="233096"/>
                    <a:pt x="424386" y="233729"/>
                    <a:pt x="423120" y="234109"/>
                  </a:cubicBezTo>
                  <a:cubicBezTo>
                    <a:pt x="413745" y="237150"/>
                    <a:pt x="378527" y="274268"/>
                    <a:pt x="366239" y="273761"/>
                  </a:cubicBezTo>
                  <a:cubicBezTo>
                    <a:pt x="353951" y="273254"/>
                    <a:pt x="340016" y="276295"/>
                    <a:pt x="333555" y="286682"/>
                  </a:cubicBezTo>
                  <a:cubicBezTo>
                    <a:pt x="327094" y="297070"/>
                    <a:pt x="331021" y="308979"/>
                    <a:pt x="320253" y="314426"/>
                  </a:cubicBezTo>
                  <a:cubicBezTo>
                    <a:pt x="309359" y="319873"/>
                    <a:pt x="273254" y="333808"/>
                    <a:pt x="216374" y="338242"/>
                  </a:cubicBezTo>
                  <a:lnTo>
                    <a:pt x="216374" y="338242"/>
                  </a:lnTo>
                  <a:cubicBezTo>
                    <a:pt x="216121" y="338116"/>
                    <a:pt x="215867" y="338116"/>
                    <a:pt x="215614" y="338116"/>
                  </a:cubicBezTo>
                  <a:lnTo>
                    <a:pt x="215614" y="338116"/>
                  </a:lnTo>
                  <a:cubicBezTo>
                    <a:pt x="215234" y="337989"/>
                    <a:pt x="214854" y="337989"/>
                    <a:pt x="214474" y="337862"/>
                  </a:cubicBezTo>
                  <a:cubicBezTo>
                    <a:pt x="213840" y="337735"/>
                    <a:pt x="213207" y="337735"/>
                    <a:pt x="212573" y="337609"/>
                  </a:cubicBezTo>
                  <a:cubicBezTo>
                    <a:pt x="201679" y="337102"/>
                    <a:pt x="173428" y="314426"/>
                    <a:pt x="148219" y="314426"/>
                  </a:cubicBezTo>
                  <a:cubicBezTo>
                    <a:pt x="123389" y="314426"/>
                    <a:pt x="93618" y="340269"/>
                    <a:pt x="92732" y="341156"/>
                  </a:cubicBezTo>
                  <a:cubicBezTo>
                    <a:pt x="83104" y="323040"/>
                    <a:pt x="48013" y="301631"/>
                    <a:pt x="39145" y="298464"/>
                  </a:cubicBezTo>
                  <a:cubicBezTo>
                    <a:pt x="27997" y="294537"/>
                    <a:pt x="760" y="268440"/>
                    <a:pt x="0" y="267680"/>
                  </a:cubicBezTo>
                  <a:cubicBezTo>
                    <a:pt x="5574" y="262739"/>
                    <a:pt x="11908" y="257546"/>
                    <a:pt x="17102" y="252225"/>
                  </a:cubicBezTo>
                  <a:cubicBezTo>
                    <a:pt x="17989" y="251338"/>
                    <a:pt x="18749" y="250451"/>
                    <a:pt x="19636" y="249564"/>
                  </a:cubicBezTo>
                  <a:cubicBezTo>
                    <a:pt x="20903" y="248298"/>
                    <a:pt x="22043" y="246904"/>
                    <a:pt x="23056" y="245637"/>
                  </a:cubicBezTo>
                  <a:cubicBezTo>
                    <a:pt x="23563" y="244877"/>
                    <a:pt x="24070" y="244244"/>
                    <a:pt x="24576" y="243610"/>
                  </a:cubicBezTo>
                  <a:cubicBezTo>
                    <a:pt x="24956" y="243104"/>
                    <a:pt x="25210" y="242597"/>
                    <a:pt x="25590" y="242090"/>
                  </a:cubicBezTo>
                  <a:cubicBezTo>
                    <a:pt x="25970" y="241457"/>
                    <a:pt x="26350" y="240950"/>
                    <a:pt x="26603" y="240317"/>
                  </a:cubicBezTo>
                  <a:cubicBezTo>
                    <a:pt x="26603" y="240317"/>
                    <a:pt x="48773" y="237276"/>
                    <a:pt x="59668" y="221821"/>
                  </a:cubicBezTo>
                  <a:cubicBezTo>
                    <a:pt x="70562" y="206492"/>
                    <a:pt x="98812" y="191670"/>
                    <a:pt x="100713" y="169881"/>
                  </a:cubicBezTo>
                  <a:cubicBezTo>
                    <a:pt x="102740" y="148092"/>
                    <a:pt x="88805" y="143658"/>
                    <a:pt x="103120" y="130230"/>
                  </a:cubicBezTo>
                  <a:cubicBezTo>
                    <a:pt x="117435" y="116801"/>
                    <a:pt x="131877" y="109454"/>
                    <a:pt x="131370" y="90578"/>
                  </a:cubicBezTo>
                  <a:cubicBezTo>
                    <a:pt x="130863" y="71702"/>
                    <a:pt x="129343" y="56754"/>
                    <a:pt x="144798" y="47379"/>
                  </a:cubicBezTo>
                  <a:cubicBezTo>
                    <a:pt x="160127" y="38005"/>
                    <a:pt x="160127" y="32557"/>
                    <a:pt x="175455" y="21663"/>
                  </a:cubicBezTo>
                  <a:cubicBezTo>
                    <a:pt x="188377" y="12541"/>
                    <a:pt x="209280" y="14188"/>
                    <a:pt x="219414" y="0"/>
                  </a:cubicBezTo>
                  <a:cubicBezTo>
                    <a:pt x="219414" y="0"/>
                    <a:pt x="299604" y="10768"/>
                    <a:pt x="310626" y="31037"/>
                  </a:cubicBezTo>
                  <a:cubicBezTo>
                    <a:pt x="321520" y="51306"/>
                    <a:pt x="327981" y="76643"/>
                    <a:pt x="345210" y="71069"/>
                  </a:cubicBezTo>
                  <a:cubicBezTo>
                    <a:pt x="362565" y="65621"/>
                    <a:pt x="398670" y="55234"/>
                    <a:pt x="397150" y="85384"/>
                  </a:cubicBezTo>
                  <a:cubicBezTo>
                    <a:pt x="395630" y="115534"/>
                    <a:pt x="389295" y="187870"/>
                    <a:pt x="400570" y="201679"/>
                  </a:cubicBezTo>
                  <a:cubicBezTo>
                    <a:pt x="409945" y="213713"/>
                    <a:pt x="426540" y="226635"/>
                    <a:pt x="425400" y="23208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6" name="Полилиния: фигура 705">
              <a:extLst>
                <a:ext uri="{FF2B5EF4-FFF2-40B4-BE49-F238E27FC236}">
                  <a16:creationId xmlns:a16="http://schemas.microsoft.com/office/drawing/2014/main" id="{678314DC-232E-4363-9E81-50EE894F0F68}"/>
                </a:ext>
              </a:extLst>
            </p:cNvPr>
            <p:cNvSpPr/>
            <p:nvPr/>
          </p:nvSpPr>
          <p:spPr>
            <a:xfrm>
              <a:off x="2157739" y="2374329"/>
              <a:ext cx="528198" cy="518640"/>
            </a:xfrm>
            <a:custGeom>
              <a:avLst/>
              <a:gdLst>
                <a:gd name="connsiteX0" fmla="*/ 528139 w 528198"/>
                <a:gd name="connsiteY0" fmla="*/ 437944 h 518640"/>
                <a:gd name="connsiteX1" fmla="*/ 522945 w 528198"/>
                <a:gd name="connsiteY1" fmla="*/ 518641 h 518640"/>
                <a:gd name="connsiteX2" fmla="*/ 502930 w 528198"/>
                <a:gd name="connsiteY2" fmla="*/ 511167 h 518640"/>
                <a:gd name="connsiteX3" fmla="*/ 459351 w 528198"/>
                <a:gd name="connsiteY3" fmla="*/ 449346 h 518640"/>
                <a:gd name="connsiteX4" fmla="*/ 417799 w 528198"/>
                <a:gd name="connsiteY4" fmla="*/ 449346 h 518640"/>
                <a:gd name="connsiteX5" fmla="*/ 387269 w 528198"/>
                <a:gd name="connsiteY5" fmla="*/ 428063 h 518640"/>
                <a:gd name="connsiteX6" fmla="*/ 366239 w 528198"/>
                <a:gd name="connsiteY6" fmla="*/ 420589 h 518640"/>
                <a:gd name="connsiteX7" fmla="*/ 366239 w 528198"/>
                <a:gd name="connsiteY7" fmla="*/ 357754 h 518640"/>
                <a:gd name="connsiteX8" fmla="*/ 338496 w 528198"/>
                <a:gd name="connsiteY8" fmla="*/ 348886 h 518640"/>
                <a:gd name="connsiteX9" fmla="*/ 298337 w 528198"/>
                <a:gd name="connsiteY9" fmla="*/ 316202 h 518640"/>
                <a:gd name="connsiteX10" fmla="*/ 292890 w 528198"/>
                <a:gd name="connsiteY10" fmla="*/ 349900 h 518640"/>
                <a:gd name="connsiteX11" fmla="*/ 235503 w 528198"/>
                <a:gd name="connsiteY11" fmla="*/ 373589 h 518640"/>
                <a:gd name="connsiteX12" fmla="*/ 202819 w 528198"/>
                <a:gd name="connsiteY12" fmla="*/ 351293 h 518640"/>
                <a:gd name="connsiteX13" fmla="*/ 185463 w 528198"/>
                <a:gd name="connsiteY13" fmla="*/ 333938 h 518640"/>
                <a:gd name="connsiteX14" fmla="*/ 125036 w 528198"/>
                <a:gd name="connsiteY14" fmla="*/ 337358 h 518640"/>
                <a:gd name="connsiteX15" fmla="*/ 72589 w 528198"/>
                <a:gd name="connsiteY15" fmla="*/ 303661 h 518640"/>
                <a:gd name="connsiteX16" fmla="*/ 24450 w 528198"/>
                <a:gd name="connsiteY16" fmla="*/ 288839 h 518640"/>
                <a:gd name="connsiteX17" fmla="*/ 0 w 528198"/>
                <a:gd name="connsiteY17" fmla="*/ 264389 h 518640"/>
                <a:gd name="connsiteX18" fmla="*/ 1267 w 528198"/>
                <a:gd name="connsiteY18" fmla="*/ 258055 h 518640"/>
                <a:gd name="connsiteX19" fmla="*/ 9755 w 528198"/>
                <a:gd name="connsiteY19" fmla="*/ 217516 h 518640"/>
                <a:gd name="connsiteX20" fmla="*/ 29010 w 528198"/>
                <a:gd name="connsiteY20" fmla="*/ 196234 h 518640"/>
                <a:gd name="connsiteX21" fmla="*/ 32938 w 528198"/>
                <a:gd name="connsiteY21" fmla="*/ 172924 h 518640"/>
                <a:gd name="connsiteX22" fmla="*/ 70055 w 528198"/>
                <a:gd name="connsiteY22" fmla="*/ 159623 h 518640"/>
                <a:gd name="connsiteX23" fmla="*/ 88424 w 528198"/>
                <a:gd name="connsiteY23" fmla="*/ 133906 h 518640"/>
                <a:gd name="connsiteX24" fmla="*/ 117181 w 528198"/>
                <a:gd name="connsiteY24" fmla="*/ 103756 h 518640"/>
                <a:gd name="connsiteX25" fmla="*/ 112241 w 528198"/>
                <a:gd name="connsiteY25" fmla="*/ 17105 h 518640"/>
                <a:gd name="connsiteX26" fmla="*/ 136564 w 528198"/>
                <a:gd name="connsiteY26" fmla="*/ 1776 h 518640"/>
                <a:gd name="connsiteX27" fmla="*/ 178496 w 528198"/>
                <a:gd name="connsiteY27" fmla="*/ 7477 h 518640"/>
                <a:gd name="connsiteX28" fmla="*/ 250578 w 528198"/>
                <a:gd name="connsiteY28" fmla="*/ 31927 h 518640"/>
                <a:gd name="connsiteX29" fmla="*/ 286809 w 528198"/>
                <a:gd name="connsiteY29" fmla="*/ 43201 h 518640"/>
                <a:gd name="connsiteX30" fmla="*/ 334315 w 528198"/>
                <a:gd name="connsiteY30" fmla="*/ 34714 h 518640"/>
                <a:gd name="connsiteX31" fmla="*/ 349517 w 528198"/>
                <a:gd name="connsiteY31" fmla="*/ 72972 h 518640"/>
                <a:gd name="connsiteX32" fmla="*/ 413492 w 528198"/>
                <a:gd name="connsiteY32" fmla="*/ 65117 h 518640"/>
                <a:gd name="connsiteX33" fmla="*/ 424006 w 528198"/>
                <a:gd name="connsiteY33" fmla="*/ 146321 h 518640"/>
                <a:gd name="connsiteX34" fmla="*/ 447063 w 528198"/>
                <a:gd name="connsiteY34" fmla="*/ 168744 h 518640"/>
                <a:gd name="connsiteX35" fmla="*/ 464292 w 528198"/>
                <a:gd name="connsiteY35" fmla="*/ 205735 h 518640"/>
                <a:gd name="connsiteX36" fmla="*/ 491275 w 528198"/>
                <a:gd name="connsiteY36" fmla="*/ 242093 h 518640"/>
                <a:gd name="connsiteX37" fmla="*/ 495962 w 528198"/>
                <a:gd name="connsiteY37" fmla="*/ 293526 h 518640"/>
                <a:gd name="connsiteX38" fmla="*/ 509770 w 528198"/>
                <a:gd name="connsiteY38" fmla="*/ 335711 h 518640"/>
                <a:gd name="connsiteX39" fmla="*/ 512431 w 528198"/>
                <a:gd name="connsiteY39" fmla="*/ 341539 h 518640"/>
                <a:gd name="connsiteX40" fmla="*/ 512684 w 528198"/>
                <a:gd name="connsiteY40" fmla="*/ 341792 h 518640"/>
                <a:gd name="connsiteX41" fmla="*/ 492795 w 528198"/>
                <a:gd name="connsiteY41" fmla="*/ 393352 h 518640"/>
                <a:gd name="connsiteX42" fmla="*/ 528139 w 528198"/>
                <a:gd name="connsiteY42" fmla="*/ 437944 h 51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28198" h="518640">
                  <a:moveTo>
                    <a:pt x="528139" y="437944"/>
                  </a:moveTo>
                  <a:cubicBezTo>
                    <a:pt x="526873" y="452513"/>
                    <a:pt x="523705" y="498625"/>
                    <a:pt x="522945" y="518641"/>
                  </a:cubicBezTo>
                  <a:cubicBezTo>
                    <a:pt x="514458" y="518261"/>
                    <a:pt x="507490" y="516361"/>
                    <a:pt x="502930" y="511167"/>
                  </a:cubicBezTo>
                  <a:cubicBezTo>
                    <a:pt x="491022" y="497358"/>
                    <a:pt x="483167" y="449346"/>
                    <a:pt x="459351" y="449346"/>
                  </a:cubicBezTo>
                  <a:cubicBezTo>
                    <a:pt x="435535" y="449346"/>
                    <a:pt x="428567" y="456186"/>
                    <a:pt x="417799" y="449346"/>
                  </a:cubicBezTo>
                  <a:cubicBezTo>
                    <a:pt x="406904" y="442378"/>
                    <a:pt x="397403" y="427556"/>
                    <a:pt x="387269" y="428063"/>
                  </a:cubicBezTo>
                  <a:cubicBezTo>
                    <a:pt x="377134" y="428570"/>
                    <a:pt x="366746" y="447445"/>
                    <a:pt x="366239" y="420589"/>
                  </a:cubicBezTo>
                  <a:cubicBezTo>
                    <a:pt x="365732" y="393859"/>
                    <a:pt x="380554" y="357247"/>
                    <a:pt x="366239" y="357754"/>
                  </a:cubicBezTo>
                  <a:cubicBezTo>
                    <a:pt x="351924" y="358261"/>
                    <a:pt x="347870" y="363708"/>
                    <a:pt x="338496" y="348886"/>
                  </a:cubicBezTo>
                  <a:cubicBezTo>
                    <a:pt x="329121" y="334064"/>
                    <a:pt x="302391" y="301887"/>
                    <a:pt x="298337" y="316202"/>
                  </a:cubicBezTo>
                  <a:cubicBezTo>
                    <a:pt x="294410" y="330517"/>
                    <a:pt x="312146" y="334571"/>
                    <a:pt x="292890" y="349900"/>
                  </a:cubicBezTo>
                  <a:cubicBezTo>
                    <a:pt x="273507" y="365228"/>
                    <a:pt x="259699" y="379037"/>
                    <a:pt x="235503" y="373589"/>
                  </a:cubicBezTo>
                  <a:cubicBezTo>
                    <a:pt x="211180" y="368142"/>
                    <a:pt x="210293" y="353827"/>
                    <a:pt x="202819" y="351293"/>
                  </a:cubicBezTo>
                  <a:cubicBezTo>
                    <a:pt x="195471" y="348760"/>
                    <a:pt x="196865" y="331531"/>
                    <a:pt x="185463" y="333938"/>
                  </a:cubicBezTo>
                  <a:cubicBezTo>
                    <a:pt x="174062" y="336471"/>
                    <a:pt x="146825" y="348760"/>
                    <a:pt x="125036" y="337358"/>
                  </a:cubicBezTo>
                  <a:cubicBezTo>
                    <a:pt x="103246" y="325957"/>
                    <a:pt x="88931" y="301760"/>
                    <a:pt x="72589" y="303661"/>
                  </a:cubicBezTo>
                  <a:cubicBezTo>
                    <a:pt x="56247" y="305688"/>
                    <a:pt x="38765" y="301254"/>
                    <a:pt x="24450" y="288839"/>
                  </a:cubicBezTo>
                  <a:cubicBezTo>
                    <a:pt x="10135" y="276424"/>
                    <a:pt x="0" y="264389"/>
                    <a:pt x="0" y="264389"/>
                  </a:cubicBezTo>
                  <a:cubicBezTo>
                    <a:pt x="760" y="262996"/>
                    <a:pt x="1140" y="260969"/>
                    <a:pt x="1267" y="258055"/>
                  </a:cubicBezTo>
                  <a:cubicBezTo>
                    <a:pt x="1774" y="244247"/>
                    <a:pt x="-3167" y="230818"/>
                    <a:pt x="9755" y="217516"/>
                  </a:cubicBezTo>
                  <a:cubicBezTo>
                    <a:pt x="22549" y="204215"/>
                    <a:pt x="31037" y="209662"/>
                    <a:pt x="29010" y="196234"/>
                  </a:cubicBezTo>
                  <a:cubicBezTo>
                    <a:pt x="26983" y="182806"/>
                    <a:pt x="19636" y="177485"/>
                    <a:pt x="32938" y="172924"/>
                  </a:cubicBezTo>
                  <a:cubicBezTo>
                    <a:pt x="46239" y="168490"/>
                    <a:pt x="63595" y="176852"/>
                    <a:pt x="70055" y="159623"/>
                  </a:cubicBezTo>
                  <a:cubicBezTo>
                    <a:pt x="76516" y="142267"/>
                    <a:pt x="73096" y="142267"/>
                    <a:pt x="88424" y="133906"/>
                  </a:cubicBezTo>
                  <a:cubicBezTo>
                    <a:pt x="103753" y="125545"/>
                    <a:pt x="114648" y="130992"/>
                    <a:pt x="117181" y="103756"/>
                  </a:cubicBezTo>
                  <a:cubicBezTo>
                    <a:pt x="119588" y="76519"/>
                    <a:pt x="101346" y="31927"/>
                    <a:pt x="112241" y="17105"/>
                  </a:cubicBezTo>
                  <a:cubicBezTo>
                    <a:pt x="123135" y="2283"/>
                    <a:pt x="125542" y="-3164"/>
                    <a:pt x="136564" y="1776"/>
                  </a:cubicBezTo>
                  <a:cubicBezTo>
                    <a:pt x="147458" y="6717"/>
                    <a:pt x="163674" y="21665"/>
                    <a:pt x="178496" y="7477"/>
                  </a:cubicBezTo>
                  <a:cubicBezTo>
                    <a:pt x="183436" y="23059"/>
                    <a:pt x="242724" y="31927"/>
                    <a:pt x="250578" y="31927"/>
                  </a:cubicBezTo>
                  <a:cubicBezTo>
                    <a:pt x="259066" y="31927"/>
                    <a:pt x="277561" y="34587"/>
                    <a:pt x="286809" y="43201"/>
                  </a:cubicBezTo>
                  <a:cubicBezTo>
                    <a:pt x="296057" y="51816"/>
                    <a:pt x="305305" y="43201"/>
                    <a:pt x="334315" y="34714"/>
                  </a:cubicBezTo>
                  <a:cubicBezTo>
                    <a:pt x="363326" y="26099"/>
                    <a:pt x="351544" y="49916"/>
                    <a:pt x="349517" y="72972"/>
                  </a:cubicBezTo>
                  <a:cubicBezTo>
                    <a:pt x="347490" y="96155"/>
                    <a:pt x="405004" y="67651"/>
                    <a:pt x="413492" y="65117"/>
                  </a:cubicBezTo>
                  <a:cubicBezTo>
                    <a:pt x="422106" y="62457"/>
                    <a:pt x="428060" y="123898"/>
                    <a:pt x="424006" y="146321"/>
                  </a:cubicBezTo>
                  <a:cubicBezTo>
                    <a:pt x="420079" y="168744"/>
                    <a:pt x="434521" y="168110"/>
                    <a:pt x="447063" y="168744"/>
                  </a:cubicBezTo>
                  <a:cubicBezTo>
                    <a:pt x="459604" y="169377"/>
                    <a:pt x="466192" y="191800"/>
                    <a:pt x="464292" y="205735"/>
                  </a:cubicBezTo>
                  <a:cubicBezTo>
                    <a:pt x="462265" y="219543"/>
                    <a:pt x="474173" y="222964"/>
                    <a:pt x="491275" y="242093"/>
                  </a:cubicBezTo>
                  <a:cubicBezTo>
                    <a:pt x="508377" y="261222"/>
                    <a:pt x="501156" y="266543"/>
                    <a:pt x="495962" y="293526"/>
                  </a:cubicBezTo>
                  <a:cubicBezTo>
                    <a:pt x="490641" y="320509"/>
                    <a:pt x="504450" y="317342"/>
                    <a:pt x="509770" y="335711"/>
                  </a:cubicBezTo>
                  <a:cubicBezTo>
                    <a:pt x="510531" y="338245"/>
                    <a:pt x="511417" y="340145"/>
                    <a:pt x="512431" y="341539"/>
                  </a:cubicBezTo>
                  <a:cubicBezTo>
                    <a:pt x="512558" y="341665"/>
                    <a:pt x="512558" y="341792"/>
                    <a:pt x="512684" y="341792"/>
                  </a:cubicBezTo>
                  <a:cubicBezTo>
                    <a:pt x="503310" y="355094"/>
                    <a:pt x="486588" y="381444"/>
                    <a:pt x="492795" y="393352"/>
                  </a:cubicBezTo>
                  <a:cubicBezTo>
                    <a:pt x="501409" y="409694"/>
                    <a:pt x="529660" y="421095"/>
                    <a:pt x="528139" y="43794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7" name="Полилиния: фигура 706">
              <a:extLst>
                <a:ext uri="{FF2B5EF4-FFF2-40B4-BE49-F238E27FC236}">
                  <a16:creationId xmlns:a16="http://schemas.microsoft.com/office/drawing/2014/main" id="{BA601365-D5AE-4920-8315-7F8C6B866AB9}"/>
                </a:ext>
              </a:extLst>
            </p:cNvPr>
            <p:cNvSpPr/>
            <p:nvPr/>
          </p:nvSpPr>
          <p:spPr>
            <a:xfrm>
              <a:off x="2649686" y="2572524"/>
              <a:ext cx="954662" cy="927888"/>
            </a:xfrm>
            <a:custGeom>
              <a:avLst/>
              <a:gdLst>
                <a:gd name="connsiteX0" fmla="*/ 953754 w 954662"/>
                <a:gd name="connsiteY0" fmla="*/ 758768 h 927888"/>
                <a:gd name="connsiteX1" fmla="*/ 924364 w 954662"/>
                <a:gd name="connsiteY1" fmla="*/ 783217 h 927888"/>
                <a:gd name="connsiteX2" fmla="*/ 852155 w 954662"/>
                <a:gd name="connsiteY2" fmla="*/ 803993 h 927888"/>
                <a:gd name="connsiteX3" fmla="*/ 799328 w 954662"/>
                <a:gd name="connsiteY3" fmla="*/ 808681 h 927888"/>
                <a:gd name="connsiteX4" fmla="*/ 821118 w 954662"/>
                <a:gd name="connsiteY4" fmla="*/ 860114 h 927888"/>
                <a:gd name="connsiteX5" fmla="*/ 808196 w 954662"/>
                <a:gd name="connsiteY5" fmla="*/ 890138 h 927888"/>
                <a:gd name="connsiteX6" fmla="*/ 792487 w 954662"/>
                <a:gd name="connsiteY6" fmla="*/ 927889 h 927888"/>
                <a:gd name="connsiteX7" fmla="*/ 790967 w 954662"/>
                <a:gd name="connsiteY7" fmla="*/ 921301 h 927888"/>
                <a:gd name="connsiteX8" fmla="*/ 743461 w 954662"/>
                <a:gd name="connsiteY8" fmla="*/ 862394 h 927888"/>
                <a:gd name="connsiteX9" fmla="*/ 713311 w 954662"/>
                <a:gd name="connsiteY9" fmla="*/ 900525 h 927888"/>
                <a:gd name="connsiteX10" fmla="*/ 654910 w 954662"/>
                <a:gd name="connsiteY10" fmla="*/ 890644 h 927888"/>
                <a:gd name="connsiteX11" fmla="*/ 598536 w 954662"/>
                <a:gd name="connsiteY11" fmla="*/ 831737 h 927888"/>
                <a:gd name="connsiteX12" fmla="*/ 572313 w 954662"/>
                <a:gd name="connsiteY12" fmla="*/ 808934 h 927888"/>
                <a:gd name="connsiteX13" fmla="*/ 539629 w 954662"/>
                <a:gd name="connsiteY13" fmla="*/ 746100 h 927888"/>
                <a:gd name="connsiteX14" fmla="*/ 502004 w 954662"/>
                <a:gd name="connsiteY14" fmla="*/ 674777 h 927888"/>
                <a:gd name="connsiteX15" fmla="*/ 460453 w 954662"/>
                <a:gd name="connsiteY15" fmla="*/ 635126 h 927888"/>
                <a:gd name="connsiteX16" fmla="*/ 460073 w 954662"/>
                <a:gd name="connsiteY16" fmla="*/ 611816 h 927888"/>
                <a:gd name="connsiteX17" fmla="*/ 412947 w 954662"/>
                <a:gd name="connsiteY17" fmla="*/ 634112 h 927888"/>
                <a:gd name="connsiteX18" fmla="*/ 349605 w 954662"/>
                <a:gd name="connsiteY18" fmla="*/ 590534 h 927888"/>
                <a:gd name="connsiteX19" fmla="*/ 292471 w 954662"/>
                <a:gd name="connsiteY19" fmla="*/ 630058 h 927888"/>
                <a:gd name="connsiteX20" fmla="*/ 267388 w 954662"/>
                <a:gd name="connsiteY20" fmla="*/ 599908 h 927888"/>
                <a:gd name="connsiteX21" fmla="*/ 263968 w 954662"/>
                <a:gd name="connsiteY21" fmla="*/ 483613 h 927888"/>
                <a:gd name="connsiteX22" fmla="*/ 212028 w 954662"/>
                <a:gd name="connsiteY22" fmla="*/ 469298 h 927888"/>
                <a:gd name="connsiteX23" fmla="*/ 177444 w 954662"/>
                <a:gd name="connsiteY23" fmla="*/ 429267 h 927888"/>
                <a:gd name="connsiteX24" fmla="*/ 86232 w 954662"/>
                <a:gd name="connsiteY24" fmla="*/ 398229 h 927888"/>
                <a:gd name="connsiteX25" fmla="*/ 90793 w 954662"/>
                <a:gd name="connsiteY25" fmla="*/ 388222 h 927888"/>
                <a:gd name="connsiteX26" fmla="*/ 78505 w 954662"/>
                <a:gd name="connsiteY26" fmla="*/ 320446 h 927888"/>
                <a:gd name="connsiteX27" fmla="*/ 31252 w 954662"/>
                <a:gd name="connsiteY27" fmla="*/ 320446 h 927888"/>
                <a:gd name="connsiteX28" fmla="*/ 36446 w 954662"/>
                <a:gd name="connsiteY28" fmla="*/ 239750 h 927888"/>
                <a:gd name="connsiteX29" fmla="*/ 1355 w 954662"/>
                <a:gd name="connsiteY29" fmla="*/ 195157 h 927888"/>
                <a:gd name="connsiteX30" fmla="*/ 21244 w 954662"/>
                <a:gd name="connsiteY30" fmla="*/ 143597 h 927888"/>
                <a:gd name="connsiteX31" fmla="*/ 51395 w 954662"/>
                <a:gd name="connsiteY31" fmla="*/ 136123 h 927888"/>
                <a:gd name="connsiteX32" fmla="*/ 81038 w 954662"/>
                <a:gd name="connsiteY32" fmla="*/ 164500 h 927888"/>
                <a:gd name="connsiteX33" fmla="*/ 108782 w 954662"/>
                <a:gd name="connsiteY33" fmla="*/ 138150 h 927888"/>
                <a:gd name="connsiteX34" fmla="*/ 143746 w 954662"/>
                <a:gd name="connsiteY34" fmla="*/ 148665 h 927888"/>
                <a:gd name="connsiteX35" fmla="*/ 149067 w 954662"/>
                <a:gd name="connsiteY35" fmla="*/ 124849 h 927888"/>
                <a:gd name="connsiteX36" fmla="*/ 177444 w 954662"/>
                <a:gd name="connsiteY36" fmla="*/ 48332 h 927888"/>
                <a:gd name="connsiteX37" fmla="*/ 247373 w 954662"/>
                <a:gd name="connsiteY37" fmla="*/ 31104 h 927888"/>
                <a:gd name="connsiteX38" fmla="*/ 271822 w 954662"/>
                <a:gd name="connsiteY38" fmla="*/ 5387 h 927888"/>
                <a:gd name="connsiteX39" fmla="*/ 315401 w 954662"/>
                <a:gd name="connsiteY39" fmla="*/ 2093 h 927888"/>
                <a:gd name="connsiteX40" fmla="*/ 336810 w 954662"/>
                <a:gd name="connsiteY40" fmla="*/ 6147 h 927888"/>
                <a:gd name="connsiteX41" fmla="*/ 336810 w 954662"/>
                <a:gd name="connsiteY41" fmla="*/ 6147 h 927888"/>
                <a:gd name="connsiteX42" fmla="*/ 340991 w 954662"/>
                <a:gd name="connsiteY42" fmla="*/ 14001 h 927888"/>
                <a:gd name="connsiteX43" fmla="*/ 404206 w 954662"/>
                <a:gd name="connsiteY43" fmla="*/ 56313 h 927888"/>
                <a:gd name="connsiteX44" fmla="*/ 442590 w 954662"/>
                <a:gd name="connsiteY44" fmla="*/ 40605 h 927888"/>
                <a:gd name="connsiteX45" fmla="*/ 455005 w 954662"/>
                <a:gd name="connsiteY45" fmla="*/ 25149 h 927888"/>
                <a:gd name="connsiteX46" fmla="*/ 503778 w 954662"/>
                <a:gd name="connsiteY46" fmla="*/ 103186 h 927888"/>
                <a:gd name="connsiteX47" fmla="*/ 502384 w 954662"/>
                <a:gd name="connsiteY47" fmla="*/ 113700 h 927888"/>
                <a:gd name="connsiteX48" fmla="*/ 458172 w 954662"/>
                <a:gd name="connsiteY48" fmla="*/ 222521 h 927888"/>
                <a:gd name="connsiteX49" fmla="*/ 473754 w 954662"/>
                <a:gd name="connsiteY49" fmla="*/ 271674 h 927888"/>
                <a:gd name="connsiteX50" fmla="*/ 501751 w 954662"/>
                <a:gd name="connsiteY50" fmla="*/ 302077 h 927888"/>
                <a:gd name="connsiteX51" fmla="*/ 533675 w 954662"/>
                <a:gd name="connsiteY51" fmla="*/ 359465 h 927888"/>
                <a:gd name="connsiteX52" fmla="*/ 561038 w 954662"/>
                <a:gd name="connsiteY52" fmla="*/ 388222 h 927888"/>
                <a:gd name="connsiteX53" fmla="*/ 585108 w 954662"/>
                <a:gd name="connsiteY53" fmla="*/ 411658 h 927888"/>
                <a:gd name="connsiteX54" fmla="*/ 646422 w 954662"/>
                <a:gd name="connsiteY54" fmla="*/ 435727 h 927888"/>
                <a:gd name="connsiteX55" fmla="*/ 662258 w 954662"/>
                <a:gd name="connsiteY55" fmla="*/ 480320 h 927888"/>
                <a:gd name="connsiteX56" fmla="*/ 687974 w 954662"/>
                <a:gd name="connsiteY56" fmla="*/ 499195 h 927888"/>
                <a:gd name="connsiteX57" fmla="*/ 702796 w 954662"/>
                <a:gd name="connsiteY57" fmla="*/ 532133 h 927888"/>
                <a:gd name="connsiteX58" fmla="*/ 746375 w 954662"/>
                <a:gd name="connsiteY58" fmla="*/ 550628 h 927888"/>
                <a:gd name="connsiteX59" fmla="*/ 781719 w 954662"/>
                <a:gd name="connsiteY59" fmla="*/ 563170 h 927888"/>
                <a:gd name="connsiteX60" fmla="*/ 809083 w 954662"/>
                <a:gd name="connsiteY60" fmla="*/ 619670 h 927888"/>
                <a:gd name="connsiteX61" fmla="*/ 848988 w 954662"/>
                <a:gd name="connsiteY61" fmla="*/ 644374 h 927888"/>
                <a:gd name="connsiteX62" fmla="*/ 888259 w 954662"/>
                <a:gd name="connsiteY62" fmla="*/ 641460 h 927888"/>
                <a:gd name="connsiteX63" fmla="*/ 900167 w 954662"/>
                <a:gd name="connsiteY63" fmla="*/ 678451 h 927888"/>
                <a:gd name="connsiteX64" fmla="*/ 892567 w 954662"/>
                <a:gd name="connsiteY64" fmla="*/ 707208 h 927888"/>
                <a:gd name="connsiteX65" fmla="*/ 950714 w 954662"/>
                <a:gd name="connsiteY65" fmla="*/ 747366 h 927888"/>
                <a:gd name="connsiteX66" fmla="*/ 953754 w 954662"/>
                <a:gd name="connsiteY66" fmla="*/ 758768 h 92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54662" h="927888">
                  <a:moveTo>
                    <a:pt x="953754" y="758768"/>
                  </a:moveTo>
                  <a:cubicBezTo>
                    <a:pt x="945140" y="772576"/>
                    <a:pt x="936272" y="778910"/>
                    <a:pt x="924364" y="783217"/>
                  </a:cubicBezTo>
                  <a:cubicBezTo>
                    <a:pt x="912456" y="787525"/>
                    <a:pt x="864316" y="805007"/>
                    <a:pt x="852155" y="803993"/>
                  </a:cubicBezTo>
                  <a:cubicBezTo>
                    <a:pt x="839993" y="802980"/>
                    <a:pt x="794388" y="788158"/>
                    <a:pt x="799328" y="808681"/>
                  </a:cubicBezTo>
                  <a:cubicBezTo>
                    <a:pt x="804269" y="829076"/>
                    <a:pt x="838600" y="843899"/>
                    <a:pt x="821118" y="860114"/>
                  </a:cubicBezTo>
                  <a:cubicBezTo>
                    <a:pt x="803635" y="876329"/>
                    <a:pt x="805282" y="881903"/>
                    <a:pt x="808196" y="890138"/>
                  </a:cubicBezTo>
                  <a:cubicBezTo>
                    <a:pt x="811110" y="898372"/>
                    <a:pt x="826058" y="913194"/>
                    <a:pt x="792487" y="927889"/>
                  </a:cubicBezTo>
                  <a:cubicBezTo>
                    <a:pt x="793501" y="925989"/>
                    <a:pt x="793247" y="923835"/>
                    <a:pt x="790967" y="921301"/>
                  </a:cubicBezTo>
                  <a:cubicBezTo>
                    <a:pt x="782480" y="911927"/>
                    <a:pt x="753343" y="853526"/>
                    <a:pt x="743461" y="862394"/>
                  </a:cubicBezTo>
                  <a:cubicBezTo>
                    <a:pt x="733580" y="871262"/>
                    <a:pt x="733580" y="900525"/>
                    <a:pt x="713311" y="900525"/>
                  </a:cubicBezTo>
                  <a:cubicBezTo>
                    <a:pt x="693042" y="900525"/>
                    <a:pt x="664791" y="903946"/>
                    <a:pt x="654910" y="890644"/>
                  </a:cubicBezTo>
                  <a:cubicBezTo>
                    <a:pt x="645029" y="877216"/>
                    <a:pt x="612345" y="837691"/>
                    <a:pt x="598536" y="831737"/>
                  </a:cubicBezTo>
                  <a:cubicBezTo>
                    <a:pt x="584728" y="825783"/>
                    <a:pt x="581688" y="821856"/>
                    <a:pt x="572313" y="808934"/>
                  </a:cubicBezTo>
                  <a:cubicBezTo>
                    <a:pt x="562939" y="796012"/>
                    <a:pt x="548497" y="772830"/>
                    <a:pt x="539629" y="746100"/>
                  </a:cubicBezTo>
                  <a:cubicBezTo>
                    <a:pt x="530635" y="719370"/>
                    <a:pt x="522780" y="696060"/>
                    <a:pt x="502004" y="674777"/>
                  </a:cubicBezTo>
                  <a:cubicBezTo>
                    <a:pt x="481229" y="653495"/>
                    <a:pt x="456525" y="645514"/>
                    <a:pt x="460453" y="635126"/>
                  </a:cubicBezTo>
                  <a:cubicBezTo>
                    <a:pt x="464380" y="624738"/>
                    <a:pt x="469954" y="606875"/>
                    <a:pt x="460073" y="611816"/>
                  </a:cubicBezTo>
                  <a:cubicBezTo>
                    <a:pt x="450065" y="616757"/>
                    <a:pt x="427769" y="645007"/>
                    <a:pt x="412947" y="634112"/>
                  </a:cubicBezTo>
                  <a:cubicBezTo>
                    <a:pt x="397998" y="623217"/>
                    <a:pt x="368354" y="581666"/>
                    <a:pt x="349605" y="590534"/>
                  </a:cubicBezTo>
                  <a:cubicBezTo>
                    <a:pt x="331110" y="599274"/>
                    <a:pt x="294118" y="628792"/>
                    <a:pt x="292471" y="630058"/>
                  </a:cubicBezTo>
                  <a:cubicBezTo>
                    <a:pt x="293738" y="624738"/>
                    <a:pt x="277143" y="611816"/>
                    <a:pt x="267388" y="599908"/>
                  </a:cubicBezTo>
                  <a:cubicBezTo>
                    <a:pt x="255987" y="586100"/>
                    <a:pt x="262448" y="513764"/>
                    <a:pt x="263968" y="483613"/>
                  </a:cubicBezTo>
                  <a:cubicBezTo>
                    <a:pt x="265488" y="453463"/>
                    <a:pt x="229384" y="463851"/>
                    <a:pt x="212028" y="469298"/>
                  </a:cubicBezTo>
                  <a:cubicBezTo>
                    <a:pt x="194673" y="474746"/>
                    <a:pt x="188338" y="449536"/>
                    <a:pt x="177444" y="429267"/>
                  </a:cubicBezTo>
                  <a:cubicBezTo>
                    <a:pt x="166549" y="408997"/>
                    <a:pt x="86232" y="398229"/>
                    <a:pt x="86232" y="398229"/>
                  </a:cubicBezTo>
                  <a:cubicBezTo>
                    <a:pt x="88259" y="395569"/>
                    <a:pt x="89779" y="392149"/>
                    <a:pt x="90793" y="388222"/>
                  </a:cubicBezTo>
                  <a:cubicBezTo>
                    <a:pt x="97254" y="362885"/>
                    <a:pt x="104221" y="324373"/>
                    <a:pt x="78505" y="320446"/>
                  </a:cubicBezTo>
                  <a:cubicBezTo>
                    <a:pt x="62543" y="318039"/>
                    <a:pt x="45061" y="321080"/>
                    <a:pt x="31252" y="320446"/>
                  </a:cubicBezTo>
                  <a:cubicBezTo>
                    <a:pt x="32012" y="300430"/>
                    <a:pt x="35179" y="254318"/>
                    <a:pt x="36446" y="239750"/>
                  </a:cubicBezTo>
                  <a:cubicBezTo>
                    <a:pt x="37966" y="222901"/>
                    <a:pt x="9716" y="211499"/>
                    <a:pt x="1355" y="195157"/>
                  </a:cubicBezTo>
                  <a:cubicBezTo>
                    <a:pt x="-4852" y="183123"/>
                    <a:pt x="11743" y="156899"/>
                    <a:pt x="21244" y="143597"/>
                  </a:cubicBezTo>
                  <a:cubicBezTo>
                    <a:pt x="27579" y="151832"/>
                    <a:pt x="38980" y="140684"/>
                    <a:pt x="51395" y="136123"/>
                  </a:cubicBezTo>
                  <a:cubicBezTo>
                    <a:pt x="65963" y="130803"/>
                    <a:pt x="66597" y="151325"/>
                    <a:pt x="81038" y="164500"/>
                  </a:cubicBezTo>
                  <a:cubicBezTo>
                    <a:pt x="95607" y="177675"/>
                    <a:pt x="103461" y="149298"/>
                    <a:pt x="108782" y="138150"/>
                  </a:cubicBezTo>
                  <a:cubicBezTo>
                    <a:pt x="114102" y="127002"/>
                    <a:pt x="131838" y="137517"/>
                    <a:pt x="143746" y="148665"/>
                  </a:cubicBezTo>
                  <a:cubicBezTo>
                    <a:pt x="155654" y="159813"/>
                    <a:pt x="153628" y="141444"/>
                    <a:pt x="149067" y="124849"/>
                  </a:cubicBezTo>
                  <a:cubicBezTo>
                    <a:pt x="144380" y="108380"/>
                    <a:pt x="168829" y="63534"/>
                    <a:pt x="177444" y="48332"/>
                  </a:cubicBezTo>
                  <a:cubicBezTo>
                    <a:pt x="186058" y="33131"/>
                    <a:pt x="221023" y="25910"/>
                    <a:pt x="247373" y="31104"/>
                  </a:cubicBezTo>
                  <a:cubicBezTo>
                    <a:pt x="273723" y="36424"/>
                    <a:pt x="267895" y="17928"/>
                    <a:pt x="271822" y="5387"/>
                  </a:cubicBezTo>
                  <a:cubicBezTo>
                    <a:pt x="275750" y="-7155"/>
                    <a:pt x="304760" y="6781"/>
                    <a:pt x="315401" y="2093"/>
                  </a:cubicBezTo>
                  <a:cubicBezTo>
                    <a:pt x="320215" y="-60"/>
                    <a:pt x="328449" y="2220"/>
                    <a:pt x="336810" y="6147"/>
                  </a:cubicBezTo>
                  <a:lnTo>
                    <a:pt x="336810" y="6147"/>
                  </a:lnTo>
                  <a:cubicBezTo>
                    <a:pt x="338457" y="8807"/>
                    <a:pt x="339977" y="11341"/>
                    <a:pt x="340991" y="14001"/>
                  </a:cubicBezTo>
                  <a:cubicBezTo>
                    <a:pt x="351126" y="39211"/>
                    <a:pt x="374435" y="62521"/>
                    <a:pt x="404206" y="56313"/>
                  </a:cubicBezTo>
                  <a:cubicBezTo>
                    <a:pt x="416747" y="53653"/>
                    <a:pt x="432202" y="48586"/>
                    <a:pt x="442590" y="40605"/>
                  </a:cubicBezTo>
                  <a:cubicBezTo>
                    <a:pt x="448038" y="36424"/>
                    <a:pt x="451711" y="30977"/>
                    <a:pt x="455005" y="25149"/>
                  </a:cubicBezTo>
                  <a:cubicBezTo>
                    <a:pt x="472741" y="38451"/>
                    <a:pt x="505045" y="67588"/>
                    <a:pt x="503778" y="103186"/>
                  </a:cubicBezTo>
                  <a:cubicBezTo>
                    <a:pt x="503651" y="106606"/>
                    <a:pt x="503145" y="110153"/>
                    <a:pt x="502384" y="113700"/>
                  </a:cubicBezTo>
                  <a:cubicBezTo>
                    <a:pt x="490096" y="167794"/>
                    <a:pt x="456145" y="205419"/>
                    <a:pt x="458172" y="222521"/>
                  </a:cubicBezTo>
                  <a:cubicBezTo>
                    <a:pt x="460199" y="239623"/>
                    <a:pt x="457286" y="263059"/>
                    <a:pt x="473754" y="271674"/>
                  </a:cubicBezTo>
                  <a:cubicBezTo>
                    <a:pt x="490223" y="280288"/>
                    <a:pt x="496430" y="292069"/>
                    <a:pt x="501751" y="302077"/>
                  </a:cubicBezTo>
                  <a:cubicBezTo>
                    <a:pt x="507072" y="311959"/>
                    <a:pt x="518220" y="353891"/>
                    <a:pt x="533675" y="359465"/>
                  </a:cubicBezTo>
                  <a:cubicBezTo>
                    <a:pt x="549257" y="365039"/>
                    <a:pt x="551157" y="371626"/>
                    <a:pt x="561038" y="388222"/>
                  </a:cubicBezTo>
                  <a:cubicBezTo>
                    <a:pt x="570920" y="404690"/>
                    <a:pt x="564332" y="411278"/>
                    <a:pt x="585108" y="411658"/>
                  </a:cubicBezTo>
                  <a:cubicBezTo>
                    <a:pt x="605884" y="411911"/>
                    <a:pt x="642242" y="415205"/>
                    <a:pt x="646422" y="435727"/>
                  </a:cubicBezTo>
                  <a:cubicBezTo>
                    <a:pt x="650730" y="456250"/>
                    <a:pt x="647056" y="471072"/>
                    <a:pt x="662258" y="480320"/>
                  </a:cubicBezTo>
                  <a:cubicBezTo>
                    <a:pt x="677460" y="489568"/>
                    <a:pt x="686328" y="482980"/>
                    <a:pt x="687974" y="499195"/>
                  </a:cubicBezTo>
                  <a:cubicBezTo>
                    <a:pt x="689621" y="515284"/>
                    <a:pt x="684427" y="521998"/>
                    <a:pt x="702796" y="532133"/>
                  </a:cubicBezTo>
                  <a:cubicBezTo>
                    <a:pt x="721292" y="542394"/>
                    <a:pt x="730920" y="548981"/>
                    <a:pt x="746375" y="550628"/>
                  </a:cubicBezTo>
                  <a:cubicBezTo>
                    <a:pt x="761957" y="552275"/>
                    <a:pt x="783366" y="542014"/>
                    <a:pt x="781719" y="563170"/>
                  </a:cubicBezTo>
                  <a:cubicBezTo>
                    <a:pt x="780073" y="584326"/>
                    <a:pt x="786027" y="605355"/>
                    <a:pt x="809083" y="619670"/>
                  </a:cubicBezTo>
                  <a:cubicBezTo>
                    <a:pt x="832139" y="633859"/>
                    <a:pt x="836193" y="652354"/>
                    <a:pt x="848988" y="644374"/>
                  </a:cubicBezTo>
                  <a:cubicBezTo>
                    <a:pt x="861909" y="636519"/>
                    <a:pt x="876985" y="628538"/>
                    <a:pt x="888259" y="641460"/>
                  </a:cubicBezTo>
                  <a:cubicBezTo>
                    <a:pt x="899407" y="654255"/>
                    <a:pt x="910302" y="673764"/>
                    <a:pt x="900167" y="678451"/>
                  </a:cubicBezTo>
                  <a:cubicBezTo>
                    <a:pt x="889906" y="683138"/>
                    <a:pt x="876351" y="694666"/>
                    <a:pt x="892567" y="707208"/>
                  </a:cubicBezTo>
                  <a:cubicBezTo>
                    <a:pt x="904855" y="716709"/>
                    <a:pt x="938806" y="733685"/>
                    <a:pt x="950714" y="747366"/>
                  </a:cubicBezTo>
                  <a:cubicBezTo>
                    <a:pt x="954261" y="751420"/>
                    <a:pt x="955781" y="755347"/>
                    <a:pt x="953754" y="758768"/>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8" name="Полилиния: фигура 707">
              <a:extLst>
                <a:ext uri="{FF2B5EF4-FFF2-40B4-BE49-F238E27FC236}">
                  <a16:creationId xmlns:a16="http://schemas.microsoft.com/office/drawing/2014/main" id="{4C7D52A5-437C-48E1-94B8-36ABDF65D4E6}"/>
                </a:ext>
              </a:extLst>
            </p:cNvPr>
            <p:cNvSpPr/>
            <p:nvPr/>
          </p:nvSpPr>
          <p:spPr>
            <a:xfrm>
              <a:off x="3213161" y="4361437"/>
              <a:ext cx="688742" cy="894561"/>
            </a:xfrm>
            <a:custGeom>
              <a:avLst/>
              <a:gdLst>
                <a:gd name="connsiteX0" fmla="*/ 688616 w 688742"/>
                <a:gd name="connsiteY0" fmla="*/ 343726 h 894561"/>
                <a:gd name="connsiteX1" fmla="*/ 648331 w 688742"/>
                <a:gd name="connsiteY1" fmla="*/ 368429 h 894561"/>
                <a:gd name="connsiteX2" fmla="*/ 669740 w 688742"/>
                <a:gd name="connsiteY2" fmla="*/ 413908 h 894561"/>
                <a:gd name="connsiteX3" fmla="*/ 631102 w 688742"/>
                <a:gd name="connsiteY3" fmla="*/ 416568 h 894561"/>
                <a:gd name="connsiteX4" fmla="*/ 590184 w 688742"/>
                <a:gd name="connsiteY4" fmla="*/ 437977 h 894561"/>
                <a:gd name="connsiteX5" fmla="*/ 566747 w 688742"/>
                <a:gd name="connsiteY5" fmla="*/ 413275 h 894561"/>
                <a:gd name="connsiteX6" fmla="*/ 528109 w 688742"/>
                <a:gd name="connsiteY6" fmla="*/ 422522 h 894561"/>
                <a:gd name="connsiteX7" fmla="*/ 512021 w 688742"/>
                <a:gd name="connsiteY7" fmla="*/ 401113 h 894561"/>
                <a:gd name="connsiteX8" fmla="*/ 478323 w 688742"/>
                <a:gd name="connsiteY8" fmla="*/ 404407 h 894561"/>
                <a:gd name="connsiteX9" fmla="*/ 505053 w 688742"/>
                <a:gd name="connsiteY9" fmla="*/ 358928 h 894561"/>
                <a:gd name="connsiteX10" fmla="*/ 455267 w 688742"/>
                <a:gd name="connsiteY10" fmla="*/ 311042 h 894561"/>
                <a:gd name="connsiteX11" fmla="*/ 410421 w 688742"/>
                <a:gd name="connsiteY11" fmla="*/ 363108 h 894561"/>
                <a:gd name="connsiteX12" fmla="*/ 387999 w 688742"/>
                <a:gd name="connsiteY12" fmla="*/ 420242 h 894561"/>
                <a:gd name="connsiteX13" fmla="*/ 415742 w 688742"/>
                <a:gd name="connsiteY13" fmla="*/ 478643 h 894561"/>
                <a:gd name="connsiteX14" fmla="*/ 438798 w 688742"/>
                <a:gd name="connsiteY14" fmla="*/ 474082 h 894561"/>
                <a:gd name="connsiteX15" fmla="*/ 467809 w 688742"/>
                <a:gd name="connsiteY15" fmla="*/ 493211 h 894561"/>
                <a:gd name="connsiteX16" fmla="*/ 508347 w 688742"/>
                <a:gd name="connsiteY16" fmla="*/ 510440 h 894561"/>
                <a:gd name="connsiteX17" fmla="*/ 548632 w 688742"/>
                <a:gd name="connsiteY17" fmla="*/ 525895 h 894561"/>
                <a:gd name="connsiteX18" fmla="*/ 577389 w 688742"/>
                <a:gd name="connsiteY18" fmla="*/ 513354 h 894561"/>
                <a:gd name="connsiteX19" fmla="*/ 614634 w 688742"/>
                <a:gd name="connsiteY19" fmla="*/ 528175 h 894561"/>
                <a:gd name="connsiteX20" fmla="*/ 579289 w 688742"/>
                <a:gd name="connsiteY20" fmla="*/ 563773 h 894561"/>
                <a:gd name="connsiteX21" fmla="*/ 566114 w 688742"/>
                <a:gd name="connsiteY21" fmla="*/ 600384 h 894561"/>
                <a:gd name="connsiteX22" fmla="*/ 526843 w 688742"/>
                <a:gd name="connsiteY22" fmla="*/ 591517 h 894561"/>
                <a:gd name="connsiteX23" fmla="*/ 470722 w 688742"/>
                <a:gd name="connsiteY23" fmla="*/ 581635 h 894561"/>
                <a:gd name="connsiteX24" fmla="*/ 445006 w 688742"/>
                <a:gd name="connsiteY24" fmla="*/ 622554 h 894561"/>
                <a:gd name="connsiteX25" fmla="*/ 400413 w 688742"/>
                <a:gd name="connsiteY25" fmla="*/ 669807 h 894561"/>
                <a:gd name="connsiteX26" fmla="*/ 374063 w 688742"/>
                <a:gd name="connsiteY26" fmla="*/ 718959 h 894561"/>
                <a:gd name="connsiteX27" fmla="*/ 320984 w 688742"/>
                <a:gd name="connsiteY27" fmla="*/ 769126 h 894561"/>
                <a:gd name="connsiteX28" fmla="*/ 302108 w 688742"/>
                <a:gd name="connsiteY28" fmla="*/ 817392 h 894561"/>
                <a:gd name="connsiteX29" fmla="*/ 297674 w 688742"/>
                <a:gd name="connsiteY29" fmla="*/ 835634 h 894561"/>
                <a:gd name="connsiteX30" fmla="*/ 286019 w 688742"/>
                <a:gd name="connsiteY30" fmla="*/ 835761 h 894561"/>
                <a:gd name="connsiteX31" fmla="*/ 268030 w 688742"/>
                <a:gd name="connsiteY31" fmla="*/ 838421 h 894561"/>
                <a:gd name="connsiteX32" fmla="*/ 238640 w 688742"/>
                <a:gd name="connsiteY32" fmla="*/ 847669 h 894561"/>
                <a:gd name="connsiteX33" fmla="*/ 219131 w 688742"/>
                <a:gd name="connsiteY33" fmla="*/ 877946 h 894561"/>
                <a:gd name="connsiteX34" fmla="*/ 186320 w 688742"/>
                <a:gd name="connsiteY34" fmla="*/ 893021 h 894561"/>
                <a:gd name="connsiteX35" fmla="*/ 175932 w 688742"/>
                <a:gd name="connsiteY35" fmla="*/ 852483 h 894561"/>
                <a:gd name="connsiteX36" fmla="*/ 158450 w 688742"/>
                <a:gd name="connsiteY36" fmla="*/ 852356 h 894561"/>
                <a:gd name="connsiteX37" fmla="*/ 136787 w 688742"/>
                <a:gd name="connsiteY37" fmla="*/ 851849 h 894561"/>
                <a:gd name="connsiteX38" fmla="*/ 118418 w 688742"/>
                <a:gd name="connsiteY38" fmla="*/ 844501 h 894561"/>
                <a:gd name="connsiteX39" fmla="*/ 99542 w 688742"/>
                <a:gd name="connsiteY39" fmla="*/ 842601 h 894561"/>
                <a:gd name="connsiteX40" fmla="*/ 77880 w 688742"/>
                <a:gd name="connsiteY40" fmla="*/ 804090 h 894561"/>
                <a:gd name="connsiteX41" fmla="*/ 42029 w 688742"/>
                <a:gd name="connsiteY41" fmla="*/ 816632 h 894561"/>
                <a:gd name="connsiteX42" fmla="*/ 30627 w 688742"/>
                <a:gd name="connsiteY42" fmla="*/ 790535 h 894561"/>
                <a:gd name="connsiteX43" fmla="*/ 54824 w 688742"/>
                <a:gd name="connsiteY43" fmla="*/ 768239 h 894561"/>
                <a:gd name="connsiteX44" fmla="*/ 71292 w 688742"/>
                <a:gd name="connsiteY44" fmla="*/ 737708 h 894561"/>
                <a:gd name="connsiteX45" fmla="*/ 55584 w 688742"/>
                <a:gd name="connsiteY45" fmla="*/ 700590 h 894561"/>
                <a:gd name="connsiteX46" fmla="*/ 85481 w 688742"/>
                <a:gd name="connsiteY46" fmla="*/ 678928 h 894561"/>
                <a:gd name="connsiteX47" fmla="*/ 98782 w 688742"/>
                <a:gd name="connsiteY47" fmla="*/ 637629 h 894561"/>
                <a:gd name="connsiteX48" fmla="*/ 64071 w 688742"/>
                <a:gd name="connsiteY48" fmla="*/ 631422 h 894561"/>
                <a:gd name="connsiteX49" fmla="*/ 30247 w 688742"/>
                <a:gd name="connsiteY49" fmla="*/ 635222 h 894561"/>
                <a:gd name="connsiteX50" fmla="*/ 6178 w 688742"/>
                <a:gd name="connsiteY50" fmla="*/ 610899 h 894561"/>
                <a:gd name="connsiteX51" fmla="*/ 3390 w 688742"/>
                <a:gd name="connsiteY51" fmla="*/ 575555 h 894561"/>
                <a:gd name="connsiteX52" fmla="*/ 17832 w 688742"/>
                <a:gd name="connsiteY52" fmla="*/ 542997 h 894561"/>
                <a:gd name="connsiteX53" fmla="*/ 14792 w 688742"/>
                <a:gd name="connsiteY53" fmla="*/ 509427 h 894561"/>
                <a:gd name="connsiteX54" fmla="*/ 18972 w 688742"/>
                <a:gd name="connsiteY54" fmla="*/ 478389 h 894561"/>
                <a:gd name="connsiteX55" fmla="*/ 36201 w 688742"/>
                <a:gd name="connsiteY55" fmla="*/ 438357 h 894561"/>
                <a:gd name="connsiteX56" fmla="*/ 97 w 688742"/>
                <a:gd name="connsiteY56" fmla="*/ 378943 h 894561"/>
                <a:gd name="connsiteX57" fmla="*/ 8838 w 688742"/>
                <a:gd name="connsiteY57" fmla="*/ 338152 h 894561"/>
                <a:gd name="connsiteX58" fmla="*/ 17072 w 688742"/>
                <a:gd name="connsiteY58" fmla="*/ 300654 h 894561"/>
                <a:gd name="connsiteX59" fmla="*/ 41775 w 688742"/>
                <a:gd name="connsiteY59" fmla="*/ 255555 h 894561"/>
                <a:gd name="connsiteX60" fmla="*/ 41522 w 688742"/>
                <a:gd name="connsiteY60" fmla="*/ 245040 h 894561"/>
                <a:gd name="connsiteX61" fmla="*/ 114618 w 688742"/>
                <a:gd name="connsiteY61" fmla="*/ 187779 h 894561"/>
                <a:gd name="connsiteX62" fmla="*/ 122599 w 688742"/>
                <a:gd name="connsiteY62" fmla="*/ 105943 h 894561"/>
                <a:gd name="connsiteX63" fmla="*/ 168204 w 688742"/>
                <a:gd name="connsiteY63" fmla="*/ 113164 h 894561"/>
                <a:gd name="connsiteX64" fmla="*/ 249028 w 688742"/>
                <a:gd name="connsiteY64" fmla="*/ 101002 h 894561"/>
                <a:gd name="connsiteX65" fmla="*/ 252448 w 688742"/>
                <a:gd name="connsiteY65" fmla="*/ 100622 h 894561"/>
                <a:gd name="connsiteX66" fmla="*/ 255489 w 688742"/>
                <a:gd name="connsiteY66" fmla="*/ 99735 h 894561"/>
                <a:gd name="connsiteX67" fmla="*/ 260049 w 688742"/>
                <a:gd name="connsiteY67" fmla="*/ 96822 h 894561"/>
                <a:gd name="connsiteX68" fmla="*/ 260683 w 688742"/>
                <a:gd name="connsiteY68" fmla="*/ 96315 h 894561"/>
                <a:gd name="connsiteX69" fmla="*/ 262330 w 688742"/>
                <a:gd name="connsiteY69" fmla="*/ 94541 h 894561"/>
                <a:gd name="connsiteX70" fmla="*/ 263850 w 688742"/>
                <a:gd name="connsiteY70" fmla="*/ 92641 h 894561"/>
                <a:gd name="connsiteX71" fmla="*/ 265243 w 688742"/>
                <a:gd name="connsiteY71" fmla="*/ 90487 h 894561"/>
                <a:gd name="connsiteX72" fmla="*/ 266510 w 688742"/>
                <a:gd name="connsiteY72" fmla="*/ 88080 h 894561"/>
                <a:gd name="connsiteX73" fmla="*/ 272464 w 688742"/>
                <a:gd name="connsiteY73" fmla="*/ 56410 h 894561"/>
                <a:gd name="connsiteX74" fmla="*/ 272591 w 688742"/>
                <a:gd name="connsiteY74" fmla="*/ 53370 h 894561"/>
                <a:gd name="connsiteX75" fmla="*/ 272591 w 688742"/>
                <a:gd name="connsiteY75" fmla="*/ 46275 h 894561"/>
                <a:gd name="connsiteX76" fmla="*/ 315410 w 688742"/>
                <a:gd name="connsiteY76" fmla="*/ 39308 h 894561"/>
                <a:gd name="connsiteX77" fmla="*/ 361902 w 688742"/>
                <a:gd name="connsiteY77" fmla="*/ 1176 h 894561"/>
                <a:gd name="connsiteX78" fmla="*/ 365956 w 688742"/>
                <a:gd name="connsiteY78" fmla="*/ 4217 h 894561"/>
                <a:gd name="connsiteX79" fmla="*/ 417896 w 688742"/>
                <a:gd name="connsiteY79" fmla="*/ 80479 h 894561"/>
                <a:gd name="connsiteX80" fmla="*/ 464388 w 688742"/>
                <a:gd name="connsiteY80" fmla="*/ 86940 h 894561"/>
                <a:gd name="connsiteX81" fmla="*/ 485671 w 688742"/>
                <a:gd name="connsiteY81" fmla="*/ 117091 h 894561"/>
                <a:gd name="connsiteX82" fmla="*/ 514428 w 688742"/>
                <a:gd name="connsiteY82" fmla="*/ 141414 h 894561"/>
                <a:gd name="connsiteX83" fmla="*/ 521395 w 688742"/>
                <a:gd name="connsiteY83" fmla="*/ 171564 h 894561"/>
                <a:gd name="connsiteX84" fmla="*/ 554586 w 688742"/>
                <a:gd name="connsiteY84" fmla="*/ 176251 h 894561"/>
                <a:gd name="connsiteX85" fmla="*/ 554586 w 688742"/>
                <a:gd name="connsiteY85" fmla="*/ 176251 h 894561"/>
                <a:gd name="connsiteX86" fmla="*/ 562947 w 688742"/>
                <a:gd name="connsiteY86" fmla="*/ 185879 h 894561"/>
                <a:gd name="connsiteX87" fmla="*/ 592591 w 688742"/>
                <a:gd name="connsiteY87" fmla="*/ 231992 h 894561"/>
                <a:gd name="connsiteX88" fmla="*/ 688743 w 688742"/>
                <a:gd name="connsiteY88" fmla="*/ 319149 h 894561"/>
                <a:gd name="connsiteX89" fmla="*/ 688616 w 688742"/>
                <a:gd name="connsiteY89" fmla="*/ 343726 h 89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88742" h="894561">
                  <a:moveTo>
                    <a:pt x="688616" y="343726"/>
                  </a:moveTo>
                  <a:cubicBezTo>
                    <a:pt x="688236" y="361208"/>
                    <a:pt x="656566" y="353354"/>
                    <a:pt x="648331" y="368429"/>
                  </a:cubicBezTo>
                  <a:cubicBezTo>
                    <a:pt x="640097" y="383631"/>
                    <a:pt x="664800" y="395539"/>
                    <a:pt x="669740" y="413908"/>
                  </a:cubicBezTo>
                  <a:cubicBezTo>
                    <a:pt x="674681" y="432403"/>
                    <a:pt x="641997" y="425816"/>
                    <a:pt x="631102" y="416568"/>
                  </a:cubicBezTo>
                  <a:cubicBezTo>
                    <a:pt x="620207" y="407320"/>
                    <a:pt x="601079" y="428730"/>
                    <a:pt x="590184" y="437977"/>
                  </a:cubicBezTo>
                  <a:cubicBezTo>
                    <a:pt x="579289" y="447225"/>
                    <a:pt x="566747" y="427083"/>
                    <a:pt x="566747" y="413275"/>
                  </a:cubicBezTo>
                  <a:cubicBezTo>
                    <a:pt x="566747" y="399466"/>
                    <a:pt x="532797" y="408967"/>
                    <a:pt x="528109" y="422522"/>
                  </a:cubicBezTo>
                  <a:cubicBezTo>
                    <a:pt x="523549" y="436077"/>
                    <a:pt x="520888" y="413908"/>
                    <a:pt x="512021" y="401113"/>
                  </a:cubicBezTo>
                  <a:cubicBezTo>
                    <a:pt x="503153" y="388191"/>
                    <a:pt x="483644" y="409347"/>
                    <a:pt x="478323" y="404407"/>
                  </a:cubicBezTo>
                  <a:cubicBezTo>
                    <a:pt x="473003" y="399466"/>
                    <a:pt x="492892" y="378690"/>
                    <a:pt x="505053" y="358928"/>
                  </a:cubicBezTo>
                  <a:cubicBezTo>
                    <a:pt x="517215" y="339165"/>
                    <a:pt x="477310" y="323330"/>
                    <a:pt x="455267" y="311042"/>
                  </a:cubicBezTo>
                  <a:cubicBezTo>
                    <a:pt x="433098" y="298753"/>
                    <a:pt x="418276" y="341445"/>
                    <a:pt x="410421" y="363108"/>
                  </a:cubicBezTo>
                  <a:cubicBezTo>
                    <a:pt x="402440" y="384897"/>
                    <a:pt x="393953" y="395792"/>
                    <a:pt x="387999" y="420242"/>
                  </a:cubicBezTo>
                  <a:cubicBezTo>
                    <a:pt x="382044" y="444692"/>
                    <a:pt x="406114" y="469775"/>
                    <a:pt x="415742" y="478643"/>
                  </a:cubicBezTo>
                  <a:cubicBezTo>
                    <a:pt x="425243" y="487510"/>
                    <a:pt x="432844" y="479656"/>
                    <a:pt x="438798" y="474082"/>
                  </a:cubicBezTo>
                  <a:cubicBezTo>
                    <a:pt x="444752" y="468508"/>
                    <a:pt x="452987" y="467115"/>
                    <a:pt x="467809" y="493211"/>
                  </a:cubicBezTo>
                  <a:cubicBezTo>
                    <a:pt x="482630" y="519308"/>
                    <a:pt x="496186" y="510060"/>
                    <a:pt x="508347" y="510440"/>
                  </a:cubicBezTo>
                  <a:cubicBezTo>
                    <a:pt x="520635" y="510693"/>
                    <a:pt x="530136" y="516647"/>
                    <a:pt x="548632" y="525895"/>
                  </a:cubicBezTo>
                  <a:cubicBezTo>
                    <a:pt x="567128" y="535143"/>
                    <a:pt x="566494" y="526909"/>
                    <a:pt x="577389" y="513354"/>
                  </a:cubicBezTo>
                  <a:cubicBezTo>
                    <a:pt x="588284" y="499799"/>
                    <a:pt x="602852" y="520321"/>
                    <a:pt x="614634" y="528175"/>
                  </a:cubicBezTo>
                  <a:cubicBezTo>
                    <a:pt x="626542" y="536156"/>
                    <a:pt x="608046" y="554905"/>
                    <a:pt x="579289" y="563773"/>
                  </a:cubicBezTo>
                  <a:cubicBezTo>
                    <a:pt x="550532" y="572641"/>
                    <a:pt x="567381" y="580622"/>
                    <a:pt x="566114" y="600384"/>
                  </a:cubicBezTo>
                  <a:cubicBezTo>
                    <a:pt x="564721" y="620147"/>
                    <a:pt x="538751" y="602031"/>
                    <a:pt x="526843" y="591517"/>
                  </a:cubicBezTo>
                  <a:cubicBezTo>
                    <a:pt x="514934" y="581002"/>
                    <a:pt x="494159" y="590123"/>
                    <a:pt x="470722" y="581635"/>
                  </a:cubicBezTo>
                  <a:cubicBezTo>
                    <a:pt x="447286" y="573021"/>
                    <a:pt x="449313" y="604438"/>
                    <a:pt x="445006" y="622554"/>
                  </a:cubicBezTo>
                  <a:cubicBezTo>
                    <a:pt x="440699" y="640669"/>
                    <a:pt x="410041" y="659545"/>
                    <a:pt x="400413" y="669807"/>
                  </a:cubicBezTo>
                  <a:cubicBezTo>
                    <a:pt x="390912" y="680068"/>
                    <a:pt x="377991" y="701097"/>
                    <a:pt x="374063" y="718959"/>
                  </a:cubicBezTo>
                  <a:cubicBezTo>
                    <a:pt x="370136" y="736821"/>
                    <a:pt x="337452" y="756964"/>
                    <a:pt x="320984" y="769126"/>
                  </a:cubicBezTo>
                  <a:cubicBezTo>
                    <a:pt x="304515" y="781287"/>
                    <a:pt x="301221" y="804470"/>
                    <a:pt x="302108" y="817392"/>
                  </a:cubicBezTo>
                  <a:cubicBezTo>
                    <a:pt x="303121" y="830187"/>
                    <a:pt x="297674" y="835634"/>
                    <a:pt x="297674" y="835634"/>
                  </a:cubicBezTo>
                  <a:cubicBezTo>
                    <a:pt x="294254" y="832467"/>
                    <a:pt x="289946" y="834620"/>
                    <a:pt x="286019" y="835761"/>
                  </a:cubicBezTo>
                  <a:cubicBezTo>
                    <a:pt x="279938" y="837534"/>
                    <a:pt x="274364" y="838928"/>
                    <a:pt x="268030" y="838421"/>
                  </a:cubicBezTo>
                  <a:cubicBezTo>
                    <a:pt x="254729" y="837407"/>
                    <a:pt x="247001" y="834874"/>
                    <a:pt x="238640" y="847669"/>
                  </a:cubicBezTo>
                  <a:cubicBezTo>
                    <a:pt x="231799" y="858057"/>
                    <a:pt x="228759" y="869712"/>
                    <a:pt x="219131" y="877946"/>
                  </a:cubicBezTo>
                  <a:cubicBezTo>
                    <a:pt x="212923" y="883267"/>
                    <a:pt x="194934" y="899608"/>
                    <a:pt x="186320" y="893021"/>
                  </a:cubicBezTo>
                  <a:cubicBezTo>
                    <a:pt x="175045" y="884533"/>
                    <a:pt x="187080" y="861477"/>
                    <a:pt x="175932" y="852483"/>
                  </a:cubicBezTo>
                  <a:cubicBezTo>
                    <a:pt x="171118" y="848555"/>
                    <a:pt x="163771" y="851469"/>
                    <a:pt x="158450" y="852356"/>
                  </a:cubicBezTo>
                  <a:cubicBezTo>
                    <a:pt x="151102" y="853749"/>
                    <a:pt x="144008" y="854129"/>
                    <a:pt x="136787" y="851849"/>
                  </a:cubicBezTo>
                  <a:cubicBezTo>
                    <a:pt x="130580" y="849822"/>
                    <a:pt x="124879" y="846148"/>
                    <a:pt x="118418" y="844501"/>
                  </a:cubicBezTo>
                  <a:cubicBezTo>
                    <a:pt x="112211" y="842981"/>
                    <a:pt x="105750" y="844121"/>
                    <a:pt x="99542" y="842601"/>
                  </a:cubicBezTo>
                  <a:cubicBezTo>
                    <a:pt x="81174" y="838294"/>
                    <a:pt x="86494" y="816125"/>
                    <a:pt x="77880" y="804090"/>
                  </a:cubicBezTo>
                  <a:cubicBezTo>
                    <a:pt x="69645" y="792562"/>
                    <a:pt x="51910" y="815491"/>
                    <a:pt x="42029" y="816632"/>
                  </a:cubicBezTo>
                  <a:cubicBezTo>
                    <a:pt x="28980" y="818152"/>
                    <a:pt x="27587" y="799403"/>
                    <a:pt x="30627" y="790535"/>
                  </a:cubicBezTo>
                  <a:cubicBezTo>
                    <a:pt x="34174" y="780147"/>
                    <a:pt x="46336" y="774066"/>
                    <a:pt x="54824" y="768239"/>
                  </a:cubicBezTo>
                  <a:cubicBezTo>
                    <a:pt x="65972" y="760511"/>
                    <a:pt x="76613" y="752657"/>
                    <a:pt x="71292" y="737708"/>
                  </a:cubicBezTo>
                  <a:cubicBezTo>
                    <a:pt x="67619" y="727700"/>
                    <a:pt x="50263" y="711738"/>
                    <a:pt x="55584" y="700590"/>
                  </a:cubicBezTo>
                  <a:cubicBezTo>
                    <a:pt x="60398" y="690329"/>
                    <a:pt x="77626" y="687035"/>
                    <a:pt x="85481" y="678928"/>
                  </a:cubicBezTo>
                  <a:cubicBezTo>
                    <a:pt x="94855" y="669173"/>
                    <a:pt x="102203" y="651184"/>
                    <a:pt x="98782" y="637629"/>
                  </a:cubicBezTo>
                  <a:cubicBezTo>
                    <a:pt x="94475" y="620401"/>
                    <a:pt x="75599" y="625974"/>
                    <a:pt x="64071" y="631422"/>
                  </a:cubicBezTo>
                  <a:cubicBezTo>
                    <a:pt x="53557" y="636362"/>
                    <a:pt x="41649" y="637756"/>
                    <a:pt x="30247" y="635222"/>
                  </a:cubicBezTo>
                  <a:cubicBezTo>
                    <a:pt x="19732" y="632815"/>
                    <a:pt x="12132" y="619134"/>
                    <a:pt x="6178" y="610899"/>
                  </a:cubicBezTo>
                  <a:cubicBezTo>
                    <a:pt x="-1170" y="600891"/>
                    <a:pt x="1490" y="586829"/>
                    <a:pt x="3390" y="575555"/>
                  </a:cubicBezTo>
                  <a:cubicBezTo>
                    <a:pt x="5291" y="563520"/>
                    <a:pt x="14159" y="554525"/>
                    <a:pt x="17832" y="542997"/>
                  </a:cubicBezTo>
                  <a:cubicBezTo>
                    <a:pt x="21506" y="531469"/>
                    <a:pt x="17832" y="520575"/>
                    <a:pt x="14792" y="509427"/>
                  </a:cubicBezTo>
                  <a:cubicBezTo>
                    <a:pt x="11498" y="497518"/>
                    <a:pt x="12512" y="488904"/>
                    <a:pt x="18972" y="478389"/>
                  </a:cubicBezTo>
                  <a:cubicBezTo>
                    <a:pt x="26573" y="465974"/>
                    <a:pt x="36075" y="453559"/>
                    <a:pt x="36201" y="438357"/>
                  </a:cubicBezTo>
                  <a:cubicBezTo>
                    <a:pt x="36581" y="409601"/>
                    <a:pt x="-2184" y="407320"/>
                    <a:pt x="97" y="378943"/>
                  </a:cubicBezTo>
                  <a:cubicBezTo>
                    <a:pt x="1237" y="365135"/>
                    <a:pt x="6811" y="351833"/>
                    <a:pt x="8838" y="338152"/>
                  </a:cubicBezTo>
                  <a:cubicBezTo>
                    <a:pt x="10865" y="325103"/>
                    <a:pt x="11625" y="312815"/>
                    <a:pt x="17072" y="300654"/>
                  </a:cubicBezTo>
                  <a:cubicBezTo>
                    <a:pt x="24040" y="285198"/>
                    <a:pt x="36708" y="271770"/>
                    <a:pt x="41775" y="255555"/>
                  </a:cubicBezTo>
                  <a:cubicBezTo>
                    <a:pt x="43169" y="251121"/>
                    <a:pt x="42915" y="247700"/>
                    <a:pt x="41522" y="245040"/>
                  </a:cubicBezTo>
                  <a:cubicBezTo>
                    <a:pt x="67745" y="212863"/>
                    <a:pt x="81680" y="205642"/>
                    <a:pt x="114618" y="187779"/>
                  </a:cubicBezTo>
                  <a:cubicBezTo>
                    <a:pt x="147682" y="169917"/>
                    <a:pt x="128426" y="128999"/>
                    <a:pt x="122599" y="105943"/>
                  </a:cubicBezTo>
                  <a:cubicBezTo>
                    <a:pt x="116645" y="82886"/>
                    <a:pt x="154903" y="102649"/>
                    <a:pt x="168204" y="113164"/>
                  </a:cubicBezTo>
                  <a:cubicBezTo>
                    <a:pt x="181379" y="123805"/>
                    <a:pt x="216344" y="102016"/>
                    <a:pt x="249028" y="101002"/>
                  </a:cubicBezTo>
                  <a:cubicBezTo>
                    <a:pt x="250168" y="101002"/>
                    <a:pt x="251308" y="100875"/>
                    <a:pt x="252448" y="100622"/>
                  </a:cubicBezTo>
                  <a:cubicBezTo>
                    <a:pt x="253462" y="100369"/>
                    <a:pt x="254475" y="100115"/>
                    <a:pt x="255489" y="99735"/>
                  </a:cubicBezTo>
                  <a:cubicBezTo>
                    <a:pt x="257136" y="98975"/>
                    <a:pt x="258656" y="98088"/>
                    <a:pt x="260049" y="96822"/>
                  </a:cubicBezTo>
                  <a:cubicBezTo>
                    <a:pt x="260303" y="96568"/>
                    <a:pt x="260429" y="96441"/>
                    <a:pt x="260683" y="96315"/>
                  </a:cubicBezTo>
                  <a:cubicBezTo>
                    <a:pt x="261316" y="95681"/>
                    <a:pt x="261823" y="95175"/>
                    <a:pt x="262330" y="94541"/>
                  </a:cubicBezTo>
                  <a:cubicBezTo>
                    <a:pt x="262836" y="93908"/>
                    <a:pt x="263343" y="93274"/>
                    <a:pt x="263850" y="92641"/>
                  </a:cubicBezTo>
                  <a:cubicBezTo>
                    <a:pt x="264357" y="92008"/>
                    <a:pt x="264737" y="91247"/>
                    <a:pt x="265243" y="90487"/>
                  </a:cubicBezTo>
                  <a:cubicBezTo>
                    <a:pt x="265750" y="89727"/>
                    <a:pt x="266130" y="88967"/>
                    <a:pt x="266510" y="88080"/>
                  </a:cubicBezTo>
                  <a:cubicBezTo>
                    <a:pt x="270437" y="79593"/>
                    <a:pt x="272084" y="68065"/>
                    <a:pt x="272464" y="56410"/>
                  </a:cubicBezTo>
                  <a:cubicBezTo>
                    <a:pt x="272464" y="55396"/>
                    <a:pt x="272591" y="54383"/>
                    <a:pt x="272591" y="53370"/>
                  </a:cubicBezTo>
                  <a:cubicBezTo>
                    <a:pt x="272591" y="51089"/>
                    <a:pt x="272591" y="48682"/>
                    <a:pt x="272591" y="46275"/>
                  </a:cubicBezTo>
                  <a:cubicBezTo>
                    <a:pt x="272591" y="46275"/>
                    <a:pt x="301094" y="55143"/>
                    <a:pt x="315410" y="39308"/>
                  </a:cubicBezTo>
                  <a:cubicBezTo>
                    <a:pt x="328584" y="24739"/>
                    <a:pt x="346700" y="-6425"/>
                    <a:pt x="361902" y="1176"/>
                  </a:cubicBezTo>
                  <a:cubicBezTo>
                    <a:pt x="363296" y="1810"/>
                    <a:pt x="364562" y="2823"/>
                    <a:pt x="365956" y="4217"/>
                  </a:cubicBezTo>
                  <a:cubicBezTo>
                    <a:pt x="381791" y="20559"/>
                    <a:pt x="402567" y="78959"/>
                    <a:pt x="417896" y="80479"/>
                  </a:cubicBezTo>
                  <a:cubicBezTo>
                    <a:pt x="433224" y="82000"/>
                    <a:pt x="461981" y="70598"/>
                    <a:pt x="464388" y="86940"/>
                  </a:cubicBezTo>
                  <a:cubicBezTo>
                    <a:pt x="466922" y="103282"/>
                    <a:pt x="469329" y="107716"/>
                    <a:pt x="485671" y="117091"/>
                  </a:cubicBezTo>
                  <a:cubicBezTo>
                    <a:pt x="502013" y="126465"/>
                    <a:pt x="514934" y="130899"/>
                    <a:pt x="514428" y="141414"/>
                  </a:cubicBezTo>
                  <a:cubicBezTo>
                    <a:pt x="513921" y="151802"/>
                    <a:pt x="507967" y="165610"/>
                    <a:pt x="521395" y="171564"/>
                  </a:cubicBezTo>
                  <a:cubicBezTo>
                    <a:pt x="530643" y="175618"/>
                    <a:pt x="545212" y="172578"/>
                    <a:pt x="554586" y="176251"/>
                  </a:cubicBezTo>
                  <a:lnTo>
                    <a:pt x="554586" y="176251"/>
                  </a:lnTo>
                  <a:cubicBezTo>
                    <a:pt x="558640" y="177898"/>
                    <a:pt x="561807" y="180685"/>
                    <a:pt x="562947" y="185879"/>
                  </a:cubicBezTo>
                  <a:cubicBezTo>
                    <a:pt x="566874" y="203235"/>
                    <a:pt x="572321" y="221477"/>
                    <a:pt x="592591" y="231992"/>
                  </a:cubicBezTo>
                  <a:cubicBezTo>
                    <a:pt x="612860" y="242380"/>
                    <a:pt x="676328" y="303947"/>
                    <a:pt x="688743" y="319149"/>
                  </a:cubicBezTo>
                  <a:cubicBezTo>
                    <a:pt x="687603" y="326877"/>
                    <a:pt x="688743" y="336505"/>
                    <a:pt x="688616" y="343726"/>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09" name="Полилиния: фигура 708">
              <a:extLst>
                <a:ext uri="{FF2B5EF4-FFF2-40B4-BE49-F238E27FC236}">
                  <a16:creationId xmlns:a16="http://schemas.microsoft.com/office/drawing/2014/main" id="{4C7AD28E-4274-43E9-8943-E845BCEAD007}"/>
                </a:ext>
              </a:extLst>
            </p:cNvPr>
            <p:cNvSpPr/>
            <p:nvPr/>
          </p:nvSpPr>
          <p:spPr>
            <a:xfrm>
              <a:off x="3767240" y="3852952"/>
              <a:ext cx="902595" cy="1025149"/>
            </a:xfrm>
            <a:custGeom>
              <a:avLst/>
              <a:gdLst>
                <a:gd name="connsiteX0" fmla="*/ 886524 w 902595"/>
                <a:gd name="connsiteY0" fmla="*/ 822694 h 1025149"/>
                <a:gd name="connsiteX1" fmla="*/ 885891 w 902595"/>
                <a:gd name="connsiteY1" fmla="*/ 868173 h 1025149"/>
                <a:gd name="connsiteX2" fmla="*/ 855234 w 902595"/>
                <a:gd name="connsiteY2" fmla="*/ 889456 h 1025149"/>
                <a:gd name="connsiteX3" fmla="*/ 814569 w 902595"/>
                <a:gd name="connsiteY3" fmla="*/ 906811 h 1025149"/>
                <a:gd name="connsiteX4" fmla="*/ 752241 w 902595"/>
                <a:gd name="connsiteY4" fmla="*/ 887049 h 1025149"/>
                <a:gd name="connsiteX5" fmla="*/ 710689 w 902595"/>
                <a:gd name="connsiteY5" fmla="*/ 908838 h 1025149"/>
                <a:gd name="connsiteX6" fmla="*/ 700301 w 902595"/>
                <a:gd name="connsiteY6" fmla="*/ 965719 h 1025149"/>
                <a:gd name="connsiteX7" fmla="*/ 661916 w 902595"/>
                <a:gd name="connsiteY7" fmla="*/ 1019052 h 1025149"/>
                <a:gd name="connsiteX8" fmla="*/ 651528 w 902595"/>
                <a:gd name="connsiteY8" fmla="*/ 1012211 h 1025149"/>
                <a:gd name="connsiteX9" fmla="*/ 591481 w 902595"/>
                <a:gd name="connsiteY9" fmla="*/ 1020065 h 1025149"/>
                <a:gd name="connsiteX10" fmla="*/ 560064 w 902595"/>
                <a:gd name="connsiteY10" fmla="*/ 1024626 h 1025149"/>
                <a:gd name="connsiteX11" fmla="*/ 537387 w 902595"/>
                <a:gd name="connsiteY11" fmla="*/ 1011831 h 1025149"/>
                <a:gd name="connsiteX12" fmla="*/ 508631 w 902595"/>
                <a:gd name="connsiteY12" fmla="*/ 993842 h 1025149"/>
                <a:gd name="connsiteX13" fmla="*/ 482914 w 902595"/>
                <a:gd name="connsiteY13" fmla="*/ 968252 h 1025149"/>
                <a:gd name="connsiteX14" fmla="*/ 417419 w 902595"/>
                <a:gd name="connsiteY14" fmla="*/ 960525 h 1025149"/>
                <a:gd name="connsiteX15" fmla="*/ 378147 w 902595"/>
                <a:gd name="connsiteY15" fmla="*/ 974713 h 1025149"/>
                <a:gd name="connsiteX16" fmla="*/ 339763 w 902595"/>
                <a:gd name="connsiteY16" fmla="*/ 921760 h 1025149"/>
                <a:gd name="connsiteX17" fmla="*/ 298464 w 902595"/>
                <a:gd name="connsiteY17" fmla="*/ 914539 h 1025149"/>
                <a:gd name="connsiteX18" fmla="*/ 276421 w 902595"/>
                <a:gd name="connsiteY18" fmla="*/ 893763 h 1025149"/>
                <a:gd name="connsiteX19" fmla="*/ 216247 w 902595"/>
                <a:gd name="connsiteY19" fmla="*/ 856899 h 1025149"/>
                <a:gd name="connsiteX20" fmla="*/ 156833 w 902595"/>
                <a:gd name="connsiteY20" fmla="*/ 812306 h 1025149"/>
                <a:gd name="connsiteX21" fmla="*/ 134157 w 902595"/>
                <a:gd name="connsiteY21" fmla="*/ 827255 h 1025149"/>
                <a:gd name="connsiteX22" fmla="*/ 38005 w 902595"/>
                <a:gd name="connsiteY22" fmla="*/ 740097 h 1025149"/>
                <a:gd name="connsiteX23" fmla="*/ 8361 w 902595"/>
                <a:gd name="connsiteY23" fmla="*/ 693985 h 1025149"/>
                <a:gd name="connsiteX24" fmla="*/ 0 w 902595"/>
                <a:gd name="connsiteY24" fmla="*/ 684357 h 1025149"/>
                <a:gd name="connsiteX25" fmla="*/ 60808 w 902595"/>
                <a:gd name="connsiteY25" fmla="*/ 602900 h 1025149"/>
                <a:gd name="connsiteX26" fmla="*/ 122629 w 902595"/>
                <a:gd name="connsiteY26" fmla="*/ 637104 h 1025149"/>
                <a:gd name="connsiteX27" fmla="*/ 161140 w 902595"/>
                <a:gd name="connsiteY27" fmla="*/ 583644 h 1025149"/>
                <a:gd name="connsiteX28" fmla="*/ 193824 w 902595"/>
                <a:gd name="connsiteY28" fmla="*/ 535125 h 1025149"/>
                <a:gd name="connsiteX29" fmla="*/ 239303 w 902595"/>
                <a:gd name="connsiteY29" fmla="*/ 574776 h 1025149"/>
                <a:gd name="connsiteX30" fmla="*/ 274901 w 902595"/>
                <a:gd name="connsiteY30" fmla="*/ 573256 h 1025149"/>
                <a:gd name="connsiteX31" fmla="*/ 298591 w 902595"/>
                <a:gd name="connsiteY31" fmla="*/ 513842 h 1025149"/>
                <a:gd name="connsiteX32" fmla="*/ 393096 w 902595"/>
                <a:gd name="connsiteY32" fmla="*/ 483185 h 1025149"/>
                <a:gd name="connsiteX33" fmla="*/ 408425 w 902595"/>
                <a:gd name="connsiteY33" fmla="*/ 437706 h 1025149"/>
                <a:gd name="connsiteX34" fmla="*/ 427680 w 902595"/>
                <a:gd name="connsiteY34" fmla="*/ 396661 h 1025149"/>
                <a:gd name="connsiteX35" fmla="*/ 414252 w 902595"/>
                <a:gd name="connsiteY35" fmla="*/ 354096 h 1025149"/>
                <a:gd name="connsiteX36" fmla="*/ 440982 w 902595"/>
                <a:gd name="connsiteY36" fmla="*/ 294682 h 1025149"/>
                <a:gd name="connsiteX37" fmla="*/ 477086 w 902595"/>
                <a:gd name="connsiteY37" fmla="*/ 274919 h 1025149"/>
                <a:gd name="connsiteX38" fmla="*/ 538401 w 902595"/>
                <a:gd name="connsiteY38" fmla="*/ 237801 h 1025149"/>
                <a:gd name="connsiteX39" fmla="*/ 608203 w 902595"/>
                <a:gd name="connsiteY39" fmla="*/ 183328 h 1025149"/>
                <a:gd name="connsiteX40" fmla="*/ 627965 w 902595"/>
                <a:gd name="connsiteY40" fmla="*/ 147730 h 1025149"/>
                <a:gd name="connsiteX41" fmla="*/ 649755 w 902595"/>
                <a:gd name="connsiteY41" fmla="*/ 101237 h 1025149"/>
                <a:gd name="connsiteX42" fmla="*/ 690420 w 902595"/>
                <a:gd name="connsiteY42" fmla="*/ 54745 h 1025149"/>
                <a:gd name="connsiteX43" fmla="*/ 700301 w 902595"/>
                <a:gd name="connsiteY43" fmla="*/ 18640 h 1025149"/>
                <a:gd name="connsiteX44" fmla="*/ 735392 w 902595"/>
                <a:gd name="connsiteY44" fmla="*/ 398 h 1025149"/>
                <a:gd name="connsiteX45" fmla="*/ 740839 w 902595"/>
                <a:gd name="connsiteY45" fmla="*/ 1918 h 1025149"/>
                <a:gd name="connsiteX46" fmla="*/ 774917 w 902595"/>
                <a:gd name="connsiteY46" fmla="*/ 72227 h 1025149"/>
                <a:gd name="connsiteX47" fmla="*/ 823943 w 902595"/>
                <a:gd name="connsiteY47" fmla="*/ 114792 h 1025149"/>
                <a:gd name="connsiteX48" fmla="*/ 866509 w 902595"/>
                <a:gd name="connsiteY48" fmla="*/ 166225 h 1025149"/>
                <a:gd name="connsiteX49" fmla="*/ 884371 w 902595"/>
                <a:gd name="connsiteY49" fmla="*/ 220699 h 1025149"/>
                <a:gd name="connsiteX50" fmla="*/ 895772 w 902595"/>
                <a:gd name="connsiteY50" fmla="*/ 284547 h 1025149"/>
                <a:gd name="connsiteX51" fmla="*/ 852700 w 902595"/>
                <a:gd name="connsiteY51" fmla="*/ 334080 h 1025149"/>
                <a:gd name="connsiteX52" fmla="*/ 859161 w 902595"/>
                <a:gd name="connsiteY52" fmla="*/ 365750 h 1025149"/>
                <a:gd name="connsiteX53" fmla="*/ 852700 w 902595"/>
                <a:gd name="connsiteY53" fmla="*/ 400462 h 1025149"/>
                <a:gd name="connsiteX54" fmla="*/ 864989 w 902595"/>
                <a:gd name="connsiteY54" fmla="*/ 452401 h 1025149"/>
                <a:gd name="connsiteX55" fmla="*/ 830911 w 902595"/>
                <a:gd name="connsiteY55" fmla="*/ 553367 h 1025149"/>
                <a:gd name="connsiteX56" fmla="*/ 882850 w 902595"/>
                <a:gd name="connsiteY56" fmla="*/ 606827 h 1025149"/>
                <a:gd name="connsiteX57" fmla="*/ 889311 w 902595"/>
                <a:gd name="connsiteY57" fmla="*/ 707286 h 1025149"/>
                <a:gd name="connsiteX58" fmla="*/ 899193 w 902595"/>
                <a:gd name="connsiteY58" fmla="*/ 789377 h 1025149"/>
                <a:gd name="connsiteX59" fmla="*/ 902233 w 902595"/>
                <a:gd name="connsiteY59" fmla="*/ 796724 h 1025149"/>
                <a:gd name="connsiteX60" fmla="*/ 886524 w 902595"/>
                <a:gd name="connsiteY60" fmla="*/ 822694 h 1025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2595" h="1025149">
                  <a:moveTo>
                    <a:pt x="886524" y="822694"/>
                  </a:moveTo>
                  <a:cubicBezTo>
                    <a:pt x="873729" y="838529"/>
                    <a:pt x="881457" y="853858"/>
                    <a:pt x="885891" y="868173"/>
                  </a:cubicBezTo>
                  <a:cubicBezTo>
                    <a:pt x="890325" y="882615"/>
                    <a:pt x="868029" y="887555"/>
                    <a:pt x="855234" y="889456"/>
                  </a:cubicBezTo>
                  <a:cubicBezTo>
                    <a:pt x="842312" y="891483"/>
                    <a:pt x="834964" y="895410"/>
                    <a:pt x="814569" y="906811"/>
                  </a:cubicBezTo>
                  <a:cubicBezTo>
                    <a:pt x="794299" y="918213"/>
                    <a:pt x="776057" y="888949"/>
                    <a:pt x="752241" y="887049"/>
                  </a:cubicBezTo>
                  <a:cubicBezTo>
                    <a:pt x="728424" y="885022"/>
                    <a:pt x="723484" y="895030"/>
                    <a:pt x="710689" y="908838"/>
                  </a:cubicBezTo>
                  <a:cubicBezTo>
                    <a:pt x="697767" y="922646"/>
                    <a:pt x="703722" y="934048"/>
                    <a:pt x="700301" y="965719"/>
                  </a:cubicBezTo>
                  <a:cubicBezTo>
                    <a:pt x="696881" y="997389"/>
                    <a:pt x="661916" y="1019052"/>
                    <a:pt x="661916" y="1019052"/>
                  </a:cubicBezTo>
                  <a:cubicBezTo>
                    <a:pt x="662170" y="1014491"/>
                    <a:pt x="657989" y="1012718"/>
                    <a:pt x="651528" y="1012211"/>
                  </a:cubicBezTo>
                  <a:cubicBezTo>
                    <a:pt x="631386" y="1010438"/>
                    <a:pt x="610737" y="1014618"/>
                    <a:pt x="591481" y="1020065"/>
                  </a:cubicBezTo>
                  <a:cubicBezTo>
                    <a:pt x="581473" y="1022852"/>
                    <a:pt x="570452" y="1026526"/>
                    <a:pt x="560064" y="1024626"/>
                  </a:cubicBezTo>
                  <a:cubicBezTo>
                    <a:pt x="551196" y="1023106"/>
                    <a:pt x="544482" y="1016898"/>
                    <a:pt x="537387" y="1011831"/>
                  </a:cubicBezTo>
                  <a:cubicBezTo>
                    <a:pt x="528139" y="1005244"/>
                    <a:pt x="518005" y="1000303"/>
                    <a:pt x="508631" y="993842"/>
                  </a:cubicBezTo>
                  <a:cubicBezTo>
                    <a:pt x="498369" y="986748"/>
                    <a:pt x="491148" y="977500"/>
                    <a:pt x="482914" y="968252"/>
                  </a:cubicBezTo>
                  <a:cubicBezTo>
                    <a:pt x="464165" y="946970"/>
                    <a:pt x="441615" y="955331"/>
                    <a:pt x="417419" y="960525"/>
                  </a:cubicBezTo>
                  <a:cubicBezTo>
                    <a:pt x="404878" y="963312"/>
                    <a:pt x="384988" y="962552"/>
                    <a:pt x="378147" y="974713"/>
                  </a:cubicBezTo>
                  <a:cubicBezTo>
                    <a:pt x="378147" y="974713"/>
                    <a:pt x="354078" y="946083"/>
                    <a:pt x="339763" y="921760"/>
                  </a:cubicBezTo>
                  <a:cubicBezTo>
                    <a:pt x="325447" y="897564"/>
                    <a:pt x="309359" y="911625"/>
                    <a:pt x="298464" y="914539"/>
                  </a:cubicBezTo>
                  <a:cubicBezTo>
                    <a:pt x="287569" y="917453"/>
                    <a:pt x="286049" y="903898"/>
                    <a:pt x="276421" y="893763"/>
                  </a:cubicBezTo>
                  <a:cubicBezTo>
                    <a:pt x="266794" y="883628"/>
                    <a:pt x="226002" y="867033"/>
                    <a:pt x="216247" y="856899"/>
                  </a:cubicBezTo>
                  <a:cubicBezTo>
                    <a:pt x="206620" y="846764"/>
                    <a:pt x="185843" y="821554"/>
                    <a:pt x="156833" y="812306"/>
                  </a:cubicBezTo>
                  <a:cubicBezTo>
                    <a:pt x="139731" y="806859"/>
                    <a:pt x="135170" y="815600"/>
                    <a:pt x="134157" y="827255"/>
                  </a:cubicBezTo>
                  <a:cubicBezTo>
                    <a:pt x="121869" y="812053"/>
                    <a:pt x="58274" y="750485"/>
                    <a:pt x="38005" y="740097"/>
                  </a:cubicBezTo>
                  <a:cubicBezTo>
                    <a:pt x="17736" y="729709"/>
                    <a:pt x="12288" y="711340"/>
                    <a:pt x="8361" y="693985"/>
                  </a:cubicBezTo>
                  <a:cubicBezTo>
                    <a:pt x="7221" y="688791"/>
                    <a:pt x="4054" y="685877"/>
                    <a:pt x="0" y="684357"/>
                  </a:cubicBezTo>
                  <a:cubicBezTo>
                    <a:pt x="30657" y="676629"/>
                    <a:pt x="45986" y="615822"/>
                    <a:pt x="60808" y="602900"/>
                  </a:cubicBezTo>
                  <a:cubicBezTo>
                    <a:pt x="75629" y="590105"/>
                    <a:pt x="98433" y="634571"/>
                    <a:pt x="122629" y="637104"/>
                  </a:cubicBezTo>
                  <a:cubicBezTo>
                    <a:pt x="146825" y="639638"/>
                    <a:pt x="156707" y="609868"/>
                    <a:pt x="161140" y="583644"/>
                  </a:cubicBezTo>
                  <a:cubicBezTo>
                    <a:pt x="165574" y="557421"/>
                    <a:pt x="175582" y="549947"/>
                    <a:pt x="193824" y="535125"/>
                  </a:cubicBezTo>
                  <a:cubicBezTo>
                    <a:pt x="212067" y="520303"/>
                    <a:pt x="234363" y="560841"/>
                    <a:pt x="239303" y="574776"/>
                  </a:cubicBezTo>
                  <a:cubicBezTo>
                    <a:pt x="244244" y="588585"/>
                    <a:pt x="254125" y="575790"/>
                    <a:pt x="274901" y="573256"/>
                  </a:cubicBezTo>
                  <a:cubicBezTo>
                    <a:pt x="295677" y="570722"/>
                    <a:pt x="297577" y="540066"/>
                    <a:pt x="298591" y="513842"/>
                  </a:cubicBezTo>
                  <a:cubicBezTo>
                    <a:pt x="299604" y="487619"/>
                    <a:pt x="367379" y="495093"/>
                    <a:pt x="393096" y="483185"/>
                  </a:cubicBezTo>
                  <a:cubicBezTo>
                    <a:pt x="418813" y="471277"/>
                    <a:pt x="408425" y="458862"/>
                    <a:pt x="408425" y="437706"/>
                  </a:cubicBezTo>
                  <a:cubicBezTo>
                    <a:pt x="408425" y="416423"/>
                    <a:pt x="415899" y="406922"/>
                    <a:pt x="427680" y="396661"/>
                  </a:cubicBezTo>
                  <a:cubicBezTo>
                    <a:pt x="439588" y="386273"/>
                    <a:pt x="424767" y="371451"/>
                    <a:pt x="414252" y="354096"/>
                  </a:cubicBezTo>
                  <a:cubicBezTo>
                    <a:pt x="403864" y="336740"/>
                    <a:pt x="433634" y="308617"/>
                    <a:pt x="440982" y="294682"/>
                  </a:cubicBezTo>
                  <a:cubicBezTo>
                    <a:pt x="448330" y="280873"/>
                    <a:pt x="458338" y="279860"/>
                    <a:pt x="477086" y="274919"/>
                  </a:cubicBezTo>
                  <a:cubicBezTo>
                    <a:pt x="495836" y="269978"/>
                    <a:pt x="518638" y="254650"/>
                    <a:pt x="538401" y="237801"/>
                  </a:cubicBezTo>
                  <a:cubicBezTo>
                    <a:pt x="558163" y="220952"/>
                    <a:pt x="590847" y="197643"/>
                    <a:pt x="608203" y="183328"/>
                  </a:cubicBezTo>
                  <a:cubicBezTo>
                    <a:pt x="625558" y="169012"/>
                    <a:pt x="628472" y="159511"/>
                    <a:pt x="627965" y="147730"/>
                  </a:cubicBezTo>
                  <a:cubicBezTo>
                    <a:pt x="627459" y="135822"/>
                    <a:pt x="640380" y="124547"/>
                    <a:pt x="649755" y="101237"/>
                  </a:cubicBezTo>
                  <a:cubicBezTo>
                    <a:pt x="659129" y="77928"/>
                    <a:pt x="678512" y="67540"/>
                    <a:pt x="690420" y="54745"/>
                  </a:cubicBezTo>
                  <a:cubicBezTo>
                    <a:pt x="702328" y="41823"/>
                    <a:pt x="697767" y="30548"/>
                    <a:pt x="700301" y="18640"/>
                  </a:cubicBezTo>
                  <a:cubicBezTo>
                    <a:pt x="702708" y="6732"/>
                    <a:pt x="723991" y="6352"/>
                    <a:pt x="735392" y="398"/>
                  </a:cubicBezTo>
                  <a:cubicBezTo>
                    <a:pt x="737039" y="-489"/>
                    <a:pt x="738939" y="145"/>
                    <a:pt x="740839" y="1918"/>
                  </a:cubicBezTo>
                  <a:cubicBezTo>
                    <a:pt x="751861" y="11926"/>
                    <a:pt x="766049" y="58292"/>
                    <a:pt x="774917" y="72227"/>
                  </a:cubicBezTo>
                  <a:cubicBezTo>
                    <a:pt x="785305" y="88569"/>
                    <a:pt x="816976" y="99464"/>
                    <a:pt x="823943" y="114792"/>
                  </a:cubicBezTo>
                  <a:cubicBezTo>
                    <a:pt x="830911" y="130121"/>
                    <a:pt x="849153" y="142536"/>
                    <a:pt x="866509" y="166225"/>
                  </a:cubicBezTo>
                  <a:cubicBezTo>
                    <a:pt x="883864" y="190042"/>
                    <a:pt x="883357" y="196883"/>
                    <a:pt x="884371" y="220699"/>
                  </a:cubicBezTo>
                  <a:cubicBezTo>
                    <a:pt x="885257" y="244389"/>
                    <a:pt x="892225" y="258830"/>
                    <a:pt x="895772" y="284547"/>
                  </a:cubicBezTo>
                  <a:cubicBezTo>
                    <a:pt x="899193" y="310263"/>
                    <a:pt x="866635" y="322678"/>
                    <a:pt x="852700" y="334080"/>
                  </a:cubicBezTo>
                  <a:cubicBezTo>
                    <a:pt x="838892" y="345481"/>
                    <a:pt x="853207" y="352449"/>
                    <a:pt x="859161" y="365750"/>
                  </a:cubicBezTo>
                  <a:cubicBezTo>
                    <a:pt x="865115" y="379179"/>
                    <a:pt x="856754" y="384119"/>
                    <a:pt x="852700" y="400462"/>
                  </a:cubicBezTo>
                  <a:cubicBezTo>
                    <a:pt x="848773" y="416803"/>
                    <a:pt x="858654" y="424658"/>
                    <a:pt x="864989" y="452401"/>
                  </a:cubicBezTo>
                  <a:cubicBezTo>
                    <a:pt x="871449" y="480145"/>
                    <a:pt x="842692" y="525624"/>
                    <a:pt x="830911" y="553367"/>
                  </a:cubicBezTo>
                  <a:cubicBezTo>
                    <a:pt x="819003" y="581111"/>
                    <a:pt x="864102" y="590992"/>
                    <a:pt x="882850" y="606827"/>
                  </a:cubicBezTo>
                  <a:cubicBezTo>
                    <a:pt x="901726" y="622662"/>
                    <a:pt x="899193" y="671688"/>
                    <a:pt x="889311" y="707286"/>
                  </a:cubicBezTo>
                  <a:cubicBezTo>
                    <a:pt x="879430" y="742884"/>
                    <a:pt x="890831" y="776075"/>
                    <a:pt x="899193" y="789377"/>
                  </a:cubicBezTo>
                  <a:cubicBezTo>
                    <a:pt x="900966" y="792164"/>
                    <a:pt x="901980" y="794444"/>
                    <a:pt x="902233" y="796724"/>
                  </a:cubicBezTo>
                  <a:cubicBezTo>
                    <a:pt x="904387" y="804705"/>
                    <a:pt x="896659" y="810026"/>
                    <a:pt x="886524" y="82269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10" name="Полилиния: фигура 709">
              <a:extLst>
                <a:ext uri="{FF2B5EF4-FFF2-40B4-BE49-F238E27FC236}">
                  <a16:creationId xmlns:a16="http://schemas.microsoft.com/office/drawing/2014/main" id="{AE004E96-13A0-4A07-893D-C845D8D43943}"/>
                </a:ext>
              </a:extLst>
            </p:cNvPr>
            <p:cNvSpPr/>
            <p:nvPr/>
          </p:nvSpPr>
          <p:spPr>
            <a:xfrm>
              <a:off x="3562297" y="3611698"/>
              <a:ext cx="905877" cy="925357"/>
            </a:xfrm>
            <a:custGeom>
              <a:avLst/>
              <a:gdLst>
                <a:gd name="connsiteX0" fmla="*/ 905877 w 905877"/>
                <a:gd name="connsiteY0" fmla="*/ 259641 h 925357"/>
                <a:gd name="connsiteX1" fmla="*/ 895996 w 905877"/>
                <a:gd name="connsiteY1" fmla="*/ 295746 h 925357"/>
                <a:gd name="connsiteX2" fmla="*/ 855331 w 905877"/>
                <a:gd name="connsiteY2" fmla="*/ 342238 h 925357"/>
                <a:gd name="connsiteX3" fmla="*/ 833542 w 905877"/>
                <a:gd name="connsiteY3" fmla="*/ 388731 h 925357"/>
                <a:gd name="connsiteX4" fmla="*/ 813779 w 905877"/>
                <a:gd name="connsiteY4" fmla="*/ 424329 h 925357"/>
                <a:gd name="connsiteX5" fmla="*/ 743977 w 905877"/>
                <a:gd name="connsiteY5" fmla="*/ 478802 h 925357"/>
                <a:gd name="connsiteX6" fmla="*/ 682663 w 905877"/>
                <a:gd name="connsiteY6" fmla="*/ 515920 h 925357"/>
                <a:gd name="connsiteX7" fmla="*/ 646558 w 905877"/>
                <a:gd name="connsiteY7" fmla="*/ 535682 h 925357"/>
                <a:gd name="connsiteX8" fmla="*/ 619828 w 905877"/>
                <a:gd name="connsiteY8" fmla="*/ 595096 h 925357"/>
                <a:gd name="connsiteX9" fmla="*/ 633257 w 905877"/>
                <a:gd name="connsiteY9" fmla="*/ 637662 h 925357"/>
                <a:gd name="connsiteX10" fmla="*/ 614001 w 905877"/>
                <a:gd name="connsiteY10" fmla="*/ 678707 h 925357"/>
                <a:gd name="connsiteX11" fmla="*/ 598672 w 905877"/>
                <a:gd name="connsiteY11" fmla="*/ 724186 h 925357"/>
                <a:gd name="connsiteX12" fmla="*/ 504167 w 905877"/>
                <a:gd name="connsiteY12" fmla="*/ 754843 h 925357"/>
                <a:gd name="connsiteX13" fmla="*/ 480477 w 905877"/>
                <a:gd name="connsiteY13" fmla="*/ 814257 h 925357"/>
                <a:gd name="connsiteX14" fmla="*/ 444879 w 905877"/>
                <a:gd name="connsiteY14" fmla="*/ 815777 h 925357"/>
                <a:gd name="connsiteX15" fmla="*/ 399400 w 905877"/>
                <a:gd name="connsiteY15" fmla="*/ 776126 h 925357"/>
                <a:gd name="connsiteX16" fmla="*/ 366716 w 905877"/>
                <a:gd name="connsiteY16" fmla="*/ 824645 h 925357"/>
                <a:gd name="connsiteX17" fmla="*/ 328205 w 905877"/>
                <a:gd name="connsiteY17" fmla="*/ 878105 h 925357"/>
                <a:gd name="connsiteX18" fmla="*/ 266384 w 905877"/>
                <a:gd name="connsiteY18" fmla="*/ 843901 h 925357"/>
                <a:gd name="connsiteX19" fmla="*/ 205576 w 905877"/>
                <a:gd name="connsiteY19" fmla="*/ 925358 h 925357"/>
                <a:gd name="connsiteX20" fmla="*/ 205576 w 905877"/>
                <a:gd name="connsiteY20" fmla="*/ 925358 h 925357"/>
                <a:gd name="connsiteX21" fmla="*/ 172386 w 905877"/>
                <a:gd name="connsiteY21" fmla="*/ 920671 h 925357"/>
                <a:gd name="connsiteX22" fmla="*/ 165418 w 905877"/>
                <a:gd name="connsiteY22" fmla="*/ 890520 h 925357"/>
                <a:gd name="connsiteX23" fmla="*/ 136661 w 905877"/>
                <a:gd name="connsiteY23" fmla="*/ 866197 h 925357"/>
                <a:gd name="connsiteX24" fmla="*/ 115378 w 905877"/>
                <a:gd name="connsiteY24" fmla="*/ 836047 h 925357"/>
                <a:gd name="connsiteX25" fmla="*/ 68886 w 905877"/>
                <a:gd name="connsiteY25" fmla="*/ 829586 h 925357"/>
                <a:gd name="connsiteX26" fmla="*/ 16946 w 905877"/>
                <a:gd name="connsiteY26" fmla="*/ 753323 h 925357"/>
                <a:gd name="connsiteX27" fmla="*/ 12892 w 905877"/>
                <a:gd name="connsiteY27" fmla="*/ 750282 h 925357"/>
                <a:gd name="connsiteX28" fmla="*/ 10485 w 905877"/>
                <a:gd name="connsiteY28" fmla="*/ 729000 h 925357"/>
                <a:gd name="connsiteX29" fmla="*/ 13019 w 905877"/>
                <a:gd name="connsiteY29" fmla="*/ 685041 h 925357"/>
                <a:gd name="connsiteX30" fmla="*/ 80794 w 905877"/>
                <a:gd name="connsiteY30" fmla="*/ 644502 h 925357"/>
                <a:gd name="connsiteX31" fmla="*/ 86748 w 905877"/>
                <a:gd name="connsiteY31" fmla="*/ 589016 h 925357"/>
                <a:gd name="connsiteX32" fmla="*/ 119432 w 905877"/>
                <a:gd name="connsiteY32" fmla="*/ 534162 h 925357"/>
                <a:gd name="connsiteX33" fmla="*/ 152623 w 905877"/>
                <a:gd name="connsiteY33" fmla="*/ 501985 h 925357"/>
                <a:gd name="connsiteX34" fmla="*/ 181887 w 905877"/>
                <a:gd name="connsiteY34" fmla="*/ 453972 h 925357"/>
                <a:gd name="connsiteX35" fmla="*/ 215584 w 905877"/>
                <a:gd name="connsiteY35" fmla="*/ 419008 h 925357"/>
                <a:gd name="connsiteX36" fmla="*/ 224959 w 905877"/>
                <a:gd name="connsiteY36" fmla="*/ 398232 h 925357"/>
                <a:gd name="connsiteX37" fmla="*/ 230406 w 905877"/>
                <a:gd name="connsiteY37" fmla="*/ 351613 h 925357"/>
                <a:gd name="connsiteX38" fmla="*/ 258656 w 905877"/>
                <a:gd name="connsiteY38" fmla="*/ 322856 h 925357"/>
                <a:gd name="connsiteX39" fmla="*/ 244848 w 905877"/>
                <a:gd name="connsiteY39" fmla="*/ 273830 h 925357"/>
                <a:gd name="connsiteX40" fmla="*/ 295774 w 905877"/>
                <a:gd name="connsiteY40" fmla="*/ 243679 h 925357"/>
                <a:gd name="connsiteX41" fmla="*/ 356708 w 905877"/>
                <a:gd name="connsiteY41" fmla="*/ 226324 h 925357"/>
                <a:gd name="connsiteX42" fmla="*/ 359622 w 905877"/>
                <a:gd name="connsiteY42" fmla="*/ 162476 h 925357"/>
                <a:gd name="connsiteX43" fmla="*/ 313510 w 905877"/>
                <a:gd name="connsiteY43" fmla="*/ 132325 h 925357"/>
                <a:gd name="connsiteX44" fmla="*/ 303755 w 905877"/>
                <a:gd name="connsiteY44" fmla="*/ 102555 h 925357"/>
                <a:gd name="connsiteX45" fmla="*/ 307049 w 905877"/>
                <a:gd name="connsiteY45" fmla="*/ 98628 h 925357"/>
                <a:gd name="connsiteX46" fmla="*/ 318957 w 905877"/>
                <a:gd name="connsiteY46" fmla="*/ 63917 h 925357"/>
                <a:gd name="connsiteX47" fmla="*/ 311990 w 905877"/>
                <a:gd name="connsiteY47" fmla="*/ 30219 h 925357"/>
                <a:gd name="connsiteX48" fmla="*/ 344674 w 905877"/>
                <a:gd name="connsiteY48" fmla="*/ 2476 h 925357"/>
                <a:gd name="connsiteX49" fmla="*/ 361016 w 905877"/>
                <a:gd name="connsiteY49" fmla="*/ 18311 h 925357"/>
                <a:gd name="connsiteX50" fmla="*/ 374824 w 905877"/>
                <a:gd name="connsiteY50" fmla="*/ 10964 h 925357"/>
                <a:gd name="connsiteX51" fmla="*/ 401554 w 905877"/>
                <a:gd name="connsiteY51" fmla="*/ 30219 h 925357"/>
                <a:gd name="connsiteX52" fmla="*/ 414856 w 905877"/>
                <a:gd name="connsiteY52" fmla="*/ 25785 h 925357"/>
                <a:gd name="connsiteX53" fmla="*/ 451467 w 905877"/>
                <a:gd name="connsiteY53" fmla="*/ 76838 h 925357"/>
                <a:gd name="connsiteX54" fmla="*/ 454381 w 905877"/>
                <a:gd name="connsiteY54" fmla="*/ 101541 h 925357"/>
                <a:gd name="connsiteX55" fmla="*/ 490992 w 905877"/>
                <a:gd name="connsiteY55" fmla="*/ 106482 h 925357"/>
                <a:gd name="connsiteX56" fmla="*/ 517722 w 905877"/>
                <a:gd name="connsiteY56" fmla="*/ 138153 h 925357"/>
                <a:gd name="connsiteX57" fmla="*/ 545465 w 905877"/>
                <a:gd name="connsiteY57" fmla="*/ 168810 h 925357"/>
                <a:gd name="connsiteX58" fmla="*/ 581570 w 905877"/>
                <a:gd name="connsiteY58" fmla="*/ 157915 h 925357"/>
                <a:gd name="connsiteX59" fmla="*/ 621222 w 905877"/>
                <a:gd name="connsiteY59" fmla="*/ 184645 h 925357"/>
                <a:gd name="connsiteX60" fmla="*/ 645925 w 905877"/>
                <a:gd name="connsiteY60" fmla="*/ 185152 h 925357"/>
                <a:gd name="connsiteX61" fmla="*/ 678102 w 905877"/>
                <a:gd name="connsiteY61" fmla="*/ 194019 h 925357"/>
                <a:gd name="connsiteX62" fmla="*/ 744864 w 905877"/>
                <a:gd name="connsiteY62" fmla="*/ 186039 h 925357"/>
                <a:gd name="connsiteX63" fmla="*/ 905877 w 905877"/>
                <a:gd name="connsiteY63" fmla="*/ 259641 h 92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905877" h="925357">
                  <a:moveTo>
                    <a:pt x="905877" y="259641"/>
                  </a:moveTo>
                  <a:cubicBezTo>
                    <a:pt x="903343" y="271550"/>
                    <a:pt x="907904" y="282951"/>
                    <a:pt x="895996" y="295746"/>
                  </a:cubicBezTo>
                  <a:cubicBezTo>
                    <a:pt x="884088" y="308667"/>
                    <a:pt x="864832" y="319055"/>
                    <a:pt x="855331" y="342238"/>
                  </a:cubicBezTo>
                  <a:cubicBezTo>
                    <a:pt x="845956" y="365548"/>
                    <a:pt x="833035" y="376823"/>
                    <a:pt x="833542" y="388731"/>
                  </a:cubicBezTo>
                  <a:cubicBezTo>
                    <a:pt x="834048" y="400639"/>
                    <a:pt x="831135" y="410013"/>
                    <a:pt x="813779" y="424329"/>
                  </a:cubicBezTo>
                  <a:cubicBezTo>
                    <a:pt x="796423" y="438643"/>
                    <a:pt x="763866" y="461953"/>
                    <a:pt x="743977" y="478802"/>
                  </a:cubicBezTo>
                  <a:cubicBezTo>
                    <a:pt x="724215" y="495650"/>
                    <a:pt x="701411" y="510979"/>
                    <a:pt x="682663" y="515920"/>
                  </a:cubicBezTo>
                  <a:cubicBezTo>
                    <a:pt x="663787" y="520861"/>
                    <a:pt x="653906" y="521874"/>
                    <a:pt x="646558" y="535682"/>
                  </a:cubicBezTo>
                  <a:cubicBezTo>
                    <a:pt x="639084" y="549491"/>
                    <a:pt x="609440" y="577741"/>
                    <a:pt x="619828" y="595096"/>
                  </a:cubicBezTo>
                  <a:cubicBezTo>
                    <a:pt x="630216" y="612452"/>
                    <a:pt x="645038" y="627274"/>
                    <a:pt x="633257" y="637662"/>
                  </a:cubicBezTo>
                  <a:cubicBezTo>
                    <a:pt x="621348" y="648050"/>
                    <a:pt x="614001" y="657424"/>
                    <a:pt x="614001" y="678707"/>
                  </a:cubicBezTo>
                  <a:cubicBezTo>
                    <a:pt x="614001" y="699989"/>
                    <a:pt x="624389" y="712404"/>
                    <a:pt x="598672" y="724186"/>
                  </a:cubicBezTo>
                  <a:cubicBezTo>
                    <a:pt x="572956" y="736094"/>
                    <a:pt x="505054" y="728620"/>
                    <a:pt x="504167" y="754843"/>
                  </a:cubicBezTo>
                  <a:cubicBezTo>
                    <a:pt x="503153" y="781067"/>
                    <a:pt x="501126" y="811723"/>
                    <a:pt x="480477" y="814257"/>
                  </a:cubicBezTo>
                  <a:cubicBezTo>
                    <a:pt x="459701" y="816791"/>
                    <a:pt x="449693" y="829586"/>
                    <a:pt x="444879" y="815777"/>
                  </a:cubicBezTo>
                  <a:cubicBezTo>
                    <a:pt x="439939" y="801842"/>
                    <a:pt x="417643" y="761304"/>
                    <a:pt x="399400" y="776126"/>
                  </a:cubicBezTo>
                  <a:cubicBezTo>
                    <a:pt x="381032" y="790948"/>
                    <a:pt x="371150" y="798422"/>
                    <a:pt x="366716" y="824645"/>
                  </a:cubicBezTo>
                  <a:cubicBezTo>
                    <a:pt x="362283" y="850868"/>
                    <a:pt x="352401" y="880639"/>
                    <a:pt x="328205" y="878105"/>
                  </a:cubicBezTo>
                  <a:cubicBezTo>
                    <a:pt x="303882" y="875572"/>
                    <a:pt x="281206" y="831106"/>
                    <a:pt x="266384" y="843901"/>
                  </a:cubicBezTo>
                  <a:cubicBezTo>
                    <a:pt x="251562" y="856822"/>
                    <a:pt x="236233" y="917503"/>
                    <a:pt x="205576" y="925358"/>
                  </a:cubicBezTo>
                  <a:lnTo>
                    <a:pt x="205576" y="925358"/>
                  </a:lnTo>
                  <a:cubicBezTo>
                    <a:pt x="196328" y="921811"/>
                    <a:pt x="181760" y="924851"/>
                    <a:pt x="172386" y="920671"/>
                  </a:cubicBezTo>
                  <a:cubicBezTo>
                    <a:pt x="158957" y="914716"/>
                    <a:pt x="164911" y="900908"/>
                    <a:pt x="165418" y="890520"/>
                  </a:cubicBezTo>
                  <a:cubicBezTo>
                    <a:pt x="165925" y="880132"/>
                    <a:pt x="153003" y="875698"/>
                    <a:pt x="136661" y="866197"/>
                  </a:cubicBezTo>
                  <a:cubicBezTo>
                    <a:pt x="120319" y="856822"/>
                    <a:pt x="117785" y="852388"/>
                    <a:pt x="115378" y="836047"/>
                  </a:cubicBezTo>
                  <a:cubicBezTo>
                    <a:pt x="112971" y="819705"/>
                    <a:pt x="84214" y="831106"/>
                    <a:pt x="68886" y="829586"/>
                  </a:cubicBezTo>
                  <a:cubicBezTo>
                    <a:pt x="53557" y="828066"/>
                    <a:pt x="32781" y="769665"/>
                    <a:pt x="16946" y="753323"/>
                  </a:cubicBezTo>
                  <a:cubicBezTo>
                    <a:pt x="15679" y="751929"/>
                    <a:pt x="14286" y="751042"/>
                    <a:pt x="12892" y="750282"/>
                  </a:cubicBezTo>
                  <a:cubicBezTo>
                    <a:pt x="12892" y="750282"/>
                    <a:pt x="20366" y="738881"/>
                    <a:pt x="10485" y="729000"/>
                  </a:cubicBezTo>
                  <a:cubicBezTo>
                    <a:pt x="604" y="719119"/>
                    <a:pt x="-8137" y="692389"/>
                    <a:pt x="13019" y="685041"/>
                  </a:cubicBezTo>
                  <a:cubicBezTo>
                    <a:pt x="34175" y="677567"/>
                    <a:pt x="80794" y="670726"/>
                    <a:pt x="80794" y="644502"/>
                  </a:cubicBezTo>
                  <a:cubicBezTo>
                    <a:pt x="80794" y="618279"/>
                    <a:pt x="72813" y="613845"/>
                    <a:pt x="86748" y="589016"/>
                  </a:cubicBezTo>
                  <a:cubicBezTo>
                    <a:pt x="100556" y="564313"/>
                    <a:pt x="103597" y="539989"/>
                    <a:pt x="119432" y="534162"/>
                  </a:cubicBezTo>
                  <a:cubicBezTo>
                    <a:pt x="135267" y="528208"/>
                    <a:pt x="142235" y="522761"/>
                    <a:pt x="152623" y="501985"/>
                  </a:cubicBezTo>
                  <a:cubicBezTo>
                    <a:pt x="163011" y="481209"/>
                    <a:pt x="160984" y="475762"/>
                    <a:pt x="181887" y="453972"/>
                  </a:cubicBezTo>
                  <a:cubicBezTo>
                    <a:pt x="194301" y="440924"/>
                    <a:pt x="207223" y="429649"/>
                    <a:pt x="215584" y="419008"/>
                  </a:cubicBezTo>
                  <a:cubicBezTo>
                    <a:pt x="221158" y="411914"/>
                    <a:pt x="224705" y="405073"/>
                    <a:pt x="224959" y="398232"/>
                  </a:cubicBezTo>
                  <a:cubicBezTo>
                    <a:pt x="225466" y="380750"/>
                    <a:pt x="212544" y="359974"/>
                    <a:pt x="230406" y="351613"/>
                  </a:cubicBezTo>
                  <a:cubicBezTo>
                    <a:pt x="248268" y="343125"/>
                    <a:pt x="272465" y="346672"/>
                    <a:pt x="258656" y="322856"/>
                  </a:cubicBezTo>
                  <a:cubicBezTo>
                    <a:pt x="244848" y="299166"/>
                    <a:pt x="230913" y="286244"/>
                    <a:pt x="244848" y="273830"/>
                  </a:cubicBezTo>
                  <a:cubicBezTo>
                    <a:pt x="258656" y="261541"/>
                    <a:pt x="267144" y="245579"/>
                    <a:pt x="295774" y="243679"/>
                  </a:cubicBezTo>
                  <a:cubicBezTo>
                    <a:pt x="324531" y="241652"/>
                    <a:pt x="353161" y="248113"/>
                    <a:pt x="356708" y="226324"/>
                  </a:cubicBezTo>
                  <a:cubicBezTo>
                    <a:pt x="360256" y="204534"/>
                    <a:pt x="376471" y="166910"/>
                    <a:pt x="359622" y="162476"/>
                  </a:cubicBezTo>
                  <a:cubicBezTo>
                    <a:pt x="342773" y="158042"/>
                    <a:pt x="322504" y="147147"/>
                    <a:pt x="313510" y="132325"/>
                  </a:cubicBezTo>
                  <a:cubicBezTo>
                    <a:pt x="305402" y="118644"/>
                    <a:pt x="293367" y="116237"/>
                    <a:pt x="303755" y="102555"/>
                  </a:cubicBezTo>
                  <a:cubicBezTo>
                    <a:pt x="304642" y="101415"/>
                    <a:pt x="305782" y="100021"/>
                    <a:pt x="307049" y="98628"/>
                  </a:cubicBezTo>
                  <a:cubicBezTo>
                    <a:pt x="322884" y="81272"/>
                    <a:pt x="327318" y="73418"/>
                    <a:pt x="318957" y="63917"/>
                  </a:cubicBezTo>
                  <a:cubicBezTo>
                    <a:pt x="310596" y="54542"/>
                    <a:pt x="298688" y="43647"/>
                    <a:pt x="311990" y="30219"/>
                  </a:cubicBezTo>
                  <a:cubicBezTo>
                    <a:pt x="325291" y="16918"/>
                    <a:pt x="338720" y="-7912"/>
                    <a:pt x="344674" y="2476"/>
                  </a:cubicBezTo>
                  <a:cubicBezTo>
                    <a:pt x="350628" y="12864"/>
                    <a:pt x="353541" y="23378"/>
                    <a:pt x="361016" y="18311"/>
                  </a:cubicBezTo>
                  <a:cubicBezTo>
                    <a:pt x="368490" y="13370"/>
                    <a:pt x="369504" y="3489"/>
                    <a:pt x="374824" y="10964"/>
                  </a:cubicBezTo>
                  <a:cubicBezTo>
                    <a:pt x="380272" y="18311"/>
                    <a:pt x="395600" y="38707"/>
                    <a:pt x="401554" y="30219"/>
                  </a:cubicBezTo>
                  <a:cubicBezTo>
                    <a:pt x="407508" y="21858"/>
                    <a:pt x="404468" y="15904"/>
                    <a:pt x="414856" y="25785"/>
                  </a:cubicBezTo>
                  <a:cubicBezTo>
                    <a:pt x="425244" y="35667"/>
                    <a:pt x="457421" y="67844"/>
                    <a:pt x="451467" y="76838"/>
                  </a:cubicBezTo>
                  <a:cubicBezTo>
                    <a:pt x="445513" y="85706"/>
                    <a:pt x="436645" y="94194"/>
                    <a:pt x="454381" y="101541"/>
                  </a:cubicBezTo>
                  <a:cubicBezTo>
                    <a:pt x="472243" y="109016"/>
                    <a:pt x="479084" y="92673"/>
                    <a:pt x="490992" y="106482"/>
                  </a:cubicBezTo>
                  <a:cubicBezTo>
                    <a:pt x="502900" y="120291"/>
                    <a:pt x="513288" y="125738"/>
                    <a:pt x="517722" y="138153"/>
                  </a:cubicBezTo>
                  <a:cubicBezTo>
                    <a:pt x="522156" y="150441"/>
                    <a:pt x="529630" y="177171"/>
                    <a:pt x="545465" y="168810"/>
                  </a:cubicBezTo>
                  <a:cubicBezTo>
                    <a:pt x="561301" y="160449"/>
                    <a:pt x="568775" y="147527"/>
                    <a:pt x="581570" y="157915"/>
                  </a:cubicBezTo>
                  <a:cubicBezTo>
                    <a:pt x="594365" y="168303"/>
                    <a:pt x="606780" y="185025"/>
                    <a:pt x="621222" y="184645"/>
                  </a:cubicBezTo>
                  <a:cubicBezTo>
                    <a:pt x="635537" y="184138"/>
                    <a:pt x="639464" y="178184"/>
                    <a:pt x="645925" y="185152"/>
                  </a:cubicBezTo>
                  <a:cubicBezTo>
                    <a:pt x="652385" y="192119"/>
                    <a:pt x="653779" y="200480"/>
                    <a:pt x="678102" y="194019"/>
                  </a:cubicBezTo>
                  <a:cubicBezTo>
                    <a:pt x="702425" y="187559"/>
                    <a:pt x="724088" y="180591"/>
                    <a:pt x="744864" y="186039"/>
                  </a:cubicBezTo>
                  <a:cubicBezTo>
                    <a:pt x="765260" y="191866"/>
                    <a:pt x="841016" y="267116"/>
                    <a:pt x="905877" y="25964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11" name="Полилиния: фигура 710">
              <a:extLst>
                <a:ext uri="{FF2B5EF4-FFF2-40B4-BE49-F238E27FC236}">
                  <a16:creationId xmlns:a16="http://schemas.microsoft.com/office/drawing/2014/main" id="{45980B4F-C3C8-4F6B-9CF5-4A05538831F8}"/>
                </a:ext>
              </a:extLst>
            </p:cNvPr>
            <p:cNvSpPr/>
            <p:nvPr/>
          </p:nvSpPr>
          <p:spPr>
            <a:xfrm>
              <a:off x="6095665" y="5619089"/>
              <a:ext cx="501765" cy="811545"/>
            </a:xfrm>
            <a:custGeom>
              <a:avLst/>
              <a:gdLst>
                <a:gd name="connsiteX0" fmla="*/ 499129 w 501765"/>
                <a:gd name="connsiteY0" fmla="*/ 185424 h 811545"/>
                <a:gd name="connsiteX1" fmla="*/ 463151 w 501765"/>
                <a:gd name="connsiteY1" fmla="*/ 218742 h 811545"/>
                <a:gd name="connsiteX2" fmla="*/ 426540 w 501765"/>
                <a:gd name="connsiteY2" fmla="*/ 245472 h 811545"/>
                <a:gd name="connsiteX3" fmla="*/ 400950 w 501765"/>
                <a:gd name="connsiteY3" fmla="*/ 267261 h 811545"/>
                <a:gd name="connsiteX4" fmla="*/ 381694 w 501765"/>
                <a:gd name="connsiteY4" fmla="*/ 325915 h 811545"/>
                <a:gd name="connsiteX5" fmla="*/ 384355 w 501765"/>
                <a:gd name="connsiteY5" fmla="*/ 389890 h 811545"/>
                <a:gd name="connsiteX6" fmla="*/ 362945 w 501765"/>
                <a:gd name="connsiteY6" fmla="*/ 425868 h 811545"/>
                <a:gd name="connsiteX7" fmla="*/ 375234 w 501765"/>
                <a:gd name="connsiteY7" fmla="*/ 471093 h 811545"/>
                <a:gd name="connsiteX8" fmla="*/ 418052 w 501765"/>
                <a:gd name="connsiteY8" fmla="*/ 476034 h 811545"/>
                <a:gd name="connsiteX9" fmla="*/ 394996 w 501765"/>
                <a:gd name="connsiteY9" fmla="*/ 520246 h 811545"/>
                <a:gd name="connsiteX10" fmla="*/ 385748 w 501765"/>
                <a:gd name="connsiteY10" fmla="*/ 544696 h 811545"/>
                <a:gd name="connsiteX11" fmla="*/ 342550 w 501765"/>
                <a:gd name="connsiteY11" fmla="*/ 567499 h 811545"/>
                <a:gd name="connsiteX12" fmla="*/ 361298 w 501765"/>
                <a:gd name="connsiteY12" fmla="*/ 633500 h 811545"/>
                <a:gd name="connsiteX13" fmla="*/ 348377 w 501765"/>
                <a:gd name="connsiteY13" fmla="*/ 683667 h 811545"/>
                <a:gd name="connsiteX14" fmla="*/ 364845 w 501765"/>
                <a:gd name="connsiteY14" fmla="*/ 737760 h 811545"/>
                <a:gd name="connsiteX15" fmla="*/ 260586 w 501765"/>
                <a:gd name="connsiteY15" fmla="*/ 811236 h 811545"/>
                <a:gd name="connsiteX16" fmla="*/ 277815 w 501765"/>
                <a:gd name="connsiteY16" fmla="*/ 778678 h 811545"/>
                <a:gd name="connsiteX17" fmla="*/ 253112 w 501765"/>
                <a:gd name="connsiteY17" fmla="*/ 754989 h 811545"/>
                <a:gd name="connsiteX18" fmla="*/ 230309 w 501765"/>
                <a:gd name="connsiteY18" fmla="*/ 737887 h 811545"/>
                <a:gd name="connsiteX19" fmla="*/ 204592 w 501765"/>
                <a:gd name="connsiteY19" fmla="*/ 759042 h 811545"/>
                <a:gd name="connsiteX20" fmla="*/ 176342 w 501765"/>
                <a:gd name="connsiteY20" fmla="*/ 750428 h 811545"/>
                <a:gd name="connsiteX21" fmla="*/ 165321 w 501765"/>
                <a:gd name="connsiteY21" fmla="*/ 718757 h 811545"/>
                <a:gd name="connsiteX22" fmla="*/ 158606 w 501765"/>
                <a:gd name="connsiteY22" fmla="*/ 707736 h 811545"/>
                <a:gd name="connsiteX23" fmla="*/ 138844 w 501765"/>
                <a:gd name="connsiteY23" fmla="*/ 669478 h 811545"/>
                <a:gd name="connsiteX24" fmla="*/ 154806 w 501765"/>
                <a:gd name="connsiteY24" fmla="*/ 642115 h 811545"/>
                <a:gd name="connsiteX25" fmla="*/ 136564 w 501765"/>
                <a:gd name="connsiteY25" fmla="*/ 617285 h 811545"/>
                <a:gd name="connsiteX26" fmla="*/ 176215 w 501765"/>
                <a:gd name="connsiteY26" fmla="*/ 586121 h 811545"/>
                <a:gd name="connsiteX27" fmla="*/ 159746 w 501765"/>
                <a:gd name="connsiteY27" fmla="*/ 567752 h 811545"/>
                <a:gd name="connsiteX28" fmla="*/ 133017 w 501765"/>
                <a:gd name="connsiteY28" fmla="*/ 555464 h 811545"/>
                <a:gd name="connsiteX29" fmla="*/ 122122 w 501765"/>
                <a:gd name="connsiteY29" fmla="*/ 513405 h 811545"/>
                <a:gd name="connsiteX30" fmla="*/ 112494 w 501765"/>
                <a:gd name="connsiteY30" fmla="*/ 494530 h 811545"/>
                <a:gd name="connsiteX31" fmla="*/ 82724 w 501765"/>
                <a:gd name="connsiteY31" fmla="*/ 472487 h 811545"/>
                <a:gd name="connsiteX32" fmla="*/ 72842 w 501765"/>
                <a:gd name="connsiteY32" fmla="*/ 461212 h 811545"/>
                <a:gd name="connsiteX33" fmla="*/ 73856 w 501765"/>
                <a:gd name="connsiteY33" fmla="*/ 439296 h 811545"/>
                <a:gd name="connsiteX34" fmla="*/ 76010 w 501765"/>
                <a:gd name="connsiteY34" fmla="*/ 422574 h 811545"/>
                <a:gd name="connsiteX35" fmla="*/ 64481 w 501765"/>
                <a:gd name="connsiteY35" fmla="*/ 405978 h 811545"/>
                <a:gd name="connsiteX36" fmla="*/ 43832 w 501765"/>
                <a:gd name="connsiteY36" fmla="*/ 390017 h 811545"/>
                <a:gd name="connsiteX37" fmla="*/ 21283 w 501765"/>
                <a:gd name="connsiteY37" fmla="*/ 380009 h 811545"/>
                <a:gd name="connsiteX38" fmla="*/ 9881 w 501765"/>
                <a:gd name="connsiteY38" fmla="*/ 363160 h 811545"/>
                <a:gd name="connsiteX39" fmla="*/ 0 w 501765"/>
                <a:gd name="connsiteY39" fmla="*/ 352012 h 811545"/>
                <a:gd name="connsiteX40" fmla="*/ 14188 w 501765"/>
                <a:gd name="connsiteY40" fmla="*/ 311980 h 811545"/>
                <a:gd name="connsiteX41" fmla="*/ 14188 w 501765"/>
                <a:gd name="connsiteY41" fmla="*/ 279296 h 811545"/>
                <a:gd name="connsiteX42" fmla="*/ 9881 w 501765"/>
                <a:gd name="connsiteY42" fmla="*/ 244585 h 811545"/>
                <a:gd name="connsiteX43" fmla="*/ 19762 w 501765"/>
                <a:gd name="connsiteY43" fmla="*/ 227230 h 811545"/>
                <a:gd name="connsiteX44" fmla="*/ 21916 w 501765"/>
                <a:gd name="connsiteY44" fmla="*/ 179217 h 811545"/>
                <a:gd name="connsiteX45" fmla="*/ 42819 w 501765"/>
                <a:gd name="connsiteY45" fmla="*/ 129177 h 811545"/>
                <a:gd name="connsiteX46" fmla="*/ 11655 w 501765"/>
                <a:gd name="connsiteY46" fmla="*/ 111822 h 811545"/>
                <a:gd name="connsiteX47" fmla="*/ 21536 w 501765"/>
                <a:gd name="connsiteY47" fmla="*/ 78631 h 811545"/>
                <a:gd name="connsiteX48" fmla="*/ 25337 w 501765"/>
                <a:gd name="connsiteY48" fmla="*/ 75844 h 811545"/>
                <a:gd name="connsiteX49" fmla="*/ 44466 w 501765"/>
                <a:gd name="connsiteY49" fmla="*/ 60008 h 811545"/>
                <a:gd name="connsiteX50" fmla="*/ 118955 w 501765"/>
                <a:gd name="connsiteY50" fmla="*/ 54054 h 811545"/>
                <a:gd name="connsiteX51" fmla="*/ 149992 w 501765"/>
                <a:gd name="connsiteY51" fmla="*/ 32265 h 811545"/>
                <a:gd name="connsiteX52" fmla="*/ 192177 w 501765"/>
                <a:gd name="connsiteY52" fmla="*/ 23651 h 811545"/>
                <a:gd name="connsiteX53" fmla="*/ 216627 w 501765"/>
                <a:gd name="connsiteY53" fmla="*/ 1861 h 811545"/>
                <a:gd name="connsiteX54" fmla="*/ 283896 w 501765"/>
                <a:gd name="connsiteY54" fmla="*/ 22384 h 811545"/>
                <a:gd name="connsiteX55" fmla="*/ 324054 w 501765"/>
                <a:gd name="connsiteY55" fmla="*/ 18457 h 811545"/>
                <a:gd name="connsiteX56" fmla="*/ 357751 w 501765"/>
                <a:gd name="connsiteY56" fmla="*/ 40880 h 811545"/>
                <a:gd name="connsiteX57" fmla="*/ 412605 w 501765"/>
                <a:gd name="connsiteY57" fmla="*/ 17823 h 811545"/>
                <a:gd name="connsiteX58" fmla="*/ 424006 w 501765"/>
                <a:gd name="connsiteY58" fmla="*/ 13896 h 811545"/>
                <a:gd name="connsiteX59" fmla="*/ 425273 w 501765"/>
                <a:gd name="connsiteY59" fmla="*/ 39866 h 811545"/>
                <a:gd name="connsiteX60" fmla="*/ 415899 w 501765"/>
                <a:gd name="connsiteY60" fmla="*/ 87625 h 811545"/>
                <a:gd name="connsiteX61" fmla="*/ 457830 w 501765"/>
                <a:gd name="connsiteY61" fmla="*/ 114229 h 811545"/>
                <a:gd name="connsiteX62" fmla="*/ 483547 w 501765"/>
                <a:gd name="connsiteY62" fmla="*/ 149826 h 811545"/>
                <a:gd name="connsiteX63" fmla="*/ 499129 w 501765"/>
                <a:gd name="connsiteY63" fmla="*/ 185424 h 81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1765" h="811545">
                  <a:moveTo>
                    <a:pt x="499129" y="185424"/>
                  </a:moveTo>
                  <a:cubicBezTo>
                    <a:pt x="489881" y="199233"/>
                    <a:pt x="481267" y="213421"/>
                    <a:pt x="463151" y="218742"/>
                  </a:cubicBezTo>
                  <a:cubicBezTo>
                    <a:pt x="445036" y="224062"/>
                    <a:pt x="444656" y="227610"/>
                    <a:pt x="426540" y="245472"/>
                  </a:cubicBezTo>
                  <a:cubicBezTo>
                    <a:pt x="420332" y="251679"/>
                    <a:pt x="410324" y="258900"/>
                    <a:pt x="400950" y="267261"/>
                  </a:cubicBezTo>
                  <a:cubicBezTo>
                    <a:pt x="382961" y="283223"/>
                    <a:pt x="366746" y="303239"/>
                    <a:pt x="381694" y="325915"/>
                  </a:cubicBezTo>
                  <a:cubicBezTo>
                    <a:pt x="404497" y="360499"/>
                    <a:pt x="401203" y="376715"/>
                    <a:pt x="384355" y="389890"/>
                  </a:cubicBezTo>
                  <a:cubicBezTo>
                    <a:pt x="367506" y="403065"/>
                    <a:pt x="364845" y="407372"/>
                    <a:pt x="362945" y="425868"/>
                  </a:cubicBezTo>
                  <a:cubicBezTo>
                    <a:pt x="360918" y="444363"/>
                    <a:pt x="356358" y="476667"/>
                    <a:pt x="375234" y="471093"/>
                  </a:cubicBezTo>
                  <a:cubicBezTo>
                    <a:pt x="394109" y="465519"/>
                    <a:pt x="444529" y="443350"/>
                    <a:pt x="418052" y="476034"/>
                  </a:cubicBezTo>
                  <a:cubicBezTo>
                    <a:pt x="391702" y="508718"/>
                    <a:pt x="393603" y="506691"/>
                    <a:pt x="394996" y="520246"/>
                  </a:cubicBezTo>
                  <a:cubicBezTo>
                    <a:pt x="396263" y="533801"/>
                    <a:pt x="397023" y="543936"/>
                    <a:pt x="385748" y="544696"/>
                  </a:cubicBezTo>
                  <a:cubicBezTo>
                    <a:pt x="374600" y="545329"/>
                    <a:pt x="339636" y="548623"/>
                    <a:pt x="342550" y="567499"/>
                  </a:cubicBezTo>
                  <a:cubicBezTo>
                    <a:pt x="345463" y="586248"/>
                    <a:pt x="375234" y="617031"/>
                    <a:pt x="361298" y="633500"/>
                  </a:cubicBezTo>
                  <a:cubicBezTo>
                    <a:pt x="347490" y="649969"/>
                    <a:pt x="328614" y="669098"/>
                    <a:pt x="348377" y="683667"/>
                  </a:cubicBezTo>
                  <a:cubicBezTo>
                    <a:pt x="368139" y="698235"/>
                    <a:pt x="377134" y="720658"/>
                    <a:pt x="364845" y="737760"/>
                  </a:cubicBezTo>
                  <a:cubicBezTo>
                    <a:pt x="352684" y="754862"/>
                    <a:pt x="304798" y="816430"/>
                    <a:pt x="260586" y="811236"/>
                  </a:cubicBezTo>
                  <a:cubicBezTo>
                    <a:pt x="269200" y="804395"/>
                    <a:pt x="271734" y="795401"/>
                    <a:pt x="277815" y="778678"/>
                  </a:cubicBezTo>
                  <a:cubicBezTo>
                    <a:pt x="285416" y="757902"/>
                    <a:pt x="260332" y="756636"/>
                    <a:pt x="253112" y="754989"/>
                  </a:cubicBezTo>
                  <a:cubicBezTo>
                    <a:pt x="245891" y="753342"/>
                    <a:pt x="240950" y="748781"/>
                    <a:pt x="230309" y="737887"/>
                  </a:cubicBezTo>
                  <a:cubicBezTo>
                    <a:pt x="219794" y="726992"/>
                    <a:pt x="209913" y="752075"/>
                    <a:pt x="204592" y="759042"/>
                  </a:cubicBezTo>
                  <a:cubicBezTo>
                    <a:pt x="199272" y="766010"/>
                    <a:pt x="187744" y="751062"/>
                    <a:pt x="176342" y="750428"/>
                  </a:cubicBezTo>
                  <a:cubicBezTo>
                    <a:pt x="164940" y="749795"/>
                    <a:pt x="162407" y="728892"/>
                    <a:pt x="165321" y="718757"/>
                  </a:cubicBezTo>
                  <a:cubicBezTo>
                    <a:pt x="168234" y="709003"/>
                    <a:pt x="159366" y="707863"/>
                    <a:pt x="158606" y="707736"/>
                  </a:cubicBezTo>
                  <a:cubicBezTo>
                    <a:pt x="161393" y="697855"/>
                    <a:pt x="135930" y="679739"/>
                    <a:pt x="138844" y="669478"/>
                  </a:cubicBezTo>
                  <a:cubicBezTo>
                    <a:pt x="141631" y="659090"/>
                    <a:pt x="154172" y="653516"/>
                    <a:pt x="154806" y="642115"/>
                  </a:cubicBezTo>
                  <a:cubicBezTo>
                    <a:pt x="155566" y="630460"/>
                    <a:pt x="142898" y="625012"/>
                    <a:pt x="136564" y="617285"/>
                  </a:cubicBezTo>
                  <a:cubicBezTo>
                    <a:pt x="124022" y="602083"/>
                    <a:pt x="174188" y="599929"/>
                    <a:pt x="176215" y="586121"/>
                  </a:cubicBezTo>
                  <a:cubicBezTo>
                    <a:pt x="177482" y="577633"/>
                    <a:pt x="165827" y="570919"/>
                    <a:pt x="159746" y="567752"/>
                  </a:cubicBezTo>
                  <a:cubicBezTo>
                    <a:pt x="151132" y="563318"/>
                    <a:pt x="140998" y="561164"/>
                    <a:pt x="133017" y="555464"/>
                  </a:cubicBezTo>
                  <a:cubicBezTo>
                    <a:pt x="118828" y="545329"/>
                    <a:pt x="125542" y="527847"/>
                    <a:pt x="122122" y="513405"/>
                  </a:cubicBezTo>
                  <a:cubicBezTo>
                    <a:pt x="120475" y="506438"/>
                    <a:pt x="117055" y="500104"/>
                    <a:pt x="112494" y="494530"/>
                  </a:cubicBezTo>
                  <a:cubicBezTo>
                    <a:pt x="104513" y="484902"/>
                    <a:pt x="93618" y="478188"/>
                    <a:pt x="82724" y="472487"/>
                  </a:cubicBezTo>
                  <a:cubicBezTo>
                    <a:pt x="76643" y="469320"/>
                    <a:pt x="74363" y="468433"/>
                    <a:pt x="72842" y="461212"/>
                  </a:cubicBezTo>
                  <a:cubicBezTo>
                    <a:pt x="71322" y="453991"/>
                    <a:pt x="71702" y="446390"/>
                    <a:pt x="73856" y="439296"/>
                  </a:cubicBezTo>
                  <a:cubicBezTo>
                    <a:pt x="75503" y="433722"/>
                    <a:pt x="77656" y="428401"/>
                    <a:pt x="76010" y="422574"/>
                  </a:cubicBezTo>
                  <a:cubicBezTo>
                    <a:pt x="74236" y="416113"/>
                    <a:pt x="69042" y="410666"/>
                    <a:pt x="64481" y="405978"/>
                  </a:cubicBezTo>
                  <a:cubicBezTo>
                    <a:pt x="58400" y="399644"/>
                    <a:pt x="51560" y="394070"/>
                    <a:pt x="43832" y="390017"/>
                  </a:cubicBezTo>
                  <a:cubicBezTo>
                    <a:pt x="36611" y="386216"/>
                    <a:pt x="28124" y="384443"/>
                    <a:pt x="21283" y="380009"/>
                  </a:cubicBezTo>
                  <a:cubicBezTo>
                    <a:pt x="15075" y="375955"/>
                    <a:pt x="12541" y="369747"/>
                    <a:pt x="9881" y="363160"/>
                  </a:cubicBezTo>
                  <a:cubicBezTo>
                    <a:pt x="7981" y="358346"/>
                    <a:pt x="6081" y="352012"/>
                    <a:pt x="0" y="352012"/>
                  </a:cubicBezTo>
                  <a:cubicBezTo>
                    <a:pt x="0" y="352012"/>
                    <a:pt x="4687" y="319454"/>
                    <a:pt x="14188" y="311980"/>
                  </a:cubicBezTo>
                  <a:cubicBezTo>
                    <a:pt x="23563" y="304506"/>
                    <a:pt x="19636" y="293611"/>
                    <a:pt x="14188" y="279296"/>
                  </a:cubicBezTo>
                  <a:cubicBezTo>
                    <a:pt x="8741" y="264981"/>
                    <a:pt x="3674" y="248639"/>
                    <a:pt x="9881" y="244585"/>
                  </a:cubicBezTo>
                  <a:cubicBezTo>
                    <a:pt x="16089" y="240658"/>
                    <a:pt x="26477" y="235717"/>
                    <a:pt x="19762" y="227230"/>
                  </a:cubicBezTo>
                  <a:cubicBezTo>
                    <a:pt x="13048" y="218742"/>
                    <a:pt x="8488" y="194039"/>
                    <a:pt x="21916" y="179217"/>
                  </a:cubicBezTo>
                  <a:cubicBezTo>
                    <a:pt x="35345" y="164395"/>
                    <a:pt x="55740" y="138172"/>
                    <a:pt x="42819" y="129177"/>
                  </a:cubicBezTo>
                  <a:cubicBezTo>
                    <a:pt x="29897" y="120309"/>
                    <a:pt x="1773" y="130698"/>
                    <a:pt x="11655" y="111822"/>
                  </a:cubicBezTo>
                  <a:cubicBezTo>
                    <a:pt x="21536" y="93073"/>
                    <a:pt x="24323" y="84078"/>
                    <a:pt x="21536" y="78631"/>
                  </a:cubicBezTo>
                  <a:cubicBezTo>
                    <a:pt x="22930" y="78504"/>
                    <a:pt x="24196" y="77618"/>
                    <a:pt x="25337" y="75844"/>
                  </a:cubicBezTo>
                  <a:cubicBezTo>
                    <a:pt x="30657" y="67863"/>
                    <a:pt x="27997" y="57348"/>
                    <a:pt x="44466" y="60008"/>
                  </a:cubicBezTo>
                  <a:cubicBezTo>
                    <a:pt x="60934" y="62669"/>
                    <a:pt x="99952" y="64569"/>
                    <a:pt x="118955" y="54054"/>
                  </a:cubicBezTo>
                  <a:cubicBezTo>
                    <a:pt x="138084" y="43540"/>
                    <a:pt x="129470" y="34292"/>
                    <a:pt x="149992" y="32265"/>
                  </a:cubicBezTo>
                  <a:cubicBezTo>
                    <a:pt x="170515" y="30238"/>
                    <a:pt x="186984" y="42780"/>
                    <a:pt x="192177" y="23651"/>
                  </a:cubicBezTo>
                  <a:cubicBezTo>
                    <a:pt x="197498" y="4521"/>
                    <a:pt x="200792" y="-4093"/>
                    <a:pt x="216627" y="1861"/>
                  </a:cubicBezTo>
                  <a:cubicBezTo>
                    <a:pt x="232462" y="7815"/>
                    <a:pt x="262739" y="24284"/>
                    <a:pt x="283896" y="22384"/>
                  </a:cubicBezTo>
                  <a:cubicBezTo>
                    <a:pt x="305051" y="20357"/>
                    <a:pt x="317593" y="7182"/>
                    <a:pt x="324054" y="18457"/>
                  </a:cubicBezTo>
                  <a:cubicBezTo>
                    <a:pt x="330641" y="29732"/>
                    <a:pt x="340523" y="46200"/>
                    <a:pt x="357751" y="40880"/>
                  </a:cubicBezTo>
                  <a:cubicBezTo>
                    <a:pt x="374980" y="35559"/>
                    <a:pt x="402597" y="21750"/>
                    <a:pt x="412605" y="17823"/>
                  </a:cubicBezTo>
                  <a:cubicBezTo>
                    <a:pt x="415138" y="16810"/>
                    <a:pt x="419319" y="15543"/>
                    <a:pt x="424006" y="13896"/>
                  </a:cubicBezTo>
                  <a:cubicBezTo>
                    <a:pt x="424766" y="14403"/>
                    <a:pt x="433128" y="20864"/>
                    <a:pt x="425273" y="39866"/>
                  </a:cubicBezTo>
                  <a:cubicBezTo>
                    <a:pt x="417039" y="59628"/>
                    <a:pt x="401710" y="86865"/>
                    <a:pt x="415899" y="87625"/>
                  </a:cubicBezTo>
                  <a:cubicBezTo>
                    <a:pt x="429960" y="88386"/>
                    <a:pt x="448203" y="100293"/>
                    <a:pt x="457830" y="114229"/>
                  </a:cubicBezTo>
                  <a:cubicBezTo>
                    <a:pt x="467458" y="128037"/>
                    <a:pt x="476326" y="143619"/>
                    <a:pt x="483547" y="149826"/>
                  </a:cubicBezTo>
                  <a:cubicBezTo>
                    <a:pt x="490895" y="156414"/>
                    <a:pt x="508377" y="171616"/>
                    <a:pt x="499129" y="18542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12" name="Полилиния: фигура 711">
              <a:extLst>
                <a:ext uri="{FF2B5EF4-FFF2-40B4-BE49-F238E27FC236}">
                  <a16:creationId xmlns:a16="http://schemas.microsoft.com/office/drawing/2014/main" id="{64B8EBAA-0FE6-4811-B039-30C005AB8064}"/>
                </a:ext>
              </a:extLst>
            </p:cNvPr>
            <p:cNvSpPr/>
            <p:nvPr/>
          </p:nvSpPr>
          <p:spPr>
            <a:xfrm>
              <a:off x="4508460" y="3410730"/>
              <a:ext cx="1923160" cy="1582509"/>
            </a:xfrm>
            <a:custGeom>
              <a:avLst/>
              <a:gdLst>
                <a:gd name="connsiteX0" fmla="*/ 1917973 w 1923160"/>
                <a:gd name="connsiteY0" fmla="*/ 1404267 h 1582509"/>
                <a:gd name="connsiteX1" fmla="*/ 1865780 w 1923160"/>
                <a:gd name="connsiteY1" fmla="*/ 1418835 h 1582509"/>
                <a:gd name="connsiteX2" fmla="*/ 1784576 w 1923160"/>
                <a:gd name="connsiteY2" fmla="*/ 1438598 h 1582509"/>
                <a:gd name="connsiteX3" fmla="*/ 1780523 w 1923160"/>
                <a:gd name="connsiteY3" fmla="*/ 1445185 h 1582509"/>
                <a:gd name="connsiteX4" fmla="*/ 1713635 w 1923160"/>
                <a:gd name="connsiteY4" fmla="*/ 1413895 h 1582509"/>
                <a:gd name="connsiteX5" fmla="*/ 1618242 w 1923160"/>
                <a:gd name="connsiteY5" fmla="*/ 1451520 h 1582509"/>
                <a:gd name="connsiteX6" fmla="*/ 1590499 w 1923160"/>
                <a:gd name="connsiteY6" fmla="*/ 1432390 h 1582509"/>
                <a:gd name="connsiteX7" fmla="*/ 1535772 w 1923160"/>
                <a:gd name="connsiteY7" fmla="*/ 1427450 h 1582509"/>
                <a:gd name="connsiteX8" fmla="*/ 1511069 w 1923160"/>
                <a:gd name="connsiteY8" fmla="*/ 1390459 h 1582509"/>
                <a:gd name="connsiteX9" fmla="*/ 1439493 w 1923160"/>
                <a:gd name="connsiteY9" fmla="*/ 1383491 h 1582509"/>
                <a:gd name="connsiteX10" fmla="*/ 1373872 w 1923160"/>
                <a:gd name="connsiteY10" fmla="*/ 1345233 h 1582509"/>
                <a:gd name="connsiteX11" fmla="*/ 1315091 w 1923160"/>
                <a:gd name="connsiteY11" fmla="*/ 1333325 h 1582509"/>
                <a:gd name="connsiteX12" fmla="*/ 1257071 w 1923160"/>
                <a:gd name="connsiteY12" fmla="*/ 1283792 h 1582509"/>
                <a:gd name="connsiteX13" fmla="*/ 1210578 w 1923160"/>
                <a:gd name="connsiteY13" fmla="*/ 1304948 h 1582509"/>
                <a:gd name="connsiteX14" fmla="*/ 1170926 w 1923160"/>
                <a:gd name="connsiteY14" fmla="*/ 1328384 h 1582509"/>
                <a:gd name="connsiteX15" fmla="*/ 1157372 w 1923160"/>
                <a:gd name="connsiteY15" fmla="*/ 1372216 h 1582509"/>
                <a:gd name="connsiteX16" fmla="*/ 1125701 w 1923160"/>
                <a:gd name="connsiteY16" fmla="*/ 1401607 h 1582509"/>
                <a:gd name="connsiteX17" fmla="*/ 1094284 w 1923160"/>
                <a:gd name="connsiteY17" fmla="*/ 1459120 h 1582509"/>
                <a:gd name="connsiteX18" fmla="*/ 1021821 w 1923160"/>
                <a:gd name="connsiteY18" fmla="*/ 1470015 h 1582509"/>
                <a:gd name="connsiteX19" fmla="*/ 992938 w 1923160"/>
                <a:gd name="connsiteY19" fmla="*/ 1524108 h 1582509"/>
                <a:gd name="connsiteX20" fmla="*/ 949359 w 1923160"/>
                <a:gd name="connsiteY20" fmla="*/ 1565027 h 1582509"/>
                <a:gd name="connsiteX21" fmla="*/ 919842 w 1923160"/>
                <a:gd name="connsiteY21" fmla="*/ 1582509 h 1582509"/>
                <a:gd name="connsiteX22" fmla="*/ 921362 w 1923160"/>
                <a:gd name="connsiteY22" fmla="*/ 1579849 h 1582509"/>
                <a:gd name="connsiteX23" fmla="*/ 921488 w 1923160"/>
                <a:gd name="connsiteY23" fmla="*/ 1575035 h 1582509"/>
                <a:gd name="connsiteX24" fmla="*/ 921235 w 1923160"/>
                <a:gd name="connsiteY24" fmla="*/ 1574148 h 1582509"/>
                <a:gd name="connsiteX25" fmla="*/ 920222 w 1923160"/>
                <a:gd name="connsiteY25" fmla="*/ 1572501 h 1582509"/>
                <a:gd name="connsiteX26" fmla="*/ 919588 w 1923160"/>
                <a:gd name="connsiteY26" fmla="*/ 1571741 h 1582509"/>
                <a:gd name="connsiteX27" fmla="*/ 918575 w 1923160"/>
                <a:gd name="connsiteY27" fmla="*/ 1570727 h 1582509"/>
                <a:gd name="connsiteX28" fmla="*/ 917435 w 1923160"/>
                <a:gd name="connsiteY28" fmla="*/ 1569714 h 1582509"/>
                <a:gd name="connsiteX29" fmla="*/ 916168 w 1923160"/>
                <a:gd name="connsiteY29" fmla="*/ 1568701 h 1582509"/>
                <a:gd name="connsiteX30" fmla="*/ 913381 w 1923160"/>
                <a:gd name="connsiteY30" fmla="*/ 1566674 h 1582509"/>
                <a:gd name="connsiteX31" fmla="*/ 910214 w 1923160"/>
                <a:gd name="connsiteY31" fmla="*/ 1564774 h 1582509"/>
                <a:gd name="connsiteX32" fmla="*/ 910214 w 1923160"/>
                <a:gd name="connsiteY32" fmla="*/ 1564774 h 1582509"/>
                <a:gd name="connsiteX33" fmla="*/ 904767 w 1923160"/>
                <a:gd name="connsiteY33" fmla="*/ 1562113 h 1582509"/>
                <a:gd name="connsiteX34" fmla="*/ 904767 w 1923160"/>
                <a:gd name="connsiteY34" fmla="*/ 1562113 h 1582509"/>
                <a:gd name="connsiteX35" fmla="*/ 900840 w 1923160"/>
                <a:gd name="connsiteY35" fmla="*/ 1560340 h 1582509"/>
                <a:gd name="connsiteX36" fmla="*/ 898813 w 1923160"/>
                <a:gd name="connsiteY36" fmla="*/ 1559453 h 1582509"/>
                <a:gd name="connsiteX37" fmla="*/ 892732 w 1923160"/>
                <a:gd name="connsiteY37" fmla="*/ 1557046 h 1582509"/>
                <a:gd name="connsiteX38" fmla="*/ 880823 w 1923160"/>
                <a:gd name="connsiteY38" fmla="*/ 1552866 h 1582509"/>
                <a:gd name="connsiteX39" fmla="*/ 877276 w 1923160"/>
                <a:gd name="connsiteY39" fmla="*/ 1551725 h 1582509"/>
                <a:gd name="connsiteX40" fmla="*/ 872589 w 1923160"/>
                <a:gd name="connsiteY40" fmla="*/ 1550079 h 1582509"/>
                <a:gd name="connsiteX41" fmla="*/ 833064 w 1923160"/>
                <a:gd name="connsiteY41" fmla="*/ 1498012 h 1582509"/>
                <a:gd name="connsiteX42" fmla="*/ 763769 w 1923160"/>
                <a:gd name="connsiteY42" fmla="*/ 1475589 h 1582509"/>
                <a:gd name="connsiteX43" fmla="*/ 767696 w 1923160"/>
                <a:gd name="connsiteY43" fmla="*/ 1437964 h 1582509"/>
                <a:gd name="connsiteX44" fmla="*/ 741219 w 1923160"/>
                <a:gd name="connsiteY44" fmla="*/ 1385898 h 1582509"/>
                <a:gd name="connsiteX45" fmla="*/ 720063 w 1923160"/>
                <a:gd name="connsiteY45" fmla="*/ 1282272 h 1582509"/>
                <a:gd name="connsiteX46" fmla="*/ 601235 w 1923160"/>
                <a:gd name="connsiteY46" fmla="*/ 1231472 h 1582509"/>
                <a:gd name="connsiteX47" fmla="*/ 554363 w 1923160"/>
                <a:gd name="connsiteY47" fmla="*/ 1226151 h 1582509"/>
                <a:gd name="connsiteX48" fmla="*/ 326714 w 1923160"/>
                <a:gd name="connsiteY48" fmla="*/ 1231472 h 1582509"/>
                <a:gd name="connsiteX49" fmla="*/ 213207 w 1923160"/>
                <a:gd name="connsiteY49" fmla="*/ 1261116 h 1582509"/>
                <a:gd name="connsiteX50" fmla="*/ 161393 w 1923160"/>
                <a:gd name="connsiteY50" fmla="*/ 1238566 h 1582509"/>
                <a:gd name="connsiteX51" fmla="*/ 158353 w 1923160"/>
                <a:gd name="connsiteY51" fmla="*/ 1231219 h 1582509"/>
                <a:gd name="connsiteX52" fmla="*/ 148472 w 1923160"/>
                <a:gd name="connsiteY52" fmla="*/ 1149128 h 1582509"/>
                <a:gd name="connsiteX53" fmla="*/ 142011 w 1923160"/>
                <a:gd name="connsiteY53" fmla="*/ 1048669 h 1582509"/>
                <a:gd name="connsiteX54" fmla="*/ 90071 w 1923160"/>
                <a:gd name="connsiteY54" fmla="*/ 995209 h 1582509"/>
                <a:gd name="connsiteX55" fmla="*/ 124149 w 1923160"/>
                <a:gd name="connsiteY55" fmla="*/ 894243 h 1582509"/>
                <a:gd name="connsiteX56" fmla="*/ 111861 w 1923160"/>
                <a:gd name="connsiteY56" fmla="*/ 842303 h 1582509"/>
                <a:gd name="connsiteX57" fmla="*/ 118321 w 1923160"/>
                <a:gd name="connsiteY57" fmla="*/ 807592 h 1582509"/>
                <a:gd name="connsiteX58" fmla="*/ 111861 w 1923160"/>
                <a:gd name="connsiteY58" fmla="*/ 775922 h 1582509"/>
                <a:gd name="connsiteX59" fmla="*/ 154933 w 1923160"/>
                <a:gd name="connsiteY59" fmla="*/ 726389 h 1582509"/>
                <a:gd name="connsiteX60" fmla="*/ 143531 w 1923160"/>
                <a:gd name="connsiteY60" fmla="*/ 662541 h 1582509"/>
                <a:gd name="connsiteX61" fmla="*/ 125669 w 1923160"/>
                <a:gd name="connsiteY61" fmla="*/ 608067 h 1582509"/>
                <a:gd name="connsiteX62" fmla="*/ 83104 w 1923160"/>
                <a:gd name="connsiteY62" fmla="*/ 556634 h 1582509"/>
                <a:gd name="connsiteX63" fmla="*/ 34078 w 1923160"/>
                <a:gd name="connsiteY63" fmla="*/ 514069 h 1582509"/>
                <a:gd name="connsiteX64" fmla="*/ 0 w 1923160"/>
                <a:gd name="connsiteY64" fmla="*/ 443760 h 1582509"/>
                <a:gd name="connsiteX65" fmla="*/ 35345 w 1923160"/>
                <a:gd name="connsiteY65" fmla="*/ 423998 h 1582509"/>
                <a:gd name="connsiteX66" fmla="*/ 64355 w 1923160"/>
                <a:gd name="connsiteY66" fmla="*/ 374972 h 1582509"/>
                <a:gd name="connsiteX67" fmla="*/ 69295 w 1923160"/>
                <a:gd name="connsiteY67" fmla="*/ 338614 h 1582509"/>
                <a:gd name="connsiteX68" fmla="*/ 90832 w 1923160"/>
                <a:gd name="connsiteY68" fmla="*/ 309730 h 1582509"/>
                <a:gd name="connsiteX69" fmla="*/ 120728 w 1923160"/>
                <a:gd name="connsiteY69" fmla="*/ 262984 h 1582509"/>
                <a:gd name="connsiteX70" fmla="*/ 165067 w 1923160"/>
                <a:gd name="connsiteY70" fmla="*/ 228907 h 1582509"/>
                <a:gd name="connsiteX71" fmla="*/ 233096 w 1923160"/>
                <a:gd name="connsiteY71" fmla="*/ 138075 h 1582509"/>
                <a:gd name="connsiteX72" fmla="*/ 246018 w 1923160"/>
                <a:gd name="connsiteY72" fmla="*/ 81195 h 1582509"/>
                <a:gd name="connsiteX73" fmla="*/ 289343 w 1923160"/>
                <a:gd name="connsiteY73" fmla="*/ 61179 h 1582509"/>
                <a:gd name="connsiteX74" fmla="*/ 302898 w 1923160"/>
                <a:gd name="connsiteY74" fmla="*/ 29508 h 1582509"/>
                <a:gd name="connsiteX75" fmla="*/ 350657 w 1923160"/>
                <a:gd name="connsiteY75" fmla="*/ 25581 h 1582509"/>
                <a:gd name="connsiteX76" fmla="*/ 367506 w 1923160"/>
                <a:gd name="connsiteY76" fmla="*/ 80055 h 1582509"/>
                <a:gd name="connsiteX77" fmla="*/ 417672 w 1923160"/>
                <a:gd name="connsiteY77" fmla="*/ 57885 h 1582509"/>
                <a:gd name="connsiteX78" fmla="*/ 501030 w 1923160"/>
                <a:gd name="connsiteY78" fmla="*/ 245 h 1582509"/>
                <a:gd name="connsiteX79" fmla="*/ 532573 w 1923160"/>
                <a:gd name="connsiteY79" fmla="*/ 1892 h 1582509"/>
                <a:gd name="connsiteX80" fmla="*/ 542455 w 1923160"/>
                <a:gd name="connsiteY80" fmla="*/ 95510 h 1582509"/>
                <a:gd name="connsiteX81" fmla="*/ 504197 w 1923160"/>
                <a:gd name="connsiteY81" fmla="*/ 157838 h 1582509"/>
                <a:gd name="connsiteX82" fmla="*/ 464925 w 1923160"/>
                <a:gd name="connsiteY82" fmla="*/ 194702 h 1582509"/>
                <a:gd name="connsiteX83" fmla="*/ 489628 w 1923160"/>
                <a:gd name="connsiteY83" fmla="*/ 222066 h 1582509"/>
                <a:gd name="connsiteX84" fmla="*/ 512811 w 1923160"/>
                <a:gd name="connsiteY84" fmla="*/ 259944 h 1582509"/>
                <a:gd name="connsiteX85" fmla="*/ 547522 w 1923160"/>
                <a:gd name="connsiteY85" fmla="*/ 281480 h 1582509"/>
                <a:gd name="connsiteX86" fmla="*/ 632019 w 1923160"/>
                <a:gd name="connsiteY86" fmla="*/ 281480 h 1582509"/>
                <a:gd name="connsiteX87" fmla="*/ 728298 w 1923160"/>
                <a:gd name="connsiteY87" fmla="*/ 362303 h 1582509"/>
                <a:gd name="connsiteX88" fmla="*/ 690673 w 1923160"/>
                <a:gd name="connsiteY88" fmla="*/ 386753 h 1582509"/>
                <a:gd name="connsiteX89" fmla="*/ 728298 w 1923160"/>
                <a:gd name="connsiteY89" fmla="*/ 429065 h 1582509"/>
                <a:gd name="connsiteX90" fmla="*/ 741473 w 1923160"/>
                <a:gd name="connsiteY90" fmla="*/ 449841 h 1582509"/>
                <a:gd name="connsiteX91" fmla="*/ 773523 w 1923160"/>
                <a:gd name="connsiteY91" fmla="*/ 478598 h 1582509"/>
                <a:gd name="connsiteX92" fmla="*/ 801520 w 1923160"/>
                <a:gd name="connsiteY92" fmla="*/ 448574 h 1582509"/>
                <a:gd name="connsiteX93" fmla="*/ 832811 w 1923160"/>
                <a:gd name="connsiteY93" fmla="*/ 456808 h 1582509"/>
                <a:gd name="connsiteX94" fmla="*/ 861821 w 1923160"/>
                <a:gd name="connsiteY94" fmla="*/ 413230 h 1582509"/>
                <a:gd name="connsiteX95" fmla="*/ 883610 w 1923160"/>
                <a:gd name="connsiteY95" fmla="*/ 465676 h 1582509"/>
                <a:gd name="connsiteX96" fmla="*/ 932510 w 1923160"/>
                <a:gd name="connsiteY96" fmla="*/ 521163 h 1582509"/>
                <a:gd name="connsiteX97" fmla="*/ 919968 w 1923160"/>
                <a:gd name="connsiteY97" fmla="*/ 609587 h 1582509"/>
                <a:gd name="connsiteX98" fmla="*/ 962280 w 1923160"/>
                <a:gd name="connsiteY98" fmla="*/ 676223 h 1582509"/>
                <a:gd name="connsiteX99" fmla="*/ 969248 w 1923160"/>
                <a:gd name="connsiteY99" fmla="*/ 727656 h 1582509"/>
                <a:gd name="connsiteX100" fmla="*/ 1036896 w 1923160"/>
                <a:gd name="connsiteY100" fmla="*/ 739564 h 1582509"/>
                <a:gd name="connsiteX101" fmla="*/ 1098591 w 1923160"/>
                <a:gd name="connsiteY101" fmla="*/ 787450 h 1582509"/>
                <a:gd name="connsiteX102" fmla="*/ 1166619 w 1923160"/>
                <a:gd name="connsiteY102" fmla="*/ 834956 h 1582509"/>
                <a:gd name="connsiteX103" fmla="*/ 1221093 w 1923160"/>
                <a:gd name="connsiteY103" fmla="*/ 834956 h 1582509"/>
                <a:gd name="connsiteX104" fmla="*/ 1259984 w 1923160"/>
                <a:gd name="connsiteY104" fmla="*/ 910205 h 1582509"/>
                <a:gd name="connsiteX105" fmla="*/ 1312178 w 1923160"/>
                <a:gd name="connsiteY105" fmla="*/ 918819 h 1582509"/>
                <a:gd name="connsiteX106" fmla="*/ 1351449 w 1923160"/>
                <a:gd name="connsiteY106" fmla="*/ 997363 h 1582509"/>
                <a:gd name="connsiteX107" fmla="*/ 1403896 w 1923160"/>
                <a:gd name="connsiteY107" fmla="*/ 1021432 h 1582509"/>
                <a:gd name="connsiteX108" fmla="*/ 1481425 w 1923160"/>
                <a:gd name="connsiteY108" fmla="*/ 1050823 h 1582509"/>
                <a:gd name="connsiteX109" fmla="*/ 1585305 w 1923160"/>
                <a:gd name="connsiteY109" fmla="*/ 1009904 h 1582509"/>
                <a:gd name="connsiteX110" fmla="*/ 1634458 w 1923160"/>
                <a:gd name="connsiteY110" fmla="*/ 1005344 h 1582509"/>
                <a:gd name="connsiteX111" fmla="*/ 1665495 w 1923160"/>
                <a:gd name="connsiteY111" fmla="*/ 1067671 h 1582509"/>
                <a:gd name="connsiteX112" fmla="*/ 1705147 w 1923160"/>
                <a:gd name="connsiteY112" fmla="*/ 1078566 h 1582509"/>
                <a:gd name="connsiteX113" fmla="*/ 1754680 w 1923160"/>
                <a:gd name="connsiteY113" fmla="*/ 1158756 h 1582509"/>
                <a:gd name="connsiteX114" fmla="*/ 1813080 w 1923160"/>
                <a:gd name="connsiteY114" fmla="*/ 1144188 h 1582509"/>
                <a:gd name="connsiteX115" fmla="*/ 1843104 w 1923160"/>
                <a:gd name="connsiteY115" fmla="*/ 1204869 h 1582509"/>
                <a:gd name="connsiteX116" fmla="*/ 1852985 w 1923160"/>
                <a:gd name="connsiteY116" fmla="*/ 1238440 h 1582509"/>
                <a:gd name="connsiteX117" fmla="*/ 1852858 w 1923160"/>
                <a:gd name="connsiteY117" fmla="*/ 1238693 h 1582509"/>
                <a:gd name="connsiteX118" fmla="*/ 1841457 w 1923160"/>
                <a:gd name="connsiteY118" fmla="*/ 1289999 h 1582509"/>
                <a:gd name="connsiteX119" fmla="*/ 1900111 w 1923160"/>
                <a:gd name="connsiteY119" fmla="*/ 1337505 h 1582509"/>
                <a:gd name="connsiteX120" fmla="*/ 1917973 w 1923160"/>
                <a:gd name="connsiteY120" fmla="*/ 1404267 h 1582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923160" h="1582509">
                  <a:moveTo>
                    <a:pt x="1917973" y="1404267"/>
                  </a:moveTo>
                  <a:cubicBezTo>
                    <a:pt x="1911386" y="1429350"/>
                    <a:pt x="1894157" y="1423396"/>
                    <a:pt x="1865780" y="1418835"/>
                  </a:cubicBezTo>
                  <a:cubicBezTo>
                    <a:pt x="1837403" y="1414148"/>
                    <a:pt x="1801172" y="1437331"/>
                    <a:pt x="1784576" y="1438598"/>
                  </a:cubicBezTo>
                  <a:cubicBezTo>
                    <a:pt x="1781536" y="1438851"/>
                    <a:pt x="1780396" y="1441258"/>
                    <a:pt x="1780523" y="1445185"/>
                  </a:cubicBezTo>
                  <a:cubicBezTo>
                    <a:pt x="1756073" y="1452406"/>
                    <a:pt x="1736057" y="1423142"/>
                    <a:pt x="1713635" y="1413895"/>
                  </a:cubicBezTo>
                  <a:cubicBezTo>
                    <a:pt x="1691211" y="1404647"/>
                    <a:pt x="1636105" y="1435684"/>
                    <a:pt x="1618242" y="1451520"/>
                  </a:cubicBezTo>
                  <a:cubicBezTo>
                    <a:pt x="1600380" y="1467355"/>
                    <a:pt x="1593159" y="1442525"/>
                    <a:pt x="1590499" y="1432390"/>
                  </a:cubicBezTo>
                  <a:cubicBezTo>
                    <a:pt x="1587839" y="1422129"/>
                    <a:pt x="1553254" y="1425803"/>
                    <a:pt x="1535772" y="1427450"/>
                  </a:cubicBezTo>
                  <a:cubicBezTo>
                    <a:pt x="1518290" y="1429097"/>
                    <a:pt x="1511323" y="1400720"/>
                    <a:pt x="1511069" y="1390459"/>
                  </a:cubicBezTo>
                  <a:cubicBezTo>
                    <a:pt x="1510816" y="1380197"/>
                    <a:pt x="1471797" y="1382604"/>
                    <a:pt x="1439493" y="1383491"/>
                  </a:cubicBezTo>
                  <a:cubicBezTo>
                    <a:pt x="1407190" y="1384504"/>
                    <a:pt x="1380459" y="1359421"/>
                    <a:pt x="1373872" y="1345233"/>
                  </a:cubicBezTo>
                  <a:cubicBezTo>
                    <a:pt x="1367284" y="1331044"/>
                    <a:pt x="1331940" y="1337632"/>
                    <a:pt x="1315091" y="1333325"/>
                  </a:cubicBezTo>
                  <a:cubicBezTo>
                    <a:pt x="1298242" y="1329017"/>
                    <a:pt x="1269232" y="1296334"/>
                    <a:pt x="1257071" y="1283792"/>
                  </a:cubicBezTo>
                  <a:cubicBezTo>
                    <a:pt x="1244909" y="1271250"/>
                    <a:pt x="1226033" y="1286452"/>
                    <a:pt x="1210578" y="1304948"/>
                  </a:cubicBezTo>
                  <a:cubicBezTo>
                    <a:pt x="1195123" y="1323443"/>
                    <a:pt x="1187522" y="1320149"/>
                    <a:pt x="1170926" y="1328384"/>
                  </a:cubicBezTo>
                  <a:cubicBezTo>
                    <a:pt x="1154458" y="1336618"/>
                    <a:pt x="1157752" y="1359041"/>
                    <a:pt x="1157372" y="1372216"/>
                  </a:cubicBezTo>
                  <a:cubicBezTo>
                    <a:pt x="1156992" y="1385391"/>
                    <a:pt x="1135202" y="1394006"/>
                    <a:pt x="1125701" y="1401607"/>
                  </a:cubicBezTo>
                  <a:cubicBezTo>
                    <a:pt x="1116073" y="1409207"/>
                    <a:pt x="1106192" y="1437838"/>
                    <a:pt x="1094284" y="1459120"/>
                  </a:cubicBezTo>
                  <a:cubicBezTo>
                    <a:pt x="1082375" y="1480403"/>
                    <a:pt x="1045638" y="1468748"/>
                    <a:pt x="1021821" y="1470015"/>
                  </a:cubicBezTo>
                  <a:cubicBezTo>
                    <a:pt x="998005" y="1471282"/>
                    <a:pt x="995598" y="1499912"/>
                    <a:pt x="992938" y="1524108"/>
                  </a:cubicBezTo>
                  <a:cubicBezTo>
                    <a:pt x="990277" y="1548305"/>
                    <a:pt x="959747" y="1561987"/>
                    <a:pt x="949359" y="1565027"/>
                  </a:cubicBezTo>
                  <a:cubicBezTo>
                    <a:pt x="939224" y="1567941"/>
                    <a:pt x="920982" y="1581622"/>
                    <a:pt x="919842" y="1582509"/>
                  </a:cubicBezTo>
                  <a:cubicBezTo>
                    <a:pt x="920475" y="1581622"/>
                    <a:pt x="920982" y="1580735"/>
                    <a:pt x="921362" y="1579849"/>
                  </a:cubicBezTo>
                  <a:cubicBezTo>
                    <a:pt x="921995" y="1578202"/>
                    <a:pt x="921995" y="1576555"/>
                    <a:pt x="921488" y="1575035"/>
                  </a:cubicBezTo>
                  <a:cubicBezTo>
                    <a:pt x="921362" y="1574781"/>
                    <a:pt x="921235" y="1574528"/>
                    <a:pt x="921235" y="1574148"/>
                  </a:cubicBezTo>
                  <a:cubicBezTo>
                    <a:pt x="920982" y="1573641"/>
                    <a:pt x="920728" y="1573008"/>
                    <a:pt x="920222" y="1572501"/>
                  </a:cubicBezTo>
                  <a:cubicBezTo>
                    <a:pt x="919968" y="1572248"/>
                    <a:pt x="919842" y="1571994"/>
                    <a:pt x="919588" y="1571741"/>
                  </a:cubicBezTo>
                  <a:cubicBezTo>
                    <a:pt x="919335" y="1571361"/>
                    <a:pt x="918955" y="1570981"/>
                    <a:pt x="918575" y="1570727"/>
                  </a:cubicBezTo>
                  <a:cubicBezTo>
                    <a:pt x="918195" y="1570347"/>
                    <a:pt x="917815" y="1569967"/>
                    <a:pt x="917435" y="1569714"/>
                  </a:cubicBezTo>
                  <a:cubicBezTo>
                    <a:pt x="917055" y="1569334"/>
                    <a:pt x="916675" y="1568954"/>
                    <a:pt x="916168" y="1568701"/>
                  </a:cubicBezTo>
                  <a:cubicBezTo>
                    <a:pt x="915281" y="1567941"/>
                    <a:pt x="914394" y="1567307"/>
                    <a:pt x="913381" y="1566674"/>
                  </a:cubicBezTo>
                  <a:cubicBezTo>
                    <a:pt x="912368" y="1566040"/>
                    <a:pt x="911354" y="1565407"/>
                    <a:pt x="910214" y="1564774"/>
                  </a:cubicBezTo>
                  <a:lnTo>
                    <a:pt x="910214" y="1564774"/>
                  </a:lnTo>
                  <a:cubicBezTo>
                    <a:pt x="908567" y="1563887"/>
                    <a:pt x="906667" y="1562873"/>
                    <a:pt x="904767" y="1562113"/>
                  </a:cubicBezTo>
                  <a:cubicBezTo>
                    <a:pt x="904767" y="1562113"/>
                    <a:pt x="904767" y="1562113"/>
                    <a:pt x="904767" y="1562113"/>
                  </a:cubicBezTo>
                  <a:cubicBezTo>
                    <a:pt x="903500" y="1561480"/>
                    <a:pt x="902233" y="1560973"/>
                    <a:pt x="900840" y="1560340"/>
                  </a:cubicBezTo>
                  <a:cubicBezTo>
                    <a:pt x="900206" y="1560086"/>
                    <a:pt x="899446" y="1559833"/>
                    <a:pt x="898813" y="1559453"/>
                  </a:cubicBezTo>
                  <a:cubicBezTo>
                    <a:pt x="896786" y="1558566"/>
                    <a:pt x="894759" y="1557806"/>
                    <a:pt x="892732" y="1557046"/>
                  </a:cubicBezTo>
                  <a:cubicBezTo>
                    <a:pt x="888678" y="1555526"/>
                    <a:pt x="884497" y="1554132"/>
                    <a:pt x="880823" y="1552866"/>
                  </a:cubicBezTo>
                  <a:cubicBezTo>
                    <a:pt x="879557" y="1552486"/>
                    <a:pt x="878416" y="1551979"/>
                    <a:pt x="877276" y="1551725"/>
                  </a:cubicBezTo>
                  <a:cubicBezTo>
                    <a:pt x="875629" y="1551219"/>
                    <a:pt x="873982" y="1550585"/>
                    <a:pt x="872589" y="1550079"/>
                  </a:cubicBezTo>
                  <a:cubicBezTo>
                    <a:pt x="855487" y="1544124"/>
                    <a:pt x="842946" y="1514481"/>
                    <a:pt x="833064" y="1498012"/>
                  </a:cubicBezTo>
                  <a:cubicBezTo>
                    <a:pt x="823183" y="1481543"/>
                    <a:pt x="776310" y="1477489"/>
                    <a:pt x="763769" y="1475589"/>
                  </a:cubicBezTo>
                  <a:cubicBezTo>
                    <a:pt x="751228" y="1473562"/>
                    <a:pt x="752621" y="1453800"/>
                    <a:pt x="767696" y="1437964"/>
                  </a:cubicBezTo>
                  <a:cubicBezTo>
                    <a:pt x="782898" y="1422129"/>
                    <a:pt x="754521" y="1407687"/>
                    <a:pt x="741219" y="1385898"/>
                  </a:cubicBezTo>
                  <a:cubicBezTo>
                    <a:pt x="728044" y="1364108"/>
                    <a:pt x="739953" y="1348273"/>
                    <a:pt x="720063" y="1282272"/>
                  </a:cubicBezTo>
                  <a:cubicBezTo>
                    <a:pt x="700301" y="1216270"/>
                    <a:pt x="637593" y="1230078"/>
                    <a:pt x="601235" y="1231472"/>
                  </a:cubicBezTo>
                  <a:cubicBezTo>
                    <a:pt x="564877" y="1232739"/>
                    <a:pt x="576785" y="1242747"/>
                    <a:pt x="554363" y="1226151"/>
                  </a:cubicBezTo>
                  <a:cubicBezTo>
                    <a:pt x="531940" y="1209682"/>
                    <a:pt x="352431" y="1231472"/>
                    <a:pt x="326714" y="1231472"/>
                  </a:cubicBezTo>
                  <a:cubicBezTo>
                    <a:pt x="300998" y="1231472"/>
                    <a:pt x="232969" y="1258582"/>
                    <a:pt x="213207" y="1261116"/>
                  </a:cubicBezTo>
                  <a:cubicBezTo>
                    <a:pt x="197498" y="1263142"/>
                    <a:pt x="171528" y="1245914"/>
                    <a:pt x="161393" y="1238566"/>
                  </a:cubicBezTo>
                  <a:cubicBezTo>
                    <a:pt x="161013" y="1236413"/>
                    <a:pt x="160000" y="1234006"/>
                    <a:pt x="158353" y="1231219"/>
                  </a:cubicBezTo>
                  <a:cubicBezTo>
                    <a:pt x="149992" y="1217917"/>
                    <a:pt x="138591" y="1184726"/>
                    <a:pt x="148472" y="1149128"/>
                  </a:cubicBezTo>
                  <a:cubicBezTo>
                    <a:pt x="158353" y="1113530"/>
                    <a:pt x="160887" y="1064504"/>
                    <a:pt x="142011" y="1048669"/>
                  </a:cubicBezTo>
                  <a:cubicBezTo>
                    <a:pt x="123135" y="1032834"/>
                    <a:pt x="78163" y="1022952"/>
                    <a:pt x="90071" y="995209"/>
                  </a:cubicBezTo>
                  <a:cubicBezTo>
                    <a:pt x="101980" y="967465"/>
                    <a:pt x="130610" y="921986"/>
                    <a:pt x="124149" y="894243"/>
                  </a:cubicBezTo>
                  <a:cubicBezTo>
                    <a:pt x="117688" y="866499"/>
                    <a:pt x="107807" y="858645"/>
                    <a:pt x="111861" y="842303"/>
                  </a:cubicBezTo>
                  <a:cubicBezTo>
                    <a:pt x="115788" y="825961"/>
                    <a:pt x="124149" y="821021"/>
                    <a:pt x="118321" y="807592"/>
                  </a:cubicBezTo>
                  <a:cubicBezTo>
                    <a:pt x="112367" y="794291"/>
                    <a:pt x="98052" y="787323"/>
                    <a:pt x="111861" y="775922"/>
                  </a:cubicBezTo>
                  <a:cubicBezTo>
                    <a:pt x="125669" y="764520"/>
                    <a:pt x="158353" y="752105"/>
                    <a:pt x="154933" y="726389"/>
                  </a:cubicBezTo>
                  <a:cubicBezTo>
                    <a:pt x="151512" y="700672"/>
                    <a:pt x="144545" y="686357"/>
                    <a:pt x="143531" y="662541"/>
                  </a:cubicBezTo>
                  <a:cubicBezTo>
                    <a:pt x="142518" y="638725"/>
                    <a:pt x="143025" y="631884"/>
                    <a:pt x="125669" y="608067"/>
                  </a:cubicBezTo>
                  <a:cubicBezTo>
                    <a:pt x="108314" y="584251"/>
                    <a:pt x="90071" y="571963"/>
                    <a:pt x="83104" y="556634"/>
                  </a:cubicBezTo>
                  <a:cubicBezTo>
                    <a:pt x="76263" y="541306"/>
                    <a:pt x="44592" y="530411"/>
                    <a:pt x="34078" y="514069"/>
                  </a:cubicBezTo>
                  <a:cubicBezTo>
                    <a:pt x="25210" y="500134"/>
                    <a:pt x="11021" y="453768"/>
                    <a:pt x="0" y="443760"/>
                  </a:cubicBezTo>
                  <a:cubicBezTo>
                    <a:pt x="5954" y="442493"/>
                    <a:pt x="19762" y="438186"/>
                    <a:pt x="35345" y="423998"/>
                  </a:cubicBezTo>
                  <a:cubicBezTo>
                    <a:pt x="56120" y="404995"/>
                    <a:pt x="63341" y="394861"/>
                    <a:pt x="64355" y="374972"/>
                  </a:cubicBezTo>
                  <a:cubicBezTo>
                    <a:pt x="65368" y="355209"/>
                    <a:pt x="61694" y="346215"/>
                    <a:pt x="69295" y="338614"/>
                  </a:cubicBezTo>
                  <a:cubicBezTo>
                    <a:pt x="77023" y="330886"/>
                    <a:pt x="84624" y="322272"/>
                    <a:pt x="90832" y="309730"/>
                  </a:cubicBezTo>
                  <a:cubicBezTo>
                    <a:pt x="97039" y="297062"/>
                    <a:pt x="113127" y="273752"/>
                    <a:pt x="120728" y="262984"/>
                  </a:cubicBezTo>
                  <a:cubicBezTo>
                    <a:pt x="128456" y="252090"/>
                    <a:pt x="154679" y="240181"/>
                    <a:pt x="165067" y="228907"/>
                  </a:cubicBezTo>
                  <a:cubicBezTo>
                    <a:pt x="175455" y="217505"/>
                    <a:pt x="227142" y="168226"/>
                    <a:pt x="233096" y="138075"/>
                  </a:cubicBezTo>
                  <a:cubicBezTo>
                    <a:pt x="239050" y="107925"/>
                    <a:pt x="230309" y="85882"/>
                    <a:pt x="246018" y="81195"/>
                  </a:cubicBezTo>
                  <a:cubicBezTo>
                    <a:pt x="261599" y="76508"/>
                    <a:pt x="288583" y="75494"/>
                    <a:pt x="289343" y="61179"/>
                  </a:cubicBezTo>
                  <a:cubicBezTo>
                    <a:pt x="290103" y="46864"/>
                    <a:pt x="290990" y="38883"/>
                    <a:pt x="302898" y="29508"/>
                  </a:cubicBezTo>
                  <a:cubicBezTo>
                    <a:pt x="314806" y="20134"/>
                    <a:pt x="353698" y="1385"/>
                    <a:pt x="350657" y="25581"/>
                  </a:cubicBezTo>
                  <a:cubicBezTo>
                    <a:pt x="347744" y="49904"/>
                    <a:pt x="350911" y="86515"/>
                    <a:pt x="367506" y="80055"/>
                  </a:cubicBezTo>
                  <a:cubicBezTo>
                    <a:pt x="384101" y="73594"/>
                    <a:pt x="403611" y="68400"/>
                    <a:pt x="417672" y="57885"/>
                  </a:cubicBezTo>
                  <a:cubicBezTo>
                    <a:pt x="431861" y="47244"/>
                    <a:pt x="484307" y="2145"/>
                    <a:pt x="501030" y="245"/>
                  </a:cubicBezTo>
                  <a:cubicBezTo>
                    <a:pt x="507110" y="-515"/>
                    <a:pt x="519145" y="625"/>
                    <a:pt x="532573" y="1892"/>
                  </a:cubicBezTo>
                  <a:cubicBezTo>
                    <a:pt x="534727" y="16713"/>
                    <a:pt x="543088" y="75114"/>
                    <a:pt x="542455" y="95510"/>
                  </a:cubicBezTo>
                  <a:cubicBezTo>
                    <a:pt x="541821" y="118946"/>
                    <a:pt x="515724" y="141622"/>
                    <a:pt x="504197" y="157838"/>
                  </a:cubicBezTo>
                  <a:cubicBezTo>
                    <a:pt x="492668" y="174053"/>
                    <a:pt x="485447" y="180261"/>
                    <a:pt x="464925" y="194702"/>
                  </a:cubicBezTo>
                  <a:cubicBezTo>
                    <a:pt x="444529" y="209271"/>
                    <a:pt x="476453" y="216492"/>
                    <a:pt x="489628" y="222066"/>
                  </a:cubicBezTo>
                  <a:cubicBezTo>
                    <a:pt x="502803" y="227640"/>
                    <a:pt x="507110" y="240561"/>
                    <a:pt x="512811" y="259944"/>
                  </a:cubicBezTo>
                  <a:cubicBezTo>
                    <a:pt x="518385" y="279453"/>
                    <a:pt x="527633" y="270585"/>
                    <a:pt x="547522" y="281480"/>
                  </a:cubicBezTo>
                  <a:cubicBezTo>
                    <a:pt x="567284" y="292375"/>
                    <a:pt x="593381" y="277173"/>
                    <a:pt x="632019" y="281480"/>
                  </a:cubicBezTo>
                  <a:cubicBezTo>
                    <a:pt x="670657" y="285787"/>
                    <a:pt x="730071" y="346468"/>
                    <a:pt x="728298" y="362303"/>
                  </a:cubicBezTo>
                  <a:cubicBezTo>
                    <a:pt x="726651" y="378139"/>
                    <a:pt x="694347" y="372184"/>
                    <a:pt x="690673" y="386753"/>
                  </a:cubicBezTo>
                  <a:cubicBezTo>
                    <a:pt x="686999" y="401321"/>
                    <a:pt x="718796" y="423998"/>
                    <a:pt x="728298" y="429065"/>
                  </a:cubicBezTo>
                  <a:cubicBezTo>
                    <a:pt x="737926" y="434006"/>
                    <a:pt x="738179" y="439580"/>
                    <a:pt x="741473" y="449841"/>
                  </a:cubicBezTo>
                  <a:cubicBezTo>
                    <a:pt x="744767" y="460102"/>
                    <a:pt x="761615" y="469983"/>
                    <a:pt x="773523" y="478598"/>
                  </a:cubicBezTo>
                  <a:cubicBezTo>
                    <a:pt x="785432" y="487212"/>
                    <a:pt x="795946" y="455541"/>
                    <a:pt x="801520" y="448574"/>
                  </a:cubicBezTo>
                  <a:cubicBezTo>
                    <a:pt x="807094" y="441607"/>
                    <a:pt x="819002" y="447181"/>
                    <a:pt x="832811" y="456808"/>
                  </a:cubicBezTo>
                  <a:cubicBezTo>
                    <a:pt x="846619" y="466310"/>
                    <a:pt x="848646" y="418804"/>
                    <a:pt x="861821" y="413230"/>
                  </a:cubicBezTo>
                  <a:cubicBezTo>
                    <a:pt x="874996" y="407655"/>
                    <a:pt x="884244" y="448827"/>
                    <a:pt x="883610" y="465676"/>
                  </a:cubicBezTo>
                  <a:cubicBezTo>
                    <a:pt x="882977" y="482525"/>
                    <a:pt x="923135" y="508875"/>
                    <a:pt x="932510" y="521163"/>
                  </a:cubicBezTo>
                  <a:cubicBezTo>
                    <a:pt x="941758" y="533325"/>
                    <a:pt x="919588" y="587165"/>
                    <a:pt x="919968" y="609587"/>
                  </a:cubicBezTo>
                  <a:cubicBezTo>
                    <a:pt x="920348" y="632010"/>
                    <a:pt x="949359" y="664061"/>
                    <a:pt x="962280" y="676223"/>
                  </a:cubicBezTo>
                  <a:cubicBezTo>
                    <a:pt x="975202" y="688384"/>
                    <a:pt x="963547" y="708273"/>
                    <a:pt x="969248" y="727656"/>
                  </a:cubicBezTo>
                  <a:cubicBezTo>
                    <a:pt x="974822" y="747165"/>
                    <a:pt x="1007886" y="736904"/>
                    <a:pt x="1036896" y="739564"/>
                  </a:cubicBezTo>
                  <a:cubicBezTo>
                    <a:pt x="1065907" y="742224"/>
                    <a:pt x="1083389" y="771868"/>
                    <a:pt x="1098591" y="787450"/>
                  </a:cubicBezTo>
                  <a:cubicBezTo>
                    <a:pt x="1113793" y="802905"/>
                    <a:pt x="1141536" y="815826"/>
                    <a:pt x="1166619" y="834956"/>
                  </a:cubicBezTo>
                  <a:cubicBezTo>
                    <a:pt x="1191702" y="854085"/>
                    <a:pt x="1176500" y="827735"/>
                    <a:pt x="1221093" y="834956"/>
                  </a:cubicBezTo>
                  <a:cubicBezTo>
                    <a:pt x="1265685" y="842303"/>
                    <a:pt x="1260745" y="894623"/>
                    <a:pt x="1259984" y="910205"/>
                  </a:cubicBezTo>
                  <a:cubicBezTo>
                    <a:pt x="1259351" y="925660"/>
                    <a:pt x="1279113" y="920720"/>
                    <a:pt x="1312178" y="918819"/>
                  </a:cubicBezTo>
                  <a:cubicBezTo>
                    <a:pt x="1345115" y="916792"/>
                    <a:pt x="1345115" y="971266"/>
                    <a:pt x="1351449" y="997363"/>
                  </a:cubicBezTo>
                  <a:cubicBezTo>
                    <a:pt x="1357657" y="1023459"/>
                    <a:pt x="1373238" y="1021432"/>
                    <a:pt x="1403896" y="1021432"/>
                  </a:cubicBezTo>
                  <a:cubicBezTo>
                    <a:pt x="1434553" y="1021432"/>
                    <a:pt x="1460650" y="1040561"/>
                    <a:pt x="1481425" y="1050823"/>
                  </a:cubicBezTo>
                  <a:cubicBezTo>
                    <a:pt x="1502201" y="1061084"/>
                    <a:pt x="1575170" y="1016872"/>
                    <a:pt x="1585305" y="1009904"/>
                  </a:cubicBezTo>
                  <a:cubicBezTo>
                    <a:pt x="1595566" y="1002937"/>
                    <a:pt x="1622550" y="1003570"/>
                    <a:pt x="1634458" y="1005344"/>
                  </a:cubicBezTo>
                  <a:cubicBezTo>
                    <a:pt x="1646366" y="1006990"/>
                    <a:pt x="1647379" y="1040688"/>
                    <a:pt x="1665495" y="1067671"/>
                  </a:cubicBezTo>
                  <a:cubicBezTo>
                    <a:pt x="1683610" y="1094655"/>
                    <a:pt x="1686017" y="1076539"/>
                    <a:pt x="1705147" y="1078566"/>
                  </a:cubicBezTo>
                  <a:cubicBezTo>
                    <a:pt x="1724276" y="1080466"/>
                    <a:pt x="1753286" y="1142288"/>
                    <a:pt x="1754680" y="1158756"/>
                  </a:cubicBezTo>
                  <a:cubicBezTo>
                    <a:pt x="1755946" y="1175225"/>
                    <a:pt x="1791291" y="1148115"/>
                    <a:pt x="1813080" y="1144188"/>
                  </a:cubicBezTo>
                  <a:cubicBezTo>
                    <a:pt x="1834869" y="1140261"/>
                    <a:pt x="1842470" y="1183839"/>
                    <a:pt x="1843104" y="1204869"/>
                  </a:cubicBezTo>
                  <a:cubicBezTo>
                    <a:pt x="1843611" y="1220957"/>
                    <a:pt x="1849945" y="1233372"/>
                    <a:pt x="1852985" y="1238440"/>
                  </a:cubicBezTo>
                  <a:cubicBezTo>
                    <a:pt x="1852985" y="1238566"/>
                    <a:pt x="1852985" y="1238566"/>
                    <a:pt x="1852858" y="1238693"/>
                  </a:cubicBezTo>
                  <a:cubicBezTo>
                    <a:pt x="1846398" y="1257188"/>
                    <a:pt x="1842597" y="1279738"/>
                    <a:pt x="1841457" y="1289999"/>
                  </a:cubicBezTo>
                  <a:cubicBezTo>
                    <a:pt x="1839430" y="1307228"/>
                    <a:pt x="1870467" y="1329017"/>
                    <a:pt x="1900111" y="1337505"/>
                  </a:cubicBezTo>
                  <a:cubicBezTo>
                    <a:pt x="1929881" y="1345613"/>
                    <a:pt x="1924687" y="1379184"/>
                    <a:pt x="1917973" y="140426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13" name="Полилиния: фигура 712">
              <a:extLst>
                <a:ext uri="{FF2B5EF4-FFF2-40B4-BE49-F238E27FC236}">
                  <a16:creationId xmlns:a16="http://schemas.microsoft.com/office/drawing/2014/main" id="{B619FB60-F02C-421D-A638-E96030B76049}"/>
                </a:ext>
              </a:extLst>
            </p:cNvPr>
            <p:cNvSpPr/>
            <p:nvPr/>
          </p:nvSpPr>
          <p:spPr>
            <a:xfrm>
              <a:off x="6314203" y="5886477"/>
              <a:ext cx="457299" cy="682672"/>
            </a:xfrm>
            <a:custGeom>
              <a:avLst/>
              <a:gdLst>
                <a:gd name="connsiteX0" fmla="*/ 408920 w 457299"/>
                <a:gd name="connsiteY0" fmla="*/ 428187 h 682672"/>
                <a:gd name="connsiteX1" fmla="*/ 388524 w 457299"/>
                <a:gd name="connsiteY1" fmla="*/ 469485 h 682672"/>
                <a:gd name="connsiteX2" fmla="*/ 331771 w 457299"/>
                <a:gd name="connsiteY2" fmla="*/ 508124 h 682672"/>
                <a:gd name="connsiteX3" fmla="*/ 275651 w 457299"/>
                <a:gd name="connsiteY3" fmla="*/ 573238 h 682672"/>
                <a:gd name="connsiteX4" fmla="*/ 275651 w 457299"/>
                <a:gd name="connsiteY4" fmla="*/ 573238 h 682672"/>
                <a:gd name="connsiteX5" fmla="*/ 274004 w 457299"/>
                <a:gd name="connsiteY5" fmla="*/ 571972 h 682672"/>
                <a:gd name="connsiteX6" fmla="*/ 272230 w 457299"/>
                <a:gd name="connsiteY6" fmla="*/ 570705 h 682672"/>
                <a:gd name="connsiteX7" fmla="*/ 270457 w 457299"/>
                <a:gd name="connsiteY7" fmla="*/ 569565 h 682672"/>
                <a:gd name="connsiteX8" fmla="*/ 267036 w 457299"/>
                <a:gd name="connsiteY8" fmla="*/ 567664 h 682672"/>
                <a:gd name="connsiteX9" fmla="*/ 265643 w 457299"/>
                <a:gd name="connsiteY9" fmla="*/ 566904 h 682672"/>
                <a:gd name="connsiteX10" fmla="*/ 255508 w 457299"/>
                <a:gd name="connsiteY10" fmla="*/ 563104 h 682672"/>
                <a:gd name="connsiteX11" fmla="*/ 254114 w 457299"/>
                <a:gd name="connsiteY11" fmla="*/ 562851 h 682672"/>
                <a:gd name="connsiteX12" fmla="*/ 250820 w 457299"/>
                <a:gd name="connsiteY12" fmla="*/ 562217 h 682672"/>
                <a:gd name="connsiteX13" fmla="*/ 249174 w 457299"/>
                <a:gd name="connsiteY13" fmla="*/ 561964 h 682672"/>
                <a:gd name="connsiteX14" fmla="*/ 247907 w 457299"/>
                <a:gd name="connsiteY14" fmla="*/ 561837 h 682672"/>
                <a:gd name="connsiteX15" fmla="*/ 223964 w 457299"/>
                <a:gd name="connsiteY15" fmla="*/ 570325 h 682672"/>
                <a:gd name="connsiteX16" fmla="*/ 207115 w 457299"/>
                <a:gd name="connsiteY16" fmla="*/ 604783 h 682672"/>
                <a:gd name="connsiteX17" fmla="*/ 198881 w 457299"/>
                <a:gd name="connsiteY17" fmla="*/ 625812 h 682672"/>
                <a:gd name="connsiteX18" fmla="*/ 178105 w 457299"/>
                <a:gd name="connsiteY18" fmla="*/ 645828 h 682672"/>
                <a:gd name="connsiteX19" fmla="*/ 138706 w 457299"/>
                <a:gd name="connsiteY19" fmla="*/ 639620 h 682672"/>
                <a:gd name="connsiteX20" fmla="*/ 93861 w 457299"/>
                <a:gd name="connsiteY20" fmla="*/ 633032 h 682672"/>
                <a:gd name="connsiteX21" fmla="*/ 87653 w 457299"/>
                <a:gd name="connsiteY21" fmla="*/ 637973 h 682672"/>
                <a:gd name="connsiteX22" fmla="*/ 85627 w 457299"/>
                <a:gd name="connsiteY22" fmla="*/ 640760 h 682672"/>
                <a:gd name="connsiteX23" fmla="*/ 85120 w 457299"/>
                <a:gd name="connsiteY23" fmla="*/ 641647 h 682672"/>
                <a:gd name="connsiteX24" fmla="*/ 83980 w 457299"/>
                <a:gd name="connsiteY24" fmla="*/ 643927 h 682672"/>
                <a:gd name="connsiteX25" fmla="*/ 40274 w 457299"/>
                <a:gd name="connsiteY25" fmla="*/ 681679 h 682672"/>
                <a:gd name="connsiteX26" fmla="*/ 12531 w 457299"/>
                <a:gd name="connsiteY26" fmla="*/ 632906 h 682672"/>
                <a:gd name="connsiteX27" fmla="*/ 496 w 457299"/>
                <a:gd name="connsiteY27" fmla="*/ 580079 h 682672"/>
                <a:gd name="connsiteX28" fmla="*/ 34700 w 457299"/>
                <a:gd name="connsiteY28" fmla="*/ 548662 h 682672"/>
                <a:gd name="connsiteX29" fmla="*/ 42174 w 457299"/>
                <a:gd name="connsiteY29" fmla="*/ 543975 h 682672"/>
                <a:gd name="connsiteX30" fmla="*/ 42174 w 457299"/>
                <a:gd name="connsiteY30" fmla="*/ 543975 h 682672"/>
                <a:gd name="connsiteX31" fmla="*/ 146434 w 457299"/>
                <a:gd name="connsiteY31" fmla="*/ 470499 h 682672"/>
                <a:gd name="connsiteX32" fmla="*/ 129966 w 457299"/>
                <a:gd name="connsiteY32" fmla="*/ 416406 h 682672"/>
                <a:gd name="connsiteX33" fmla="*/ 142887 w 457299"/>
                <a:gd name="connsiteY33" fmla="*/ 366239 h 682672"/>
                <a:gd name="connsiteX34" fmla="*/ 124138 w 457299"/>
                <a:gd name="connsiteY34" fmla="*/ 300238 h 682672"/>
                <a:gd name="connsiteX35" fmla="*/ 167337 w 457299"/>
                <a:gd name="connsiteY35" fmla="*/ 277435 h 682672"/>
                <a:gd name="connsiteX36" fmla="*/ 176585 w 457299"/>
                <a:gd name="connsiteY36" fmla="*/ 252985 h 682672"/>
                <a:gd name="connsiteX37" fmla="*/ 199641 w 457299"/>
                <a:gd name="connsiteY37" fmla="*/ 208773 h 682672"/>
                <a:gd name="connsiteX38" fmla="*/ 156822 w 457299"/>
                <a:gd name="connsiteY38" fmla="*/ 203832 h 682672"/>
                <a:gd name="connsiteX39" fmla="*/ 144534 w 457299"/>
                <a:gd name="connsiteY39" fmla="*/ 158607 h 682672"/>
                <a:gd name="connsiteX40" fmla="*/ 165943 w 457299"/>
                <a:gd name="connsiteY40" fmla="*/ 122629 h 682672"/>
                <a:gd name="connsiteX41" fmla="*/ 163283 w 457299"/>
                <a:gd name="connsiteY41" fmla="*/ 58654 h 682672"/>
                <a:gd name="connsiteX42" fmla="*/ 182539 w 457299"/>
                <a:gd name="connsiteY42" fmla="*/ 0 h 682672"/>
                <a:gd name="connsiteX43" fmla="*/ 251074 w 457299"/>
                <a:gd name="connsiteY43" fmla="*/ 82724 h 682672"/>
                <a:gd name="connsiteX44" fmla="*/ 310488 w 457299"/>
                <a:gd name="connsiteY44" fmla="*/ 38892 h 682672"/>
                <a:gd name="connsiteX45" fmla="*/ 381430 w 457299"/>
                <a:gd name="connsiteY45" fmla="*/ 88425 h 682672"/>
                <a:gd name="connsiteX46" fmla="*/ 417028 w 457299"/>
                <a:gd name="connsiteY46" fmla="*/ 149486 h 682672"/>
                <a:gd name="connsiteX47" fmla="*/ 439831 w 457299"/>
                <a:gd name="connsiteY47" fmla="*/ 220681 h 682672"/>
                <a:gd name="connsiteX48" fmla="*/ 429570 w 457299"/>
                <a:gd name="connsiteY48" fmla="*/ 311386 h 682672"/>
                <a:gd name="connsiteX49" fmla="*/ 452752 w 457299"/>
                <a:gd name="connsiteY49" fmla="*/ 381314 h 682672"/>
                <a:gd name="connsiteX50" fmla="*/ 408920 w 457299"/>
                <a:gd name="connsiteY50" fmla="*/ 428187 h 68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57299" h="682672">
                  <a:moveTo>
                    <a:pt x="408920" y="428187"/>
                  </a:moveTo>
                  <a:cubicBezTo>
                    <a:pt x="384471" y="436421"/>
                    <a:pt x="391438" y="447316"/>
                    <a:pt x="388524" y="469485"/>
                  </a:cubicBezTo>
                  <a:cubicBezTo>
                    <a:pt x="385484" y="491655"/>
                    <a:pt x="351533" y="495202"/>
                    <a:pt x="331771" y="508124"/>
                  </a:cubicBezTo>
                  <a:cubicBezTo>
                    <a:pt x="312008" y="521045"/>
                    <a:pt x="275651" y="573238"/>
                    <a:pt x="275651" y="573238"/>
                  </a:cubicBezTo>
                  <a:lnTo>
                    <a:pt x="275651" y="573238"/>
                  </a:lnTo>
                  <a:cubicBezTo>
                    <a:pt x="275144" y="572858"/>
                    <a:pt x="274510" y="572352"/>
                    <a:pt x="274004" y="571972"/>
                  </a:cubicBezTo>
                  <a:cubicBezTo>
                    <a:pt x="273497" y="571592"/>
                    <a:pt x="272864" y="571212"/>
                    <a:pt x="272230" y="570705"/>
                  </a:cubicBezTo>
                  <a:cubicBezTo>
                    <a:pt x="271597" y="570325"/>
                    <a:pt x="271090" y="569945"/>
                    <a:pt x="270457" y="569565"/>
                  </a:cubicBezTo>
                  <a:cubicBezTo>
                    <a:pt x="269316" y="568805"/>
                    <a:pt x="268176" y="568298"/>
                    <a:pt x="267036" y="567664"/>
                  </a:cubicBezTo>
                  <a:cubicBezTo>
                    <a:pt x="266529" y="567411"/>
                    <a:pt x="266149" y="567158"/>
                    <a:pt x="265643" y="566904"/>
                  </a:cubicBezTo>
                  <a:cubicBezTo>
                    <a:pt x="262349" y="565384"/>
                    <a:pt x="258928" y="564117"/>
                    <a:pt x="255508" y="563104"/>
                  </a:cubicBezTo>
                  <a:cubicBezTo>
                    <a:pt x="255001" y="562977"/>
                    <a:pt x="254621" y="562851"/>
                    <a:pt x="254114" y="562851"/>
                  </a:cubicBezTo>
                  <a:cubicBezTo>
                    <a:pt x="252974" y="562597"/>
                    <a:pt x="251961" y="562344"/>
                    <a:pt x="250820" y="562217"/>
                  </a:cubicBezTo>
                  <a:cubicBezTo>
                    <a:pt x="250314" y="562091"/>
                    <a:pt x="249680" y="561964"/>
                    <a:pt x="249174" y="561964"/>
                  </a:cubicBezTo>
                  <a:cubicBezTo>
                    <a:pt x="248794" y="561837"/>
                    <a:pt x="248287" y="561837"/>
                    <a:pt x="247907" y="561837"/>
                  </a:cubicBezTo>
                  <a:cubicBezTo>
                    <a:pt x="238659" y="560950"/>
                    <a:pt x="229791" y="563231"/>
                    <a:pt x="223964" y="570325"/>
                  </a:cubicBezTo>
                  <a:cubicBezTo>
                    <a:pt x="216490" y="579319"/>
                    <a:pt x="210789" y="593634"/>
                    <a:pt x="207115" y="604783"/>
                  </a:cubicBezTo>
                  <a:cubicBezTo>
                    <a:pt x="204708" y="612003"/>
                    <a:pt x="202174" y="619098"/>
                    <a:pt x="198881" y="625812"/>
                  </a:cubicBezTo>
                  <a:cubicBezTo>
                    <a:pt x="194447" y="634933"/>
                    <a:pt x="187606" y="641774"/>
                    <a:pt x="178105" y="645828"/>
                  </a:cubicBezTo>
                  <a:cubicBezTo>
                    <a:pt x="164930" y="651528"/>
                    <a:pt x="150615" y="645954"/>
                    <a:pt x="138706" y="639620"/>
                  </a:cubicBezTo>
                  <a:cubicBezTo>
                    <a:pt x="123758" y="631639"/>
                    <a:pt x="110330" y="623531"/>
                    <a:pt x="93861" y="633032"/>
                  </a:cubicBezTo>
                  <a:cubicBezTo>
                    <a:pt x="91327" y="634553"/>
                    <a:pt x="89300" y="636200"/>
                    <a:pt x="87653" y="637973"/>
                  </a:cubicBezTo>
                  <a:cubicBezTo>
                    <a:pt x="86893" y="638860"/>
                    <a:pt x="86133" y="639747"/>
                    <a:pt x="85627" y="640760"/>
                  </a:cubicBezTo>
                  <a:cubicBezTo>
                    <a:pt x="85373" y="641014"/>
                    <a:pt x="85247" y="641267"/>
                    <a:pt x="85120" y="641647"/>
                  </a:cubicBezTo>
                  <a:cubicBezTo>
                    <a:pt x="84740" y="642407"/>
                    <a:pt x="84360" y="643167"/>
                    <a:pt x="83980" y="643927"/>
                  </a:cubicBezTo>
                  <a:cubicBezTo>
                    <a:pt x="65738" y="611243"/>
                    <a:pt x="55349" y="674078"/>
                    <a:pt x="40274" y="681679"/>
                  </a:cubicBezTo>
                  <a:cubicBezTo>
                    <a:pt x="25073" y="689280"/>
                    <a:pt x="21145" y="651402"/>
                    <a:pt x="12531" y="632906"/>
                  </a:cubicBezTo>
                  <a:cubicBezTo>
                    <a:pt x="3916" y="614410"/>
                    <a:pt x="4550" y="597562"/>
                    <a:pt x="496" y="580079"/>
                  </a:cubicBezTo>
                  <a:cubicBezTo>
                    <a:pt x="-3685" y="562597"/>
                    <a:pt x="19498" y="556263"/>
                    <a:pt x="34700" y="548662"/>
                  </a:cubicBezTo>
                  <a:cubicBezTo>
                    <a:pt x="37614" y="547142"/>
                    <a:pt x="40147" y="545622"/>
                    <a:pt x="42174" y="543975"/>
                  </a:cubicBezTo>
                  <a:lnTo>
                    <a:pt x="42174" y="543975"/>
                  </a:lnTo>
                  <a:cubicBezTo>
                    <a:pt x="86387" y="549169"/>
                    <a:pt x="134273" y="487601"/>
                    <a:pt x="146434" y="470499"/>
                  </a:cubicBezTo>
                  <a:cubicBezTo>
                    <a:pt x="158722" y="453397"/>
                    <a:pt x="149728" y="430847"/>
                    <a:pt x="129966" y="416406"/>
                  </a:cubicBezTo>
                  <a:cubicBezTo>
                    <a:pt x="110203" y="401837"/>
                    <a:pt x="128952" y="382708"/>
                    <a:pt x="142887" y="366239"/>
                  </a:cubicBezTo>
                  <a:cubicBezTo>
                    <a:pt x="156695" y="349771"/>
                    <a:pt x="127052" y="319113"/>
                    <a:pt x="124138" y="300238"/>
                  </a:cubicBezTo>
                  <a:cubicBezTo>
                    <a:pt x="121225" y="281489"/>
                    <a:pt x="156189" y="278195"/>
                    <a:pt x="167337" y="277435"/>
                  </a:cubicBezTo>
                  <a:cubicBezTo>
                    <a:pt x="178612" y="276801"/>
                    <a:pt x="177852" y="266540"/>
                    <a:pt x="176585" y="252985"/>
                  </a:cubicBezTo>
                  <a:cubicBezTo>
                    <a:pt x="175191" y="239430"/>
                    <a:pt x="173291" y="241457"/>
                    <a:pt x="199641" y="208773"/>
                  </a:cubicBezTo>
                  <a:cubicBezTo>
                    <a:pt x="225991" y="176089"/>
                    <a:pt x="175571" y="198258"/>
                    <a:pt x="156822" y="203832"/>
                  </a:cubicBezTo>
                  <a:cubicBezTo>
                    <a:pt x="138073" y="209406"/>
                    <a:pt x="142634" y="177102"/>
                    <a:pt x="144534" y="158607"/>
                  </a:cubicBezTo>
                  <a:cubicBezTo>
                    <a:pt x="146561" y="140111"/>
                    <a:pt x="149221" y="135804"/>
                    <a:pt x="165943" y="122629"/>
                  </a:cubicBezTo>
                  <a:cubicBezTo>
                    <a:pt x="182792" y="109454"/>
                    <a:pt x="186086" y="93239"/>
                    <a:pt x="163283" y="58654"/>
                  </a:cubicBezTo>
                  <a:cubicBezTo>
                    <a:pt x="148334" y="35978"/>
                    <a:pt x="164550" y="15962"/>
                    <a:pt x="182539" y="0"/>
                  </a:cubicBezTo>
                  <a:cubicBezTo>
                    <a:pt x="186973" y="33698"/>
                    <a:pt x="221050" y="71196"/>
                    <a:pt x="251074" y="82724"/>
                  </a:cubicBezTo>
                  <a:cubicBezTo>
                    <a:pt x="281098" y="94252"/>
                    <a:pt x="300860" y="39525"/>
                    <a:pt x="310488" y="38892"/>
                  </a:cubicBezTo>
                  <a:cubicBezTo>
                    <a:pt x="320116" y="38258"/>
                    <a:pt x="356727" y="79177"/>
                    <a:pt x="381430" y="88425"/>
                  </a:cubicBezTo>
                  <a:cubicBezTo>
                    <a:pt x="406133" y="97672"/>
                    <a:pt x="418042" y="135550"/>
                    <a:pt x="417028" y="149486"/>
                  </a:cubicBezTo>
                  <a:cubicBezTo>
                    <a:pt x="416015" y="163294"/>
                    <a:pt x="425896" y="189390"/>
                    <a:pt x="439831" y="220681"/>
                  </a:cubicBezTo>
                  <a:cubicBezTo>
                    <a:pt x="453639" y="251972"/>
                    <a:pt x="438184" y="294537"/>
                    <a:pt x="429570" y="311386"/>
                  </a:cubicBezTo>
                  <a:cubicBezTo>
                    <a:pt x="421082" y="328234"/>
                    <a:pt x="434890" y="352938"/>
                    <a:pt x="452752" y="381314"/>
                  </a:cubicBezTo>
                  <a:cubicBezTo>
                    <a:pt x="470235" y="409692"/>
                    <a:pt x="433370" y="419953"/>
                    <a:pt x="408920" y="42818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14" name="Полилиния: фигура 713">
              <a:extLst>
                <a:ext uri="{FF2B5EF4-FFF2-40B4-BE49-F238E27FC236}">
                  <a16:creationId xmlns:a16="http://schemas.microsoft.com/office/drawing/2014/main" id="{7CB04B0C-5855-4B26-8C47-FB47198CBD34}"/>
                </a:ext>
              </a:extLst>
            </p:cNvPr>
            <p:cNvSpPr/>
            <p:nvPr/>
          </p:nvSpPr>
          <p:spPr>
            <a:xfrm>
              <a:off x="6288719" y="3573497"/>
              <a:ext cx="1588861" cy="2977120"/>
            </a:xfrm>
            <a:custGeom>
              <a:avLst/>
              <a:gdLst>
                <a:gd name="connsiteX0" fmla="*/ 1581260 w 1588861"/>
                <a:gd name="connsiteY0" fmla="*/ 1744682 h 2977120"/>
                <a:gd name="connsiteX1" fmla="*/ 1578600 w 1588861"/>
                <a:gd name="connsiteY1" fmla="*/ 1800423 h 2977120"/>
                <a:gd name="connsiteX2" fmla="*/ 1550224 w 1588861"/>
                <a:gd name="connsiteY2" fmla="*/ 1833360 h 2977120"/>
                <a:gd name="connsiteX3" fmla="*/ 1501071 w 1588861"/>
                <a:gd name="connsiteY3" fmla="*/ 1852489 h 2977120"/>
                <a:gd name="connsiteX4" fmla="*/ 1495497 w 1588861"/>
                <a:gd name="connsiteY4" fmla="*/ 1900628 h 2977120"/>
                <a:gd name="connsiteX5" fmla="*/ 1462179 w 1588861"/>
                <a:gd name="connsiteY5" fmla="*/ 1904302 h 2977120"/>
                <a:gd name="connsiteX6" fmla="*/ 1436082 w 1588861"/>
                <a:gd name="connsiteY6" fmla="*/ 1931286 h 2977120"/>
                <a:gd name="connsiteX7" fmla="*/ 1449638 w 1588861"/>
                <a:gd name="connsiteY7" fmla="*/ 2026298 h 2977120"/>
                <a:gd name="connsiteX8" fmla="*/ 1428228 w 1588861"/>
                <a:gd name="connsiteY8" fmla="*/ 2037825 h 2977120"/>
                <a:gd name="connsiteX9" fmla="*/ 1377048 w 1588861"/>
                <a:gd name="connsiteY9" fmla="*/ 1955355 h 2977120"/>
                <a:gd name="connsiteX10" fmla="*/ 1324855 w 1588861"/>
                <a:gd name="connsiteY10" fmla="*/ 1931286 h 2977120"/>
                <a:gd name="connsiteX11" fmla="*/ 1305092 w 1588861"/>
                <a:gd name="connsiteY11" fmla="*/ 1971571 h 2977120"/>
                <a:gd name="connsiteX12" fmla="*/ 1266201 w 1588861"/>
                <a:gd name="connsiteY12" fmla="*/ 2002861 h 2977120"/>
                <a:gd name="connsiteX13" fmla="*/ 1229590 w 1588861"/>
                <a:gd name="connsiteY13" fmla="*/ 1982719 h 2977120"/>
                <a:gd name="connsiteX14" fmla="*/ 1167262 w 1588861"/>
                <a:gd name="connsiteY14" fmla="*/ 1977398 h 2977120"/>
                <a:gd name="connsiteX15" fmla="*/ 1143445 w 1588861"/>
                <a:gd name="connsiteY15" fmla="*/ 2022244 h 2977120"/>
                <a:gd name="connsiteX16" fmla="*/ 1096193 w 1588861"/>
                <a:gd name="connsiteY16" fmla="*/ 2094833 h 2977120"/>
                <a:gd name="connsiteX17" fmla="*/ 1107468 w 1588861"/>
                <a:gd name="connsiteY17" fmla="*/ 2111682 h 2977120"/>
                <a:gd name="connsiteX18" fmla="*/ 1112409 w 1588861"/>
                <a:gd name="connsiteY18" fmla="*/ 2133091 h 2977120"/>
                <a:gd name="connsiteX19" fmla="*/ 1131537 w 1588861"/>
                <a:gd name="connsiteY19" fmla="*/ 2157794 h 2977120"/>
                <a:gd name="connsiteX20" fmla="*/ 1142433 w 1588861"/>
                <a:gd name="connsiteY20" fmla="*/ 2201753 h 2977120"/>
                <a:gd name="connsiteX21" fmla="*/ 1130524 w 1588861"/>
                <a:gd name="connsiteY21" fmla="*/ 2232410 h 2977120"/>
                <a:gd name="connsiteX22" fmla="*/ 1100501 w 1588861"/>
                <a:gd name="connsiteY22" fmla="*/ 2264081 h 2977120"/>
                <a:gd name="connsiteX23" fmla="*/ 1056289 w 1588861"/>
                <a:gd name="connsiteY23" fmla="*/ 2325395 h 2977120"/>
                <a:gd name="connsiteX24" fmla="*/ 1045393 w 1588861"/>
                <a:gd name="connsiteY24" fmla="*/ 2382149 h 2977120"/>
                <a:gd name="connsiteX25" fmla="*/ 1019930 w 1588861"/>
                <a:gd name="connsiteY25" fmla="*/ 2410779 h 2977120"/>
                <a:gd name="connsiteX26" fmla="*/ 1008783 w 1588861"/>
                <a:gd name="connsiteY26" fmla="*/ 2503510 h 2977120"/>
                <a:gd name="connsiteX27" fmla="*/ 955955 w 1588861"/>
                <a:gd name="connsiteY27" fmla="*/ 2529861 h 2977120"/>
                <a:gd name="connsiteX28" fmla="*/ 904776 w 1588861"/>
                <a:gd name="connsiteY28" fmla="*/ 2562545 h 2977120"/>
                <a:gd name="connsiteX29" fmla="*/ 936700 w 1588861"/>
                <a:gd name="connsiteY29" fmla="*/ 2623226 h 2977120"/>
                <a:gd name="connsiteX30" fmla="*/ 966724 w 1588861"/>
                <a:gd name="connsiteY30" fmla="*/ 2676306 h 2977120"/>
                <a:gd name="connsiteX31" fmla="*/ 996240 w 1588861"/>
                <a:gd name="connsiteY31" fmla="*/ 2705189 h 2977120"/>
                <a:gd name="connsiteX32" fmla="*/ 992821 w 1588861"/>
                <a:gd name="connsiteY32" fmla="*/ 2714184 h 2977120"/>
                <a:gd name="connsiteX33" fmla="*/ 992313 w 1588861"/>
                <a:gd name="connsiteY33" fmla="*/ 2715324 h 2977120"/>
                <a:gd name="connsiteX34" fmla="*/ 991553 w 1588861"/>
                <a:gd name="connsiteY34" fmla="*/ 2716717 h 2977120"/>
                <a:gd name="connsiteX35" fmla="*/ 990920 w 1588861"/>
                <a:gd name="connsiteY35" fmla="*/ 2717857 h 2977120"/>
                <a:gd name="connsiteX36" fmla="*/ 985979 w 1588861"/>
                <a:gd name="connsiteY36" fmla="*/ 2723685 h 2977120"/>
                <a:gd name="connsiteX37" fmla="*/ 984839 w 1588861"/>
                <a:gd name="connsiteY37" fmla="*/ 2724572 h 2977120"/>
                <a:gd name="connsiteX38" fmla="*/ 983319 w 1588861"/>
                <a:gd name="connsiteY38" fmla="*/ 2725585 h 2977120"/>
                <a:gd name="connsiteX39" fmla="*/ 981799 w 1588861"/>
                <a:gd name="connsiteY39" fmla="*/ 2726472 h 2977120"/>
                <a:gd name="connsiteX40" fmla="*/ 940120 w 1588861"/>
                <a:gd name="connsiteY40" fmla="*/ 2724318 h 2977120"/>
                <a:gd name="connsiteX41" fmla="*/ 895021 w 1588861"/>
                <a:gd name="connsiteY41" fmla="*/ 2718364 h 2977120"/>
                <a:gd name="connsiteX42" fmla="*/ 873865 w 1588861"/>
                <a:gd name="connsiteY42" fmla="*/ 2714310 h 2977120"/>
                <a:gd name="connsiteX43" fmla="*/ 844475 w 1588861"/>
                <a:gd name="connsiteY43" fmla="*/ 2716844 h 2977120"/>
                <a:gd name="connsiteX44" fmla="*/ 818505 w 1588861"/>
                <a:gd name="connsiteY44" fmla="*/ 2709496 h 2977120"/>
                <a:gd name="connsiteX45" fmla="*/ 802163 w 1588861"/>
                <a:gd name="connsiteY45" fmla="*/ 2708736 h 2977120"/>
                <a:gd name="connsiteX46" fmla="*/ 774926 w 1588861"/>
                <a:gd name="connsiteY46" fmla="*/ 2744207 h 2977120"/>
                <a:gd name="connsiteX47" fmla="*/ 781894 w 1588861"/>
                <a:gd name="connsiteY47" fmla="*/ 2774865 h 2977120"/>
                <a:gd name="connsiteX48" fmla="*/ 775813 w 1588861"/>
                <a:gd name="connsiteY48" fmla="*/ 2805268 h 2977120"/>
                <a:gd name="connsiteX49" fmla="*/ 770492 w 1588861"/>
                <a:gd name="connsiteY49" fmla="*/ 2814389 h 2977120"/>
                <a:gd name="connsiteX50" fmla="*/ 756811 w 1588861"/>
                <a:gd name="connsiteY50" fmla="*/ 2819837 h 2977120"/>
                <a:gd name="connsiteX51" fmla="*/ 745030 w 1588861"/>
                <a:gd name="connsiteY51" fmla="*/ 2827565 h 2977120"/>
                <a:gd name="connsiteX52" fmla="*/ 731601 w 1588861"/>
                <a:gd name="connsiteY52" fmla="*/ 2834405 h 2977120"/>
                <a:gd name="connsiteX53" fmla="*/ 706011 w 1588861"/>
                <a:gd name="connsiteY53" fmla="*/ 2844540 h 2977120"/>
                <a:gd name="connsiteX54" fmla="*/ 686755 w 1588861"/>
                <a:gd name="connsiteY54" fmla="*/ 2862275 h 2977120"/>
                <a:gd name="connsiteX55" fmla="*/ 655338 w 1588861"/>
                <a:gd name="connsiteY55" fmla="*/ 2883811 h 2977120"/>
                <a:gd name="connsiteX56" fmla="*/ 624048 w 1588861"/>
                <a:gd name="connsiteY56" fmla="*/ 2903067 h 2977120"/>
                <a:gd name="connsiteX57" fmla="*/ 588070 w 1588861"/>
                <a:gd name="connsiteY57" fmla="*/ 2928784 h 2977120"/>
                <a:gd name="connsiteX58" fmla="*/ 570841 w 1588861"/>
                <a:gd name="connsiteY58" fmla="*/ 2942212 h 2977120"/>
                <a:gd name="connsiteX59" fmla="*/ 547911 w 1588861"/>
                <a:gd name="connsiteY59" fmla="*/ 2952727 h 2977120"/>
                <a:gd name="connsiteX60" fmla="*/ 524855 w 1588861"/>
                <a:gd name="connsiteY60" fmla="*/ 2964508 h 2977120"/>
                <a:gd name="connsiteX61" fmla="*/ 503952 w 1588861"/>
                <a:gd name="connsiteY61" fmla="*/ 2974389 h 2977120"/>
                <a:gd name="connsiteX62" fmla="*/ 470762 w 1588861"/>
                <a:gd name="connsiteY62" fmla="*/ 2975910 h 2977120"/>
                <a:gd name="connsiteX63" fmla="*/ 437951 w 1588861"/>
                <a:gd name="connsiteY63" fmla="*/ 2962988 h 2977120"/>
                <a:gd name="connsiteX64" fmla="*/ 420849 w 1588861"/>
                <a:gd name="connsiteY64" fmla="*/ 2955767 h 2977120"/>
                <a:gd name="connsiteX65" fmla="*/ 399439 w 1588861"/>
                <a:gd name="connsiteY65" fmla="*/ 2932204 h 2977120"/>
                <a:gd name="connsiteX66" fmla="*/ 371823 w 1588861"/>
                <a:gd name="connsiteY66" fmla="*/ 2934231 h 2977120"/>
                <a:gd name="connsiteX67" fmla="*/ 342052 w 1588861"/>
                <a:gd name="connsiteY67" fmla="*/ 2948039 h 2977120"/>
                <a:gd name="connsiteX68" fmla="*/ 312408 w 1588861"/>
                <a:gd name="connsiteY68" fmla="*/ 2899647 h 2977120"/>
                <a:gd name="connsiteX69" fmla="*/ 307721 w 1588861"/>
                <a:gd name="connsiteY69" fmla="*/ 2892172 h 2977120"/>
                <a:gd name="connsiteX70" fmla="*/ 306201 w 1588861"/>
                <a:gd name="connsiteY70" fmla="*/ 2890526 h 2977120"/>
                <a:gd name="connsiteX71" fmla="*/ 304554 w 1588861"/>
                <a:gd name="connsiteY71" fmla="*/ 2888752 h 2977120"/>
                <a:gd name="connsiteX72" fmla="*/ 303287 w 1588861"/>
                <a:gd name="connsiteY72" fmla="*/ 2887612 h 2977120"/>
                <a:gd name="connsiteX73" fmla="*/ 302781 w 1588861"/>
                <a:gd name="connsiteY73" fmla="*/ 2887105 h 2977120"/>
                <a:gd name="connsiteX74" fmla="*/ 300880 w 1588861"/>
                <a:gd name="connsiteY74" fmla="*/ 2885585 h 2977120"/>
                <a:gd name="connsiteX75" fmla="*/ 357001 w 1588861"/>
                <a:gd name="connsiteY75" fmla="*/ 2820470 h 2977120"/>
                <a:gd name="connsiteX76" fmla="*/ 413755 w 1588861"/>
                <a:gd name="connsiteY76" fmla="*/ 2781832 h 2977120"/>
                <a:gd name="connsiteX77" fmla="*/ 434151 w 1588861"/>
                <a:gd name="connsiteY77" fmla="*/ 2740533 h 2977120"/>
                <a:gd name="connsiteX78" fmla="*/ 477729 w 1588861"/>
                <a:gd name="connsiteY78" fmla="*/ 2693661 h 2977120"/>
                <a:gd name="connsiteX79" fmla="*/ 454546 w 1588861"/>
                <a:gd name="connsiteY79" fmla="*/ 2623732 h 2977120"/>
                <a:gd name="connsiteX80" fmla="*/ 464808 w 1588861"/>
                <a:gd name="connsiteY80" fmla="*/ 2533028 h 2977120"/>
                <a:gd name="connsiteX81" fmla="*/ 442005 w 1588861"/>
                <a:gd name="connsiteY81" fmla="*/ 2461832 h 2977120"/>
                <a:gd name="connsiteX82" fmla="*/ 406407 w 1588861"/>
                <a:gd name="connsiteY82" fmla="*/ 2400771 h 2977120"/>
                <a:gd name="connsiteX83" fmla="*/ 335465 w 1588861"/>
                <a:gd name="connsiteY83" fmla="*/ 2351238 h 2977120"/>
                <a:gd name="connsiteX84" fmla="*/ 276051 w 1588861"/>
                <a:gd name="connsiteY84" fmla="*/ 2395070 h 2977120"/>
                <a:gd name="connsiteX85" fmla="*/ 207515 w 1588861"/>
                <a:gd name="connsiteY85" fmla="*/ 2312347 h 2977120"/>
                <a:gd name="connsiteX86" fmla="*/ 233105 w 1588861"/>
                <a:gd name="connsiteY86" fmla="*/ 2290557 h 2977120"/>
                <a:gd name="connsiteX87" fmla="*/ 269717 w 1588861"/>
                <a:gd name="connsiteY87" fmla="*/ 2263827 h 2977120"/>
                <a:gd name="connsiteX88" fmla="*/ 305694 w 1588861"/>
                <a:gd name="connsiteY88" fmla="*/ 2230510 h 2977120"/>
                <a:gd name="connsiteX89" fmla="*/ 290112 w 1588861"/>
                <a:gd name="connsiteY89" fmla="*/ 2195165 h 2977120"/>
                <a:gd name="connsiteX90" fmla="*/ 264396 w 1588861"/>
                <a:gd name="connsiteY90" fmla="*/ 2159568 h 2977120"/>
                <a:gd name="connsiteX91" fmla="*/ 222464 w 1588861"/>
                <a:gd name="connsiteY91" fmla="*/ 2132964 h 2977120"/>
                <a:gd name="connsiteX92" fmla="*/ 231839 w 1588861"/>
                <a:gd name="connsiteY92" fmla="*/ 2085205 h 2977120"/>
                <a:gd name="connsiteX93" fmla="*/ 230572 w 1588861"/>
                <a:gd name="connsiteY93" fmla="*/ 2059235 h 2977120"/>
                <a:gd name="connsiteX94" fmla="*/ 248814 w 1588861"/>
                <a:gd name="connsiteY94" fmla="*/ 2036685 h 2977120"/>
                <a:gd name="connsiteX95" fmla="*/ 248180 w 1588861"/>
                <a:gd name="connsiteY95" fmla="*/ 1993107 h 2977120"/>
                <a:gd name="connsiteX96" fmla="*/ 302907 w 1588861"/>
                <a:gd name="connsiteY96" fmla="*/ 1961436 h 2977120"/>
                <a:gd name="connsiteX97" fmla="*/ 316716 w 1588861"/>
                <a:gd name="connsiteY97" fmla="*/ 1935086 h 2977120"/>
                <a:gd name="connsiteX98" fmla="*/ 320643 w 1588861"/>
                <a:gd name="connsiteY98" fmla="*/ 1892141 h 2977120"/>
                <a:gd name="connsiteX99" fmla="*/ 223604 w 1588861"/>
                <a:gd name="connsiteY99" fmla="*/ 1781927 h 2977120"/>
                <a:gd name="connsiteX100" fmla="*/ 283652 w 1588861"/>
                <a:gd name="connsiteY100" fmla="*/ 1688942 h 2977120"/>
                <a:gd name="connsiteX101" fmla="*/ 320010 w 1588861"/>
                <a:gd name="connsiteY101" fmla="*/ 1688815 h 2977120"/>
                <a:gd name="connsiteX102" fmla="*/ 307468 w 1588861"/>
                <a:gd name="connsiteY102" fmla="*/ 1627501 h 2977120"/>
                <a:gd name="connsiteX103" fmla="*/ 231585 w 1588861"/>
                <a:gd name="connsiteY103" fmla="*/ 1607739 h 2977120"/>
                <a:gd name="connsiteX104" fmla="*/ 169637 w 1588861"/>
                <a:gd name="connsiteY104" fmla="*/ 1507406 h 2977120"/>
                <a:gd name="connsiteX105" fmla="*/ 7990 w 1588861"/>
                <a:gd name="connsiteY105" fmla="*/ 1443431 h 2977120"/>
                <a:gd name="connsiteX106" fmla="*/ 31807 w 1588861"/>
                <a:gd name="connsiteY106" fmla="*/ 1372109 h 2977120"/>
                <a:gd name="connsiteX107" fmla="*/ 9 w 1588861"/>
                <a:gd name="connsiteY107" fmla="*/ 1281658 h 2977120"/>
                <a:gd name="connsiteX108" fmla="*/ 4063 w 1588861"/>
                <a:gd name="connsiteY108" fmla="*/ 1275070 h 2977120"/>
                <a:gd name="connsiteX109" fmla="*/ 85267 w 1588861"/>
                <a:gd name="connsiteY109" fmla="*/ 1255308 h 2977120"/>
                <a:gd name="connsiteX110" fmla="*/ 137460 w 1588861"/>
                <a:gd name="connsiteY110" fmla="*/ 1240739 h 2977120"/>
                <a:gd name="connsiteX111" fmla="*/ 119598 w 1588861"/>
                <a:gd name="connsiteY111" fmla="*/ 1173344 h 2977120"/>
                <a:gd name="connsiteX112" fmla="*/ 60944 w 1588861"/>
                <a:gd name="connsiteY112" fmla="*/ 1125838 h 2977120"/>
                <a:gd name="connsiteX113" fmla="*/ 72345 w 1588861"/>
                <a:gd name="connsiteY113" fmla="*/ 1074532 h 2977120"/>
                <a:gd name="connsiteX114" fmla="*/ 72472 w 1588861"/>
                <a:gd name="connsiteY114" fmla="*/ 1074278 h 2977120"/>
                <a:gd name="connsiteX115" fmla="*/ 89321 w 1588861"/>
                <a:gd name="connsiteY115" fmla="*/ 1047295 h 2977120"/>
                <a:gd name="connsiteX116" fmla="*/ 138220 w 1588861"/>
                <a:gd name="connsiteY116" fmla="*/ 1010304 h 2977120"/>
                <a:gd name="connsiteX117" fmla="*/ 162036 w 1588861"/>
                <a:gd name="connsiteY117" fmla="*/ 971286 h 2977120"/>
                <a:gd name="connsiteX118" fmla="*/ 168624 w 1588861"/>
                <a:gd name="connsiteY118" fmla="*/ 946203 h 2977120"/>
                <a:gd name="connsiteX119" fmla="*/ 199027 w 1588861"/>
                <a:gd name="connsiteY119" fmla="*/ 883495 h 2977120"/>
                <a:gd name="connsiteX120" fmla="*/ 172678 w 1588861"/>
                <a:gd name="connsiteY120" fmla="*/ 833328 h 2977120"/>
                <a:gd name="connsiteX121" fmla="*/ 197127 w 1588861"/>
                <a:gd name="connsiteY121" fmla="*/ 796971 h 2977120"/>
                <a:gd name="connsiteX122" fmla="*/ 259835 w 1588861"/>
                <a:gd name="connsiteY122" fmla="*/ 765933 h 2977120"/>
                <a:gd name="connsiteX123" fmla="*/ 257175 w 1588861"/>
                <a:gd name="connsiteY123" fmla="*/ 715134 h 2977120"/>
                <a:gd name="connsiteX124" fmla="*/ 267056 w 1588861"/>
                <a:gd name="connsiteY124" fmla="*/ 641278 h 2977120"/>
                <a:gd name="connsiteX125" fmla="*/ 173311 w 1588861"/>
                <a:gd name="connsiteY125" fmla="*/ 609607 h 2977120"/>
                <a:gd name="connsiteX126" fmla="*/ 195734 w 1588861"/>
                <a:gd name="connsiteY126" fmla="*/ 511935 h 2977120"/>
                <a:gd name="connsiteX127" fmla="*/ 174578 w 1588861"/>
                <a:gd name="connsiteY127" fmla="*/ 449861 h 2977120"/>
                <a:gd name="connsiteX128" fmla="*/ 133660 w 1588861"/>
                <a:gd name="connsiteY128" fmla="*/ 396401 h 2977120"/>
                <a:gd name="connsiteX129" fmla="*/ 148861 w 1588861"/>
                <a:gd name="connsiteY129" fmla="*/ 336353 h 2977120"/>
                <a:gd name="connsiteX130" fmla="*/ 141640 w 1588861"/>
                <a:gd name="connsiteY130" fmla="*/ 288214 h 2977120"/>
                <a:gd name="connsiteX131" fmla="*/ 164697 w 1588861"/>
                <a:gd name="connsiteY131" fmla="*/ 236147 h 2977120"/>
                <a:gd name="connsiteX132" fmla="*/ 121751 w 1588861"/>
                <a:gd name="connsiteY132" fmla="*/ 160264 h 2977120"/>
                <a:gd name="connsiteX133" fmla="*/ 143541 w 1588861"/>
                <a:gd name="connsiteY133" fmla="*/ 108198 h 2977120"/>
                <a:gd name="connsiteX134" fmla="*/ 128339 w 1588861"/>
                <a:gd name="connsiteY134" fmla="*/ 35609 h 2977120"/>
                <a:gd name="connsiteX135" fmla="*/ 181166 w 1588861"/>
                <a:gd name="connsiteY135" fmla="*/ 42196 h 2977120"/>
                <a:gd name="connsiteX136" fmla="*/ 213723 w 1588861"/>
                <a:gd name="connsiteY136" fmla="*/ 11 h 2977120"/>
                <a:gd name="connsiteX137" fmla="*/ 216383 w 1588861"/>
                <a:gd name="connsiteY137" fmla="*/ 8752 h 2977120"/>
                <a:gd name="connsiteX138" fmla="*/ 223731 w 1588861"/>
                <a:gd name="connsiteY138" fmla="*/ 16860 h 2977120"/>
                <a:gd name="connsiteX139" fmla="*/ 229685 w 1588861"/>
                <a:gd name="connsiteY139" fmla="*/ 29655 h 2977120"/>
                <a:gd name="connsiteX140" fmla="*/ 228545 w 1588861"/>
                <a:gd name="connsiteY140" fmla="*/ 55751 h 2977120"/>
                <a:gd name="connsiteX141" fmla="*/ 223858 w 1588861"/>
                <a:gd name="connsiteY141" fmla="*/ 75894 h 2977120"/>
                <a:gd name="connsiteX142" fmla="*/ 235259 w 1588861"/>
                <a:gd name="connsiteY142" fmla="*/ 95656 h 2977120"/>
                <a:gd name="connsiteX143" fmla="*/ 255148 w 1588861"/>
                <a:gd name="connsiteY143" fmla="*/ 132394 h 2977120"/>
                <a:gd name="connsiteX144" fmla="*/ 277951 w 1588861"/>
                <a:gd name="connsiteY144" fmla="*/ 163811 h 2977120"/>
                <a:gd name="connsiteX145" fmla="*/ 293786 w 1588861"/>
                <a:gd name="connsiteY145" fmla="*/ 217778 h 2977120"/>
                <a:gd name="connsiteX146" fmla="*/ 318743 w 1588861"/>
                <a:gd name="connsiteY146" fmla="*/ 200169 h 2977120"/>
                <a:gd name="connsiteX147" fmla="*/ 338125 w 1588861"/>
                <a:gd name="connsiteY147" fmla="*/ 178507 h 2977120"/>
                <a:gd name="connsiteX148" fmla="*/ 360041 w 1588861"/>
                <a:gd name="connsiteY148" fmla="*/ 128974 h 2977120"/>
                <a:gd name="connsiteX149" fmla="*/ 388038 w 1588861"/>
                <a:gd name="connsiteY149" fmla="*/ 82355 h 2977120"/>
                <a:gd name="connsiteX150" fmla="*/ 414261 w 1588861"/>
                <a:gd name="connsiteY150" fmla="*/ 78934 h 2977120"/>
                <a:gd name="connsiteX151" fmla="*/ 444158 w 1588861"/>
                <a:gd name="connsiteY151" fmla="*/ 114785 h 2977120"/>
                <a:gd name="connsiteX152" fmla="*/ 468481 w 1588861"/>
                <a:gd name="connsiteY152" fmla="*/ 166978 h 2977120"/>
                <a:gd name="connsiteX153" fmla="*/ 471902 w 1588861"/>
                <a:gd name="connsiteY153" fmla="*/ 184587 h 2977120"/>
                <a:gd name="connsiteX154" fmla="*/ 444412 w 1588861"/>
                <a:gd name="connsiteY154" fmla="*/ 233107 h 2977120"/>
                <a:gd name="connsiteX155" fmla="*/ 442765 w 1588861"/>
                <a:gd name="connsiteY155" fmla="*/ 271365 h 2977120"/>
                <a:gd name="connsiteX156" fmla="*/ 483810 w 1588861"/>
                <a:gd name="connsiteY156" fmla="*/ 262877 h 2977120"/>
                <a:gd name="connsiteX157" fmla="*/ 516114 w 1588861"/>
                <a:gd name="connsiteY157" fmla="*/ 247675 h 2977120"/>
                <a:gd name="connsiteX158" fmla="*/ 544871 w 1588861"/>
                <a:gd name="connsiteY158" fmla="*/ 237414 h 2977120"/>
                <a:gd name="connsiteX159" fmla="*/ 614800 w 1588861"/>
                <a:gd name="connsiteY159" fmla="*/ 230573 h 2977120"/>
                <a:gd name="connsiteX160" fmla="*/ 658885 w 1588861"/>
                <a:gd name="connsiteY160" fmla="*/ 243875 h 2977120"/>
                <a:gd name="connsiteX161" fmla="*/ 696256 w 1588861"/>
                <a:gd name="connsiteY161" fmla="*/ 242608 h 2977120"/>
                <a:gd name="connsiteX162" fmla="*/ 739835 w 1588861"/>
                <a:gd name="connsiteY162" fmla="*/ 239694 h 2977120"/>
                <a:gd name="connsiteX163" fmla="*/ 773659 w 1588861"/>
                <a:gd name="connsiteY163" fmla="*/ 235640 h 2977120"/>
                <a:gd name="connsiteX164" fmla="*/ 780247 w 1588861"/>
                <a:gd name="connsiteY164" fmla="*/ 232473 h 2977120"/>
                <a:gd name="connsiteX165" fmla="*/ 702590 w 1588861"/>
                <a:gd name="connsiteY165" fmla="*/ 326852 h 2977120"/>
                <a:gd name="connsiteX166" fmla="*/ 563367 w 1588861"/>
                <a:gd name="connsiteY166" fmla="*/ 396527 h 2977120"/>
                <a:gd name="connsiteX167" fmla="*/ 520801 w 1588861"/>
                <a:gd name="connsiteY167" fmla="*/ 487992 h 2977120"/>
                <a:gd name="connsiteX168" fmla="*/ 508893 w 1588861"/>
                <a:gd name="connsiteY168" fmla="*/ 525997 h 2977120"/>
                <a:gd name="connsiteX169" fmla="*/ 505979 w 1588861"/>
                <a:gd name="connsiteY169" fmla="*/ 578063 h 2977120"/>
                <a:gd name="connsiteX170" fmla="*/ 533343 w 1588861"/>
                <a:gd name="connsiteY170" fmla="*/ 627596 h 2977120"/>
                <a:gd name="connsiteX171" fmla="*/ 516874 w 1588861"/>
                <a:gd name="connsiteY171" fmla="*/ 705506 h 2977120"/>
                <a:gd name="connsiteX172" fmla="*/ 576922 w 1588861"/>
                <a:gd name="connsiteY172" fmla="*/ 728942 h 2977120"/>
                <a:gd name="connsiteX173" fmla="*/ 639249 w 1588861"/>
                <a:gd name="connsiteY173" fmla="*/ 774168 h 2977120"/>
                <a:gd name="connsiteX174" fmla="*/ 744522 w 1588861"/>
                <a:gd name="connsiteY174" fmla="*/ 861579 h 2977120"/>
                <a:gd name="connsiteX175" fmla="*/ 713232 w 1588861"/>
                <a:gd name="connsiteY175" fmla="*/ 994215 h 2977120"/>
                <a:gd name="connsiteX176" fmla="*/ 689162 w 1588861"/>
                <a:gd name="connsiteY176" fmla="*/ 1077065 h 2977120"/>
                <a:gd name="connsiteX177" fmla="*/ 577048 w 1588861"/>
                <a:gd name="connsiteY177" fmla="*/ 1079346 h 2977120"/>
                <a:gd name="connsiteX178" fmla="*/ 524602 w 1588861"/>
                <a:gd name="connsiteY178" fmla="*/ 1143701 h 2977120"/>
                <a:gd name="connsiteX179" fmla="*/ 559946 w 1588861"/>
                <a:gd name="connsiteY179" fmla="*/ 1227818 h 2977120"/>
                <a:gd name="connsiteX180" fmla="*/ 545758 w 1588861"/>
                <a:gd name="connsiteY180" fmla="*/ 1322449 h 2977120"/>
                <a:gd name="connsiteX181" fmla="*/ 626201 w 1588861"/>
                <a:gd name="connsiteY181" fmla="*/ 1444571 h 2977120"/>
                <a:gd name="connsiteX182" fmla="*/ 742369 w 1588861"/>
                <a:gd name="connsiteY182" fmla="*/ 1380217 h 2977120"/>
                <a:gd name="connsiteX183" fmla="*/ 763525 w 1588861"/>
                <a:gd name="connsiteY183" fmla="*/ 1330684 h 2977120"/>
                <a:gd name="connsiteX184" fmla="*/ 806091 w 1588861"/>
                <a:gd name="connsiteY184" fmla="*/ 1345252 h 2977120"/>
                <a:gd name="connsiteX185" fmla="*/ 810018 w 1588861"/>
                <a:gd name="connsiteY185" fmla="*/ 1379583 h 2977120"/>
                <a:gd name="connsiteX186" fmla="*/ 865504 w 1588861"/>
                <a:gd name="connsiteY186" fmla="*/ 1387818 h 2977120"/>
                <a:gd name="connsiteX187" fmla="*/ 945948 w 1588861"/>
                <a:gd name="connsiteY187" fmla="*/ 1409861 h 2977120"/>
                <a:gd name="connsiteX188" fmla="*/ 951522 w 1588861"/>
                <a:gd name="connsiteY188" fmla="*/ 1481563 h 2977120"/>
                <a:gd name="connsiteX189" fmla="*/ 918584 w 1588861"/>
                <a:gd name="connsiteY189" fmla="*/ 1542624 h 2977120"/>
                <a:gd name="connsiteX190" fmla="*/ 928845 w 1588861"/>
                <a:gd name="connsiteY190" fmla="*/ 1583542 h 2977120"/>
                <a:gd name="connsiteX191" fmla="*/ 946962 w 1588861"/>
                <a:gd name="connsiteY191" fmla="*/ 1638649 h 2977120"/>
                <a:gd name="connsiteX192" fmla="*/ 1002449 w 1588861"/>
                <a:gd name="connsiteY192" fmla="*/ 1666013 h 2977120"/>
                <a:gd name="connsiteX193" fmla="*/ 1035765 w 1588861"/>
                <a:gd name="connsiteY193" fmla="*/ 1645237 h 2977120"/>
                <a:gd name="connsiteX194" fmla="*/ 1075037 w 1588861"/>
                <a:gd name="connsiteY194" fmla="*/ 1667279 h 2977120"/>
                <a:gd name="connsiteX195" fmla="*/ 1113296 w 1588861"/>
                <a:gd name="connsiteY195" fmla="*/ 1661705 h 2977120"/>
                <a:gd name="connsiteX196" fmla="*/ 1123557 w 1588861"/>
                <a:gd name="connsiteY196" fmla="*/ 1627121 h 2977120"/>
                <a:gd name="connsiteX197" fmla="*/ 1185251 w 1588861"/>
                <a:gd name="connsiteY197" fmla="*/ 1628134 h 2977120"/>
                <a:gd name="connsiteX198" fmla="*/ 1232757 w 1588861"/>
                <a:gd name="connsiteY198" fmla="*/ 1628768 h 2977120"/>
                <a:gd name="connsiteX199" fmla="*/ 1282543 w 1588861"/>
                <a:gd name="connsiteY199" fmla="*/ 1630161 h 2977120"/>
                <a:gd name="connsiteX200" fmla="*/ 1332456 w 1588861"/>
                <a:gd name="connsiteY200" fmla="*/ 1593550 h 2977120"/>
                <a:gd name="connsiteX201" fmla="*/ 1384269 w 1588861"/>
                <a:gd name="connsiteY201" fmla="*/ 1602798 h 2977120"/>
                <a:gd name="connsiteX202" fmla="*/ 1418980 w 1588861"/>
                <a:gd name="connsiteY202" fmla="*/ 1619647 h 2977120"/>
                <a:gd name="connsiteX203" fmla="*/ 1499803 w 1588861"/>
                <a:gd name="connsiteY203" fmla="*/ 1630541 h 2977120"/>
                <a:gd name="connsiteX204" fmla="*/ 1525520 w 1588861"/>
                <a:gd name="connsiteY204" fmla="*/ 1643716 h 2977120"/>
                <a:gd name="connsiteX205" fmla="*/ 1572646 w 1588861"/>
                <a:gd name="connsiteY205" fmla="*/ 1637129 h 2977120"/>
                <a:gd name="connsiteX206" fmla="*/ 1574926 w 1588861"/>
                <a:gd name="connsiteY206" fmla="*/ 1680961 h 2977120"/>
                <a:gd name="connsiteX207" fmla="*/ 1588862 w 1588861"/>
                <a:gd name="connsiteY207" fmla="*/ 1739362 h 2977120"/>
                <a:gd name="connsiteX208" fmla="*/ 1581260 w 1588861"/>
                <a:gd name="connsiteY208" fmla="*/ 1744682 h 29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588861" h="2977120">
                  <a:moveTo>
                    <a:pt x="1581260" y="1744682"/>
                  </a:moveTo>
                  <a:cubicBezTo>
                    <a:pt x="1571759" y="1752917"/>
                    <a:pt x="1575687" y="1779647"/>
                    <a:pt x="1578600" y="1800423"/>
                  </a:cubicBezTo>
                  <a:cubicBezTo>
                    <a:pt x="1581514" y="1821199"/>
                    <a:pt x="1566059" y="1821832"/>
                    <a:pt x="1550224" y="1833360"/>
                  </a:cubicBezTo>
                  <a:cubicBezTo>
                    <a:pt x="1534388" y="1844888"/>
                    <a:pt x="1516273" y="1844888"/>
                    <a:pt x="1501071" y="1852489"/>
                  </a:cubicBezTo>
                  <a:cubicBezTo>
                    <a:pt x="1485869" y="1860090"/>
                    <a:pt x="1489162" y="1881879"/>
                    <a:pt x="1495497" y="1900628"/>
                  </a:cubicBezTo>
                  <a:cubicBezTo>
                    <a:pt x="1501704" y="1919378"/>
                    <a:pt x="1476747" y="1908483"/>
                    <a:pt x="1462179" y="1904302"/>
                  </a:cubicBezTo>
                  <a:cubicBezTo>
                    <a:pt x="1447610" y="1899995"/>
                    <a:pt x="1445076" y="1919504"/>
                    <a:pt x="1436082" y="1931286"/>
                  </a:cubicBezTo>
                  <a:cubicBezTo>
                    <a:pt x="1427215" y="1943194"/>
                    <a:pt x="1448624" y="2011096"/>
                    <a:pt x="1449638" y="2026298"/>
                  </a:cubicBezTo>
                  <a:cubicBezTo>
                    <a:pt x="1450651" y="2041499"/>
                    <a:pt x="1442670" y="2040866"/>
                    <a:pt x="1428228" y="2037825"/>
                  </a:cubicBezTo>
                  <a:cubicBezTo>
                    <a:pt x="1413659" y="2034912"/>
                    <a:pt x="1385663" y="1977145"/>
                    <a:pt x="1377048" y="1955355"/>
                  </a:cubicBezTo>
                  <a:cubicBezTo>
                    <a:pt x="1368434" y="1933566"/>
                    <a:pt x="1341071" y="1931286"/>
                    <a:pt x="1324855" y="1931286"/>
                  </a:cubicBezTo>
                  <a:cubicBezTo>
                    <a:pt x="1308640" y="1931286"/>
                    <a:pt x="1310667" y="1957636"/>
                    <a:pt x="1305092" y="1971571"/>
                  </a:cubicBezTo>
                  <a:cubicBezTo>
                    <a:pt x="1299518" y="1985379"/>
                    <a:pt x="1284697" y="1999948"/>
                    <a:pt x="1266201" y="2002861"/>
                  </a:cubicBezTo>
                  <a:cubicBezTo>
                    <a:pt x="1247706" y="2005775"/>
                    <a:pt x="1235797" y="1991966"/>
                    <a:pt x="1229590" y="1982719"/>
                  </a:cubicBezTo>
                  <a:cubicBezTo>
                    <a:pt x="1223256" y="1973471"/>
                    <a:pt x="1181071" y="1975751"/>
                    <a:pt x="1167262" y="1977398"/>
                  </a:cubicBezTo>
                  <a:cubicBezTo>
                    <a:pt x="1153454" y="1979045"/>
                    <a:pt x="1148133" y="2004128"/>
                    <a:pt x="1143445" y="2022244"/>
                  </a:cubicBezTo>
                  <a:cubicBezTo>
                    <a:pt x="1138885" y="2040359"/>
                    <a:pt x="1106454" y="2081911"/>
                    <a:pt x="1096193" y="2094833"/>
                  </a:cubicBezTo>
                  <a:cubicBezTo>
                    <a:pt x="1085932" y="2107755"/>
                    <a:pt x="1096826" y="2108388"/>
                    <a:pt x="1107468" y="2111682"/>
                  </a:cubicBezTo>
                  <a:cubicBezTo>
                    <a:pt x="1117983" y="2114975"/>
                    <a:pt x="1117729" y="2128530"/>
                    <a:pt x="1112409" y="2133091"/>
                  </a:cubicBezTo>
                  <a:cubicBezTo>
                    <a:pt x="1107088" y="2137778"/>
                    <a:pt x="1116336" y="2154627"/>
                    <a:pt x="1131537" y="2157794"/>
                  </a:cubicBezTo>
                  <a:cubicBezTo>
                    <a:pt x="1146739" y="2161088"/>
                    <a:pt x="1143445" y="2190858"/>
                    <a:pt x="1142433" y="2201753"/>
                  </a:cubicBezTo>
                  <a:cubicBezTo>
                    <a:pt x="1141419" y="2212648"/>
                    <a:pt x="1140405" y="2227469"/>
                    <a:pt x="1130524" y="2232410"/>
                  </a:cubicBezTo>
                  <a:cubicBezTo>
                    <a:pt x="1120643" y="2237350"/>
                    <a:pt x="1110762" y="2254833"/>
                    <a:pt x="1100501" y="2264081"/>
                  </a:cubicBezTo>
                  <a:cubicBezTo>
                    <a:pt x="1090239" y="2273329"/>
                    <a:pt x="1066169" y="2305252"/>
                    <a:pt x="1056289" y="2325395"/>
                  </a:cubicBezTo>
                  <a:cubicBezTo>
                    <a:pt x="1046407" y="2345537"/>
                    <a:pt x="1044760" y="2364033"/>
                    <a:pt x="1045393" y="2382149"/>
                  </a:cubicBezTo>
                  <a:cubicBezTo>
                    <a:pt x="1046027" y="2400264"/>
                    <a:pt x="1030572" y="2403178"/>
                    <a:pt x="1019930" y="2410779"/>
                  </a:cubicBezTo>
                  <a:cubicBezTo>
                    <a:pt x="1009416" y="2418380"/>
                    <a:pt x="1016003" y="2469813"/>
                    <a:pt x="1008783" y="2503510"/>
                  </a:cubicBezTo>
                  <a:cubicBezTo>
                    <a:pt x="1001562" y="2537208"/>
                    <a:pt x="967230" y="2529481"/>
                    <a:pt x="955955" y="2529861"/>
                  </a:cubicBezTo>
                  <a:cubicBezTo>
                    <a:pt x="944681" y="2530241"/>
                    <a:pt x="908830" y="2533788"/>
                    <a:pt x="904776" y="2562545"/>
                  </a:cubicBezTo>
                  <a:cubicBezTo>
                    <a:pt x="900849" y="2591301"/>
                    <a:pt x="927199" y="2609797"/>
                    <a:pt x="936700" y="2623226"/>
                  </a:cubicBezTo>
                  <a:cubicBezTo>
                    <a:pt x="946327" y="2636780"/>
                    <a:pt x="958870" y="2658570"/>
                    <a:pt x="966724" y="2676306"/>
                  </a:cubicBezTo>
                  <a:cubicBezTo>
                    <a:pt x="974578" y="2694041"/>
                    <a:pt x="996240" y="2705189"/>
                    <a:pt x="996240" y="2705189"/>
                  </a:cubicBezTo>
                  <a:cubicBezTo>
                    <a:pt x="995228" y="2708229"/>
                    <a:pt x="994087" y="2711270"/>
                    <a:pt x="992821" y="2714184"/>
                  </a:cubicBezTo>
                  <a:cubicBezTo>
                    <a:pt x="992694" y="2714564"/>
                    <a:pt x="992567" y="2714944"/>
                    <a:pt x="992313" y="2715324"/>
                  </a:cubicBezTo>
                  <a:cubicBezTo>
                    <a:pt x="992060" y="2715830"/>
                    <a:pt x="991934" y="2716337"/>
                    <a:pt x="991553" y="2716717"/>
                  </a:cubicBezTo>
                  <a:cubicBezTo>
                    <a:pt x="991300" y="2717097"/>
                    <a:pt x="991174" y="2717477"/>
                    <a:pt x="990920" y="2717857"/>
                  </a:cubicBezTo>
                  <a:cubicBezTo>
                    <a:pt x="989653" y="2720011"/>
                    <a:pt x="988007" y="2722038"/>
                    <a:pt x="985979" y="2723685"/>
                  </a:cubicBezTo>
                  <a:cubicBezTo>
                    <a:pt x="985600" y="2724065"/>
                    <a:pt x="985219" y="2724318"/>
                    <a:pt x="984839" y="2724572"/>
                  </a:cubicBezTo>
                  <a:cubicBezTo>
                    <a:pt x="984332" y="2724952"/>
                    <a:pt x="983953" y="2725205"/>
                    <a:pt x="983319" y="2725585"/>
                  </a:cubicBezTo>
                  <a:cubicBezTo>
                    <a:pt x="982812" y="2725839"/>
                    <a:pt x="982306" y="2726092"/>
                    <a:pt x="981799" y="2726472"/>
                  </a:cubicBezTo>
                  <a:cubicBezTo>
                    <a:pt x="967484" y="2733059"/>
                    <a:pt x="954435" y="2717857"/>
                    <a:pt x="940120" y="2724318"/>
                  </a:cubicBezTo>
                  <a:cubicBezTo>
                    <a:pt x="924792" y="2731286"/>
                    <a:pt x="909843" y="2723432"/>
                    <a:pt x="895021" y="2718364"/>
                  </a:cubicBezTo>
                  <a:cubicBezTo>
                    <a:pt x="888054" y="2715957"/>
                    <a:pt x="881213" y="2714184"/>
                    <a:pt x="873865" y="2714310"/>
                  </a:cubicBezTo>
                  <a:cubicBezTo>
                    <a:pt x="863984" y="2714690"/>
                    <a:pt x="854357" y="2716971"/>
                    <a:pt x="844475" y="2716844"/>
                  </a:cubicBezTo>
                  <a:cubicBezTo>
                    <a:pt x="834847" y="2716717"/>
                    <a:pt x="826613" y="2714437"/>
                    <a:pt x="818505" y="2709496"/>
                  </a:cubicBezTo>
                  <a:cubicBezTo>
                    <a:pt x="812425" y="2705822"/>
                    <a:pt x="808624" y="2705062"/>
                    <a:pt x="802163" y="2708736"/>
                  </a:cubicBezTo>
                  <a:cubicBezTo>
                    <a:pt x="790129" y="2715830"/>
                    <a:pt x="773786" y="2728752"/>
                    <a:pt x="774926" y="2744207"/>
                  </a:cubicBezTo>
                  <a:cubicBezTo>
                    <a:pt x="775687" y="2755355"/>
                    <a:pt x="778473" y="2764477"/>
                    <a:pt x="781894" y="2774865"/>
                  </a:cubicBezTo>
                  <a:cubicBezTo>
                    <a:pt x="785821" y="2786773"/>
                    <a:pt x="782400" y="2795514"/>
                    <a:pt x="775813" y="2805268"/>
                  </a:cubicBezTo>
                  <a:cubicBezTo>
                    <a:pt x="773913" y="2808182"/>
                    <a:pt x="772899" y="2811856"/>
                    <a:pt x="770492" y="2814389"/>
                  </a:cubicBezTo>
                  <a:cubicBezTo>
                    <a:pt x="766945" y="2817937"/>
                    <a:pt x="761371" y="2818443"/>
                    <a:pt x="756811" y="2819837"/>
                  </a:cubicBezTo>
                  <a:cubicBezTo>
                    <a:pt x="751743" y="2821230"/>
                    <a:pt x="748957" y="2824271"/>
                    <a:pt x="745030" y="2827565"/>
                  </a:cubicBezTo>
                  <a:cubicBezTo>
                    <a:pt x="741228" y="2830732"/>
                    <a:pt x="736288" y="2832885"/>
                    <a:pt x="731601" y="2834405"/>
                  </a:cubicBezTo>
                  <a:cubicBezTo>
                    <a:pt x="722607" y="2837319"/>
                    <a:pt x="712979" y="2837066"/>
                    <a:pt x="706011" y="2844540"/>
                  </a:cubicBezTo>
                  <a:cubicBezTo>
                    <a:pt x="699931" y="2851127"/>
                    <a:pt x="693849" y="2856701"/>
                    <a:pt x="686755" y="2862275"/>
                  </a:cubicBezTo>
                  <a:cubicBezTo>
                    <a:pt x="676874" y="2870130"/>
                    <a:pt x="665726" y="2876591"/>
                    <a:pt x="655338" y="2883811"/>
                  </a:cubicBezTo>
                  <a:cubicBezTo>
                    <a:pt x="645203" y="2890906"/>
                    <a:pt x="633929" y="2895719"/>
                    <a:pt x="624048" y="2903067"/>
                  </a:cubicBezTo>
                  <a:cubicBezTo>
                    <a:pt x="612266" y="2911808"/>
                    <a:pt x="599724" y="2919916"/>
                    <a:pt x="588070" y="2928784"/>
                  </a:cubicBezTo>
                  <a:cubicBezTo>
                    <a:pt x="582242" y="2933218"/>
                    <a:pt x="577428" y="2938918"/>
                    <a:pt x="570841" y="2942212"/>
                  </a:cubicBezTo>
                  <a:cubicBezTo>
                    <a:pt x="563367" y="2946012"/>
                    <a:pt x="555385" y="2948926"/>
                    <a:pt x="547911" y="2952727"/>
                  </a:cubicBezTo>
                  <a:cubicBezTo>
                    <a:pt x="540184" y="2956527"/>
                    <a:pt x="532076" y="2959567"/>
                    <a:pt x="524855" y="2964508"/>
                  </a:cubicBezTo>
                  <a:cubicBezTo>
                    <a:pt x="517761" y="2969449"/>
                    <a:pt x="512567" y="2972869"/>
                    <a:pt x="503952" y="2974389"/>
                  </a:cubicBezTo>
                  <a:cubicBezTo>
                    <a:pt x="493184" y="2976290"/>
                    <a:pt x="481530" y="2978570"/>
                    <a:pt x="470762" y="2975910"/>
                  </a:cubicBezTo>
                  <a:cubicBezTo>
                    <a:pt x="459487" y="2973123"/>
                    <a:pt x="449479" y="2965902"/>
                    <a:pt x="437951" y="2962988"/>
                  </a:cubicBezTo>
                  <a:cubicBezTo>
                    <a:pt x="431870" y="2961468"/>
                    <a:pt x="426043" y="2959314"/>
                    <a:pt x="420849" y="2955767"/>
                  </a:cubicBezTo>
                  <a:cubicBezTo>
                    <a:pt x="411728" y="2949686"/>
                    <a:pt x="409067" y="2938032"/>
                    <a:pt x="399439" y="2932204"/>
                  </a:cubicBezTo>
                  <a:cubicBezTo>
                    <a:pt x="390572" y="2926884"/>
                    <a:pt x="380817" y="2931571"/>
                    <a:pt x="371823" y="2934231"/>
                  </a:cubicBezTo>
                  <a:cubicBezTo>
                    <a:pt x="361308" y="2937398"/>
                    <a:pt x="353327" y="2949306"/>
                    <a:pt x="342052" y="2948039"/>
                  </a:cubicBezTo>
                  <a:cubicBezTo>
                    <a:pt x="317983" y="2945379"/>
                    <a:pt x="319883" y="2916749"/>
                    <a:pt x="312408" y="2899647"/>
                  </a:cubicBezTo>
                  <a:cubicBezTo>
                    <a:pt x="311268" y="2897113"/>
                    <a:pt x="309621" y="2894579"/>
                    <a:pt x="307721" y="2892172"/>
                  </a:cubicBezTo>
                  <a:cubicBezTo>
                    <a:pt x="307214" y="2891539"/>
                    <a:pt x="306708" y="2891032"/>
                    <a:pt x="306201" y="2890526"/>
                  </a:cubicBezTo>
                  <a:cubicBezTo>
                    <a:pt x="305694" y="2889892"/>
                    <a:pt x="305061" y="2889385"/>
                    <a:pt x="304554" y="2888752"/>
                  </a:cubicBezTo>
                  <a:cubicBezTo>
                    <a:pt x="304174" y="2888372"/>
                    <a:pt x="303794" y="2887992"/>
                    <a:pt x="303287" y="2887612"/>
                  </a:cubicBezTo>
                  <a:cubicBezTo>
                    <a:pt x="303034" y="2887485"/>
                    <a:pt x="302907" y="2887232"/>
                    <a:pt x="302781" y="2887105"/>
                  </a:cubicBezTo>
                  <a:cubicBezTo>
                    <a:pt x="302147" y="2886598"/>
                    <a:pt x="301514" y="2886092"/>
                    <a:pt x="300880" y="2885585"/>
                  </a:cubicBezTo>
                  <a:cubicBezTo>
                    <a:pt x="300880" y="2885585"/>
                    <a:pt x="337238" y="2833392"/>
                    <a:pt x="357001" y="2820470"/>
                  </a:cubicBezTo>
                  <a:cubicBezTo>
                    <a:pt x="376763" y="2807675"/>
                    <a:pt x="410714" y="2804001"/>
                    <a:pt x="413755" y="2781832"/>
                  </a:cubicBezTo>
                  <a:cubicBezTo>
                    <a:pt x="416668" y="2759789"/>
                    <a:pt x="409827" y="2748894"/>
                    <a:pt x="434151" y="2740533"/>
                  </a:cubicBezTo>
                  <a:cubicBezTo>
                    <a:pt x="458600" y="2732299"/>
                    <a:pt x="495465" y="2722038"/>
                    <a:pt x="477729" y="2693661"/>
                  </a:cubicBezTo>
                  <a:cubicBezTo>
                    <a:pt x="459867" y="2665284"/>
                    <a:pt x="446058" y="2640581"/>
                    <a:pt x="454546" y="2623732"/>
                  </a:cubicBezTo>
                  <a:cubicBezTo>
                    <a:pt x="463161" y="2606883"/>
                    <a:pt x="478616" y="2564318"/>
                    <a:pt x="464808" y="2533028"/>
                  </a:cubicBezTo>
                  <a:cubicBezTo>
                    <a:pt x="450999" y="2501610"/>
                    <a:pt x="441118" y="2475641"/>
                    <a:pt x="442005" y="2461832"/>
                  </a:cubicBezTo>
                  <a:cubicBezTo>
                    <a:pt x="443018" y="2447897"/>
                    <a:pt x="431110" y="2410019"/>
                    <a:pt x="406407" y="2400771"/>
                  </a:cubicBezTo>
                  <a:cubicBezTo>
                    <a:pt x="381704" y="2391523"/>
                    <a:pt x="344966" y="2350605"/>
                    <a:pt x="335465" y="2351238"/>
                  </a:cubicBezTo>
                  <a:cubicBezTo>
                    <a:pt x="325837" y="2351872"/>
                    <a:pt x="306074" y="2406725"/>
                    <a:pt x="276051" y="2395070"/>
                  </a:cubicBezTo>
                  <a:cubicBezTo>
                    <a:pt x="246027" y="2383542"/>
                    <a:pt x="211949" y="2346044"/>
                    <a:pt x="207515" y="2312347"/>
                  </a:cubicBezTo>
                  <a:cubicBezTo>
                    <a:pt x="216890" y="2303986"/>
                    <a:pt x="226898" y="2296638"/>
                    <a:pt x="233105" y="2290557"/>
                  </a:cubicBezTo>
                  <a:cubicBezTo>
                    <a:pt x="251221" y="2272695"/>
                    <a:pt x="251601" y="2269148"/>
                    <a:pt x="269717" y="2263827"/>
                  </a:cubicBezTo>
                  <a:cubicBezTo>
                    <a:pt x="287832" y="2258507"/>
                    <a:pt x="296446" y="2244318"/>
                    <a:pt x="305694" y="2230510"/>
                  </a:cubicBezTo>
                  <a:cubicBezTo>
                    <a:pt x="314942" y="2216702"/>
                    <a:pt x="297460" y="2201499"/>
                    <a:pt x="290112" y="2195165"/>
                  </a:cubicBezTo>
                  <a:cubicBezTo>
                    <a:pt x="282892" y="2188958"/>
                    <a:pt x="273897" y="2173376"/>
                    <a:pt x="264396" y="2159568"/>
                  </a:cubicBezTo>
                  <a:cubicBezTo>
                    <a:pt x="254895" y="2145759"/>
                    <a:pt x="236652" y="2133724"/>
                    <a:pt x="222464" y="2132964"/>
                  </a:cubicBezTo>
                  <a:cubicBezTo>
                    <a:pt x="208402" y="2132204"/>
                    <a:pt x="223731" y="2104967"/>
                    <a:pt x="231839" y="2085205"/>
                  </a:cubicBezTo>
                  <a:cubicBezTo>
                    <a:pt x="239566" y="2066329"/>
                    <a:pt x="231332" y="2059742"/>
                    <a:pt x="230572" y="2059235"/>
                  </a:cubicBezTo>
                  <a:cubicBezTo>
                    <a:pt x="244507" y="2054294"/>
                    <a:pt x="262242" y="2046693"/>
                    <a:pt x="248814" y="2036685"/>
                  </a:cubicBezTo>
                  <a:cubicBezTo>
                    <a:pt x="230952" y="2023511"/>
                    <a:pt x="223731" y="2002355"/>
                    <a:pt x="248180" y="1993107"/>
                  </a:cubicBezTo>
                  <a:cubicBezTo>
                    <a:pt x="272630" y="1983859"/>
                    <a:pt x="299613" y="1981198"/>
                    <a:pt x="302907" y="1961436"/>
                  </a:cubicBezTo>
                  <a:cubicBezTo>
                    <a:pt x="306201" y="1941673"/>
                    <a:pt x="303541" y="1946994"/>
                    <a:pt x="316716" y="1935086"/>
                  </a:cubicBezTo>
                  <a:cubicBezTo>
                    <a:pt x="329891" y="1923178"/>
                    <a:pt x="347119" y="1903416"/>
                    <a:pt x="320643" y="1892141"/>
                  </a:cubicBezTo>
                  <a:cubicBezTo>
                    <a:pt x="294293" y="1880866"/>
                    <a:pt x="206502" y="1839314"/>
                    <a:pt x="223604" y="1781927"/>
                  </a:cubicBezTo>
                  <a:cubicBezTo>
                    <a:pt x="240833" y="1724540"/>
                    <a:pt x="263256" y="1686282"/>
                    <a:pt x="283652" y="1688942"/>
                  </a:cubicBezTo>
                  <a:cubicBezTo>
                    <a:pt x="304174" y="1691602"/>
                    <a:pt x="318616" y="1705157"/>
                    <a:pt x="320010" y="1688815"/>
                  </a:cubicBezTo>
                  <a:cubicBezTo>
                    <a:pt x="321276" y="1672473"/>
                    <a:pt x="320643" y="1621674"/>
                    <a:pt x="307468" y="1627501"/>
                  </a:cubicBezTo>
                  <a:cubicBezTo>
                    <a:pt x="294293" y="1633455"/>
                    <a:pt x="236146" y="1648024"/>
                    <a:pt x="231585" y="1607739"/>
                  </a:cubicBezTo>
                  <a:cubicBezTo>
                    <a:pt x="227025" y="1567454"/>
                    <a:pt x="250081" y="1517287"/>
                    <a:pt x="169637" y="1507406"/>
                  </a:cubicBezTo>
                  <a:cubicBezTo>
                    <a:pt x="89067" y="1497525"/>
                    <a:pt x="-13799" y="1488277"/>
                    <a:pt x="7990" y="1443431"/>
                  </a:cubicBezTo>
                  <a:cubicBezTo>
                    <a:pt x="29780" y="1398586"/>
                    <a:pt x="37634" y="1400613"/>
                    <a:pt x="31807" y="1372109"/>
                  </a:cubicBezTo>
                  <a:cubicBezTo>
                    <a:pt x="26866" y="1348800"/>
                    <a:pt x="389" y="1299647"/>
                    <a:pt x="9" y="1281658"/>
                  </a:cubicBezTo>
                  <a:cubicBezTo>
                    <a:pt x="-117" y="1277730"/>
                    <a:pt x="1023" y="1275324"/>
                    <a:pt x="4063" y="1275070"/>
                  </a:cubicBezTo>
                  <a:cubicBezTo>
                    <a:pt x="20532" y="1273803"/>
                    <a:pt x="56890" y="1250621"/>
                    <a:pt x="85267" y="1255308"/>
                  </a:cubicBezTo>
                  <a:cubicBezTo>
                    <a:pt x="113644" y="1259869"/>
                    <a:pt x="130746" y="1265823"/>
                    <a:pt x="137460" y="1240739"/>
                  </a:cubicBezTo>
                  <a:cubicBezTo>
                    <a:pt x="144047" y="1215656"/>
                    <a:pt x="149368" y="1181959"/>
                    <a:pt x="119598" y="1173344"/>
                  </a:cubicBezTo>
                  <a:cubicBezTo>
                    <a:pt x="89954" y="1164857"/>
                    <a:pt x="58917" y="1143067"/>
                    <a:pt x="60944" y="1125838"/>
                  </a:cubicBezTo>
                  <a:cubicBezTo>
                    <a:pt x="62084" y="1115577"/>
                    <a:pt x="65884" y="1093154"/>
                    <a:pt x="72345" y="1074532"/>
                  </a:cubicBezTo>
                  <a:cubicBezTo>
                    <a:pt x="72345" y="1074405"/>
                    <a:pt x="72345" y="1074405"/>
                    <a:pt x="72472" y="1074278"/>
                  </a:cubicBezTo>
                  <a:cubicBezTo>
                    <a:pt x="76779" y="1061864"/>
                    <a:pt x="82480" y="1051223"/>
                    <a:pt x="89321" y="1047295"/>
                  </a:cubicBezTo>
                  <a:cubicBezTo>
                    <a:pt x="106549" y="1037414"/>
                    <a:pt x="135560" y="1024239"/>
                    <a:pt x="138220" y="1010304"/>
                  </a:cubicBezTo>
                  <a:cubicBezTo>
                    <a:pt x="140880" y="996496"/>
                    <a:pt x="162036" y="979900"/>
                    <a:pt x="162036" y="971286"/>
                  </a:cubicBezTo>
                  <a:cubicBezTo>
                    <a:pt x="162036" y="962798"/>
                    <a:pt x="150128" y="956084"/>
                    <a:pt x="168624" y="946203"/>
                  </a:cubicBezTo>
                  <a:cubicBezTo>
                    <a:pt x="187120" y="936321"/>
                    <a:pt x="212836" y="898697"/>
                    <a:pt x="199027" y="883495"/>
                  </a:cubicBezTo>
                  <a:cubicBezTo>
                    <a:pt x="185219" y="868293"/>
                    <a:pt x="166090" y="849164"/>
                    <a:pt x="172678" y="833328"/>
                  </a:cubicBezTo>
                  <a:cubicBezTo>
                    <a:pt x="179265" y="817493"/>
                    <a:pt x="179899" y="802291"/>
                    <a:pt x="197127" y="796971"/>
                  </a:cubicBezTo>
                  <a:cubicBezTo>
                    <a:pt x="214230" y="791650"/>
                    <a:pt x="265789" y="783162"/>
                    <a:pt x="259835" y="765933"/>
                  </a:cubicBezTo>
                  <a:cubicBezTo>
                    <a:pt x="253881" y="748831"/>
                    <a:pt x="247927" y="725648"/>
                    <a:pt x="257175" y="715134"/>
                  </a:cubicBezTo>
                  <a:cubicBezTo>
                    <a:pt x="266423" y="704619"/>
                    <a:pt x="296066" y="645838"/>
                    <a:pt x="267056" y="641278"/>
                  </a:cubicBezTo>
                  <a:cubicBezTo>
                    <a:pt x="238046" y="636717"/>
                    <a:pt x="183192" y="647865"/>
                    <a:pt x="173311" y="609607"/>
                  </a:cubicBezTo>
                  <a:cubicBezTo>
                    <a:pt x="163430" y="571349"/>
                    <a:pt x="200421" y="533091"/>
                    <a:pt x="195734" y="511935"/>
                  </a:cubicBezTo>
                  <a:cubicBezTo>
                    <a:pt x="191047" y="490906"/>
                    <a:pt x="196367" y="461135"/>
                    <a:pt x="174578" y="449861"/>
                  </a:cubicBezTo>
                  <a:cubicBezTo>
                    <a:pt x="152788" y="438586"/>
                    <a:pt x="130999" y="419457"/>
                    <a:pt x="133660" y="396401"/>
                  </a:cubicBezTo>
                  <a:cubicBezTo>
                    <a:pt x="136320" y="373344"/>
                    <a:pt x="157349" y="356876"/>
                    <a:pt x="148861" y="336353"/>
                  </a:cubicBezTo>
                  <a:cubicBezTo>
                    <a:pt x="140247" y="315830"/>
                    <a:pt x="129099" y="302655"/>
                    <a:pt x="141640" y="288214"/>
                  </a:cubicBezTo>
                  <a:cubicBezTo>
                    <a:pt x="154182" y="273772"/>
                    <a:pt x="173945" y="251982"/>
                    <a:pt x="164697" y="236147"/>
                  </a:cubicBezTo>
                  <a:cubicBezTo>
                    <a:pt x="155449" y="220312"/>
                    <a:pt x="111237" y="183321"/>
                    <a:pt x="121751" y="160264"/>
                  </a:cubicBezTo>
                  <a:cubicBezTo>
                    <a:pt x="132266" y="137208"/>
                    <a:pt x="149495" y="123906"/>
                    <a:pt x="143541" y="108198"/>
                  </a:cubicBezTo>
                  <a:cubicBezTo>
                    <a:pt x="137587" y="92362"/>
                    <a:pt x="106549" y="32315"/>
                    <a:pt x="128339" y="35609"/>
                  </a:cubicBezTo>
                  <a:cubicBezTo>
                    <a:pt x="150128" y="38902"/>
                    <a:pt x="186993" y="58032"/>
                    <a:pt x="181166" y="42196"/>
                  </a:cubicBezTo>
                  <a:cubicBezTo>
                    <a:pt x="175212" y="26361"/>
                    <a:pt x="166344" y="-622"/>
                    <a:pt x="213723" y="11"/>
                  </a:cubicBezTo>
                  <a:cubicBezTo>
                    <a:pt x="213850" y="3051"/>
                    <a:pt x="214610" y="6092"/>
                    <a:pt x="216383" y="8752"/>
                  </a:cubicBezTo>
                  <a:cubicBezTo>
                    <a:pt x="218410" y="11919"/>
                    <a:pt x="221577" y="13693"/>
                    <a:pt x="223731" y="16860"/>
                  </a:cubicBezTo>
                  <a:cubicBezTo>
                    <a:pt x="226138" y="20533"/>
                    <a:pt x="228165" y="25474"/>
                    <a:pt x="229685" y="29655"/>
                  </a:cubicBezTo>
                  <a:cubicBezTo>
                    <a:pt x="232852" y="38522"/>
                    <a:pt x="232472" y="47137"/>
                    <a:pt x="228545" y="55751"/>
                  </a:cubicBezTo>
                  <a:cubicBezTo>
                    <a:pt x="225631" y="62212"/>
                    <a:pt x="222211" y="68546"/>
                    <a:pt x="223858" y="75894"/>
                  </a:cubicBezTo>
                  <a:cubicBezTo>
                    <a:pt x="225378" y="83368"/>
                    <a:pt x="231079" y="89575"/>
                    <a:pt x="235259" y="95656"/>
                  </a:cubicBezTo>
                  <a:cubicBezTo>
                    <a:pt x="243366" y="107311"/>
                    <a:pt x="248180" y="120233"/>
                    <a:pt x="255148" y="132394"/>
                  </a:cubicBezTo>
                  <a:cubicBezTo>
                    <a:pt x="261735" y="143796"/>
                    <a:pt x="274151" y="150763"/>
                    <a:pt x="277951" y="163811"/>
                  </a:cubicBezTo>
                  <a:cubicBezTo>
                    <a:pt x="281245" y="174833"/>
                    <a:pt x="276177" y="218538"/>
                    <a:pt x="293786" y="217778"/>
                  </a:cubicBezTo>
                  <a:cubicBezTo>
                    <a:pt x="303287" y="217398"/>
                    <a:pt x="312789" y="206377"/>
                    <a:pt x="318743" y="200169"/>
                  </a:cubicBezTo>
                  <a:cubicBezTo>
                    <a:pt x="325457" y="193202"/>
                    <a:pt x="331918" y="185981"/>
                    <a:pt x="338125" y="178507"/>
                  </a:cubicBezTo>
                  <a:cubicBezTo>
                    <a:pt x="350286" y="163811"/>
                    <a:pt x="356494" y="147723"/>
                    <a:pt x="360041" y="128974"/>
                  </a:cubicBezTo>
                  <a:cubicBezTo>
                    <a:pt x="363462" y="110478"/>
                    <a:pt x="370683" y="92109"/>
                    <a:pt x="388038" y="82355"/>
                  </a:cubicBezTo>
                  <a:cubicBezTo>
                    <a:pt x="396146" y="77794"/>
                    <a:pt x="405393" y="75514"/>
                    <a:pt x="414261" y="78934"/>
                  </a:cubicBezTo>
                  <a:cubicBezTo>
                    <a:pt x="429210" y="84888"/>
                    <a:pt x="437571" y="101104"/>
                    <a:pt x="444158" y="114785"/>
                  </a:cubicBezTo>
                  <a:cubicBezTo>
                    <a:pt x="452519" y="132141"/>
                    <a:pt x="460374" y="149623"/>
                    <a:pt x="468481" y="166978"/>
                  </a:cubicBezTo>
                  <a:cubicBezTo>
                    <a:pt x="471395" y="173186"/>
                    <a:pt x="473422" y="177620"/>
                    <a:pt x="471902" y="184587"/>
                  </a:cubicBezTo>
                  <a:cubicBezTo>
                    <a:pt x="467595" y="203463"/>
                    <a:pt x="454039" y="217145"/>
                    <a:pt x="444412" y="233107"/>
                  </a:cubicBezTo>
                  <a:cubicBezTo>
                    <a:pt x="438964" y="242228"/>
                    <a:pt x="430477" y="263890"/>
                    <a:pt x="442765" y="271365"/>
                  </a:cubicBezTo>
                  <a:cubicBezTo>
                    <a:pt x="453913" y="278206"/>
                    <a:pt x="474055" y="268324"/>
                    <a:pt x="483810" y="262877"/>
                  </a:cubicBezTo>
                  <a:cubicBezTo>
                    <a:pt x="494831" y="256670"/>
                    <a:pt x="503319" y="250082"/>
                    <a:pt x="516114" y="247675"/>
                  </a:cubicBezTo>
                  <a:cubicBezTo>
                    <a:pt x="526629" y="245775"/>
                    <a:pt x="534990" y="240961"/>
                    <a:pt x="544871" y="237414"/>
                  </a:cubicBezTo>
                  <a:cubicBezTo>
                    <a:pt x="566407" y="229560"/>
                    <a:pt x="592250" y="228800"/>
                    <a:pt x="614800" y="230573"/>
                  </a:cubicBezTo>
                  <a:cubicBezTo>
                    <a:pt x="630889" y="231840"/>
                    <a:pt x="643557" y="240454"/>
                    <a:pt x="658885" y="243875"/>
                  </a:cubicBezTo>
                  <a:cubicBezTo>
                    <a:pt x="671173" y="246662"/>
                    <a:pt x="683969" y="243495"/>
                    <a:pt x="696256" y="242608"/>
                  </a:cubicBezTo>
                  <a:cubicBezTo>
                    <a:pt x="710825" y="241468"/>
                    <a:pt x="725140" y="241721"/>
                    <a:pt x="739835" y="239694"/>
                  </a:cubicBezTo>
                  <a:cubicBezTo>
                    <a:pt x="750856" y="238174"/>
                    <a:pt x="763018" y="239188"/>
                    <a:pt x="773659" y="235640"/>
                  </a:cubicBezTo>
                  <a:cubicBezTo>
                    <a:pt x="776066" y="234880"/>
                    <a:pt x="778220" y="233740"/>
                    <a:pt x="780247" y="232473"/>
                  </a:cubicBezTo>
                  <a:cubicBezTo>
                    <a:pt x="770873" y="252236"/>
                    <a:pt x="741989" y="307216"/>
                    <a:pt x="702590" y="326852"/>
                  </a:cubicBezTo>
                  <a:cubicBezTo>
                    <a:pt x="654071" y="350922"/>
                    <a:pt x="575908" y="379678"/>
                    <a:pt x="563367" y="396527"/>
                  </a:cubicBezTo>
                  <a:cubicBezTo>
                    <a:pt x="550825" y="413376"/>
                    <a:pt x="519788" y="458855"/>
                    <a:pt x="520801" y="487992"/>
                  </a:cubicBezTo>
                  <a:cubicBezTo>
                    <a:pt x="521815" y="517002"/>
                    <a:pt x="515861" y="517002"/>
                    <a:pt x="508893" y="525997"/>
                  </a:cubicBezTo>
                  <a:cubicBezTo>
                    <a:pt x="501925" y="534864"/>
                    <a:pt x="490017" y="564888"/>
                    <a:pt x="505979" y="578063"/>
                  </a:cubicBezTo>
                  <a:cubicBezTo>
                    <a:pt x="521815" y="591238"/>
                    <a:pt x="546898" y="614421"/>
                    <a:pt x="533343" y="627596"/>
                  </a:cubicBezTo>
                  <a:cubicBezTo>
                    <a:pt x="519788" y="640771"/>
                    <a:pt x="493818" y="690304"/>
                    <a:pt x="516874" y="705506"/>
                  </a:cubicBezTo>
                  <a:cubicBezTo>
                    <a:pt x="539930" y="720708"/>
                    <a:pt x="561720" y="710826"/>
                    <a:pt x="576922" y="728942"/>
                  </a:cubicBezTo>
                  <a:cubicBezTo>
                    <a:pt x="592124" y="747058"/>
                    <a:pt x="618727" y="769480"/>
                    <a:pt x="639249" y="774168"/>
                  </a:cubicBezTo>
                  <a:cubicBezTo>
                    <a:pt x="659645" y="778728"/>
                    <a:pt x="757064" y="797857"/>
                    <a:pt x="744522" y="861579"/>
                  </a:cubicBezTo>
                  <a:cubicBezTo>
                    <a:pt x="731981" y="925300"/>
                    <a:pt x="708545" y="973819"/>
                    <a:pt x="713232" y="994215"/>
                  </a:cubicBezTo>
                  <a:cubicBezTo>
                    <a:pt x="717919" y="1014738"/>
                    <a:pt x="736668" y="1079726"/>
                    <a:pt x="689162" y="1077065"/>
                  </a:cubicBezTo>
                  <a:cubicBezTo>
                    <a:pt x="641656" y="1074405"/>
                    <a:pt x="604665" y="1069845"/>
                    <a:pt x="577048" y="1079346"/>
                  </a:cubicBezTo>
                  <a:cubicBezTo>
                    <a:pt x="549305" y="1088974"/>
                    <a:pt x="511680" y="1108483"/>
                    <a:pt x="524602" y="1143701"/>
                  </a:cubicBezTo>
                  <a:cubicBezTo>
                    <a:pt x="537523" y="1179045"/>
                    <a:pt x="572108" y="1209069"/>
                    <a:pt x="559946" y="1227818"/>
                  </a:cubicBezTo>
                  <a:cubicBezTo>
                    <a:pt x="547785" y="1246567"/>
                    <a:pt x="539804" y="1290906"/>
                    <a:pt x="545758" y="1322449"/>
                  </a:cubicBezTo>
                  <a:cubicBezTo>
                    <a:pt x="551712" y="1354120"/>
                    <a:pt x="583636" y="1446218"/>
                    <a:pt x="626201" y="1444571"/>
                  </a:cubicBezTo>
                  <a:cubicBezTo>
                    <a:pt x="668766" y="1442925"/>
                    <a:pt x="733755" y="1399093"/>
                    <a:pt x="742369" y="1380217"/>
                  </a:cubicBezTo>
                  <a:cubicBezTo>
                    <a:pt x="750983" y="1361468"/>
                    <a:pt x="753517" y="1331317"/>
                    <a:pt x="763525" y="1330684"/>
                  </a:cubicBezTo>
                  <a:cubicBezTo>
                    <a:pt x="773406" y="1330050"/>
                    <a:pt x="808371" y="1329417"/>
                    <a:pt x="806091" y="1345252"/>
                  </a:cubicBezTo>
                  <a:cubicBezTo>
                    <a:pt x="803810" y="1361088"/>
                    <a:pt x="800517" y="1376670"/>
                    <a:pt x="810018" y="1379583"/>
                  </a:cubicBezTo>
                  <a:cubicBezTo>
                    <a:pt x="819645" y="1382497"/>
                    <a:pt x="853597" y="1390478"/>
                    <a:pt x="865504" y="1387818"/>
                  </a:cubicBezTo>
                  <a:cubicBezTo>
                    <a:pt x="877412" y="1385157"/>
                    <a:pt x="934800" y="1393392"/>
                    <a:pt x="945948" y="1409861"/>
                  </a:cubicBezTo>
                  <a:cubicBezTo>
                    <a:pt x="957223" y="1426329"/>
                    <a:pt x="971664" y="1463067"/>
                    <a:pt x="951522" y="1481563"/>
                  </a:cubicBezTo>
                  <a:cubicBezTo>
                    <a:pt x="931379" y="1500058"/>
                    <a:pt x="914277" y="1530715"/>
                    <a:pt x="918584" y="1542624"/>
                  </a:cubicBezTo>
                  <a:cubicBezTo>
                    <a:pt x="922892" y="1554532"/>
                    <a:pt x="934040" y="1573028"/>
                    <a:pt x="928845" y="1583542"/>
                  </a:cubicBezTo>
                  <a:cubicBezTo>
                    <a:pt x="923525" y="1594057"/>
                    <a:pt x="928845" y="1626361"/>
                    <a:pt x="946962" y="1638649"/>
                  </a:cubicBezTo>
                  <a:cubicBezTo>
                    <a:pt x="965077" y="1650937"/>
                    <a:pt x="993454" y="1672980"/>
                    <a:pt x="1002449" y="1666013"/>
                  </a:cubicBezTo>
                  <a:cubicBezTo>
                    <a:pt x="1011316" y="1659045"/>
                    <a:pt x="1017650" y="1633075"/>
                    <a:pt x="1035765" y="1645237"/>
                  </a:cubicBezTo>
                  <a:cubicBezTo>
                    <a:pt x="1053882" y="1657398"/>
                    <a:pt x="1056922" y="1667279"/>
                    <a:pt x="1075037" y="1667279"/>
                  </a:cubicBezTo>
                  <a:cubicBezTo>
                    <a:pt x="1093153" y="1667279"/>
                    <a:pt x="1118869" y="1676780"/>
                    <a:pt x="1113296" y="1661705"/>
                  </a:cubicBezTo>
                  <a:cubicBezTo>
                    <a:pt x="1107722" y="1646503"/>
                    <a:pt x="1108735" y="1625094"/>
                    <a:pt x="1123557" y="1627121"/>
                  </a:cubicBezTo>
                  <a:cubicBezTo>
                    <a:pt x="1138379" y="1629148"/>
                    <a:pt x="1169669" y="1628768"/>
                    <a:pt x="1185251" y="1628134"/>
                  </a:cubicBezTo>
                  <a:cubicBezTo>
                    <a:pt x="1200833" y="1627501"/>
                    <a:pt x="1222242" y="1625474"/>
                    <a:pt x="1232757" y="1628768"/>
                  </a:cubicBezTo>
                  <a:cubicBezTo>
                    <a:pt x="1243271" y="1632061"/>
                    <a:pt x="1264428" y="1642703"/>
                    <a:pt x="1282543" y="1630161"/>
                  </a:cubicBezTo>
                  <a:cubicBezTo>
                    <a:pt x="1300659" y="1617620"/>
                    <a:pt x="1305346" y="1597857"/>
                    <a:pt x="1332456" y="1593550"/>
                  </a:cubicBezTo>
                  <a:cubicBezTo>
                    <a:pt x="1359440" y="1589243"/>
                    <a:pt x="1377302" y="1598871"/>
                    <a:pt x="1384269" y="1602798"/>
                  </a:cubicBezTo>
                  <a:cubicBezTo>
                    <a:pt x="1391236" y="1606725"/>
                    <a:pt x="1400485" y="1618633"/>
                    <a:pt x="1418980" y="1619647"/>
                  </a:cubicBezTo>
                  <a:cubicBezTo>
                    <a:pt x="1437476" y="1620660"/>
                    <a:pt x="1491569" y="1622940"/>
                    <a:pt x="1499803" y="1630541"/>
                  </a:cubicBezTo>
                  <a:cubicBezTo>
                    <a:pt x="1508038" y="1638142"/>
                    <a:pt x="1512346" y="1647390"/>
                    <a:pt x="1525520" y="1643716"/>
                  </a:cubicBezTo>
                  <a:cubicBezTo>
                    <a:pt x="1538695" y="1640169"/>
                    <a:pt x="1563398" y="1624587"/>
                    <a:pt x="1572646" y="1637129"/>
                  </a:cubicBezTo>
                  <a:cubicBezTo>
                    <a:pt x="1581894" y="1649670"/>
                    <a:pt x="1586201" y="1671460"/>
                    <a:pt x="1574926" y="1680961"/>
                  </a:cubicBezTo>
                  <a:cubicBezTo>
                    <a:pt x="1563905" y="1690335"/>
                    <a:pt x="1556558" y="1715672"/>
                    <a:pt x="1588862" y="1739362"/>
                  </a:cubicBezTo>
                  <a:cubicBezTo>
                    <a:pt x="1586074" y="1741262"/>
                    <a:pt x="1583541" y="1742782"/>
                    <a:pt x="1581260" y="1744682"/>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15" name="Полилиния: фигура 714">
              <a:extLst>
                <a:ext uri="{FF2B5EF4-FFF2-40B4-BE49-F238E27FC236}">
                  <a16:creationId xmlns:a16="http://schemas.microsoft.com/office/drawing/2014/main" id="{8B8A7EFB-6A94-4CD6-852D-8C320494D2F4}"/>
                </a:ext>
              </a:extLst>
            </p:cNvPr>
            <p:cNvSpPr/>
            <p:nvPr/>
          </p:nvSpPr>
          <p:spPr>
            <a:xfrm>
              <a:off x="6786852" y="3411063"/>
              <a:ext cx="1477669" cy="1985451"/>
            </a:xfrm>
            <a:custGeom>
              <a:avLst/>
              <a:gdLst>
                <a:gd name="connsiteX0" fmla="*/ 1448354 w 1477669"/>
                <a:gd name="connsiteY0" fmla="*/ 1031107 h 1985451"/>
                <a:gd name="connsiteX1" fmla="*/ 1368163 w 1477669"/>
                <a:gd name="connsiteY1" fmla="*/ 1022493 h 1985451"/>
                <a:gd name="connsiteX2" fmla="*/ 1364617 w 1477669"/>
                <a:gd name="connsiteY2" fmla="*/ 1075953 h 1985451"/>
                <a:gd name="connsiteX3" fmla="*/ 1345361 w 1477669"/>
                <a:gd name="connsiteY3" fmla="*/ 1115224 h 1985451"/>
                <a:gd name="connsiteX4" fmla="*/ 1359296 w 1477669"/>
                <a:gd name="connsiteY4" fmla="*/ 1129413 h 1985451"/>
                <a:gd name="connsiteX5" fmla="*/ 1375765 w 1477669"/>
                <a:gd name="connsiteY5" fmla="*/ 1155763 h 1985451"/>
                <a:gd name="connsiteX6" fmla="*/ 1350301 w 1477669"/>
                <a:gd name="connsiteY6" fmla="*/ 1176159 h 1985451"/>
                <a:gd name="connsiteX7" fmla="*/ 1351695 w 1477669"/>
                <a:gd name="connsiteY7" fmla="*/ 1216444 h 1985451"/>
                <a:gd name="connsiteX8" fmla="*/ 1381085 w 1477669"/>
                <a:gd name="connsiteY8" fmla="*/ 1272184 h 1985451"/>
                <a:gd name="connsiteX9" fmla="*/ 1366264 w 1477669"/>
                <a:gd name="connsiteY9" fmla="*/ 1309809 h 1985451"/>
                <a:gd name="connsiteX10" fmla="*/ 1372598 w 1477669"/>
                <a:gd name="connsiteY10" fmla="*/ 1365296 h 1985451"/>
                <a:gd name="connsiteX11" fmla="*/ 1344474 w 1477669"/>
                <a:gd name="connsiteY11" fmla="*/ 1402287 h 1985451"/>
                <a:gd name="connsiteX12" fmla="*/ 1328638 w 1477669"/>
                <a:gd name="connsiteY12" fmla="*/ 1434591 h 1985451"/>
                <a:gd name="connsiteX13" fmla="*/ 1338520 w 1477669"/>
                <a:gd name="connsiteY13" fmla="*/ 1460941 h 1985451"/>
                <a:gd name="connsiteX14" fmla="*/ 1247815 w 1477669"/>
                <a:gd name="connsiteY14" fmla="*/ 1512754 h 1985451"/>
                <a:gd name="connsiteX15" fmla="*/ 1246802 w 1477669"/>
                <a:gd name="connsiteY15" fmla="*/ 1552406 h 1985451"/>
                <a:gd name="connsiteX16" fmla="*/ 1244141 w 1477669"/>
                <a:gd name="connsiteY16" fmla="*/ 1591044 h 1985451"/>
                <a:gd name="connsiteX17" fmla="*/ 1251109 w 1477669"/>
                <a:gd name="connsiteY17" fmla="*/ 1652485 h 1985451"/>
                <a:gd name="connsiteX18" fmla="*/ 1320784 w 1477669"/>
                <a:gd name="connsiteY18" fmla="*/ 1693023 h 1985451"/>
                <a:gd name="connsiteX19" fmla="*/ 1329652 w 1477669"/>
                <a:gd name="connsiteY19" fmla="*/ 1727987 h 1985451"/>
                <a:gd name="connsiteX20" fmla="*/ 1293421 w 1477669"/>
                <a:gd name="connsiteY20" fmla="*/ 1773593 h 1985451"/>
                <a:gd name="connsiteX21" fmla="*/ 1268338 w 1477669"/>
                <a:gd name="connsiteY21" fmla="*/ 1806911 h 1985451"/>
                <a:gd name="connsiteX22" fmla="*/ 1296715 w 1477669"/>
                <a:gd name="connsiteY22" fmla="*/ 1823379 h 1985451"/>
                <a:gd name="connsiteX23" fmla="*/ 1329652 w 1477669"/>
                <a:gd name="connsiteY23" fmla="*/ 1881780 h 1985451"/>
                <a:gd name="connsiteX24" fmla="*/ 1293421 w 1477669"/>
                <a:gd name="connsiteY24" fmla="*/ 1919405 h 1985451"/>
                <a:gd name="connsiteX25" fmla="*/ 1285186 w 1477669"/>
                <a:gd name="connsiteY25" fmla="*/ 1974892 h 1985451"/>
                <a:gd name="connsiteX26" fmla="*/ 1229447 w 1477669"/>
                <a:gd name="connsiteY26" fmla="*/ 1975525 h 1985451"/>
                <a:gd name="connsiteX27" fmla="*/ 1208290 w 1477669"/>
                <a:gd name="connsiteY27" fmla="*/ 1951076 h 1985451"/>
                <a:gd name="connsiteX28" fmla="*/ 1174973 w 1477669"/>
                <a:gd name="connsiteY28" fmla="*/ 1947148 h 1985451"/>
                <a:gd name="connsiteX29" fmla="*/ 1145962 w 1477669"/>
                <a:gd name="connsiteY29" fmla="*/ 1889001 h 1985451"/>
                <a:gd name="connsiteX30" fmla="*/ 1112012 w 1477669"/>
                <a:gd name="connsiteY30" fmla="*/ 1893308 h 1985451"/>
                <a:gd name="connsiteX31" fmla="*/ 1090729 w 1477669"/>
                <a:gd name="connsiteY31" fmla="*/ 1902556 h 1985451"/>
                <a:gd name="connsiteX32" fmla="*/ 1090729 w 1477669"/>
                <a:gd name="connsiteY32" fmla="*/ 1902556 h 1985451"/>
                <a:gd name="connsiteX33" fmla="*/ 1076794 w 1477669"/>
                <a:gd name="connsiteY33" fmla="*/ 1844155 h 1985451"/>
                <a:gd name="connsiteX34" fmla="*/ 1074513 w 1477669"/>
                <a:gd name="connsiteY34" fmla="*/ 1800323 h 1985451"/>
                <a:gd name="connsiteX35" fmla="*/ 1027388 w 1477669"/>
                <a:gd name="connsiteY35" fmla="*/ 1806911 h 1985451"/>
                <a:gd name="connsiteX36" fmla="*/ 1001671 w 1477669"/>
                <a:gd name="connsiteY36" fmla="*/ 1793736 h 1985451"/>
                <a:gd name="connsiteX37" fmla="*/ 920847 w 1477669"/>
                <a:gd name="connsiteY37" fmla="*/ 1782841 h 1985451"/>
                <a:gd name="connsiteX38" fmla="*/ 886137 w 1477669"/>
                <a:gd name="connsiteY38" fmla="*/ 1765992 h 1985451"/>
                <a:gd name="connsiteX39" fmla="*/ 834324 w 1477669"/>
                <a:gd name="connsiteY39" fmla="*/ 1756745 h 1985451"/>
                <a:gd name="connsiteX40" fmla="*/ 784411 w 1477669"/>
                <a:gd name="connsiteY40" fmla="*/ 1793356 h 1985451"/>
                <a:gd name="connsiteX41" fmla="*/ 734625 w 1477669"/>
                <a:gd name="connsiteY41" fmla="*/ 1791962 h 1985451"/>
                <a:gd name="connsiteX42" fmla="*/ 687119 w 1477669"/>
                <a:gd name="connsiteY42" fmla="*/ 1791329 h 1985451"/>
                <a:gd name="connsiteX43" fmla="*/ 625424 w 1477669"/>
                <a:gd name="connsiteY43" fmla="*/ 1790315 h 1985451"/>
                <a:gd name="connsiteX44" fmla="*/ 615163 w 1477669"/>
                <a:gd name="connsiteY44" fmla="*/ 1824900 h 1985451"/>
                <a:gd name="connsiteX45" fmla="*/ 576905 w 1477669"/>
                <a:gd name="connsiteY45" fmla="*/ 1830474 h 1985451"/>
                <a:gd name="connsiteX46" fmla="*/ 537633 w 1477669"/>
                <a:gd name="connsiteY46" fmla="*/ 1808431 h 1985451"/>
                <a:gd name="connsiteX47" fmla="*/ 504316 w 1477669"/>
                <a:gd name="connsiteY47" fmla="*/ 1829207 h 1985451"/>
                <a:gd name="connsiteX48" fmla="*/ 448829 w 1477669"/>
                <a:gd name="connsiteY48" fmla="*/ 1801844 h 1985451"/>
                <a:gd name="connsiteX49" fmla="*/ 430713 w 1477669"/>
                <a:gd name="connsiteY49" fmla="*/ 1746737 h 1985451"/>
                <a:gd name="connsiteX50" fmla="*/ 420452 w 1477669"/>
                <a:gd name="connsiteY50" fmla="*/ 1705818 h 1985451"/>
                <a:gd name="connsiteX51" fmla="*/ 453389 w 1477669"/>
                <a:gd name="connsiteY51" fmla="*/ 1644757 h 1985451"/>
                <a:gd name="connsiteX52" fmla="*/ 447815 w 1477669"/>
                <a:gd name="connsiteY52" fmla="*/ 1573055 h 1985451"/>
                <a:gd name="connsiteX53" fmla="*/ 367372 w 1477669"/>
                <a:gd name="connsiteY53" fmla="*/ 1551012 h 1985451"/>
                <a:gd name="connsiteX54" fmla="*/ 311885 w 1477669"/>
                <a:gd name="connsiteY54" fmla="*/ 1542778 h 1985451"/>
                <a:gd name="connsiteX55" fmla="*/ 307958 w 1477669"/>
                <a:gd name="connsiteY55" fmla="*/ 1508447 h 1985451"/>
                <a:gd name="connsiteX56" fmla="*/ 265392 w 1477669"/>
                <a:gd name="connsiteY56" fmla="*/ 1493878 h 1985451"/>
                <a:gd name="connsiteX57" fmla="*/ 244236 w 1477669"/>
                <a:gd name="connsiteY57" fmla="*/ 1543411 h 1985451"/>
                <a:gd name="connsiteX58" fmla="*/ 128068 w 1477669"/>
                <a:gd name="connsiteY58" fmla="*/ 1607766 h 1985451"/>
                <a:gd name="connsiteX59" fmla="*/ 47625 w 1477669"/>
                <a:gd name="connsiteY59" fmla="*/ 1485644 h 1985451"/>
                <a:gd name="connsiteX60" fmla="*/ 61814 w 1477669"/>
                <a:gd name="connsiteY60" fmla="*/ 1391012 h 1985451"/>
                <a:gd name="connsiteX61" fmla="*/ 26469 w 1477669"/>
                <a:gd name="connsiteY61" fmla="*/ 1306895 h 1985451"/>
                <a:gd name="connsiteX62" fmla="*/ 78916 w 1477669"/>
                <a:gd name="connsiteY62" fmla="*/ 1242540 h 1985451"/>
                <a:gd name="connsiteX63" fmla="*/ 191030 w 1477669"/>
                <a:gd name="connsiteY63" fmla="*/ 1240260 h 1985451"/>
                <a:gd name="connsiteX64" fmla="*/ 215100 w 1477669"/>
                <a:gd name="connsiteY64" fmla="*/ 1157410 h 1985451"/>
                <a:gd name="connsiteX65" fmla="*/ 246390 w 1477669"/>
                <a:gd name="connsiteY65" fmla="*/ 1024773 h 1985451"/>
                <a:gd name="connsiteX66" fmla="*/ 141117 w 1477669"/>
                <a:gd name="connsiteY66" fmla="*/ 937362 h 1985451"/>
                <a:gd name="connsiteX67" fmla="*/ 78789 w 1477669"/>
                <a:gd name="connsiteY67" fmla="*/ 892137 h 1985451"/>
                <a:gd name="connsiteX68" fmla="*/ 18742 w 1477669"/>
                <a:gd name="connsiteY68" fmla="*/ 868700 h 1985451"/>
                <a:gd name="connsiteX69" fmla="*/ 35210 w 1477669"/>
                <a:gd name="connsiteY69" fmla="*/ 790791 h 1985451"/>
                <a:gd name="connsiteX70" fmla="*/ 7847 w 1477669"/>
                <a:gd name="connsiteY70" fmla="*/ 741258 h 1985451"/>
                <a:gd name="connsiteX71" fmla="*/ 10761 w 1477669"/>
                <a:gd name="connsiteY71" fmla="*/ 689191 h 1985451"/>
                <a:gd name="connsiteX72" fmla="*/ 22669 w 1477669"/>
                <a:gd name="connsiteY72" fmla="*/ 651186 h 1985451"/>
                <a:gd name="connsiteX73" fmla="*/ 65234 w 1477669"/>
                <a:gd name="connsiteY73" fmla="*/ 559721 h 1985451"/>
                <a:gd name="connsiteX74" fmla="*/ 204458 w 1477669"/>
                <a:gd name="connsiteY74" fmla="*/ 490046 h 1985451"/>
                <a:gd name="connsiteX75" fmla="*/ 282114 w 1477669"/>
                <a:gd name="connsiteY75" fmla="*/ 395668 h 1985451"/>
                <a:gd name="connsiteX76" fmla="*/ 300863 w 1477669"/>
                <a:gd name="connsiteY76" fmla="*/ 374132 h 1985451"/>
                <a:gd name="connsiteX77" fmla="*/ 325947 w 1477669"/>
                <a:gd name="connsiteY77" fmla="*/ 348289 h 1985451"/>
                <a:gd name="connsiteX78" fmla="*/ 359898 w 1477669"/>
                <a:gd name="connsiteY78" fmla="*/ 314084 h 1985451"/>
                <a:gd name="connsiteX79" fmla="*/ 398662 w 1477669"/>
                <a:gd name="connsiteY79" fmla="*/ 277600 h 1985451"/>
                <a:gd name="connsiteX80" fmla="*/ 463270 w 1477669"/>
                <a:gd name="connsiteY80" fmla="*/ 263791 h 1985451"/>
                <a:gd name="connsiteX81" fmla="*/ 489874 w 1477669"/>
                <a:gd name="connsiteY81" fmla="*/ 255684 h 1985451"/>
                <a:gd name="connsiteX82" fmla="*/ 498488 w 1477669"/>
                <a:gd name="connsiteY82" fmla="*/ 233261 h 1985451"/>
                <a:gd name="connsiteX83" fmla="*/ 527498 w 1477669"/>
                <a:gd name="connsiteY83" fmla="*/ 189935 h 1985451"/>
                <a:gd name="connsiteX84" fmla="*/ 522938 w 1477669"/>
                <a:gd name="connsiteY84" fmla="*/ 168779 h 1985451"/>
                <a:gd name="connsiteX85" fmla="*/ 531933 w 1477669"/>
                <a:gd name="connsiteY85" fmla="*/ 138122 h 1985451"/>
                <a:gd name="connsiteX86" fmla="*/ 592360 w 1477669"/>
                <a:gd name="connsiteY86" fmla="*/ 88843 h 1985451"/>
                <a:gd name="connsiteX87" fmla="*/ 620863 w 1477669"/>
                <a:gd name="connsiteY87" fmla="*/ 73894 h 1985451"/>
                <a:gd name="connsiteX88" fmla="*/ 643920 w 1477669"/>
                <a:gd name="connsiteY88" fmla="*/ 61353 h 1985451"/>
                <a:gd name="connsiteX89" fmla="*/ 697126 w 1477669"/>
                <a:gd name="connsiteY89" fmla="*/ 40197 h 1985451"/>
                <a:gd name="connsiteX90" fmla="*/ 720689 w 1477669"/>
                <a:gd name="connsiteY90" fmla="*/ 39690 h 1985451"/>
                <a:gd name="connsiteX91" fmla="*/ 748433 w 1477669"/>
                <a:gd name="connsiteY91" fmla="*/ 37283 h 1985451"/>
                <a:gd name="connsiteX92" fmla="*/ 778077 w 1477669"/>
                <a:gd name="connsiteY92" fmla="*/ 33229 h 1985451"/>
                <a:gd name="connsiteX93" fmla="*/ 800879 w 1477669"/>
                <a:gd name="connsiteY93" fmla="*/ 14860 h 1985451"/>
                <a:gd name="connsiteX94" fmla="*/ 831030 w 1477669"/>
                <a:gd name="connsiteY94" fmla="*/ 3079 h 1985451"/>
                <a:gd name="connsiteX95" fmla="*/ 853453 w 1477669"/>
                <a:gd name="connsiteY95" fmla="*/ 1052 h 1985451"/>
                <a:gd name="connsiteX96" fmla="*/ 889811 w 1477669"/>
                <a:gd name="connsiteY96" fmla="*/ 24361 h 1985451"/>
                <a:gd name="connsiteX97" fmla="*/ 881957 w 1477669"/>
                <a:gd name="connsiteY97" fmla="*/ 51978 h 1985451"/>
                <a:gd name="connsiteX98" fmla="*/ 875748 w 1477669"/>
                <a:gd name="connsiteY98" fmla="*/ 72881 h 1985451"/>
                <a:gd name="connsiteX99" fmla="*/ 903112 w 1477669"/>
                <a:gd name="connsiteY99" fmla="*/ 76301 h 1985451"/>
                <a:gd name="connsiteX100" fmla="*/ 930856 w 1477669"/>
                <a:gd name="connsiteY100" fmla="*/ 71361 h 1985451"/>
                <a:gd name="connsiteX101" fmla="*/ 987230 w 1477669"/>
                <a:gd name="connsiteY101" fmla="*/ 79468 h 1985451"/>
                <a:gd name="connsiteX102" fmla="*/ 1031821 w 1477669"/>
                <a:gd name="connsiteY102" fmla="*/ 113039 h 1985451"/>
                <a:gd name="connsiteX103" fmla="*/ 1055511 w 1477669"/>
                <a:gd name="connsiteY103" fmla="*/ 117346 h 1985451"/>
                <a:gd name="connsiteX104" fmla="*/ 1079075 w 1477669"/>
                <a:gd name="connsiteY104" fmla="*/ 116333 h 1985451"/>
                <a:gd name="connsiteX105" fmla="*/ 1095036 w 1477669"/>
                <a:gd name="connsiteY105" fmla="*/ 111392 h 1985451"/>
                <a:gd name="connsiteX106" fmla="*/ 1126454 w 1477669"/>
                <a:gd name="connsiteY106" fmla="*/ 99104 h 1985451"/>
                <a:gd name="connsiteX107" fmla="*/ 1143809 w 1477669"/>
                <a:gd name="connsiteY107" fmla="*/ 80228 h 1985451"/>
                <a:gd name="connsiteX108" fmla="*/ 1198156 w 1477669"/>
                <a:gd name="connsiteY108" fmla="*/ 89476 h 1985451"/>
                <a:gd name="connsiteX109" fmla="*/ 1213738 w 1477669"/>
                <a:gd name="connsiteY109" fmla="*/ 67940 h 1985451"/>
                <a:gd name="connsiteX110" fmla="*/ 1227166 w 1477669"/>
                <a:gd name="connsiteY110" fmla="*/ 65153 h 1985451"/>
                <a:gd name="connsiteX111" fmla="*/ 1265678 w 1477669"/>
                <a:gd name="connsiteY111" fmla="*/ 138376 h 1985451"/>
                <a:gd name="connsiteX112" fmla="*/ 1295701 w 1477669"/>
                <a:gd name="connsiteY112" fmla="*/ 276586 h 1985451"/>
                <a:gd name="connsiteX113" fmla="*/ 1315210 w 1477669"/>
                <a:gd name="connsiteY113" fmla="*/ 474591 h 1985451"/>
                <a:gd name="connsiteX114" fmla="*/ 1275558 w 1477669"/>
                <a:gd name="connsiteY114" fmla="*/ 496634 h 1985451"/>
                <a:gd name="connsiteX115" fmla="*/ 1241608 w 1477669"/>
                <a:gd name="connsiteY115" fmla="*/ 505881 h 1985451"/>
                <a:gd name="connsiteX116" fmla="*/ 1246548 w 1477669"/>
                <a:gd name="connsiteY116" fmla="*/ 526658 h 1985451"/>
                <a:gd name="connsiteX117" fmla="*/ 1284174 w 1477669"/>
                <a:gd name="connsiteY117" fmla="*/ 564915 h 1985451"/>
                <a:gd name="connsiteX118" fmla="*/ 1274672 w 1477669"/>
                <a:gd name="connsiteY118" fmla="*/ 604821 h 1985451"/>
                <a:gd name="connsiteX119" fmla="*/ 1279233 w 1477669"/>
                <a:gd name="connsiteY119" fmla="*/ 657900 h 1985451"/>
                <a:gd name="connsiteX120" fmla="*/ 1315844 w 1477669"/>
                <a:gd name="connsiteY120" fmla="*/ 694892 h 1985451"/>
                <a:gd name="connsiteX121" fmla="*/ 1333326 w 1477669"/>
                <a:gd name="connsiteY121" fmla="*/ 733150 h 1985451"/>
                <a:gd name="connsiteX122" fmla="*/ 1358789 w 1477669"/>
                <a:gd name="connsiteY122" fmla="*/ 765200 h 1985451"/>
                <a:gd name="connsiteX123" fmla="*/ 1344221 w 1477669"/>
                <a:gd name="connsiteY123" fmla="*/ 797125 h 1985451"/>
                <a:gd name="connsiteX124" fmla="*/ 1324458 w 1477669"/>
                <a:gd name="connsiteY124" fmla="*/ 830062 h 1985451"/>
                <a:gd name="connsiteX125" fmla="*/ 1305329 w 1477669"/>
                <a:gd name="connsiteY125" fmla="*/ 851598 h 1985451"/>
                <a:gd name="connsiteX126" fmla="*/ 1318504 w 1477669"/>
                <a:gd name="connsiteY126" fmla="*/ 883522 h 1985451"/>
                <a:gd name="connsiteX127" fmla="*/ 1302035 w 1477669"/>
                <a:gd name="connsiteY127" fmla="*/ 901258 h 1985451"/>
                <a:gd name="connsiteX128" fmla="*/ 1289240 w 1477669"/>
                <a:gd name="connsiteY128" fmla="*/ 938249 h 1985451"/>
                <a:gd name="connsiteX129" fmla="*/ 1319897 w 1477669"/>
                <a:gd name="connsiteY129" fmla="*/ 961685 h 1985451"/>
                <a:gd name="connsiteX130" fmla="*/ 1342701 w 1477669"/>
                <a:gd name="connsiteY130" fmla="*/ 949144 h 1985451"/>
                <a:gd name="connsiteX131" fmla="*/ 1366517 w 1477669"/>
                <a:gd name="connsiteY131" fmla="*/ 963079 h 1985451"/>
                <a:gd name="connsiteX132" fmla="*/ 1402115 w 1477669"/>
                <a:gd name="connsiteY132" fmla="*/ 967386 h 1985451"/>
                <a:gd name="connsiteX133" fmla="*/ 1454561 w 1477669"/>
                <a:gd name="connsiteY133" fmla="*/ 980307 h 1985451"/>
                <a:gd name="connsiteX134" fmla="*/ 1472297 w 1477669"/>
                <a:gd name="connsiteY134" fmla="*/ 991836 h 1985451"/>
                <a:gd name="connsiteX135" fmla="*/ 1448354 w 1477669"/>
                <a:gd name="connsiteY135" fmla="*/ 1031107 h 1985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477669" h="1985451">
                  <a:moveTo>
                    <a:pt x="1448354" y="1031107"/>
                  </a:moveTo>
                  <a:cubicBezTo>
                    <a:pt x="1432899" y="1041622"/>
                    <a:pt x="1385393" y="1029080"/>
                    <a:pt x="1368163" y="1022493"/>
                  </a:cubicBezTo>
                  <a:cubicBezTo>
                    <a:pt x="1351061" y="1015905"/>
                    <a:pt x="1362210" y="1066071"/>
                    <a:pt x="1364617" y="1075953"/>
                  </a:cubicBezTo>
                  <a:cubicBezTo>
                    <a:pt x="1366897" y="1085834"/>
                    <a:pt x="1353722" y="1103696"/>
                    <a:pt x="1345361" y="1115224"/>
                  </a:cubicBezTo>
                  <a:cubicBezTo>
                    <a:pt x="1337127" y="1126752"/>
                    <a:pt x="1350048" y="1128779"/>
                    <a:pt x="1359296" y="1129413"/>
                  </a:cubicBezTo>
                  <a:cubicBezTo>
                    <a:pt x="1368544" y="1130046"/>
                    <a:pt x="1372471" y="1139674"/>
                    <a:pt x="1375765" y="1155763"/>
                  </a:cubicBezTo>
                  <a:cubicBezTo>
                    <a:pt x="1379059" y="1171851"/>
                    <a:pt x="1365250" y="1171218"/>
                    <a:pt x="1350301" y="1176159"/>
                  </a:cubicBezTo>
                  <a:cubicBezTo>
                    <a:pt x="1335480" y="1181099"/>
                    <a:pt x="1350301" y="1204789"/>
                    <a:pt x="1351695" y="1216444"/>
                  </a:cubicBezTo>
                  <a:cubicBezTo>
                    <a:pt x="1352962" y="1227972"/>
                    <a:pt x="1375131" y="1261036"/>
                    <a:pt x="1381085" y="1272184"/>
                  </a:cubicBezTo>
                  <a:cubicBezTo>
                    <a:pt x="1387040" y="1283459"/>
                    <a:pt x="1372851" y="1293340"/>
                    <a:pt x="1366264" y="1309809"/>
                  </a:cubicBezTo>
                  <a:cubicBezTo>
                    <a:pt x="1359676" y="1326277"/>
                    <a:pt x="1364617" y="1348447"/>
                    <a:pt x="1372598" y="1365296"/>
                  </a:cubicBezTo>
                  <a:cubicBezTo>
                    <a:pt x="1380579" y="1382144"/>
                    <a:pt x="1356382" y="1395320"/>
                    <a:pt x="1344474" y="1402287"/>
                  </a:cubicBezTo>
                  <a:cubicBezTo>
                    <a:pt x="1332566" y="1409255"/>
                    <a:pt x="1328005" y="1425343"/>
                    <a:pt x="1328638" y="1434591"/>
                  </a:cubicBezTo>
                  <a:cubicBezTo>
                    <a:pt x="1329272" y="1443839"/>
                    <a:pt x="1340167" y="1446879"/>
                    <a:pt x="1338520" y="1460941"/>
                  </a:cubicBezTo>
                  <a:cubicBezTo>
                    <a:pt x="1336873" y="1475129"/>
                    <a:pt x="1259977" y="1504140"/>
                    <a:pt x="1247815" y="1512754"/>
                  </a:cubicBezTo>
                  <a:cubicBezTo>
                    <a:pt x="1235527" y="1521368"/>
                    <a:pt x="1239201" y="1538217"/>
                    <a:pt x="1246802" y="1552406"/>
                  </a:cubicBezTo>
                  <a:cubicBezTo>
                    <a:pt x="1254403" y="1566594"/>
                    <a:pt x="1246169" y="1568621"/>
                    <a:pt x="1244141" y="1591044"/>
                  </a:cubicBezTo>
                  <a:cubicBezTo>
                    <a:pt x="1242115" y="1613467"/>
                    <a:pt x="1239201" y="1626008"/>
                    <a:pt x="1251109" y="1652485"/>
                  </a:cubicBezTo>
                  <a:cubicBezTo>
                    <a:pt x="1263017" y="1678961"/>
                    <a:pt x="1305202" y="1693783"/>
                    <a:pt x="1320784" y="1693023"/>
                  </a:cubicBezTo>
                  <a:cubicBezTo>
                    <a:pt x="1336240" y="1692390"/>
                    <a:pt x="1331679" y="1709872"/>
                    <a:pt x="1329652" y="1727987"/>
                  </a:cubicBezTo>
                  <a:cubicBezTo>
                    <a:pt x="1327626" y="1746103"/>
                    <a:pt x="1302922" y="1767893"/>
                    <a:pt x="1293421" y="1773593"/>
                  </a:cubicBezTo>
                  <a:cubicBezTo>
                    <a:pt x="1283793" y="1779167"/>
                    <a:pt x="1268718" y="1795003"/>
                    <a:pt x="1268338" y="1806911"/>
                  </a:cubicBezTo>
                  <a:cubicBezTo>
                    <a:pt x="1268085" y="1818819"/>
                    <a:pt x="1281259" y="1818439"/>
                    <a:pt x="1296715" y="1823379"/>
                  </a:cubicBezTo>
                  <a:cubicBezTo>
                    <a:pt x="1312297" y="1828320"/>
                    <a:pt x="1329652" y="1858724"/>
                    <a:pt x="1329652" y="1881780"/>
                  </a:cubicBezTo>
                  <a:cubicBezTo>
                    <a:pt x="1329652" y="1904837"/>
                    <a:pt x="1314830" y="1907244"/>
                    <a:pt x="1293421" y="1919405"/>
                  </a:cubicBezTo>
                  <a:cubicBezTo>
                    <a:pt x="1272012" y="1931566"/>
                    <a:pt x="1284174" y="1951709"/>
                    <a:pt x="1285186" y="1974892"/>
                  </a:cubicBezTo>
                  <a:cubicBezTo>
                    <a:pt x="1286200" y="1997948"/>
                    <a:pt x="1244648" y="1976159"/>
                    <a:pt x="1229447" y="1975525"/>
                  </a:cubicBezTo>
                  <a:cubicBezTo>
                    <a:pt x="1214245" y="1974892"/>
                    <a:pt x="1208924" y="1963617"/>
                    <a:pt x="1208290" y="1951076"/>
                  </a:cubicBezTo>
                  <a:cubicBezTo>
                    <a:pt x="1207657" y="1938534"/>
                    <a:pt x="1194736" y="1945121"/>
                    <a:pt x="1174973" y="1947148"/>
                  </a:cubicBezTo>
                  <a:cubicBezTo>
                    <a:pt x="1155210" y="1949175"/>
                    <a:pt x="1155210" y="1910791"/>
                    <a:pt x="1145962" y="1889001"/>
                  </a:cubicBezTo>
                  <a:cubicBezTo>
                    <a:pt x="1136715" y="1867212"/>
                    <a:pt x="1116572" y="1887734"/>
                    <a:pt x="1112012" y="1893308"/>
                  </a:cubicBezTo>
                  <a:cubicBezTo>
                    <a:pt x="1108464" y="1897616"/>
                    <a:pt x="1099217" y="1898502"/>
                    <a:pt x="1090729" y="1902556"/>
                  </a:cubicBezTo>
                  <a:lnTo>
                    <a:pt x="1090729" y="1902556"/>
                  </a:lnTo>
                  <a:cubicBezTo>
                    <a:pt x="1058425" y="1878866"/>
                    <a:pt x="1065646" y="1853530"/>
                    <a:pt x="1076794" y="1844155"/>
                  </a:cubicBezTo>
                  <a:cubicBezTo>
                    <a:pt x="1087942" y="1834528"/>
                    <a:pt x="1083762" y="1812738"/>
                    <a:pt x="1074513" y="1800323"/>
                  </a:cubicBezTo>
                  <a:cubicBezTo>
                    <a:pt x="1065266" y="1787782"/>
                    <a:pt x="1040563" y="1803237"/>
                    <a:pt x="1027388" y="1806911"/>
                  </a:cubicBezTo>
                  <a:cubicBezTo>
                    <a:pt x="1014213" y="1810585"/>
                    <a:pt x="1009906" y="1801337"/>
                    <a:pt x="1001671" y="1793736"/>
                  </a:cubicBezTo>
                  <a:cubicBezTo>
                    <a:pt x="993437" y="1786135"/>
                    <a:pt x="939343" y="1783855"/>
                    <a:pt x="920847" y="1782841"/>
                  </a:cubicBezTo>
                  <a:cubicBezTo>
                    <a:pt x="902352" y="1781828"/>
                    <a:pt x="893104" y="1769919"/>
                    <a:pt x="886137" y="1765992"/>
                  </a:cubicBezTo>
                  <a:cubicBezTo>
                    <a:pt x="879169" y="1762065"/>
                    <a:pt x="861433" y="1752437"/>
                    <a:pt x="834324" y="1756745"/>
                  </a:cubicBezTo>
                  <a:cubicBezTo>
                    <a:pt x="807214" y="1761052"/>
                    <a:pt x="802653" y="1780814"/>
                    <a:pt x="784411" y="1793356"/>
                  </a:cubicBezTo>
                  <a:cubicBezTo>
                    <a:pt x="766295" y="1805898"/>
                    <a:pt x="745139" y="1795383"/>
                    <a:pt x="734625" y="1791962"/>
                  </a:cubicBezTo>
                  <a:cubicBezTo>
                    <a:pt x="724110" y="1788668"/>
                    <a:pt x="702574" y="1790695"/>
                    <a:pt x="687119" y="1791329"/>
                  </a:cubicBezTo>
                  <a:cubicBezTo>
                    <a:pt x="671536" y="1791962"/>
                    <a:pt x="640246" y="1792342"/>
                    <a:pt x="625424" y="1790315"/>
                  </a:cubicBezTo>
                  <a:cubicBezTo>
                    <a:pt x="610602" y="1788288"/>
                    <a:pt x="609589" y="1809698"/>
                    <a:pt x="615163" y="1824900"/>
                  </a:cubicBezTo>
                  <a:cubicBezTo>
                    <a:pt x="620737" y="1840102"/>
                    <a:pt x="595020" y="1830474"/>
                    <a:pt x="576905" y="1830474"/>
                  </a:cubicBezTo>
                  <a:cubicBezTo>
                    <a:pt x="558663" y="1830474"/>
                    <a:pt x="555749" y="1820592"/>
                    <a:pt x="537633" y="1808431"/>
                  </a:cubicBezTo>
                  <a:cubicBezTo>
                    <a:pt x="519517" y="1796270"/>
                    <a:pt x="513183" y="1822239"/>
                    <a:pt x="504316" y="1829207"/>
                  </a:cubicBezTo>
                  <a:cubicBezTo>
                    <a:pt x="495448" y="1836174"/>
                    <a:pt x="467071" y="1814005"/>
                    <a:pt x="448829" y="1801844"/>
                  </a:cubicBezTo>
                  <a:cubicBezTo>
                    <a:pt x="430713" y="1789682"/>
                    <a:pt x="425392" y="1757251"/>
                    <a:pt x="430713" y="1746737"/>
                  </a:cubicBezTo>
                  <a:cubicBezTo>
                    <a:pt x="436034" y="1736222"/>
                    <a:pt x="424759" y="1717726"/>
                    <a:pt x="420452" y="1705818"/>
                  </a:cubicBezTo>
                  <a:cubicBezTo>
                    <a:pt x="416145" y="1693910"/>
                    <a:pt x="433373" y="1663253"/>
                    <a:pt x="453389" y="1644757"/>
                  </a:cubicBezTo>
                  <a:cubicBezTo>
                    <a:pt x="473532" y="1626261"/>
                    <a:pt x="458963" y="1589650"/>
                    <a:pt x="447815" y="1573055"/>
                  </a:cubicBezTo>
                  <a:cubicBezTo>
                    <a:pt x="436540" y="1556586"/>
                    <a:pt x="379154" y="1548352"/>
                    <a:pt x="367372" y="1551012"/>
                  </a:cubicBezTo>
                  <a:cubicBezTo>
                    <a:pt x="355464" y="1553673"/>
                    <a:pt x="321513" y="1545818"/>
                    <a:pt x="311885" y="1542778"/>
                  </a:cubicBezTo>
                  <a:cubicBezTo>
                    <a:pt x="302257" y="1539864"/>
                    <a:pt x="305677" y="1524282"/>
                    <a:pt x="307958" y="1508447"/>
                  </a:cubicBezTo>
                  <a:cubicBezTo>
                    <a:pt x="310238" y="1492612"/>
                    <a:pt x="275274" y="1493245"/>
                    <a:pt x="265392" y="1493878"/>
                  </a:cubicBezTo>
                  <a:cubicBezTo>
                    <a:pt x="255511" y="1494512"/>
                    <a:pt x="252851" y="1524535"/>
                    <a:pt x="244236" y="1543411"/>
                  </a:cubicBezTo>
                  <a:cubicBezTo>
                    <a:pt x="235622" y="1562160"/>
                    <a:pt x="170634" y="1606119"/>
                    <a:pt x="128068" y="1607766"/>
                  </a:cubicBezTo>
                  <a:cubicBezTo>
                    <a:pt x="85503" y="1609413"/>
                    <a:pt x="53579" y="1517441"/>
                    <a:pt x="47625" y="1485644"/>
                  </a:cubicBezTo>
                  <a:cubicBezTo>
                    <a:pt x="41671" y="1453974"/>
                    <a:pt x="49652" y="1409761"/>
                    <a:pt x="61814" y="1391012"/>
                  </a:cubicBezTo>
                  <a:cubicBezTo>
                    <a:pt x="74102" y="1372263"/>
                    <a:pt x="39391" y="1342240"/>
                    <a:pt x="26469" y="1306895"/>
                  </a:cubicBezTo>
                  <a:cubicBezTo>
                    <a:pt x="13548" y="1271677"/>
                    <a:pt x="51172" y="1252168"/>
                    <a:pt x="78916" y="1242540"/>
                  </a:cubicBezTo>
                  <a:cubicBezTo>
                    <a:pt x="106659" y="1233039"/>
                    <a:pt x="143524" y="1237600"/>
                    <a:pt x="191030" y="1240260"/>
                  </a:cubicBezTo>
                  <a:cubicBezTo>
                    <a:pt x="238536" y="1242920"/>
                    <a:pt x="219787" y="1177932"/>
                    <a:pt x="215100" y="1157410"/>
                  </a:cubicBezTo>
                  <a:cubicBezTo>
                    <a:pt x="210539" y="1137014"/>
                    <a:pt x="233848" y="1088494"/>
                    <a:pt x="246390" y="1024773"/>
                  </a:cubicBezTo>
                  <a:cubicBezTo>
                    <a:pt x="258931" y="961178"/>
                    <a:pt x="161640" y="942050"/>
                    <a:pt x="141117" y="937362"/>
                  </a:cubicBezTo>
                  <a:cubicBezTo>
                    <a:pt x="120594" y="932675"/>
                    <a:pt x="93991" y="910252"/>
                    <a:pt x="78789" y="892137"/>
                  </a:cubicBezTo>
                  <a:cubicBezTo>
                    <a:pt x="63587" y="874021"/>
                    <a:pt x="41798" y="883902"/>
                    <a:pt x="18742" y="868700"/>
                  </a:cubicBezTo>
                  <a:cubicBezTo>
                    <a:pt x="-4315" y="853498"/>
                    <a:pt x="21655" y="803965"/>
                    <a:pt x="35210" y="790791"/>
                  </a:cubicBezTo>
                  <a:cubicBezTo>
                    <a:pt x="48765" y="777616"/>
                    <a:pt x="23682" y="754559"/>
                    <a:pt x="7847" y="741258"/>
                  </a:cubicBezTo>
                  <a:cubicBezTo>
                    <a:pt x="-7988" y="728083"/>
                    <a:pt x="3920" y="698059"/>
                    <a:pt x="10761" y="689191"/>
                  </a:cubicBezTo>
                  <a:cubicBezTo>
                    <a:pt x="17728" y="680323"/>
                    <a:pt x="23682" y="680323"/>
                    <a:pt x="22669" y="651186"/>
                  </a:cubicBezTo>
                  <a:cubicBezTo>
                    <a:pt x="21655" y="622176"/>
                    <a:pt x="52693" y="576570"/>
                    <a:pt x="65234" y="559721"/>
                  </a:cubicBezTo>
                  <a:cubicBezTo>
                    <a:pt x="77775" y="542873"/>
                    <a:pt x="155939" y="514242"/>
                    <a:pt x="204458" y="490046"/>
                  </a:cubicBezTo>
                  <a:cubicBezTo>
                    <a:pt x="243983" y="470410"/>
                    <a:pt x="272740" y="415303"/>
                    <a:pt x="282114" y="395668"/>
                  </a:cubicBezTo>
                  <a:cubicBezTo>
                    <a:pt x="290095" y="390474"/>
                    <a:pt x="295163" y="381859"/>
                    <a:pt x="300863" y="374132"/>
                  </a:cubicBezTo>
                  <a:cubicBezTo>
                    <a:pt x="308084" y="364250"/>
                    <a:pt x="316192" y="355763"/>
                    <a:pt x="325947" y="348289"/>
                  </a:cubicBezTo>
                  <a:cubicBezTo>
                    <a:pt x="339502" y="337774"/>
                    <a:pt x="351283" y="329033"/>
                    <a:pt x="359898" y="314084"/>
                  </a:cubicBezTo>
                  <a:cubicBezTo>
                    <a:pt x="368639" y="298756"/>
                    <a:pt x="381814" y="284061"/>
                    <a:pt x="398662" y="277600"/>
                  </a:cubicBezTo>
                  <a:cubicBezTo>
                    <a:pt x="418425" y="270125"/>
                    <a:pt x="442114" y="263791"/>
                    <a:pt x="463270" y="263791"/>
                  </a:cubicBezTo>
                  <a:cubicBezTo>
                    <a:pt x="472519" y="263791"/>
                    <a:pt x="483667" y="263665"/>
                    <a:pt x="489874" y="255684"/>
                  </a:cubicBezTo>
                  <a:cubicBezTo>
                    <a:pt x="494941" y="249350"/>
                    <a:pt x="495575" y="240608"/>
                    <a:pt x="498488" y="233261"/>
                  </a:cubicBezTo>
                  <a:cubicBezTo>
                    <a:pt x="505329" y="215399"/>
                    <a:pt x="530032" y="211725"/>
                    <a:pt x="527498" y="189935"/>
                  </a:cubicBezTo>
                  <a:cubicBezTo>
                    <a:pt x="526612" y="182715"/>
                    <a:pt x="523825" y="176000"/>
                    <a:pt x="522938" y="168779"/>
                  </a:cubicBezTo>
                  <a:cubicBezTo>
                    <a:pt x="521545" y="158138"/>
                    <a:pt x="526738" y="147117"/>
                    <a:pt x="531933" y="138122"/>
                  </a:cubicBezTo>
                  <a:cubicBezTo>
                    <a:pt x="544601" y="116206"/>
                    <a:pt x="569303" y="98597"/>
                    <a:pt x="592360" y="88843"/>
                  </a:cubicBezTo>
                  <a:cubicBezTo>
                    <a:pt x="602241" y="84662"/>
                    <a:pt x="611743" y="79468"/>
                    <a:pt x="620863" y="73894"/>
                  </a:cubicBezTo>
                  <a:cubicBezTo>
                    <a:pt x="628465" y="69207"/>
                    <a:pt x="635179" y="63633"/>
                    <a:pt x="643920" y="61353"/>
                  </a:cubicBezTo>
                  <a:cubicBezTo>
                    <a:pt x="662542" y="56412"/>
                    <a:pt x="677491" y="43110"/>
                    <a:pt x="697126" y="40197"/>
                  </a:cubicBezTo>
                  <a:cubicBezTo>
                    <a:pt x="704981" y="39056"/>
                    <a:pt x="712835" y="40450"/>
                    <a:pt x="720689" y="39690"/>
                  </a:cubicBezTo>
                  <a:cubicBezTo>
                    <a:pt x="729938" y="38930"/>
                    <a:pt x="739058" y="37663"/>
                    <a:pt x="748433" y="37283"/>
                  </a:cubicBezTo>
                  <a:cubicBezTo>
                    <a:pt x="758441" y="37030"/>
                    <a:pt x="768702" y="37410"/>
                    <a:pt x="778077" y="33229"/>
                  </a:cubicBezTo>
                  <a:cubicBezTo>
                    <a:pt x="787578" y="29049"/>
                    <a:pt x="793025" y="21068"/>
                    <a:pt x="800879" y="14860"/>
                  </a:cubicBezTo>
                  <a:cubicBezTo>
                    <a:pt x="809367" y="8146"/>
                    <a:pt x="820896" y="6246"/>
                    <a:pt x="831030" y="3079"/>
                  </a:cubicBezTo>
                  <a:cubicBezTo>
                    <a:pt x="839011" y="545"/>
                    <a:pt x="845218" y="-1228"/>
                    <a:pt x="853453" y="1052"/>
                  </a:cubicBezTo>
                  <a:cubicBezTo>
                    <a:pt x="864474" y="3966"/>
                    <a:pt x="885884" y="12200"/>
                    <a:pt x="889811" y="24361"/>
                  </a:cubicBezTo>
                  <a:cubicBezTo>
                    <a:pt x="892471" y="32722"/>
                    <a:pt x="885503" y="44757"/>
                    <a:pt x="881957" y="51978"/>
                  </a:cubicBezTo>
                  <a:cubicBezTo>
                    <a:pt x="879296" y="57425"/>
                    <a:pt x="871569" y="66673"/>
                    <a:pt x="875748" y="72881"/>
                  </a:cubicBezTo>
                  <a:cubicBezTo>
                    <a:pt x="880943" y="80608"/>
                    <a:pt x="895765" y="77821"/>
                    <a:pt x="903112" y="76301"/>
                  </a:cubicBezTo>
                  <a:cubicBezTo>
                    <a:pt x="912360" y="74401"/>
                    <a:pt x="921481" y="72627"/>
                    <a:pt x="930856" y="71361"/>
                  </a:cubicBezTo>
                  <a:cubicBezTo>
                    <a:pt x="950111" y="68827"/>
                    <a:pt x="969747" y="70220"/>
                    <a:pt x="987230" y="79468"/>
                  </a:cubicBezTo>
                  <a:cubicBezTo>
                    <a:pt x="1003571" y="87956"/>
                    <a:pt x="1015986" y="103285"/>
                    <a:pt x="1031821" y="113039"/>
                  </a:cubicBezTo>
                  <a:cubicBezTo>
                    <a:pt x="1039550" y="117853"/>
                    <a:pt x="1046644" y="117093"/>
                    <a:pt x="1055511" y="117346"/>
                  </a:cubicBezTo>
                  <a:cubicBezTo>
                    <a:pt x="1063365" y="117600"/>
                    <a:pt x="1071220" y="117600"/>
                    <a:pt x="1079075" y="116333"/>
                  </a:cubicBezTo>
                  <a:cubicBezTo>
                    <a:pt x="1084775" y="115446"/>
                    <a:pt x="1089462" y="112659"/>
                    <a:pt x="1095036" y="111392"/>
                  </a:cubicBezTo>
                  <a:cubicBezTo>
                    <a:pt x="1106438" y="108859"/>
                    <a:pt x="1119359" y="110759"/>
                    <a:pt x="1126454" y="99104"/>
                  </a:cubicBezTo>
                  <a:cubicBezTo>
                    <a:pt x="1131268" y="91250"/>
                    <a:pt x="1133041" y="81749"/>
                    <a:pt x="1143809" y="80228"/>
                  </a:cubicBezTo>
                  <a:cubicBezTo>
                    <a:pt x="1164585" y="77441"/>
                    <a:pt x="1183207" y="119247"/>
                    <a:pt x="1198156" y="89476"/>
                  </a:cubicBezTo>
                  <a:cubicBezTo>
                    <a:pt x="1202463" y="80862"/>
                    <a:pt x="1203603" y="71487"/>
                    <a:pt x="1213738" y="67940"/>
                  </a:cubicBezTo>
                  <a:cubicBezTo>
                    <a:pt x="1217918" y="66547"/>
                    <a:pt x="1222478" y="65660"/>
                    <a:pt x="1227166" y="65153"/>
                  </a:cubicBezTo>
                  <a:cubicBezTo>
                    <a:pt x="1210697" y="88969"/>
                    <a:pt x="1233374" y="103411"/>
                    <a:pt x="1265678" y="138376"/>
                  </a:cubicBezTo>
                  <a:cubicBezTo>
                    <a:pt x="1297981" y="173340"/>
                    <a:pt x="1297348" y="257457"/>
                    <a:pt x="1295701" y="276586"/>
                  </a:cubicBezTo>
                  <a:cubicBezTo>
                    <a:pt x="1294054" y="295715"/>
                    <a:pt x="1316477" y="454448"/>
                    <a:pt x="1315210" y="474591"/>
                  </a:cubicBezTo>
                  <a:cubicBezTo>
                    <a:pt x="1313817" y="494734"/>
                    <a:pt x="1287467" y="498027"/>
                    <a:pt x="1275558" y="496634"/>
                  </a:cubicBezTo>
                  <a:cubicBezTo>
                    <a:pt x="1263650" y="495367"/>
                    <a:pt x="1252503" y="498661"/>
                    <a:pt x="1241608" y="505881"/>
                  </a:cubicBezTo>
                  <a:cubicBezTo>
                    <a:pt x="1230713" y="513102"/>
                    <a:pt x="1240595" y="523744"/>
                    <a:pt x="1246548" y="526658"/>
                  </a:cubicBezTo>
                  <a:cubicBezTo>
                    <a:pt x="1252503" y="529571"/>
                    <a:pt x="1274672" y="550474"/>
                    <a:pt x="1284174" y="564915"/>
                  </a:cubicBezTo>
                  <a:cubicBezTo>
                    <a:pt x="1293801" y="579484"/>
                    <a:pt x="1283920" y="598867"/>
                    <a:pt x="1274672" y="604821"/>
                  </a:cubicBezTo>
                  <a:cubicBezTo>
                    <a:pt x="1265424" y="610774"/>
                    <a:pt x="1270365" y="642445"/>
                    <a:pt x="1279233" y="657900"/>
                  </a:cubicBezTo>
                  <a:cubicBezTo>
                    <a:pt x="1288101" y="673482"/>
                    <a:pt x="1304949" y="685264"/>
                    <a:pt x="1315844" y="694892"/>
                  </a:cubicBezTo>
                  <a:cubicBezTo>
                    <a:pt x="1326739" y="704393"/>
                    <a:pt x="1331426" y="720608"/>
                    <a:pt x="1333326" y="733150"/>
                  </a:cubicBezTo>
                  <a:cubicBezTo>
                    <a:pt x="1335353" y="745692"/>
                    <a:pt x="1351442" y="757600"/>
                    <a:pt x="1358789" y="765200"/>
                  </a:cubicBezTo>
                  <a:cubicBezTo>
                    <a:pt x="1366010" y="772802"/>
                    <a:pt x="1357142" y="785597"/>
                    <a:pt x="1344221" y="797125"/>
                  </a:cubicBezTo>
                  <a:cubicBezTo>
                    <a:pt x="1331299" y="808653"/>
                    <a:pt x="1330285" y="818914"/>
                    <a:pt x="1324458" y="830062"/>
                  </a:cubicBezTo>
                  <a:cubicBezTo>
                    <a:pt x="1318504" y="841337"/>
                    <a:pt x="1318251" y="845264"/>
                    <a:pt x="1305329" y="851598"/>
                  </a:cubicBezTo>
                  <a:cubicBezTo>
                    <a:pt x="1292407" y="857805"/>
                    <a:pt x="1308876" y="876048"/>
                    <a:pt x="1318504" y="883522"/>
                  </a:cubicBezTo>
                  <a:cubicBezTo>
                    <a:pt x="1328132" y="891123"/>
                    <a:pt x="1311283" y="896444"/>
                    <a:pt x="1302035" y="901258"/>
                  </a:cubicBezTo>
                  <a:cubicBezTo>
                    <a:pt x="1292788" y="906198"/>
                    <a:pt x="1287593" y="919753"/>
                    <a:pt x="1289240" y="938249"/>
                  </a:cubicBezTo>
                  <a:cubicBezTo>
                    <a:pt x="1290887" y="956618"/>
                    <a:pt x="1307103" y="956111"/>
                    <a:pt x="1319897" y="961685"/>
                  </a:cubicBezTo>
                  <a:cubicBezTo>
                    <a:pt x="1332819" y="967259"/>
                    <a:pt x="1331806" y="958771"/>
                    <a:pt x="1342701" y="949144"/>
                  </a:cubicBezTo>
                  <a:cubicBezTo>
                    <a:pt x="1353595" y="939643"/>
                    <a:pt x="1356889" y="950411"/>
                    <a:pt x="1366517" y="963079"/>
                  </a:cubicBezTo>
                  <a:cubicBezTo>
                    <a:pt x="1376144" y="975620"/>
                    <a:pt x="1388306" y="968653"/>
                    <a:pt x="1402115" y="967386"/>
                  </a:cubicBezTo>
                  <a:cubicBezTo>
                    <a:pt x="1412123" y="966499"/>
                    <a:pt x="1435939" y="971440"/>
                    <a:pt x="1454561" y="980307"/>
                  </a:cubicBezTo>
                  <a:cubicBezTo>
                    <a:pt x="1461529" y="983601"/>
                    <a:pt x="1467863" y="987528"/>
                    <a:pt x="1472297" y="991836"/>
                  </a:cubicBezTo>
                  <a:cubicBezTo>
                    <a:pt x="1488639" y="1008304"/>
                    <a:pt x="1463936" y="1020592"/>
                    <a:pt x="1448354" y="1031107"/>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nvGrpSpPr>
            <p:cNvPr id="716" name="Рисунок 388">
              <a:extLst>
                <a:ext uri="{FF2B5EF4-FFF2-40B4-BE49-F238E27FC236}">
                  <a16:creationId xmlns:a16="http://schemas.microsoft.com/office/drawing/2014/main" id="{1DA397FD-DC6E-439E-BB40-D0F80476817D}"/>
                </a:ext>
              </a:extLst>
            </p:cNvPr>
            <p:cNvGrpSpPr/>
            <p:nvPr/>
          </p:nvGrpSpPr>
          <p:grpSpPr>
            <a:xfrm>
              <a:off x="7192823" y="4380244"/>
              <a:ext cx="2142166" cy="2320324"/>
              <a:chOff x="7192823" y="4380244"/>
              <a:chExt cx="2142166" cy="2320324"/>
            </a:xfrm>
            <a:solidFill>
              <a:srgbClr val="E3E8EC"/>
            </a:solidFill>
          </p:grpSpPr>
          <p:sp>
            <p:nvSpPr>
              <p:cNvPr id="717" name="Полилиния: фигура 716">
                <a:extLst>
                  <a:ext uri="{FF2B5EF4-FFF2-40B4-BE49-F238E27FC236}">
                    <a16:creationId xmlns:a16="http://schemas.microsoft.com/office/drawing/2014/main" id="{491F978E-B3DF-4F0B-ABE0-B9D5B89AAAF5}"/>
                  </a:ext>
                </a:extLst>
              </p:cNvPr>
              <p:cNvSpPr/>
              <p:nvPr/>
            </p:nvSpPr>
            <p:spPr>
              <a:xfrm>
                <a:off x="8368795" y="6306333"/>
                <a:ext cx="54345" cy="46859"/>
              </a:xfrm>
              <a:custGeom>
                <a:avLst/>
                <a:gdLst>
                  <a:gd name="connsiteX0" fmla="*/ 2468 w 54345"/>
                  <a:gd name="connsiteY0" fmla="*/ 44309 h 46859"/>
                  <a:gd name="connsiteX1" fmla="*/ 38446 w 54345"/>
                  <a:gd name="connsiteY1" fmla="*/ 3771 h 46859"/>
                  <a:gd name="connsiteX2" fmla="*/ 52128 w 54345"/>
                  <a:gd name="connsiteY2" fmla="*/ 1364 h 46859"/>
                  <a:gd name="connsiteX3" fmla="*/ 45667 w 54345"/>
                  <a:gd name="connsiteY3" fmla="*/ 21126 h 46859"/>
                  <a:gd name="connsiteX4" fmla="*/ 2468 w 54345"/>
                  <a:gd name="connsiteY4" fmla="*/ 44309 h 46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45" h="46859">
                    <a:moveTo>
                      <a:pt x="2468" y="44309"/>
                    </a:moveTo>
                    <a:cubicBezTo>
                      <a:pt x="-10453" y="33794"/>
                      <a:pt x="31225" y="8331"/>
                      <a:pt x="38446" y="3771"/>
                    </a:cubicBezTo>
                    <a:cubicBezTo>
                      <a:pt x="41993" y="1490"/>
                      <a:pt x="48074" y="-1930"/>
                      <a:pt x="52128" y="1364"/>
                    </a:cubicBezTo>
                    <a:cubicBezTo>
                      <a:pt x="58715" y="6558"/>
                      <a:pt x="48834" y="16946"/>
                      <a:pt x="45667" y="21126"/>
                    </a:cubicBezTo>
                    <a:cubicBezTo>
                      <a:pt x="38699" y="29994"/>
                      <a:pt x="15389" y="54824"/>
                      <a:pt x="2468" y="44309"/>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18" name="Полилиния: фигура 717">
                <a:extLst>
                  <a:ext uri="{FF2B5EF4-FFF2-40B4-BE49-F238E27FC236}">
                    <a16:creationId xmlns:a16="http://schemas.microsoft.com/office/drawing/2014/main" id="{C4D38EFB-4012-4AE9-A8DF-F451DE516DAB}"/>
                  </a:ext>
                </a:extLst>
              </p:cNvPr>
              <p:cNvSpPr/>
              <p:nvPr/>
            </p:nvSpPr>
            <p:spPr>
              <a:xfrm>
                <a:off x="7192823" y="4380244"/>
                <a:ext cx="2142166" cy="2320324"/>
              </a:xfrm>
              <a:custGeom>
                <a:avLst/>
                <a:gdLst>
                  <a:gd name="connsiteX0" fmla="*/ 2140214 w 2142166"/>
                  <a:gd name="connsiteY0" fmla="*/ 863193 h 2320324"/>
                  <a:gd name="connsiteX1" fmla="*/ 2106136 w 2142166"/>
                  <a:gd name="connsiteY1" fmla="*/ 878649 h 2320324"/>
                  <a:gd name="connsiteX2" fmla="*/ 2061290 w 2142166"/>
                  <a:gd name="connsiteY2" fmla="*/ 853692 h 2320324"/>
                  <a:gd name="connsiteX3" fmla="*/ 2010997 w 2142166"/>
                  <a:gd name="connsiteY3" fmla="*/ 885996 h 2320324"/>
                  <a:gd name="connsiteX4" fmla="*/ 2019865 w 2142166"/>
                  <a:gd name="connsiteY4" fmla="*/ 940850 h 2320324"/>
                  <a:gd name="connsiteX5" fmla="*/ 2005043 w 2142166"/>
                  <a:gd name="connsiteY5" fmla="*/ 984175 h 2320324"/>
                  <a:gd name="connsiteX6" fmla="*/ 2017585 w 2142166"/>
                  <a:gd name="connsiteY6" fmla="*/ 1011792 h 2320324"/>
                  <a:gd name="connsiteX7" fmla="*/ 2021512 w 2142166"/>
                  <a:gd name="connsiteY7" fmla="*/ 1041309 h 2320324"/>
                  <a:gd name="connsiteX8" fmla="*/ 2036587 w 2142166"/>
                  <a:gd name="connsiteY8" fmla="*/ 1055371 h 2320324"/>
                  <a:gd name="connsiteX9" fmla="*/ 2060403 w 2142166"/>
                  <a:gd name="connsiteY9" fmla="*/ 1073486 h 2320324"/>
                  <a:gd name="connsiteX10" fmla="*/ 1979200 w 2142166"/>
                  <a:gd name="connsiteY10" fmla="*/ 1152916 h 2320324"/>
                  <a:gd name="connsiteX11" fmla="*/ 1930680 w 2142166"/>
                  <a:gd name="connsiteY11" fmla="*/ 1166725 h 2320324"/>
                  <a:gd name="connsiteX12" fmla="*/ 1908764 w 2142166"/>
                  <a:gd name="connsiteY12" fmla="*/ 1184840 h 2320324"/>
                  <a:gd name="connsiteX13" fmla="*/ 1959944 w 2142166"/>
                  <a:gd name="connsiteY13" fmla="*/ 1114911 h 2320324"/>
                  <a:gd name="connsiteX14" fmla="*/ 1906484 w 2142166"/>
                  <a:gd name="connsiteY14" fmla="*/ 1081594 h 2320324"/>
                  <a:gd name="connsiteX15" fmla="*/ 1883428 w 2142166"/>
                  <a:gd name="connsiteY15" fmla="*/ 1130113 h 2320324"/>
                  <a:gd name="connsiteX16" fmla="*/ 1829715 w 2142166"/>
                  <a:gd name="connsiteY16" fmla="*/ 1142021 h 2320324"/>
                  <a:gd name="connsiteX17" fmla="*/ 1835922 w 2142166"/>
                  <a:gd name="connsiteY17" fmla="*/ 1183573 h 2320324"/>
                  <a:gd name="connsiteX18" fmla="*/ 1820087 w 2142166"/>
                  <a:gd name="connsiteY18" fmla="*/ 1221198 h 2320324"/>
                  <a:gd name="connsiteX19" fmla="*/ 1797663 w 2142166"/>
                  <a:gd name="connsiteY19" fmla="*/ 1230699 h 2320324"/>
                  <a:gd name="connsiteX20" fmla="*/ 1758392 w 2142166"/>
                  <a:gd name="connsiteY20" fmla="*/ 1266677 h 2320324"/>
                  <a:gd name="connsiteX21" fmla="*/ 1721148 w 2142166"/>
                  <a:gd name="connsiteY21" fmla="*/ 1263763 h 2320324"/>
                  <a:gd name="connsiteX22" fmla="*/ 1683270 w 2142166"/>
                  <a:gd name="connsiteY22" fmla="*/ 1252235 h 2320324"/>
                  <a:gd name="connsiteX23" fmla="*/ 1653626 w 2142166"/>
                  <a:gd name="connsiteY23" fmla="*/ 1266044 h 2320324"/>
                  <a:gd name="connsiteX24" fmla="*/ 1616254 w 2142166"/>
                  <a:gd name="connsiteY24" fmla="*/ 1220818 h 2320324"/>
                  <a:gd name="connsiteX25" fmla="*/ 1591552 w 2142166"/>
                  <a:gd name="connsiteY25" fmla="*/ 1241594 h 2320324"/>
                  <a:gd name="connsiteX26" fmla="*/ 1546072 w 2142166"/>
                  <a:gd name="connsiteY26" fmla="*/ 1216257 h 2320324"/>
                  <a:gd name="connsiteX27" fmla="*/ 1508194 w 2142166"/>
                  <a:gd name="connsiteY27" fmla="*/ 1245648 h 2320324"/>
                  <a:gd name="connsiteX28" fmla="*/ 1475510 w 2142166"/>
                  <a:gd name="connsiteY28" fmla="*/ 1278332 h 2320324"/>
                  <a:gd name="connsiteX29" fmla="*/ 1411535 w 2142166"/>
                  <a:gd name="connsiteY29" fmla="*/ 1269084 h 2320324"/>
                  <a:gd name="connsiteX30" fmla="*/ 1358709 w 2142166"/>
                  <a:gd name="connsiteY30" fmla="*/ 1304048 h 2320324"/>
                  <a:gd name="connsiteX31" fmla="*/ 1317410 w 2142166"/>
                  <a:gd name="connsiteY31" fmla="*/ 1312916 h 2320324"/>
                  <a:gd name="connsiteX32" fmla="*/ 1266991 w 2142166"/>
                  <a:gd name="connsiteY32" fmla="*/ 1359155 h 2320324"/>
                  <a:gd name="connsiteX33" fmla="*/ 1323364 w 2142166"/>
                  <a:gd name="connsiteY33" fmla="*/ 1421483 h 2320324"/>
                  <a:gd name="connsiteX34" fmla="*/ 1303602 w 2142166"/>
                  <a:gd name="connsiteY34" fmla="*/ 1462021 h 2320324"/>
                  <a:gd name="connsiteX35" fmla="*/ 1329825 w 2142166"/>
                  <a:gd name="connsiteY35" fmla="*/ 1656352 h 2320324"/>
                  <a:gd name="connsiteX36" fmla="*/ 1216571 w 2142166"/>
                  <a:gd name="connsiteY36" fmla="*/ 1891349 h 2320324"/>
                  <a:gd name="connsiteX37" fmla="*/ 1160831 w 2142166"/>
                  <a:gd name="connsiteY37" fmla="*/ 1962037 h 2320324"/>
                  <a:gd name="connsiteX38" fmla="*/ 1150189 w 2142166"/>
                  <a:gd name="connsiteY38" fmla="*/ 2002322 h 2320324"/>
                  <a:gd name="connsiteX39" fmla="*/ 1129034 w 2142166"/>
                  <a:gd name="connsiteY39" fmla="*/ 2041341 h 2320324"/>
                  <a:gd name="connsiteX40" fmla="*/ 1059358 w 2142166"/>
                  <a:gd name="connsiteY40" fmla="*/ 2091254 h 2320324"/>
                  <a:gd name="connsiteX41" fmla="*/ 1004631 w 2142166"/>
                  <a:gd name="connsiteY41" fmla="*/ 2170810 h 2320324"/>
                  <a:gd name="connsiteX42" fmla="*/ 967006 w 2142166"/>
                  <a:gd name="connsiteY42" fmla="*/ 2173724 h 2320324"/>
                  <a:gd name="connsiteX43" fmla="*/ 934576 w 2142166"/>
                  <a:gd name="connsiteY43" fmla="*/ 2160549 h 2320324"/>
                  <a:gd name="connsiteX44" fmla="*/ 930142 w 2142166"/>
                  <a:gd name="connsiteY44" fmla="*/ 2198934 h 2320324"/>
                  <a:gd name="connsiteX45" fmla="*/ 863760 w 2142166"/>
                  <a:gd name="connsiteY45" fmla="*/ 2217302 h 2320324"/>
                  <a:gd name="connsiteX46" fmla="*/ 875288 w 2142166"/>
                  <a:gd name="connsiteY46" fmla="*/ 2253280 h 2320324"/>
                  <a:gd name="connsiteX47" fmla="*/ 935210 w 2142166"/>
                  <a:gd name="connsiteY47" fmla="*/ 2263161 h 2320324"/>
                  <a:gd name="connsiteX48" fmla="*/ 904552 w 2142166"/>
                  <a:gd name="connsiteY48" fmla="*/ 2291665 h 2320324"/>
                  <a:gd name="connsiteX49" fmla="*/ 866927 w 2142166"/>
                  <a:gd name="connsiteY49" fmla="*/ 2317762 h 2320324"/>
                  <a:gd name="connsiteX50" fmla="*/ 841211 w 2142166"/>
                  <a:gd name="connsiteY50" fmla="*/ 2275577 h 2320324"/>
                  <a:gd name="connsiteX51" fmla="*/ 793958 w 2142166"/>
                  <a:gd name="connsiteY51" fmla="*/ 2267342 h 2320324"/>
                  <a:gd name="connsiteX52" fmla="*/ 781796 w 2142166"/>
                  <a:gd name="connsiteY52" fmla="*/ 2231364 h 2320324"/>
                  <a:gd name="connsiteX53" fmla="*/ 736951 w 2142166"/>
                  <a:gd name="connsiteY53" fmla="*/ 2194753 h 2320324"/>
                  <a:gd name="connsiteX54" fmla="*/ 715795 w 2142166"/>
                  <a:gd name="connsiteY54" fmla="*/ 2155481 h 2320324"/>
                  <a:gd name="connsiteX55" fmla="*/ 647513 w 2142166"/>
                  <a:gd name="connsiteY55" fmla="*/ 2134326 h 2320324"/>
                  <a:gd name="connsiteX56" fmla="*/ 596713 w 2142166"/>
                  <a:gd name="connsiteY56" fmla="*/ 2085553 h 2320324"/>
                  <a:gd name="connsiteX57" fmla="*/ 543887 w 2142166"/>
                  <a:gd name="connsiteY57" fmla="*/ 2035007 h 2320324"/>
                  <a:gd name="connsiteX58" fmla="*/ 489793 w 2142166"/>
                  <a:gd name="connsiteY58" fmla="*/ 1970018 h 2320324"/>
                  <a:gd name="connsiteX59" fmla="*/ 461036 w 2142166"/>
                  <a:gd name="connsiteY59" fmla="*/ 1942022 h 2320324"/>
                  <a:gd name="connsiteX60" fmla="*/ 413151 w 2142166"/>
                  <a:gd name="connsiteY60" fmla="*/ 1985854 h 2320324"/>
                  <a:gd name="connsiteX61" fmla="*/ 360450 w 2142166"/>
                  <a:gd name="connsiteY61" fmla="*/ 2023225 h 2320324"/>
                  <a:gd name="connsiteX62" fmla="*/ 355003 w 2142166"/>
                  <a:gd name="connsiteY62" fmla="*/ 2016257 h 2320324"/>
                  <a:gd name="connsiteX63" fmla="*/ 352850 w 2142166"/>
                  <a:gd name="connsiteY63" fmla="*/ 2014864 h 2320324"/>
                  <a:gd name="connsiteX64" fmla="*/ 346009 w 2142166"/>
                  <a:gd name="connsiteY64" fmla="*/ 2009923 h 2320324"/>
                  <a:gd name="connsiteX65" fmla="*/ 344235 w 2142166"/>
                  <a:gd name="connsiteY65" fmla="*/ 2007770 h 2320324"/>
                  <a:gd name="connsiteX66" fmla="*/ 340055 w 2142166"/>
                  <a:gd name="connsiteY66" fmla="*/ 1973439 h 2320324"/>
                  <a:gd name="connsiteX67" fmla="*/ 310285 w 2142166"/>
                  <a:gd name="connsiteY67" fmla="*/ 1972932 h 2320324"/>
                  <a:gd name="connsiteX68" fmla="*/ 277727 w 2142166"/>
                  <a:gd name="connsiteY68" fmla="*/ 1993201 h 2320324"/>
                  <a:gd name="connsiteX69" fmla="*/ 256064 w 2142166"/>
                  <a:gd name="connsiteY69" fmla="*/ 1986741 h 2320324"/>
                  <a:gd name="connsiteX70" fmla="*/ 249984 w 2142166"/>
                  <a:gd name="connsiteY70" fmla="*/ 1976859 h 2320324"/>
                  <a:gd name="connsiteX71" fmla="*/ 242383 w 2142166"/>
                  <a:gd name="connsiteY71" fmla="*/ 1964951 h 2320324"/>
                  <a:gd name="connsiteX72" fmla="*/ 236049 w 2142166"/>
                  <a:gd name="connsiteY72" fmla="*/ 1951776 h 2320324"/>
                  <a:gd name="connsiteX73" fmla="*/ 224774 w 2142166"/>
                  <a:gd name="connsiteY73" fmla="*/ 1940501 h 2320324"/>
                  <a:gd name="connsiteX74" fmla="*/ 209825 w 2142166"/>
                  <a:gd name="connsiteY74" fmla="*/ 1928593 h 2320324"/>
                  <a:gd name="connsiteX75" fmla="*/ 193736 w 2142166"/>
                  <a:gd name="connsiteY75" fmla="*/ 1922132 h 2320324"/>
                  <a:gd name="connsiteX76" fmla="*/ 168273 w 2142166"/>
                  <a:gd name="connsiteY76" fmla="*/ 1912884 h 2320324"/>
                  <a:gd name="connsiteX77" fmla="*/ 134703 w 2142166"/>
                  <a:gd name="connsiteY77" fmla="*/ 1883748 h 2320324"/>
                  <a:gd name="connsiteX78" fmla="*/ 100878 w 2142166"/>
                  <a:gd name="connsiteY78" fmla="*/ 1883621 h 2320324"/>
                  <a:gd name="connsiteX79" fmla="*/ 99358 w 2142166"/>
                  <a:gd name="connsiteY79" fmla="*/ 1885141 h 2320324"/>
                  <a:gd name="connsiteX80" fmla="*/ 95431 w 2142166"/>
                  <a:gd name="connsiteY80" fmla="*/ 1890969 h 2320324"/>
                  <a:gd name="connsiteX81" fmla="*/ 94544 w 2142166"/>
                  <a:gd name="connsiteY81" fmla="*/ 1892742 h 2320324"/>
                  <a:gd name="connsiteX82" fmla="*/ 91884 w 2142166"/>
                  <a:gd name="connsiteY82" fmla="*/ 1899583 h 2320324"/>
                  <a:gd name="connsiteX83" fmla="*/ 62367 w 2142166"/>
                  <a:gd name="connsiteY83" fmla="*/ 1870699 h 2320324"/>
                  <a:gd name="connsiteX84" fmla="*/ 32343 w 2142166"/>
                  <a:gd name="connsiteY84" fmla="*/ 1817619 h 2320324"/>
                  <a:gd name="connsiteX85" fmla="*/ 419 w 2142166"/>
                  <a:gd name="connsiteY85" fmla="*/ 1756938 h 2320324"/>
                  <a:gd name="connsiteX86" fmla="*/ 51599 w 2142166"/>
                  <a:gd name="connsiteY86" fmla="*/ 1724254 h 2320324"/>
                  <a:gd name="connsiteX87" fmla="*/ 104425 w 2142166"/>
                  <a:gd name="connsiteY87" fmla="*/ 1697904 h 2320324"/>
                  <a:gd name="connsiteX88" fmla="*/ 115574 w 2142166"/>
                  <a:gd name="connsiteY88" fmla="*/ 1605173 h 2320324"/>
                  <a:gd name="connsiteX89" fmla="*/ 141037 w 2142166"/>
                  <a:gd name="connsiteY89" fmla="*/ 1576543 h 2320324"/>
                  <a:gd name="connsiteX90" fmla="*/ 151931 w 2142166"/>
                  <a:gd name="connsiteY90" fmla="*/ 1519789 h 2320324"/>
                  <a:gd name="connsiteX91" fmla="*/ 196143 w 2142166"/>
                  <a:gd name="connsiteY91" fmla="*/ 1458474 h 2320324"/>
                  <a:gd name="connsiteX92" fmla="*/ 226167 w 2142166"/>
                  <a:gd name="connsiteY92" fmla="*/ 1426804 h 2320324"/>
                  <a:gd name="connsiteX93" fmla="*/ 238075 w 2142166"/>
                  <a:gd name="connsiteY93" fmla="*/ 1396146 h 2320324"/>
                  <a:gd name="connsiteX94" fmla="*/ 227181 w 2142166"/>
                  <a:gd name="connsiteY94" fmla="*/ 1352188 h 2320324"/>
                  <a:gd name="connsiteX95" fmla="*/ 208052 w 2142166"/>
                  <a:gd name="connsiteY95" fmla="*/ 1327485 h 2320324"/>
                  <a:gd name="connsiteX96" fmla="*/ 203111 w 2142166"/>
                  <a:gd name="connsiteY96" fmla="*/ 1306075 h 2320324"/>
                  <a:gd name="connsiteX97" fmla="*/ 191836 w 2142166"/>
                  <a:gd name="connsiteY97" fmla="*/ 1289227 h 2320324"/>
                  <a:gd name="connsiteX98" fmla="*/ 239089 w 2142166"/>
                  <a:gd name="connsiteY98" fmla="*/ 1216638 h 2320324"/>
                  <a:gd name="connsiteX99" fmla="*/ 262905 w 2142166"/>
                  <a:gd name="connsiteY99" fmla="*/ 1171792 h 2320324"/>
                  <a:gd name="connsiteX100" fmla="*/ 325233 w 2142166"/>
                  <a:gd name="connsiteY100" fmla="*/ 1177113 h 2320324"/>
                  <a:gd name="connsiteX101" fmla="*/ 361844 w 2142166"/>
                  <a:gd name="connsiteY101" fmla="*/ 1197255 h 2320324"/>
                  <a:gd name="connsiteX102" fmla="*/ 400736 w 2142166"/>
                  <a:gd name="connsiteY102" fmla="*/ 1165965 h 2320324"/>
                  <a:gd name="connsiteX103" fmla="*/ 420498 w 2142166"/>
                  <a:gd name="connsiteY103" fmla="*/ 1125680 h 2320324"/>
                  <a:gd name="connsiteX104" fmla="*/ 472692 w 2142166"/>
                  <a:gd name="connsiteY104" fmla="*/ 1149749 h 2320324"/>
                  <a:gd name="connsiteX105" fmla="*/ 523871 w 2142166"/>
                  <a:gd name="connsiteY105" fmla="*/ 1232220 h 2320324"/>
                  <a:gd name="connsiteX106" fmla="*/ 545280 w 2142166"/>
                  <a:gd name="connsiteY106" fmla="*/ 1220691 h 2320324"/>
                  <a:gd name="connsiteX107" fmla="*/ 531725 w 2142166"/>
                  <a:gd name="connsiteY107" fmla="*/ 1125680 h 2320324"/>
                  <a:gd name="connsiteX108" fmla="*/ 557822 w 2142166"/>
                  <a:gd name="connsiteY108" fmla="*/ 1098696 h 2320324"/>
                  <a:gd name="connsiteX109" fmla="*/ 591139 w 2142166"/>
                  <a:gd name="connsiteY109" fmla="*/ 1095022 h 2320324"/>
                  <a:gd name="connsiteX110" fmla="*/ 596713 w 2142166"/>
                  <a:gd name="connsiteY110" fmla="*/ 1046883 h 2320324"/>
                  <a:gd name="connsiteX111" fmla="*/ 645866 w 2142166"/>
                  <a:gd name="connsiteY111" fmla="*/ 1027754 h 2320324"/>
                  <a:gd name="connsiteX112" fmla="*/ 674243 w 2142166"/>
                  <a:gd name="connsiteY112" fmla="*/ 994816 h 2320324"/>
                  <a:gd name="connsiteX113" fmla="*/ 676904 w 2142166"/>
                  <a:gd name="connsiteY113" fmla="*/ 939076 h 2320324"/>
                  <a:gd name="connsiteX114" fmla="*/ 684378 w 2142166"/>
                  <a:gd name="connsiteY114" fmla="*/ 934389 h 2320324"/>
                  <a:gd name="connsiteX115" fmla="*/ 684378 w 2142166"/>
                  <a:gd name="connsiteY115" fmla="*/ 934389 h 2320324"/>
                  <a:gd name="connsiteX116" fmla="*/ 705660 w 2142166"/>
                  <a:gd name="connsiteY116" fmla="*/ 925141 h 2320324"/>
                  <a:gd name="connsiteX117" fmla="*/ 739612 w 2142166"/>
                  <a:gd name="connsiteY117" fmla="*/ 920834 h 2320324"/>
                  <a:gd name="connsiteX118" fmla="*/ 768622 w 2142166"/>
                  <a:gd name="connsiteY118" fmla="*/ 978981 h 2320324"/>
                  <a:gd name="connsiteX119" fmla="*/ 801939 w 2142166"/>
                  <a:gd name="connsiteY119" fmla="*/ 982908 h 2320324"/>
                  <a:gd name="connsiteX120" fmla="*/ 823095 w 2142166"/>
                  <a:gd name="connsiteY120" fmla="*/ 1007358 h 2320324"/>
                  <a:gd name="connsiteX121" fmla="*/ 878836 w 2142166"/>
                  <a:gd name="connsiteY121" fmla="*/ 1006724 h 2320324"/>
                  <a:gd name="connsiteX122" fmla="*/ 887070 w 2142166"/>
                  <a:gd name="connsiteY122" fmla="*/ 951237 h 2320324"/>
                  <a:gd name="connsiteX123" fmla="*/ 923301 w 2142166"/>
                  <a:gd name="connsiteY123" fmla="*/ 913613 h 2320324"/>
                  <a:gd name="connsiteX124" fmla="*/ 890363 w 2142166"/>
                  <a:gd name="connsiteY124" fmla="*/ 855212 h 2320324"/>
                  <a:gd name="connsiteX125" fmla="*/ 861987 w 2142166"/>
                  <a:gd name="connsiteY125" fmla="*/ 838743 h 2320324"/>
                  <a:gd name="connsiteX126" fmla="*/ 887070 w 2142166"/>
                  <a:gd name="connsiteY126" fmla="*/ 805426 h 2320324"/>
                  <a:gd name="connsiteX127" fmla="*/ 923301 w 2142166"/>
                  <a:gd name="connsiteY127" fmla="*/ 759820 h 2320324"/>
                  <a:gd name="connsiteX128" fmla="*/ 914433 w 2142166"/>
                  <a:gd name="connsiteY128" fmla="*/ 724856 h 2320324"/>
                  <a:gd name="connsiteX129" fmla="*/ 844758 w 2142166"/>
                  <a:gd name="connsiteY129" fmla="*/ 684318 h 2320324"/>
                  <a:gd name="connsiteX130" fmla="*/ 837791 w 2142166"/>
                  <a:gd name="connsiteY130" fmla="*/ 622877 h 2320324"/>
                  <a:gd name="connsiteX131" fmla="*/ 840450 w 2142166"/>
                  <a:gd name="connsiteY131" fmla="*/ 584238 h 2320324"/>
                  <a:gd name="connsiteX132" fmla="*/ 841464 w 2142166"/>
                  <a:gd name="connsiteY132" fmla="*/ 544587 h 2320324"/>
                  <a:gd name="connsiteX133" fmla="*/ 932169 w 2142166"/>
                  <a:gd name="connsiteY133" fmla="*/ 492773 h 2320324"/>
                  <a:gd name="connsiteX134" fmla="*/ 922288 w 2142166"/>
                  <a:gd name="connsiteY134" fmla="*/ 466424 h 2320324"/>
                  <a:gd name="connsiteX135" fmla="*/ 938123 w 2142166"/>
                  <a:gd name="connsiteY135" fmla="*/ 434120 h 2320324"/>
                  <a:gd name="connsiteX136" fmla="*/ 966246 w 2142166"/>
                  <a:gd name="connsiteY136" fmla="*/ 397128 h 2320324"/>
                  <a:gd name="connsiteX137" fmla="*/ 959912 w 2142166"/>
                  <a:gd name="connsiteY137" fmla="*/ 341641 h 2320324"/>
                  <a:gd name="connsiteX138" fmla="*/ 974734 w 2142166"/>
                  <a:gd name="connsiteY138" fmla="*/ 304017 h 2320324"/>
                  <a:gd name="connsiteX139" fmla="*/ 945344 w 2142166"/>
                  <a:gd name="connsiteY139" fmla="*/ 248276 h 2320324"/>
                  <a:gd name="connsiteX140" fmla="*/ 943951 w 2142166"/>
                  <a:gd name="connsiteY140" fmla="*/ 207991 h 2320324"/>
                  <a:gd name="connsiteX141" fmla="*/ 969413 w 2142166"/>
                  <a:gd name="connsiteY141" fmla="*/ 187595 h 2320324"/>
                  <a:gd name="connsiteX142" fmla="*/ 952945 w 2142166"/>
                  <a:gd name="connsiteY142" fmla="*/ 161246 h 2320324"/>
                  <a:gd name="connsiteX143" fmla="*/ 939010 w 2142166"/>
                  <a:gd name="connsiteY143" fmla="*/ 147057 h 2320324"/>
                  <a:gd name="connsiteX144" fmla="*/ 958265 w 2142166"/>
                  <a:gd name="connsiteY144" fmla="*/ 107786 h 2320324"/>
                  <a:gd name="connsiteX145" fmla="*/ 961813 w 2142166"/>
                  <a:gd name="connsiteY145" fmla="*/ 54326 h 2320324"/>
                  <a:gd name="connsiteX146" fmla="*/ 1042003 w 2142166"/>
                  <a:gd name="connsiteY146" fmla="*/ 62940 h 2320324"/>
                  <a:gd name="connsiteX147" fmla="*/ 1065819 w 2142166"/>
                  <a:gd name="connsiteY147" fmla="*/ 24302 h 2320324"/>
                  <a:gd name="connsiteX148" fmla="*/ 1048083 w 2142166"/>
                  <a:gd name="connsiteY148" fmla="*/ 12774 h 2320324"/>
                  <a:gd name="connsiteX149" fmla="*/ 1090269 w 2142166"/>
                  <a:gd name="connsiteY149" fmla="*/ 5046 h 2320324"/>
                  <a:gd name="connsiteX150" fmla="*/ 1102430 w 2142166"/>
                  <a:gd name="connsiteY150" fmla="*/ 36210 h 2320324"/>
                  <a:gd name="connsiteX151" fmla="*/ 1123206 w 2142166"/>
                  <a:gd name="connsiteY151" fmla="*/ 76748 h 2320324"/>
                  <a:gd name="connsiteX152" fmla="*/ 1076967 w 2142166"/>
                  <a:gd name="connsiteY152" fmla="*/ 76748 h 2320324"/>
                  <a:gd name="connsiteX153" fmla="*/ 1080641 w 2142166"/>
                  <a:gd name="connsiteY153" fmla="*/ 130715 h 2320324"/>
                  <a:gd name="connsiteX154" fmla="*/ 1146262 w 2142166"/>
                  <a:gd name="connsiteY154" fmla="*/ 126788 h 2320324"/>
                  <a:gd name="connsiteX155" fmla="*/ 1184394 w 2142166"/>
                  <a:gd name="connsiteY155" fmla="*/ 190889 h 2320324"/>
                  <a:gd name="connsiteX156" fmla="*/ 1198836 w 2142166"/>
                  <a:gd name="connsiteY156" fmla="*/ 236241 h 2320324"/>
                  <a:gd name="connsiteX157" fmla="*/ 1194149 w 2142166"/>
                  <a:gd name="connsiteY157" fmla="*/ 296796 h 2320324"/>
                  <a:gd name="connsiteX158" fmla="*/ 1238740 w 2142166"/>
                  <a:gd name="connsiteY158" fmla="*/ 358110 h 2320324"/>
                  <a:gd name="connsiteX159" fmla="*/ 1230632 w 2142166"/>
                  <a:gd name="connsiteY159" fmla="*/ 410303 h 2320324"/>
                  <a:gd name="connsiteX160" fmla="*/ 1229112 w 2142166"/>
                  <a:gd name="connsiteY160" fmla="*/ 450082 h 2320324"/>
                  <a:gd name="connsiteX161" fmla="*/ 1289540 w 2142166"/>
                  <a:gd name="connsiteY161" fmla="*/ 512156 h 2320324"/>
                  <a:gd name="connsiteX162" fmla="*/ 1331599 w 2142166"/>
                  <a:gd name="connsiteY162" fmla="*/ 555988 h 2320324"/>
                  <a:gd name="connsiteX163" fmla="*/ 1316777 w 2142166"/>
                  <a:gd name="connsiteY163" fmla="*/ 621610 h 2320324"/>
                  <a:gd name="connsiteX164" fmla="*/ 1294987 w 2142166"/>
                  <a:gd name="connsiteY164" fmla="*/ 648593 h 2320324"/>
                  <a:gd name="connsiteX165" fmla="*/ 1284853 w 2142166"/>
                  <a:gd name="connsiteY165" fmla="*/ 682291 h 2320324"/>
                  <a:gd name="connsiteX166" fmla="*/ 1273198 w 2142166"/>
                  <a:gd name="connsiteY166" fmla="*/ 744112 h 2320324"/>
                  <a:gd name="connsiteX167" fmla="*/ 1283333 w 2142166"/>
                  <a:gd name="connsiteY167" fmla="*/ 791364 h 2320324"/>
                  <a:gd name="connsiteX168" fmla="*/ 1284347 w 2142166"/>
                  <a:gd name="connsiteY168" fmla="*/ 854325 h 2320324"/>
                  <a:gd name="connsiteX169" fmla="*/ 1330839 w 2142166"/>
                  <a:gd name="connsiteY169" fmla="*/ 902971 h 2320324"/>
                  <a:gd name="connsiteX170" fmla="*/ 1392913 w 2142166"/>
                  <a:gd name="connsiteY170" fmla="*/ 850018 h 2320324"/>
                  <a:gd name="connsiteX171" fmla="*/ 1438899 w 2142166"/>
                  <a:gd name="connsiteY171" fmla="*/ 844064 h 2320324"/>
                  <a:gd name="connsiteX172" fmla="*/ 1467656 w 2142166"/>
                  <a:gd name="connsiteY172" fmla="*/ 832409 h 2320324"/>
                  <a:gd name="connsiteX173" fmla="*/ 1496413 w 2142166"/>
                  <a:gd name="connsiteY173" fmla="*/ 820121 h 2320324"/>
                  <a:gd name="connsiteX174" fmla="*/ 1524156 w 2142166"/>
                  <a:gd name="connsiteY174" fmla="*/ 801752 h 2320324"/>
                  <a:gd name="connsiteX175" fmla="*/ 1538978 w 2142166"/>
                  <a:gd name="connsiteY175" fmla="*/ 836717 h 2320324"/>
                  <a:gd name="connsiteX176" fmla="*/ 1552027 w 2142166"/>
                  <a:gd name="connsiteY176" fmla="*/ 847104 h 2320324"/>
                  <a:gd name="connsiteX177" fmla="*/ 1560641 w 2142166"/>
                  <a:gd name="connsiteY177" fmla="*/ 890177 h 2320324"/>
                  <a:gd name="connsiteX178" fmla="*/ 1582684 w 2142166"/>
                  <a:gd name="connsiteY178" fmla="*/ 856352 h 2320324"/>
                  <a:gd name="connsiteX179" fmla="*/ 1611567 w 2142166"/>
                  <a:gd name="connsiteY179" fmla="*/ 811760 h 2320324"/>
                  <a:gd name="connsiteX180" fmla="*/ 1637537 w 2142166"/>
                  <a:gd name="connsiteY180" fmla="*/ 740184 h 2320324"/>
                  <a:gd name="connsiteX181" fmla="*/ 1693150 w 2142166"/>
                  <a:gd name="connsiteY181" fmla="*/ 691412 h 2320324"/>
                  <a:gd name="connsiteX182" fmla="*/ 1691124 w 2142166"/>
                  <a:gd name="connsiteY182" fmla="*/ 628324 h 2320324"/>
                  <a:gd name="connsiteX183" fmla="*/ 1708733 w 2142166"/>
                  <a:gd name="connsiteY183" fmla="*/ 591459 h 2320324"/>
                  <a:gd name="connsiteX184" fmla="*/ 1747371 w 2142166"/>
                  <a:gd name="connsiteY184" fmla="*/ 548641 h 2320324"/>
                  <a:gd name="connsiteX185" fmla="*/ 1902684 w 2142166"/>
                  <a:gd name="connsiteY185" fmla="*/ 622370 h 2320324"/>
                  <a:gd name="connsiteX186" fmla="*/ 1925740 w 2142166"/>
                  <a:gd name="connsiteY186" fmla="*/ 692298 h 2320324"/>
                  <a:gd name="connsiteX187" fmla="*/ 1969318 w 2142166"/>
                  <a:gd name="connsiteY187" fmla="*/ 682417 h 2320324"/>
                  <a:gd name="connsiteX188" fmla="*/ 1987181 w 2142166"/>
                  <a:gd name="connsiteY188" fmla="*/ 672536 h 2320324"/>
                  <a:gd name="connsiteX189" fmla="*/ 2007323 w 2142166"/>
                  <a:gd name="connsiteY189" fmla="*/ 679124 h 2320324"/>
                  <a:gd name="connsiteX190" fmla="*/ 2029113 w 2142166"/>
                  <a:gd name="connsiteY190" fmla="*/ 647833 h 2320324"/>
                  <a:gd name="connsiteX191" fmla="*/ 2066104 w 2142166"/>
                  <a:gd name="connsiteY191" fmla="*/ 693059 h 2320324"/>
                  <a:gd name="connsiteX192" fmla="*/ 2064710 w 2142166"/>
                  <a:gd name="connsiteY192" fmla="*/ 729037 h 2320324"/>
                  <a:gd name="connsiteX193" fmla="*/ 2101322 w 2142166"/>
                  <a:gd name="connsiteY193" fmla="*/ 760707 h 2320324"/>
                  <a:gd name="connsiteX194" fmla="*/ 2114243 w 2142166"/>
                  <a:gd name="connsiteY194" fmla="*/ 801879 h 2320324"/>
                  <a:gd name="connsiteX195" fmla="*/ 2140214 w 2142166"/>
                  <a:gd name="connsiteY195" fmla="*/ 863193 h 232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2142166" h="2320324">
                    <a:moveTo>
                      <a:pt x="2140214" y="863193"/>
                    </a:moveTo>
                    <a:cubicBezTo>
                      <a:pt x="2128812" y="866360"/>
                      <a:pt x="2118804" y="880676"/>
                      <a:pt x="2106136" y="878649"/>
                    </a:cubicBezTo>
                    <a:cubicBezTo>
                      <a:pt x="2088020" y="875608"/>
                      <a:pt x="2082319" y="851538"/>
                      <a:pt x="2061290" y="853692"/>
                    </a:cubicBezTo>
                    <a:cubicBezTo>
                      <a:pt x="2045202" y="855339"/>
                      <a:pt x="2015684" y="868767"/>
                      <a:pt x="2010997" y="885996"/>
                    </a:cubicBezTo>
                    <a:cubicBezTo>
                      <a:pt x="2005803" y="904872"/>
                      <a:pt x="2026199" y="921341"/>
                      <a:pt x="2019865" y="940850"/>
                    </a:cubicBezTo>
                    <a:cubicBezTo>
                      <a:pt x="2014671" y="956938"/>
                      <a:pt x="1996302" y="965679"/>
                      <a:pt x="2005043" y="984175"/>
                    </a:cubicBezTo>
                    <a:cubicBezTo>
                      <a:pt x="2009477" y="993423"/>
                      <a:pt x="2014924" y="1001657"/>
                      <a:pt x="2017585" y="1011792"/>
                    </a:cubicBezTo>
                    <a:cubicBezTo>
                      <a:pt x="2020118" y="1021420"/>
                      <a:pt x="2019105" y="1031681"/>
                      <a:pt x="2021512" y="1041309"/>
                    </a:cubicBezTo>
                    <a:cubicBezTo>
                      <a:pt x="2023539" y="1049543"/>
                      <a:pt x="2029239" y="1052330"/>
                      <a:pt x="2036587" y="1055371"/>
                    </a:cubicBezTo>
                    <a:cubicBezTo>
                      <a:pt x="2046214" y="1059424"/>
                      <a:pt x="2055336" y="1063858"/>
                      <a:pt x="2060403" y="1073486"/>
                    </a:cubicBezTo>
                    <a:cubicBezTo>
                      <a:pt x="2083713" y="1117825"/>
                      <a:pt x="2006310" y="1141515"/>
                      <a:pt x="1979200" y="1152916"/>
                    </a:cubicBezTo>
                    <a:cubicBezTo>
                      <a:pt x="1963364" y="1159504"/>
                      <a:pt x="1947023" y="1162164"/>
                      <a:pt x="1930680" y="1166725"/>
                    </a:cubicBezTo>
                    <a:cubicBezTo>
                      <a:pt x="1920166" y="1169638"/>
                      <a:pt x="1910665" y="1174326"/>
                      <a:pt x="1908764" y="1184840"/>
                    </a:cubicBezTo>
                    <a:cubicBezTo>
                      <a:pt x="1909778" y="1154943"/>
                      <a:pt x="1942082" y="1128720"/>
                      <a:pt x="1959944" y="1114911"/>
                    </a:cubicBezTo>
                    <a:cubicBezTo>
                      <a:pt x="1977680" y="1101103"/>
                      <a:pt x="1925233" y="1081594"/>
                      <a:pt x="1906484" y="1081594"/>
                    </a:cubicBezTo>
                    <a:cubicBezTo>
                      <a:pt x="1887735" y="1081594"/>
                      <a:pt x="1884441" y="1116558"/>
                      <a:pt x="1883428" y="1130113"/>
                    </a:cubicBezTo>
                    <a:cubicBezTo>
                      <a:pt x="1882414" y="1143668"/>
                      <a:pt x="1844157" y="1141388"/>
                      <a:pt x="1829715" y="1142021"/>
                    </a:cubicBezTo>
                    <a:cubicBezTo>
                      <a:pt x="1815146" y="1142655"/>
                      <a:pt x="1830094" y="1173312"/>
                      <a:pt x="1835922" y="1183573"/>
                    </a:cubicBezTo>
                    <a:cubicBezTo>
                      <a:pt x="1841876" y="1193835"/>
                      <a:pt x="1826294" y="1211317"/>
                      <a:pt x="1820087" y="1221198"/>
                    </a:cubicBezTo>
                    <a:cubicBezTo>
                      <a:pt x="1813879" y="1231079"/>
                      <a:pt x="1808559" y="1231713"/>
                      <a:pt x="1797663" y="1230699"/>
                    </a:cubicBezTo>
                    <a:cubicBezTo>
                      <a:pt x="1786769" y="1229686"/>
                      <a:pt x="1773594" y="1254389"/>
                      <a:pt x="1758392" y="1266677"/>
                    </a:cubicBezTo>
                    <a:cubicBezTo>
                      <a:pt x="1743190" y="1278839"/>
                      <a:pt x="1733309" y="1268324"/>
                      <a:pt x="1721148" y="1263763"/>
                    </a:cubicBezTo>
                    <a:cubicBezTo>
                      <a:pt x="1708986" y="1259076"/>
                      <a:pt x="1695051" y="1253882"/>
                      <a:pt x="1683270" y="1252235"/>
                    </a:cubicBezTo>
                    <a:cubicBezTo>
                      <a:pt x="1671361" y="1250588"/>
                      <a:pt x="1665407" y="1267057"/>
                      <a:pt x="1653626" y="1266044"/>
                    </a:cubicBezTo>
                    <a:cubicBezTo>
                      <a:pt x="1641717" y="1265030"/>
                      <a:pt x="1625882" y="1235387"/>
                      <a:pt x="1616254" y="1220818"/>
                    </a:cubicBezTo>
                    <a:cubicBezTo>
                      <a:pt x="1606627" y="1206376"/>
                      <a:pt x="1599785" y="1226772"/>
                      <a:pt x="1591552" y="1241594"/>
                    </a:cubicBezTo>
                    <a:cubicBezTo>
                      <a:pt x="1583317" y="1256416"/>
                      <a:pt x="1562541" y="1225125"/>
                      <a:pt x="1546072" y="1216257"/>
                    </a:cubicBezTo>
                    <a:cubicBezTo>
                      <a:pt x="1529604" y="1207390"/>
                      <a:pt x="1512755" y="1229433"/>
                      <a:pt x="1508194" y="1245648"/>
                    </a:cubicBezTo>
                    <a:cubicBezTo>
                      <a:pt x="1503507" y="1261863"/>
                      <a:pt x="1488685" y="1271998"/>
                      <a:pt x="1475510" y="1278332"/>
                    </a:cubicBezTo>
                    <a:cubicBezTo>
                      <a:pt x="1462335" y="1284666"/>
                      <a:pt x="1429018" y="1268071"/>
                      <a:pt x="1411535" y="1269084"/>
                    </a:cubicBezTo>
                    <a:cubicBezTo>
                      <a:pt x="1394053" y="1270098"/>
                      <a:pt x="1374924" y="1289860"/>
                      <a:pt x="1358709" y="1304048"/>
                    </a:cubicBezTo>
                    <a:cubicBezTo>
                      <a:pt x="1342493" y="1318237"/>
                      <a:pt x="1334893" y="1312663"/>
                      <a:pt x="1317410" y="1312916"/>
                    </a:cubicBezTo>
                    <a:cubicBezTo>
                      <a:pt x="1299928" y="1313296"/>
                      <a:pt x="1274845" y="1330399"/>
                      <a:pt x="1266991" y="1359155"/>
                    </a:cubicBezTo>
                    <a:cubicBezTo>
                      <a:pt x="1259136" y="1387786"/>
                      <a:pt x="1300688" y="1406281"/>
                      <a:pt x="1323364" y="1421483"/>
                    </a:cubicBezTo>
                    <a:cubicBezTo>
                      <a:pt x="1346168" y="1436685"/>
                      <a:pt x="1328305" y="1435292"/>
                      <a:pt x="1303602" y="1462021"/>
                    </a:cubicBezTo>
                    <a:cubicBezTo>
                      <a:pt x="1279025" y="1488625"/>
                      <a:pt x="1329319" y="1654325"/>
                      <a:pt x="1329825" y="1656352"/>
                    </a:cubicBezTo>
                    <a:cubicBezTo>
                      <a:pt x="1312976" y="1743637"/>
                      <a:pt x="1277505" y="1825474"/>
                      <a:pt x="1216571" y="1891349"/>
                    </a:cubicBezTo>
                    <a:cubicBezTo>
                      <a:pt x="1197062" y="1912504"/>
                      <a:pt x="1174006" y="1936194"/>
                      <a:pt x="1160831" y="1962037"/>
                    </a:cubicBezTo>
                    <a:cubicBezTo>
                      <a:pt x="1154750" y="1973819"/>
                      <a:pt x="1154497" y="1989654"/>
                      <a:pt x="1150189" y="2002322"/>
                    </a:cubicBezTo>
                    <a:cubicBezTo>
                      <a:pt x="1145502" y="2016384"/>
                      <a:pt x="1138788" y="2029939"/>
                      <a:pt x="1129034" y="2041341"/>
                    </a:cubicBezTo>
                    <a:cubicBezTo>
                      <a:pt x="1109778" y="2063636"/>
                      <a:pt x="1080134" y="2070984"/>
                      <a:pt x="1059358" y="2091254"/>
                    </a:cubicBezTo>
                    <a:cubicBezTo>
                      <a:pt x="1036429" y="2113549"/>
                      <a:pt x="1030728" y="2152314"/>
                      <a:pt x="1004631" y="2170810"/>
                    </a:cubicBezTo>
                    <a:cubicBezTo>
                      <a:pt x="993103" y="2178918"/>
                      <a:pt x="979801" y="2178031"/>
                      <a:pt x="967006" y="2173724"/>
                    </a:cubicBezTo>
                    <a:cubicBezTo>
                      <a:pt x="957759" y="2170683"/>
                      <a:pt x="944457" y="2160169"/>
                      <a:pt x="934576" y="2160549"/>
                    </a:cubicBezTo>
                    <a:cubicBezTo>
                      <a:pt x="919881" y="2160929"/>
                      <a:pt x="934829" y="2189053"/>
                      <a:pt x="930142" y="2198934"/>
                    </a:cubicBezTo>
                    <a:cubicBezTo>
                      <a:pt x="921654" y="2217049"/>
                      <a:pt x="880102" y="2210842"/>
                      <a:pt x="863760" y="2217302"/>
                    </a:cubicBezTo>
                    <a:cubicBezTo>
                      <a:pt x="835003" y="2228704"/>
                      <a:pt x="855906" y="2246946"/>
                      <a:pt x="875288" y="2253280"/>
                    </a:cubicBezTo>
                    <a:cubicBezTo>
                      <a:pt x="893911" y="2259361"/>
                      <a:pt x="914813" y="2263035"/>
                      <a:pt x="935210" y="2263161"/>
                    </a:cubicBezTo>
                    <a:cubicBezTo>
                      <a:pt x="936603" y="2286471"/>
                      <a:pt x="913420" y="2293312"/>
                      <a:pt x="904552" y="2291665"/>
                    </a:cubicBezTo>
                    <a:cubicBezTo>
                      <a:pt x="895684" y="2290018"/>
                      <a:pt x="883776" y="2305220"/>
                      <a:pt x="866927" y="2317762"/>
                    </a:cubicBezTo>
                    <a:cubicBezTo>
                      <a:pt x="850078" y="2330303"/>
                      <a:pt x="844885" y="2293692"/>
                      <a:pt x="841211" y="2275577"/>
                    </a:cubicBezTo>
                    <a:cubicBezTo>
                      <a:pt x="837537" y="2257461"/>
                      <a:pt x="810554" y="2265695"/>
                      <a:pt x="793958" y="2267342"/>
                    </a:cubicBezTo>
                    <a:cubicBezTo>
                      <a:pt x="777490" y="2268989"/>
                      <a:pt x="780530" y="2261388"/>
                      <a:pt x="781796" y="2231364"/>
                    </a:cubicBezTo>
                    <a:cubicBezTo>
                      <a:pt x="783064" y="2201341"/>
                      <a:pt x="750760" y="2198427"/>
                      <a:pt x="736951" y="2194753"/>
                    </a:cubicBezTo>
                    <a:cubicBezTo>
                      <a:pt x="723142" y="2191079"/>
                      <a:pt x="721749" y="2179551"/>
                      <a:pt x="715795" y="2155481"/>
                    </a:cubicBezTo>
                    <a:cubicBezTo>
                      <a:pt x="709841" y="2131412"/>
                      <a:pt x="666262" y="2132679"/>
                      <a:pt x="647513" y="2134326"/>
                    </a:cubicBezTo>
                    <a:cubicBezTo>
                      <a:pt x="628638" y="2135973"/>
                      <a:pt x="605961" y="2106329"/>
                      <a:pt x="596713" y="2085553"/>
                    </a:cubicBezTo>
                    <a:cubicBezTo>
                      <a:pt x="587466" y="2064777"/>
                      <a:pt x="570363" y="2052869"/>
                      <a:pt x="543887" y="2035007"/>
                    </a:cubicBezTo>
                    <a:cubicBezTo>
                      <a:pt x="517537" y="2017271"/>
                      <a:pt x="495367" y="1990414"/>
                      <a:pt x="489793" y="1970018"/>
                    </a:cubicBezTo>
                    <a:cubicBezTo>
                      <a:pt x="484219" y="1949496"/>
                      <a:pt x="477252" y="1945949"/>
                      <a:pt x="461036" y="1942022"/>
                    </a:cubicBezTo>
                    <a:cubicBezTo>
                      <a:pt x="444821" y="1938094"/>
                      <a:pt x="426073" y="1970018"/>
                      <a:pt x="413151" y="1985854"/>
                    </a:cubicBezTo>
                    <a:cubicBezTo>
                      <a:pt x="400229" y="2001689"/>
                      <a:pt x="360450" y="2023225"/>
                      <a:pt x="360450" y="2023225"/>
                    </a:cubicBezTo>
                    <a:cubicBezTo>
                      <a:pt x="360450" y="2020438"/>
                      <a:pt x="358044" y="2018284"/>
                      <a:pt x="355003" y="2016257"/>
                    </a:cubicBezTo>
                    <a:cubicBezTo>
                      <a:pt x="354370" y="2015751"/>
                      <a:pt x="353610" y="2015370"/>
                      <a:pt x="352850" y="2014864"/>
                    </a:cubicBezTo>
                    <a:cubicBezTo>
                      <a:pt x="350443" y="2013344"/>
                      <a:pt x="347909" y="2011823"/>
                      <a:pt x="346009" y="2009923"/>
                    </a:cubicBezTo>
                    <a:cubicBezTo>
                      <a:pt x="345376" y="2009290"/>
                      <a:pt x="344742" y="2008530"/>
                      <a:pt x="344235" y="2007770"/>
                    </a:cubicBezTo>
                    <a:cubicBezTo>
                      <a:pt x="338155" y="1997508"/>
                      <a:pt x="351456" y="1981420"/>
                      <a:pt x="340055" y="1973439"/>
                    </a:cubicBezTo>
                    <a:cubicBezTo>
                      <a:pt x="332200" y="1967865"/>
                      <a:pt x="318645" y="1969511"/>
                      <a:pt x="310285" y="1972932"/>
                    </a:cubicBezTo>
                    <a:cubicBezTo>
                      <a:pt x="298376" y="1977619"/>
                      <a:pt x="290015" y="1989908"/>
                      <a:pt x="277727" y="1993201"/>
                    </a:cubicBezTo>
                    <a:cubicBezTo>
                      <a:pt x="269746" y="1995355"/>
                      <a:pt x="261511" y="1992948"/>
                      <a:pt x="256064" y="1986741"/>
                    </a:cubicBezTo>
                    <a:cubicBezTo>
                      <a:pt x="253531" y="1983700"/>
                      <a:pt x="252137" y="1980026"/>
                      <a:pt x="249984" y="1976859"/>
                    </a:cubicBezTo>
                    <a:cubicBezTo>
                      <a:pt x="247323" y="1972932"/>
                      <a:pt x="244663" y="1969258"/>
                      <a:pt x="242383" y="1964951"/>
                    </a:cubicBezTo>
                    <a:cubicBezTo>
                      <a:pt x="240229" y="1960644"/>
                      <a:pt x="238835" y="1955830"/>
                      <a:pt x="236049" y="1951776"/>
                    </a:cubicBezTo>
                    <a:cubicBezTo>
                      <a:pt x="233008" y="1947342"/>
                      <a:pt x="228828" y="1943922"/>
                      <a:pt x="224774" y="1940501"/>
                    </a:cubicBezTo>
                    <a:cubicBezTo>
                      <a:pt x="220087" y="1936574"/>
                      <a:pt x="216160" y="1930240"/>
                      <a:pt x="209825" y="1928593"/>
                    </a:cubicBezTo>
                    <a:cubicBezTo>
                      <a:pt x="204125" y="1927073"/>
                      <a:pt x="199057" y="1924666"/>
                      <a:pt x="193736" y="1922132"/>
                    </a:cubicBezTo>
                    <a:cubicBezTo>
                      <a:pt x="185376" y="1918205"/>
                      <a:pt x="176381" y="1917065"/>
                      <a:pt x="168273" y="1912884"/>
                    </a:cubicBezTo>
                    <a:cubicBezTo>
                      <a:pt x="154845" y="1905917"/>
                      <a:pt x="145090" y="1894389"/>
                      <a:pt x="134703" y="1883748"/>
                    </a:cubicBezTo>
                    <a:cubicBezTo>
                      <a:pt x="124061" y="1872853"/>
                      <a:pt x="112153" y="1873486"/>
                      <a:pt x="100878" y="1883621"/>
                    </a:cubicBezTo>
                    <a:cubicBezTo>
                      <a:pt x="100372" y="1884128"/>
                      <a:pt x="99865" y="1884508"/>
                      <a:pt x="99358" y="1885141"/>
                    </a:cubicBezTo>
                    <a:cubicBezTo>
                      <a:pt x="97838" y="1886788"/>
                      <a:pt x="96571" y="1888815"/>
                      <a:pt x="95431" y="1890969"/>
                    </a:cubicBezTo>
                    <a:cubicBezTo>
                      <a:pt x="95051" y="1891602"/>
                      <a:pt x="94797" y="1892235"/>
                      <a:pt x="94544" y="1892742"/>
                    </a:cubicBezTo>
                    <a:cubicBezTo>
                      <a:pt x="93531" y="1894896"/>
                      <a:pt x="92771" y="1897303"/>
                      <a:pt x="91884" y="1899583"/>
                    </a:cubicBezTo>
                    <a:cubicBezTo>
                      <a:pt x="91884" y="1899583"/>
                      <a:pt x="70348" y="1888435"/>
                      <a:pt x="62367" y="1870699"/>
                    </a:cubicBezTo>
                    <a:cubicBezTo>
                      <a:pt x="54386" y="1852964"/>
                      <a:pt x="41844" y="1831174"/>
                      <a:pt x="32343" y="1817619"/>
                    </a:cubicBezTo>
                    <a:cubicBezTo>
                      <a:pt x="22842" y="1804064"/>
                      <a:pt x="-3635" y="1785569"/>
                      <a:pt x="419" y="1756938"/>
                    </a:cubicBezTo>
                    <a:cubicBezTo>
                      <a:pt x="4346" y="1728181"/>
                      <a:pt x="40324" y="1724634"/>
                      <a:pt x="51599" y="1724254"/>
                    </a:cubicBezTo>
                    <a:cubicBezTo>
                      <a:pt x="62873" y="1723874"/>
                      <a:pt x="97204" y="1731475"/>
                      <a:pt x="104425" y="1697904"/>
                    </a:cubicBezTo>
                    <a:cubicBezTo>
                      <a:pt x="111646" y="1664207"/>
                      <a:pt x="105059" y="1612774"/>
                      <a:pt x="115574" y="1605173"/>
                    </a:cubicBezTo>
                    <a:cubicBezTo>
                      <a:pt x="126088" y="1597572"/>
                      <a:pt x="141670" y="1594658"/>
                      <a:pt x="141037" y="1576543"/>
                    </a:cubicBezTo>
                    <a:cubicBezTo>
                      <a:pt x="140403" y="1558427"/>
                      <a:pt x="142050" y="1539931"/>
                      <a:pt x="151931" y="1519789"/>
                    </a:cubicBezTo>
                    <a:cubicBezTo>
                      <a:pt x="161812" y="1499646"/>
                      <a:pt x="185882" y="1467596"/>
                      <a:pt x="196143" y="1458474"/>
                    </a:cubicBezTo>
                    <a:cubicBezTo>
                      <a:pt x="206405" y="1449226"/>
                      <a:pt x="216286" y="1431745"/>
                      <a:pt x="226167" y="1426804"/>
                    </a:cubicBezTo>
                    <a:cubicBezTo>
                      <a:pt x="236049" y="1421863"/>
                      <a:pt x="237062" y="1407041"/>
                      <a:pt x="238075" y="1396146"/>
                    </a:cubicBezTo>
                    <a:cubicBezTo>
                      <a:pt x="239089" y="1385252"/>
                      <a:pt x="242383" y="1355481"/>
                      <a:pt x="227181" y="1352188"/>
                    </a:cubicBezTo>
                    <a:cubicBezTo>
                      <a:pt x="211979" y="1348894"/>
                      <a:pt x="202731" y="1332045"/>
                      <a:pt x="208052" y="1327485"/>
                    </a:cubicBezTo>
                    <a:cubicBezTo>
                      <a:pt x="213372" y="1322924"/>
                      <a:pt x="213626" y="1309369"/>
                      <a:pt x="203111" y="1306075"/>
                    </a:cubicBezTo>
                    <a:cubicBezTo>
                      <a:pt x="192470" y="1302781"/>
                      <a:pt x="181701" y="1302148"/>
                      <a:pt x="191836" y="1289227"/>
                    </a:cubicBezTo>
                    <a:cubicBezTo>
                      <a:pt x="202097" y="1276305"/>
                      <a:pt x="234402" y="1234753"/>
                      <a:pt x="239089" y="1216638"/>
                    </a:cubicBezTo>
                    <a:cubicBezTo>
                      <a:pt x="243776" y="1198522"/>
                      <a:pt x="248970" y="1173439"/>
                      <a:pt x="262905" y="1171792"/>
                    </a:cubicBezTo>
                    <a:cubicBezTo>
                      <a:pt x="276713" y="1170145"/>
                      <a:pt x="319026" y="1167865"/>
                      <a:pt x="325233" y="1177113"/>
                    </a:cubicBezTo>
                    <a:cubicBezTo>
                      <a:pt x="331440" y="1186360"/>
                      <a:pt x="343348" y="1200295"/>
                      <a:pt x="361844" y="1197255"/>
                    </a:cubicBezTo>
                    <a:cubicBezTo>
                      <a:pt x="380340" y="1194341"/>
                      <a:pt x="395162" y="1179773"/>
                      <a:pt x="400736" y="1165965"/>
                    </a:cubicBezTo>
                    <a:cubicBezTo>
                      <a:pt x="406310" y="1152156"/>
                      <a:pt x="404410" y="1125680"/>
                      <a:pt x="420498" y="1125680"/>
                    </a:cubicBezTo>
                    <a:cubicBezTo>
                      <a:pt x="436713" y="1125680"/>
                      <a:pt x="464077" y="1127960"/>
                      <a:pt x="472692" y="1149749"/>
                    </a:cubicBezTo>
                    <a:cubicBezTo>
                      <a:pt x="481306" y="1171539"/>
                      <a:pt x="509302" y="1229306"/>
                      <a:pt x="523871" y="1232220"/>
                    </a:cubicBezTo>
                    <a:cubicBezTo>
                      <a:pt x="538313" y="1235260"/>
                      <a:pt x="546294" y="1235893"/>
                      <a:pt x="545280" y="1220691"/>
                    </a:cubicBezTo>
                    <a:cubicBezTo>
                      <a:pt x="544267" y="1205489"/>
                      <a:pt x="522857" y="1137588"/>
                      <a:pt x="531725" y="1125680"/>
                    </a:cubicBezTo>
                    <a:cubicBezTo>
                      <a:pt x="540593" y="1113771"/>
                      <a:pt x="543254" y="1094389"/>
                      <a:pt x="557822" y="1098696"/>
                    </a:cubicBezTo>
                    <a:cubicBezTo>
                      <a:pt x="572391" y="1103003"/>
                      <a:pt x="597474" y="1113898"/>
                      <a:pt x="591139" y="1095022"/>
                    </a:cubicBezTo>
                    <a:cubicBezTo>
                      <a:pt x="584805" y="1076273"/>
                      <a:pt x="581511" y="1054484"/>
                      <a:pt x="596713" y="1046883"/>
                    </a:cubicBezTo>
                    <a:cubicBezTo>
                      <a:pt x="611916" y="1039282"/>
                      <a:pt x="630031" y="1039282"/>
                      <a:pt x="645866" y="1027754"/>
                    </a:cubicBezTo>
                    <a:cubicBezTo>
                      <a:pt x="661702" y="1016226"/>
                      <a:pt x="677283" y="1015592"/>
                      <a:pt x="674243" y="994816"/>
                    </a:cubicBezTo>
                    <a:cubicBezTo>
                      <a:pt x="671203" y="974041"/>
                      <a:pt x="667276" y="947310"/>
                      <a:pt x="676904" y="939076"/>
                    </a:cubicBezTo>
                    <a:cubicBezTo>
                      <a:pt x="679184" y="937176"/>
                      <a:pt x="681718" y="935656"/>
                      <a:pt x="684378" y="934389"/>
                    </a:cubicBezTo>
                    <a:lnTo>
                      <a:pt x="684378" y="934389"/>
                    </a:lnTo>
                    <a:cubicBezTo>
                      <a:pt x="692866" y="930462"/>
                      <a:pt x="702113" y="929448"/>
                      <a:pt x="705660" y="925141"/>
                    </a:cubicBezTo>
                    <a:cubicBezTo>
                      <a:pt x="710348" y="919567"/>
                      <a:pt x="730363" y="899044"/>
                      <a:pt x="739612" y="920834"/>
                    </a:cubicBezTo>
                    <a:cubicBezTo>
                      <a:pt x="748859" y="942623"/>
                      <a:pt x="748859" y="980881"/>
                      <a:pt x="768622" y="978981"/>
                    </a:cubicBezTo>
                    <a:cubicBezTo>
                      <a:pt x="788384" y="976954"/>
                      <a:pt x="801306" y="970367"/>
                      <a:pt x="801939" y="982908"/>
                    </a:cubicBezTo>
                    <a:cubicBezTo>
                      <a:pt x="802573" y="995450"/>
                      <a:pt x="807893" y="1006598"/>
                      <a:pt x="823095" y="1007358"/>
                    </a:cubicBezTo>
                    <a:cubicBezTo>
                      <a:pt x="838297" y="1007991"/>
                      <a:pt x="879849" y="1029781"/>
                      <a:pt x="878836" y="1006724"/>
                    </a:cubicBezTo>
                    <a:cubicBezTo>
                      <a:pt x="877822" y="983668"/>
                      <a:pt x="865660" y="963526"/>
                      <a:pt x="887070" y="951237"/>
                    </a:cubicBezTo>
                    <a:cubicBezTo>
                      <a:pt x="908479" y="939076"/>
                      <a:pt x="923301" y="936669"/>
                      <a:pt x="923301" y="913613"/>
                    </a:cubicBezTo>
                    <a:cubicBezTo>
                      <a:pt x="923301" y="890557"/>
                      <a:pt x="905819" y="860153"/>
                      <a:pt x="890363" y="855212"/>
                    </a:cubicBezTo>
                    <a:cubicBezTo>
                      <a:pt x="874782" y="850272"/>
                      <a:pt x="861607" y="850652"/>
                      <a:pt x="861987" y="838743"/>
                    </a:cubicBezTo>
                    <a:cubicBezTo>
                      <a:pt x="862367" y="826836"/>
                      <a:pt x="877568" y="811000"/>
                      <a:pt x="887070" y="805426"/>
                    </a:cubicBezTo>
                    <a:cubicBezTo>
                      <a:pt x="896571" y="799852"/>
                      <a:pt x="921401" y="778063"/>
                      <a:pt x="923301" y="759820"/>
                    </a:cubicBezTo>
                    <a:cubicBezTo>
                      <a:pt x="925328" y="741578"/>
                      <a:pt x="929888" y="724223"/>
                      <a:pt x="914433" y="724856"/>
                    </a:cubicBezTo>
                    <a:cubicBezTo>
                      <a:pt x="898978" y="725616"/>
                      <a:pt x="856666" y="710668"/>
                      <a:pt x="844758" y="684318"/>
                    </a:cubicBezTo>
                    <a:cubicBezTo>
                      <a:pt x="832850" y="657968"/>
                      <a:pt x="835890" y="645426"/>
                      <a:pt x="837791" y="622877"/>
                    </a:cubicBezTo>
                    <a:cubicBezTo>
                      <a:pt x="839817" y="600454"/>
                      <a:pt x="848052" y="598553"/>
                      <a:pt x="840450" y="584238"/>
                    </a:cubicBezTo>
                    <a:cubicBezTo>
                      <a:pt x="832850" y="570050"/>
                      <a:pt x="829176" y="553201"/>
                      <a:pt x="841464" y="544587"/>
                    </a:cubicBezTo>
                    <a:cubicBezTo>
                      <a:pt x="853626" y="535972"/>
                      <a:pt x="930522" y="506962"/>
                      <a:pt x="932169" y="492773"/>
                    </a:cubicBezTo>
                    <a:cubicBezTo>
                      <a:pt x="933815" y="478585"/>
                      <a:pt x="922921" y="475672"/>
                      <a:pt x="922288" y="466424"/>
                    </a:cubicBezTo>
                    <a:cubicBezTo>
                      <a:pt x="921654" y="457176"/>
                      <a:pt x="926215" y="441087"/>
                      <a:pt x="938123" y="434120"/>
                    </a:cubicBezTo>
                    <a:cubicBezTo>
                      <a:pt x="950031" y="427152"/>
                      <a:pt x="974100" y="413977"/>
                      <a:pt x="966246" y="397128"/>
                    </a:cubicBezTo>
                    <a:cubicBezTo>
                      <a:pt x="958392" y="380280"/>
                      <a:pt x="953452" y="358237"/>
                      <a:pt x="959912" y="341641"/>
                    </a:cubicBezTo>
                    <a:cubicBezTo>
                      <a:pt x="966500" y="325173"/>
                      <a:pt x="980688" y="315292"/>
                      <a:pt x="974734" y="304017"/>
                    </a:cubicBezTo>
                    <a:cubicBezTo>
                      <a:pt x="968780" y="292869"/>
                      <a:pt x="946737" y="259805"/>
                      <a:pt x="945344" y="248276"/>
                    </a:cubicBezTo>
                    <a:cubicBezTo>
                      <a:pt x="943951" y="236748"/>
                      <a:pt x="929128" y="212932"/>
                      <a:pt x="943951" y="207991"/>
                    </a:cubicBezTo>
                    <a:cubicBezTo>
                      <a:pt x="958772" y="203051"/>
                      <a:pt x="972707" y="203684"/>
                      <a:pt x="969413" y="187595"/>
                    </a:cubicBezTo>
                    <a:cubicBezTo>
                      <a:pt x="966120" y="171380"/>
                      <a:pt x="962192" y="161879"/>
                      <a:pt x="952945" y="161246"/>
                    </a:cubicBezTo>
                    <a:cubicBezTo>
                      <a:pt x="943697" y="160612"/>
                      <a:pt x="930775" y="158585"/>
                      <a:pt x="939010" y="147057"/>
                    </a:cubicBezTo>
                    <a:cubicBezTo>
                      <a:pt x="947244" y="135529"/>
                      <a:pt x="960546" y="117667"/>
                      <a:pt x="958265" y="107786"/>
                    </a:cubicBezTo>
                    <a:cubicBezTo>
                      <a:pt x="955858" y="97904"/>
                      <a:pt x="944711" y="47738"/>
                      <a:pt x="961813" y="54326"/>
                    </a:cubicBezTo>
                    <a:cubicBezTo>
                      <a:pt x="979041" y="60913"/>
                      <a:pt x="1026547" y="73455"/>
                      <a:pt x="1042003" y="62940"/>
                    </a:cubicBezTo>
                    <a:cubicBezTo>
                      <a:pt x="1057585" y="52425"/>
                      <a:pt x="1082288" y="40137"/>
                      <a:pt x="1065819" y="24302"/>
                    </a:cubicBezTo>
                    <a:cubicBezTo>
                      <a:pt x="1061258" y="19995"/>
                      <a:pt x="1055051" y="16068"/>
                      <a:pt x="1048083" y="12774"/>
                    </a:cubicBezTo>
                    <a:cubicBezTo>
                      <a:pt x="1048083" y="12774"/>
                      <a:pt x="1086342" y="-9776"/>
                      <a:pt x="1090269" y="5046"/>
                    </a:cubicBezTo>
                    <a:cubicBezTo>
                      <a:pt x="1094196" y="19868"/>
                      <a:pt x="1094702" y="27089"/>
                      <a:pt x="1102430" y="36210"/>
                    </a:cubicBezTo>
                    <a:cubicBezTo>
                      <a:pt x="1110158" y="45331"/>
                      <a:pt x="1137015" y="72314"/>
                      <a:pt x="1123206" y="76748"/>
                    </a:cubicBezTo>
                    <a:cubicBezTo>
                      <a:pt x="1109398" y="81182"/>
                      <a:pt x="1077727" y="65094"/>
                      <a:pt x="1076967" y="76748"/>
                    </a:cubicBezTo>
                    <a:cubicBezTo>
                      <a:pt x="1076206" y="88276"/>
                      <a:pt x="1065819" y="132995"/>
                      <a:pt x="1080641" y="130715"/>
                    </a:cubicBezTo>
                    <a:cubicBezTo>
                      <a:pt x="1095462" y="128561"/>
                      <a:pt x="1137015" y="108672"/>
                      <a:pt x="1146262" y="126788"/>
                    </a:cubicBezTo>
                    <a:cubicBezTo>
                      <a:pt x="1155383" y="144903"/>
                      <a:pt x="1177173" y="181515"/>
                      <a:pt x="1184394" y="190889"/>
                    </a:cubicBezTo>
                    <a:cubicBezTo>
                      <a:pt x="1191615" y="200264"/>
                      <a:pt x="1199722" y="217619"/>
                      <a:pt x="1198836" y="236241"/>
                    </a:cubicBezTo>
                    <a:cubicBezTo>
                      <a:pt x="1197822" y="254737"/>
                      <a:pt x="1185281" y="282987"/>
                      <a:pt x="1194149" y="296796"/>
                    </a:cubicBezTo>
                    <a:cubicBezTo>
                      <a:pt x="1203016" y="310604"/>
                      <a:pt x="1238740" y="342781"/>
                      <a:pt x="1238740" y="358110"/>
                    </a:cubicBezTo>
                    <a:cubicBezTo>
                      <a:pt x="1238740" y="373439"/>
                      <a:pt x="1238740" y="394975"/>
                      <a:pt x="1230632" y="410303"/>
                    </a:cubicBezTo>
                    <a:cubicBezTo>
                      <a:pt x="1222399" y="425632"/>
                      <a:pt x="1217711" y="436020"/>
                      <a:pt x="1229112" y="450082"/>
                    </a:cubicBezTo>
                    <a:cubicBezTo>
                      <a:pt x="1240514" y="464144"/>
                      <a:pt x="1279785" y="503288"/>
                      <a:pt x="1289540" y="512156"/>
                    </a:cubicBezTo>
                    <a:cubicBezTo>
                      <a:pt x="1299168" y="521024"/>
                      <a:pt x="1337300" y="534199"/>
                      <a:pt x="1331599" y="555988"/>
                    </a:cubicBezTo>
                    <a:cubicBezTo>
                      <a:pt x="1325898" y="577778"/>
                      <a:pt x="1324124" y="616416"/>
                      <a:pt x="1316777" y="621610"/>
                    </a:cubicBezTo>
                    <a:cubicBezTo>
                      <a:pt x="1309303" y="626804"/>
                      <a:pt x="1296001" y="639472"/>
                      <a:pt x="1294987" y="648593"/>
                    </a:cubicBezTo>
                    <a:cubicBezTo>
                      <a:pt x="1294101" y="657841"/>
                      <a:pt x="1285359" y="665442"/>
                      <a:pt x="1284853" y="682291"/>
                    </a:cubicBezTo>
                    <a:cubicBezTo>
                      <a:pt x="1284347" y="699139"/>
                      <a:pt x="1271298" y="731570"/>
                      <a:pt x="1273198" y="744112"/>
                    </a:cubicBezTo>
                    <a:cubicBezTo>
                      <a:pt x="1275225" y="756780"/>
                      <a:pt x="1286373" y="769322"/>
                      <a:pt x="1283333" y="791364"/>
                    </a:cubicBezTo>
                    <a:cubicBezTo>
                      <a:pt x="1280419" y="813407"/>
                      <a:pt x="1277886" y="842797"/>
                      <a:pt x="1284347" y="854325"/>
                    </a:cubicBezTo>
                    <a:cubicBezTo>
                      <a:pt x="1290807" y="865854"/>
                      <a:pt x="1307656" y="903225"/>
                      <a:pt x="1330839" y="902971"/>
                    </a:cubicBezTo>
                    <a:cubicBezTo>
                      <a:pt x="1354022" y="902718"/>
                      <a:pt x="1379358" y="848245"/>
                      <a:pt x="1392913" y="850018"/>
                    </a:cubicBezTo>
                    <a:cubicBezTo>
                      <a:pt x="1406468" y="851792"/>
                      <a:pt x="1419390" y="855212"/>
                      <a:pt x="1438899" y="844064"/>
                    </a:cubicBezTo>
                    <a:cubicBezTo>
                      <a:pt x="1458408" y="833043"/>
                      <a:pt x="1456254" y="833043"/>
                      <a:pt x="1467656" y="832409"/>
                    </a:cubicBezTo>
                    <a:cubicBezTo>
                      <a:pt x="1479057" y="831903"/>
                      <a:pt x="1488432" y="829749"/>
                      <a:pt x="1496413" y="820121"/>
                    </a:cubicBezTo>
                    <a:cubicBezTo>
                      <a:pt x="1504394" y="810493"/>
                      <a:pt x="1517442" y="782497"/>
                      <a:pt x="1524156" y="801752"/>
                    </a:cubicBezTo>
                    <a:cubicBezTo>
                      <a:pt x="1530870" y="821135"/>
                      <a:pt x="1534291" y="841150"/>
                      <a:pt x="1538978" y="836717"/>
                    </a:cubicBezTo>
                    <a:cubicBezTo>
                      <a:pt x="1543665" y="832283"/>
                      <a:pt x="1549873" y="828229"/>
                      <a:pt x="1552027" y="847104"/>
                    </a:cubicBezTo>
                    <a:cubicBezTo>
                      <a:pt x="1554180" y="865854"/>
                      <a:pt x="1549366" y="895117"/>
                      <a:pt x="1560641" y="890177"/>
                    </a:cubicBezTo>
                    <a:cubicBezTo>
                      <a:pt x="1572042" y="885236"/>
                      <a:pt x="1573943" y="858253"/>
                      <a:pt x="1582684" y="856352"/>
                    </a:cubicBezTo>
                    <a:cubicBezTo>
                      <a:pt x="1591298" y="854325"/>
                      <a:pt x="1608147" y="842417"/>
                      <a:pt x="1611567" y="811760"/>
                    </a:cubicBezTo>
                    <a:cubicBezTo>
                      <a:pt x="1614988" y="781103"/>
                      <a:pt x="1621955" y="749939"/>
                      <a:pt x="1637537" y="740184"/>
                    </a:cubicBezTo>
                    <a:cubicBezTo>
                      <a:pt x="1653119" y="730557"/>
                      <a:pt x="1692771" y="713961"/>
                      <a:pt x="1693150" y="691412"/>
                    </a:cubicBezTo>
                    <a:cubicBezTo>
                      <a:pt x="1693658" y="668862"/>
                      <a:pt x="1679342" y="645933"/>
                      <a:pt x="1691124" y="628324"/>
                    </a:cubicBezTo>
                    <a:cubicBezTo>
                      <a:pt x="1703032" y="610715"/>
                      <a:pt x="1707719" y="606535"/>
                      <a:pt x="1708733" y="591459"/>
                    </a:cubicBezTo>
                    <a:cubicBezTo>
                      <a:pt x="1709746" y="576384"/>
                      <a:pt x="1715700" y="546740"/>
                      <a:pt x="1747371" y="548641"/>
                    </a:cubicBezTo>
                    <a:cubicBezTo>
                      <a:pt x="1779042" y="550668"/>
                      <a:pt x="1890142" y="557382"/>
                      <a:pt x="1902684" y="622370"/>
                    </a:cubicBezTo>
                    <a:cubicBezTo>
                      <a:pt x="1915225" y="687358"/>
                      <a:pt x="1905597" y="691032"/>
                      <a:pt x="1925740" y="692298"/>
                    </a:cubicBezTo>
                    <a:cubicBezTo>
                      <a:pt x="1945882" y="693565"/>
                      <a:pt x="1960451" y="693565"/>
                      <a:pt x="1969318" y="682417"/>
                    </a:cubicBezTo>
                    <a:cubicBezTo>
                      <a:pt x="1978186" y="671143"/>
                      <a:pt x="1980466" y="666582"/>
                      <a:pt x="1987181" y="672536"/>
                    </a:cubicBezTo>
                    <a:cubicBezTo>
                      <a:pt x="1993769" y="678490"/>
                      <a:pt x="2002002" y="691665"/>
                      <a:pt x="2007323" y="679124"/>
                    </a:cubicBezTo>
                    <a:cubicBezTo>
                      <a:pt x="2012644" y="666582"/>
                      <a:pt x="2016571" y="640232"/>
                      <a:pt x="2029113" y="647833"/>
                    </a:cubicBezTo>
                    <a:cubicBezTo>
                      <a:pt x="2041654" y="655434"/>
                      <a:pt x="2070031" y="675830"/>
                      <a:pt x="2066104" y="693059"/>
                    </a:cubicBezTo>
                    <a:cubicBezTo>
                      <a:pt x="2062177" y="710288"/>
                      <a:pt x="2057870" y="724476"/>
                      <a:pt x="2064710" y="729037"/>
                    </a:cubicBezTo>
                    <a:cubicBezTo>
                      <a:pt x="2071678" y="733597"/>
                      <a:pt x="2100055" y="735624"/>
                      <a:pt x="2101322" y="760707"/>
                    </a:cubicBezTo>
                    <a:cubicBezTo>
                      <a:pt x="2102715" y="785790"/>
                      <a:pt x="2105249" y="794024"/>
                      <a:pt x="2114243" y="801879"/>
                    </a:cubicBezTo>
                    <a:cubicBezTo>
                      <a:pt x="2123365" y="808973"/>
                      <a:pt x="2149461" y="818601"/>
                      <a:pt x="2140214" y="863193"/>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nvGrpSpPr>
            <p:cNvPr id="719" name="Рисунок 388">
              <a:extLst>
                <a:ext uri="{FF2B5EF4-FFF2-40B4-BE49-F238E27FC236}">
                  <a16:creationId xmlns:a16="http://schemas.microsoft.com/office/drawing/2014/main" id="{1DA397FD-DC6E-439E-BB40-D0F80476817D}"/>
                </a:ext>
              </a:extLst>
            </p:cNvPr>
            <p:cNvGrpSpPr/>
            <p:nvPr/>
          </p:nvGrpSpPr>
          <p:grpSpPr>
            <a:xfrm>
              <a:off x="10846085" y="2322265"/>
              <a:ext cx="1245292" cy="1583404"/>
              <a:chOff x="10846085" y="2322265"/>
              <a:chExt cx="1245292" cy="1583404"/>
            </a:xfrm>
            <a:solidFill>
              <a:srgbClr val="E3E8EC"/>
            </a:solidFill>
          </p:grpSpPr>
          <p:sp>
            <p:nvSpPr>
              <p:cNvPr id="720" name="Полилиния: фигура 719">
                <a:extLst>
                  <a:ext uri="{FF2B5EF4-FFF2-40B4-BE49-F238E27FC236}">
                    <a16:creationId xmlns:a16="http://schemas.microsoft.com/office/drawing/2014/main" id="{D867DBFD-1E61-47AE-B832-9E88853EE328}"/>
                  </a:ext>
                </a:extLst>
              </p:cNvPr>
              <p:cNvSpPr/>
              <p:nvPr/>
            </p:nvSpPr>
            <p:spPr>
              <a:xfrm>
                <a:off x="10846085" y="2322265"/>
                <a:ext cx="1245292" cy="1583404"/>
              </a:xfrm>
              <a:custGeom>
                <a:avLst/>
                <a:gdLst>
                  <a:gd name="connsiteX0" fmla="*/ 1235581 w 1245292"/>
                  <a:gd name="connsiteY0" fmla="*/ 593381 h 1583404"/>
                  <a:gd name="connsiteX1" fmla="*/ 1209485 w 1245292"/>
                  <a:gd name="connsiteY1" fmla="*/ 614917 h 1583404"/>
                  <a:gd name="connsiteX2" fmla="*/ 1201124 w 1245292"/>
                  <a:gd name="connsiteY2" fmla="*/ 585907 h 1583404"/>
                  <a:gd name="connsiteX3" fmla="*/ 1157925 w 1245292"/>
                  <a:gd name="connsiteY3" fmla="*/ 593381 h 1583404"/>
                  <a:gd name="connsiteX4" fmla="*/ 1138036 w 1245292"/>
                  <a:gd name="connsiteY4" fmla="*/ 574378 h 1583404"/>
                  <a:gd name="connsiteX5" fmla="*/ 1119920 w 1245292"/>
                  <a:gd name="connsiteY5" fmla="*/ 550562 h 1583404"/>
                  <a:gd name="connsiteX6" fmla="*/ 1110799 w 1245292"/>
                  <a:gd name="connsiteY6" fmla="*/ 518512 h 1583404"/>
                  <a:gd name="connsiteX7" fmla="*/ 1081662 w 1245292"/>
                  <a:gd name="connsiteY7" fmla="*/ 505970 h 1583404"/>
                  <a:gd name="connsiteX8" fmla="*/ 1065827 w 1245292"/>
                  <a:gd name="connsiteY8" fmla="*/ 477086 h 1583404"/>
                  <a:gd name="connsiteX9" fmla="*/ 1057086 w 1245292"/>
                  <a:gd name="connsiteY9" fmla="*/ 500523 h 1583404"/>
                  <a:gd name="connsiteX10" fmla="*/ 1034409 w 1245292"/>
                  <a:gd name="connsiteY10" fmla="*/ 545622 h 1583404"/>
                  <a:gd name="connsiteX11" fmla="*/ 1001725 w 1245292"/>
                  <a:gd name="connsiteY11" fmla="*/ 540681 h 1583404"/>
                  <a:gd name="connsiteX12" fmla="*/ 990070 w 1245292"/>
                  <a:gd name="connsiteY12" fmla="*/ 567031 h 1583404"/>
                  <a:gd name="connsiteX13" fmla="*/ 983103 w 1245292"/>
                  <a:gd name="connsiteY13" fmla="*/ 600475 h 1583404"/>
                  <a:gd name="connsiteX14" fmla="*/ 944592 w 1245292"/>
                  <a:gd name="connsiteY14" fmla="*/ 641267 h 1583404"/>
                  <a:gd name="connsiteX15" fmla="*/ 929136 w 1245292"/>
                  <a:gd name="connsiteY15" fmla="*/ 708155 h 1583404"/>
                  <a:gd name="connsiteX16" fmla="*/ 911781 w 1245292"/>
                  <a:gd name="connsiteY16" fmla="*/ 734505 h 1583404"/>
                  <a:gd name="connsiteX17" fmla="*/ 928883 w 1245292"/>
                  <a:gd name="connsiteY17" fmla="*/ 758828 h 1583404"/>
                  <a:gd name="connsiteX18" fmla="*/ 948265 w 1245292"/>
                  <a:gd name="connsiteY18" fmla="*/ 784291 h 1583404"/>
                  <a:gd name="connsiteX19" fmla="*/ 948899 w 1245292"/>
                  <a:gd name="connsiteY19" fmla="*/ 824070 h 1583404"/>
                  <a:gd name="connsiteX20" fmla="*/ 962834 w 1245292"/>
                  <a:gd name="connsiteY20" fmla="*/ 855614 h 1583404"/>
                  <a:gd name="connsiteX21" fmla="*/ 971701 w 1245292"/>
                  <a:gd name="connsiteY21" fmla="*/ 894759 h 1583404"/>
                  <a:gd name="connsiteX22" fmla="*/ 975502 w 1245292"/>
                  <a:gd name="connsiteY22" fmla="*/ 977989 h 1583404"/>
                  <a:gd name="connsiteX23" fmla="*/ 989310 w 1245292"/>
                  <a:gd name="connsiteY23" fmla="*/ 1054632 h 1583404"/>
                  <a:gd name="connsiteX24" fmla="*/ 1005906 w 1245292"/>
                  <a:gd name="connsiteY24" fmla="*/ 1078575 h 1583404"/>
                  <a:gd name="connsiteX25" fmla="*/ 1010213 w 1245292"/>
                  <a:gd name="connsiteY25" fmla="*/ 1115059 h 1583404"/>
                  <a:gd name="connsiteX26" fmla="*/ 1046825 w 1245292"/>
                  <a:gd name="connsiteY26" fmla="*/ 1146350 h 1583404"/>
                  <a:gd name="connsiteX27" fmla="*/ 1064940 w 1245292"/>
                  <a:gd name="connsiteY27" fmla="*/ 1119493 h 1583404"/>
                  <a:gd name="connsiteX28" fmla="*/ 1122454 w 1245292"/>
                  <a:gd name="connsiteY28" fmla="*/ 1119873 h 1583404"/>
                  <a:gd name="connsiteX29" fmla="*/ 1135249 w 1245292"/>
                  <a:gd name="connsiteY29" fmla="*/ 1148377 h 1583404"/>
                  <a:gd name="connsiteX30" fmla="*/ 1099524 w 1245292"/>
                  <a:gd name="connsiteY30" fmla="*/ 1170800 h 1583404"/>
                  <a:gd name="connsiteX31" fmla="*/ 1089009 w 1245292"/>
                  <a:gd name="connsiteY31" fmla="*/ 1185495 h 1583404"/>
                  <a:gd name="connsiteX32" fmla="*/ 1089009 w 1245292"/>
                  <a:gd name="connsiteY32" fmla="*/ 1202217 h 1583404"/>
                  <a:gd name="connsiteX33" fmla="*/ 1069754 w 1245292"/>
                  <a:gd name="connsiteY33" fmla="*/ 1206778 h 1583404"/>
                  <a:gd name="connsiteX34" fmla="*/ 1032636 w 1245292"/>
                  <a:gd name="connsiteY34" fmla="*/ 1267585 h 1583404"/>
                  <a:gd name="connsiteX35" fmla="*/ 1021361 w 1245292"/>
                  <a:gd name="connsiteY35" fmla="*/ 1312431 h 1583404"/>
                  <a:gd name="connsiteX36" fmla="*/ 999572 w 1245292"/>
                  <a:gd name="connsiteY36" fmla="*/ 1300269 h 1583404"/>
                  <a:gd name="connsiteX37" fmla="*/ 985637 w 1245292"/>
                  <a:gd name="connsiteY37" fmla="*/ 1313444 h 1583404"/>
                  <a:gd name="connsiteX38" fmla="*/ 970308 w 1245292"/>
                  <a:gd name="connsiteY38" fmla="*/ 1378559 h 1583404"/>
                  <a:gd name="connsiteX39" fmla="*/ 900379 w 1245292"/>
                  <a:gd name="connsiteY39" fmla="*/ 1362344 h 1583404"/>
                  <a:gd name="connsiteX40" fmla="*/ 938131 w 1245292"/>
                  <a:gd name="connsiteY40" fmla="*/ 1336500 h 1583404"/>
                  <a:gd name="connsiteX41" fmla="*/ 956880 w 1245292"/>
                  <a:gd name="connsiteY41" fmla="*/ 1300523 h 1583404"/>
                  <a:gd name="connsiteX42" fmla="*/ 926856 w 1245292"/>
                  <a:gd name="connsiteY42" fmla="*/ 1294822 h 1583404"/>
                  <a:gd name="connsiteX43" fmla="*/ 889232 w 1245292"/>
                  <a:gd name="connsiteY43" fmla="*/ 1322945 h 1583404"/>
                  <a:gd name="connsiteX44" fmla="*/ 850720 w 1245292"/>
                  <a:gd name="connsiteY44" fmla="*/ 1307110 h 1583404"/>
                  <a:gd name="connsiteX45" fmla="*/ 834251 w 1245292"/>
                  <a:gd name="connsiteY45" fmla="*/ 1344481 h 1583404"/>
                  <a:gd name="connsiteX46" fmla="*/ 812208 w 1245292"/>
                  <a:gd name="connsiteY46" fmla="*/ 1353983 h 1583404"/>
                  <a:gd name="connsiteX47" fmla="*/ 778637 w 1245292"/>
                  <a:gd name="connsiteY47" fmla="*/ 1367031 h 1583404"/>
                  <a:gd name="connsiteX48" fmla="*/ 732272 w 1245292"/>
                  <a:gd name="connsiteY48" fmla="*/ 1375265 h 1583404"/>
                  <a:gd name="connsiteX49" fmla="*/ 709469 w 1245292"/>
                  <a:gd name="connsiteY49" fmla="*/ 1416564 h 1583404"/>
                  <a:gd name="connsiteX50" fmla="*/ 704782 w 1245292"/>
                  <a:gd name="connsiteY50" fmla="*/ 1433793 h 1583404"/>
                  <a:gd name="connsiteX51" fmla="*/ 714156 w 1245292"/>
                  <a:gd name="connsiteY51" fmla="*/ 1446841 h 1583404"/>
                  <a:gd name="connsiteX52" fmla="*/ 706555 w 1245292"/>
                  <a:gd name="connsiteY52" fmla="*/ 1477245 h 1583404"/>
                  <a:gd name="connsiteX53" fmla="*/ 742660 w 1245292"/>
                  <a:gd name="connsiteY53" fmla="*/ 1488393 h 1583404"/>
                  <a:gd name="connsiteX54" fmla="*/ 724670 w 1245292"/>
                  <a:gd name="connsiteY54" fmla="*/ 1512589 h 1583404"/>
                  <a:gd name="connsiteX55" fmla="*/ 690973 w 1245292"/>
                  <a:gd name="connsiteY55" fmla="*/ 1520823 h 1583404"/>
                  <a:gd name="connsiteX56" fmla="*/ 660063 w 1245292"/>
                  <a:gd name="connsiteY56" fmla="*/ 1538433 h 1583404"/>
                  <a:gd name="connsiteX57" fmla="*/ 644734 w 1245292"/>
                  <a:gd name="connsiteY57" fmla="*/ 1550720 h 1583404"/>
                  <a:gd name="connsiteX58" fmla="*/ 637387 w 1245292"/>
                  <a:gd name="connsiteY58" fmla="*/ 1575170 h 1583404"/>
                  <a:gd name="connsiteX59" fmla="*/ 620538 w 1245292"/>
                  <a:gd name="connsiteY59" fmla="*/ 1576944 h 1583404"/>
                  <a:gd name="connsiteX60" fmla="*/ 588994 w 1245292"/>
                  <a:gd name="connsiteY60" fmla="*/ 1581631 h 1583404"/>
                  <a:gd name="connsiteX61" fmla="*/ 583420 w 1245292"/>
                  <a:gd name="connsiteY61" fmla="*/ 1583405 h 1583404"/>
                  <a:gd name="connsiteX62" fmla="*/ 579366 w 1245292"/>
                  <a:gd name="connsiteY62" fmla="*/ 1576564 h 1583404"/>
                  <a:gd name="connsiteX63" fmla="*/ 561757 w 1245292"/>
                  <a:gd name="connsiteY63" fmla="*/ 1535392 h 1583404"/>
                  <a:gd name="connsiteX64" fmla="*/ 492968 w 1245292"/>
                  <a:gd name="connsiteY64" fmla="*/ 1509042 h 1583404"/>
                  <a:gd name="connsiteX65" fmla="*/ 449010 w 1245292"/>
                  <a:gd name="connsiteY65" fmla="*/ 1511956 h 1583404"/>
                  <a:gd name="connsiteX66" fmla="*/ 420886 w 1245292"/>
                  <a:gd name="connsiteY66" fmla="*/ 1521077 h 1583404"/>
                  <a:gd name="connsiteX67" fmla="*/ 396056 w 1245292"/>
                  <a:gd name="connsiteY67" fmla="*/ 1529945 h 1583404"/>
                  <a:gd name="connsiteX68" fmla="*/ 376801 w 1245292"/>
                  <a:gd name="connsiteY68" fmla="*/ 1480539 h 1583404"/>
                  <a:gd name="connsiteX69" fmla="*/ 385288 w 1245292"/>
                  <a:gd name="connsiteY69" fmla="*/ 1426952 h 1583404"/>
                  <a:gd name="connsiteX70" fmla="*/ 379587 w 1245292"/>
                  <a:gd name="connsiteY70" fmla="*/ 1379953 h 1583404"/>
                  <a:gd name="connsiteX71" fmla="*/ 366540 w 1245292"/>
                  <a:gd name="connsiteY71" fmla="*/ 1336627 h 1583404"/>
                  <a:gd name="connsiteX72" fmla="*/ 281282 w 1245292"/>
                  <a:gd name="connsiteY72" fmla="*/ 1280887 h 1583404"/>
                  <a:gd name="connsiteX73" fmla="*/ 223135 w 1245292"/>
                  <a:gd name="connsiteY73" fmla="*/ 1272526 h 1583404"/>
                  <a:gd name="connsiteX74" fmla="*/ 184497 w 1245292"/>
                  <a:gd name="connsiteY74" fmla="*/ 1293175 h 1583404"/>
                  <a:gd name="connsiteX75" fmla="*/ 167901 w 1245292"/>
                  <a:gd name="connsiteY75" fmla="*/ 1317498 h 1583404"/>
                  <a:gd name="connsiteX76" fmla="*/ 126982 w 1245292"/>
                  <a:gd name="connsiteY76" fmla="*/ 1333460 h 1583404"/>
                  <a:gd name="connsiteX77" fmla="*/ 126982 w 1245292"/>
                  <a:gd name="connsiteY77" fmla="*/ 1333460 h 1583404"/>
                  <a:gd name="connsiteX78" fmla="*/ 124069 w 1245292"/>
                  <a:gd name="connsiteY78" fmla="*/ 1320032 h 1583404"/>
                  <a:gd name="connsiteX79" fmla="*/ 141045 w 1245292"/>
                  <a:gd name="connsiteY79" fmla="*/ 1275820 h 1583404"/>
                  <a:gd name="connsiteX80" fmla="*/ 125462 w 1245292"/>
                  <a:gd name="connsiteY80" fmla="*/ 1243262 h 1583404"/>
                  <a:gd name="connsiteX81" fmla="*/ 112667 w 1245292"/>
                  <a:gd name="connsiteY81" fmla="*/ 1225400 h 1583404"/>
                  <a:gd name="connsiteX82" fmla="*/ 94679 w 1245292"/>
                  <a:gd name="connsiteY82" fmla="*/ 1207791 h 1583404"/>
                  <a:gd name="connsiteX83" fmla="*/ 89611 w 1245292"/>
                  <a:gd name="connsiteY83" fmla="*/ 1186255 h 1583404"/>
                  <a:gd name="connsiteX84" fmla="*/ 65035 w 1245292"/>
                  <a:gd name="connsiteY84" fmla="*/ 1145210 h 1583404"/>
                  <a:gd name="connsiteX85" fmla="*/ 50846 w 1245292"/>
                  <a:gd name="connsiteY85" fmla="*/ 1116453 h 1583404"/>
                  <a:gd name="connsiteX86" fmla="*/ 59587 w 1245292"/>
                  <a:gd name="connsiteY86" fmla="*/ 1086809 h 1583404"/>
                  <a:gd name="connsiteX87" fmla="*/ 22469 w 1245292"/>
                  <a:gd name="connsiteY87" fmla="*/ 1046778 h 1583404"/>
                  <a:gd name="connsiteX88" fmla="*/ 19556 w 1245292"/>
                  <a:gd name="connsiteY88" fmla="*/ 1012447 h 1583404"/>
                  <a:gd name="connsiteX89" fmla="*/ 7267 w 1245292"/>
                  <a:gd name="connsiteY89" fmla="*/ 986857 h 1583404"/>
                  <a:gd name="connsiteX90" fmla="*/ 20570 w 1245292"/>
                  <a:gd name="connsiteY90" fmla="*/ 945178 h 1583404"/>
                  <a:gd name="connsiteX91" fmla="*/ 54394 w 1245292"/>
                  <a:gd name="connsiteY91" fmla="*/ 944418 h 1583404"/>
                  <a:gd name="connsiteX92" fmla="*/ 65542 w 1245292"/>
                  <a:gd name="connsiteY92" fmla="*/ 917815 h 1583404"/>
                  <a:gd name="connsiteX93" fmla="*/ 108234 w 1245292"/>
                  <a:gd name="connsiteY93" fmla="*/ 927696 h 1583404"/>
                  <a:gd name="connsiteX94" fmla="*/ 112667 w 1245292"/>
                  <a:gd name="connsiteY94" fmla="*/ 873603 h 1583404"/>
                  <a:gd name="connsiteX95" fmla="*/ 87078 w 1245292"/>
                  <a:gd name="connsiteY95" fmla="*/ 824323 h 1583404"/>
                  <a:gd name="connsiteX96" fmla="*/ 152699 w 1245292"/>
                  <a:gd name="connsiteY96" fmla="*/ 808361 h 1583404"/>
                  <a:gd name="connsiteX97" fmla="*/ 184116 w 1245292"/>
                  <a:gd name="connsiteY97" fmla="*/ 753634 h 1583404"/>
                  <a:gd name="connsiteX98" fmla="*/ 222121 w 1245292"/>
                  <a:gd name="connsiteY98" fmla="*/ 765162 h 1583404"/>
                  <a:gd name="connsiteX99" fmla="*/ 236310 w 1245292"/>
                  <a:gd name="connsiteY99" fmla="*/ 738432 h 1583404"/>
                  <a:gd name="connsiteX100" fmla="*/ 266333 w 1245292"/>
                  <a:gd name="connsiteY100" fmla="*/ 707268 h 1583404"/>
                  <a:gd name="connsiteX101" fmla="*/ 292557 w 1245292"/>
                  <a:gd name="connsiteY101" fmla="*/ 663436 h 1583404"/>
                  <a:gd name="connsiteX102" fmla="*/ 294204 w 1245292"/>
                  <a:gd name="connsiteY102" fmla="*/ 598448 h 1583404"/>
                  <a:gd name="connsiteX103" fmla="*/ 232382 w 1245292"/>
                  <a:gd name="connsiteY103" fmla="*/ 472146 h 1583404"/>
                  <a:gd name="connsiteX104" fmla="*/ 251131 w 1245292"/>
                  <a:gd name="connsiteY104" fmla="*/ 434268 h 1583404"/>
                  <a:gd name="connsiteX105" fmla="*/ 230483 w 1245292"/>
                  <a:gd name="connsiteY105" fmla="*/ 419446 h 1583404"/>
                  <a:gd name="connsiteX106" fmla="*/ 198432 w 1245292"/>
                  <a:gd name="connsiteY106" fmla="*/ 383595 h 1583404"/>
                  <a:gd name="connsiteX107" fmla="*/ 229849 w 1245292"/>
                  <a:gd name="connsiteY107" fmla="*/ 371686 h 1583404"/>
                  <a:gd name="connsiteX108" fmla="*/ 221994 w 1245292"/>
                  <a:gd name="connsiteY108" fmla="*/ 345463 h 1583404"/>
                  <a:gd name="connsiteX109" fmla="*/ 224275 w 1245292"/>
                  <a:gd name="connsiteY109" fmla="*/ 274014 h 1583404"/>
                  <a:gd name="connsiteX110" fmla="*/ 283182 w 1245292"/>
                  <a:gd name="connsiteY110" fmla="*/ 245257 h 1583404"/>
                  <a:gd name="connsiteX111" fmla="*/ 311559 w 1245292"/>
                  <a:gd name="connsiteY111" fmla="*/ 199398 h 1583404"/>
                  <a:gd name="connsiteX112" fmla="*/ 362359 w 1245292"/>
                  <a:gd name="connsiteY112" fmla="*/ 163167 h 1583404"/>
                  <a:gd name="connsiteX113" fmla="*/ 371606 w 1245292"/>
                  <a:gd name="connsiteY113" fmla="*/ 84497 h 1583404"/>
                  <a:gd name="connsiteX114" fmla="*/ 374773 w 1245292"/>
                  <a:gd name="connsiteY114" fmla="*/ 79050 h 1583404"/>
                  <a:gd name="connsiteX115" fmla="*/ 429121 w 1245292"/>
                  <a:gd name="connsiteY115" fmla="*/ 69802 h 1583404"/>
                  <a:gd name="connsiteX116" fmla="*/ 471813 w 1245292"/>
                  <a:gd name="connsiteY116" fmla="*/ 123515 h 1583404"/>
                  <a:gd name="connsiteX117" fmla="*/ 550229 w 1245292"/>
                  <a:gd name="connsiteY117" fmla="*/ 98812 h 1583404"/>
                  <a:gd name="connsiteX118" fmla="*/ 627252 w 1245292"/>
                  <a:gd name="connsiteY118" fmla="*/ 86904 h 1583404"/>
                  <a:gd name="connsiteX119" fmla="*/ 651702 w 1245292"/>
                  <a:gd name="connsiteY119" fmla="*/ 60174 h 1583404"/>
                  <a:gd name="connsiteX120" fmla="*/ 687679 w 1245292"/>
                  <a:gd name="connsiteY120" fmla="*/ 45732 h 1583404"/>
                  <a:gd name="connsiteX121" fmla="*/ 759762 w 1245292"/>
                  <a:gd name="connsiteY121" fmla="*/ 26350 h 1583404"/>
                  <a:gd name="connsiteX122" fmla="*/ 814868 w 1245292"/>
                  <a:gd name="connsiteY122" fmla="*/ 0 h 1583404"/>
                  <a:gd name="connsiteX123" fmla="*/ 820316 w 1245292"/>
                  <a:gd name="connsiteY123" fmla="*/ 380 h 1583404"/>
                  <a:gd name="connsiteX124" fmla="*/ 867948 w 1245292"/>
                  <a:gd name="connsiteY124" fmla="*/ 45479 h 1583404"/>
                  <a:gd name="connsiteX125" fmla="*/ 864528 w 1245292"/>
                  <a:gd name="connsiteY125" fmla="*/ 74996 h 1583404"/>
                  <a:gd name="connsiteX126" fmla="*/ 898226 w 1245292"/>
                  <a:gd name="connsiteY126" fmla="*/ 91085 h 1583404"/>
                  <a:gd name="connsiteX127" fmla="*/ 956246 w 1245292"/>
                  <a:gd name="connsiteY127" fmla="*/ 117181 h 1583404"/>
                  <a:gd name="connsiteX128" fmla="*/ 978162 w 1245292"/>
                  <a:gd name="connsiteY128" fmla="*/ 143658 h 1583404"/>
                  <a:gd name="connsiteX129" fmla="*/ 1011733 w 1245292"/>
                  <a:gd name="connsiteY129" fmla="*/ 160760 h 1583404"/>
                  <a:gd name="connsiteX130" fmla="*/ 999825 w 1245292"/>
                  <a:gd name="connsiteY130" fmla="*/ 228155 h 1583404"/>
                  <a:gd name="connsiteX131" fmla="*/ 1088249 w 1245292"/>
                  <a:gd name="connsiteY131" fmla="*/ 225748 h 1583404"/>
                  <a:gd name="connsiteX132" fmla="*/ 1118146 w 1245292"/>
                  <a:gd name="connsiteY132" fmla="*/ 287189 h 1583404"/>
                  <a:gd name="connsiteX133" fmla="*/ 1165399 w 1245292"/>
                  <a:gd name="connsiteY133" fmla="*/ 321394 h 1583404"/>
                  <a:gd name="connsiteX134" fmla="*/ 1182628 w 1245292"/>
                  <a:gd name="connsiteY134" fmla="*/ 351797 h 1583404"/>
                  <a:gd name="connsiteX135" fmla="*/ 1202137 w 1245292"/>
                  <a:gd name="connsiteY135" fmla="*/ 359905 h 1583404"/>
                  <a:gd name="connsiteX136" fmla="*/ 1202771 w 1245292"/>
                  <a:gd name="connsiteY136" fmla="*/ 370420 h 1583404"/>
                  <a:gd name="connsiteX137" fmla="*/ 1208471 w 1245292"/>
                  <a:gd name="connsiteY137" fmla="*/ 474553 h 1583404"/>
                  <a:gd name="connsiteX138" fmla="*/ 1240776 w 1245292"/>
                  <a:gd name="connsiteY138" fmla="*/ 541568 h 1583404"/>
                  <a:gd name="connsiteX139" fmla="*/ 1235581 w 1245292"/>
                  <a:gd name="connsiteY139" fmla="*/ 593381 h 1583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245292" h="1583404">
                    <a:moveTo>
                      <a:pt x="1235581" y="593381"/>
                    </a:moveTo>
                    <a:cubicBezTo>
                      <a:pt x="1231781" y="603895"/>
                      <a:pt x="1226207" y="635820"/>
                      <a:pt x="1209485" y="614917"/>
                    </a:cubicBezTo>
                    <a:cubicBezTo>
                      <a:pt x="1202771" y="606556"/>
                      <a:pt x="1208218" y="594394"/>
                      <a:pt x="1201124" y="585907"/>
                    </a:cubicBezTo>
                    <a:cubicBezTo>
                      <a:pt x="1181488" y="562344"/>
                      <a:pt x="1178194" y="620111"/>
                      <a:pt x="1157925" y="593381"/>
                    </a:cubicBezTo>
                    <a:cubicBezTo>
                      <a:pt x="1150197" y="583246"/>
                      <a:pt x="1150324" y="578939"/>
                      <a:pt x="1138036" y="574378"/>
                    </a:cubicBezTo>
                    <a:cubicBezTo>
                      <a:pt x="1125240" y="569691"/>
                      <a:pt x="1120680" y="564497"/>
                      <a:pt x="1119920" y="550562"/>
                    </a:cubicBezTo>
                    <a:cubicBezTo>
                      <a:pt x="1119287" y="539034"/>
                      <a:pt x="1121187" y="526619"/>
                      <a:pt x="1110799" y="518512"/>
                    </a:cubicBezTo>
                    <a:cubicBezTo>
                      <a:pt x="1102185" y="511797"/>
                      <a:pt x="1089643" y="514078"/>
                      <a:pt x="1081662" y="505970"/>
                    </a:cubicBezTo>
                    <a:cubicBezTo>
                      <a:pt x="1075835" y="500016"/>
                      <a:pt x="1074441" y="479113"/>
                      <a:pt x="1065827" y="477086"/>
                    </a:cubicBezTo>
                    <a:cubicBezTo>
                      <a:pt x="1054552" y="474426"/>
                      <a:pt x="1056199" y="494442"/>
                      <a:pt x="1057086" y="500523"/>
                    </a:cubicBezTo>
                    <a:cubicBezTo>
                      <a:pt x="1060126" y="521932"/>
                      <a:pt x="1071021" y="561204"/>
                      <a:pt x="1034409" y="545622"/>
                    </a:cubicBezTo>
                    <a:cubicBezTo>
                      <a:pt x="1023008" y="540808"/>
                      <a:pt x="1014014" y="533333"/>
                      <a:pt x="1001725" y="540681"/>
                    </a:cubicBezTo>
                    <a:cubicBezTo>
                      <a:pt x="990578" y="547395"/>
                      <a:pt x="991211" y="555883"/>
                      <a:pt x="990070" y="567031"/>
                    </a:cubicBezTo>
                    <a:cubicBezTo>
                      <a:pt x="988931" y="578559"/>
                      <a:pt x="983990" y="588947"/>
                      <a:pt x="983103" y="600475"/>
                    </a:cubicBezTo>
                    <a:cubicBezTo>
                      <a:pt x="981329" y="623531"/>
                      <a:pt x="955233" y="624418"/>
                      <a:pt x="944592" y="641267"/>
                    </a:cubicBezTo>
                    <a:cubicBezTo>
                      <a:pt x="931543" y="662169"/>
                      <a:pt x="942438" y="688266"/>
                      <a:pt x="929136" y="708155"/>
                    </a:cubicBezTo>
                    <a:cubicBezTo>
                      <a:pt x="923689" y="716390"/>
                      <a:pt x="911781" y="723611"/>
                      <a:pt x="911781" y="734505"/>
                    </a:cubicBezTo>
                    <a:cubicBezTo>
                      <a:pt x="911781" y="744640"/>
                      <a:pt x="922296" y="752621"/>
                      <a:pt x="928883" y="758828"/>
                    </a:cubicBezTo>
                    <a:cubicBezTo>
                      <a:pt x="936738" y="766303"/>
                      <a:pt x="944718" y="773650"/>
                      <a:pt x="948265" y="784291"/>
                    </a:cubicBezTo>
                    <a:cubicBezTo>
                      <a:pt x="952699" y="797466"/>
                      <a:pt x="948519" y="810641"/>
                      <a:pt x="948899" y="824070"/>
                    </a:cubicBezTo>
                    <a:cubicBezTo>
                      <a:pt x="949279" y="837751"/>
                      <a:pt x="955613" y="844846"/>
                      <a:pt x="962834" y="855614"/>
                    </a:cubicBezTo>
                    <a:cubicBezTo>
                      <a:pt x="971068" y="867775"/>
                      <a:pt x="971955" y="880443"/>
                      <a:pt x="971701" y="894759"/>
                    </a:cubicBezTo>
                    <a:cubicBezTo>
                      <a:pt x="971195" y="923136"/>
                      <a:pt x="971575" y="949865"/>
                      <a:pt x="975502" y="977989"/>
                    </a:cubicBezTo>
                    <a:cubicBezTo>
                      <a:pt x="978922" y="1002059"/>
                      <a:pt x="976262" y="1033476"/>
                      <a:pt x="989310" y="1054632"/>
                    </a:cubicBezTo>
                    <a:cubicBezTo>
                      <a:pt x="994631" y="1063120"/>
                      <a:pt x="1002359" y="1068820"/>
                      <a:pt x="1005906" y="1078575"/>
                    </a:cubicBezTo>
                    <a:cubicBezTo>
                      <a:pt x="1009960" y="1090230"/>
                      <a:pt x="1008440" y="1103025"/>
                      <a:pt x="1010213" y="1115059"/>
                    </a:cubicBezTo>
                    <a:cubicBezTo>
                      <a:pt x="1013507" y="1137862"/>
                      <a:pt x="1020854" y="1156358"/>
                      <a:pt x="1046825" y="1146350"/>
                    </a:cubicBezTo>
                    <a:cubicBezTo>
                      <a:pt x="1061646" y="1140649"/>
                      <a:pt x="1059999" y="1132162"/>
                      <a:pt x="1064940" y="1119493"/>
                    </a:cubicBezTo>
                    <a:cubicBezTo>
                      <a:pt x="1073681" y="1097831"/>
                      <a:pt x="1109659" y="1110625"/>
                      <a:pt x="1122454" y="1119873"/>
                    </a:cubicBezTo>
                    <a:cubicBezTo>
                      <a:pt x="1135122" y="1128868"/>
                      <a:pt x="1152098" y="1131908"/>
                      <a:pt x="1135249" y="1148377"/>
                    </a:cubicBezTo>
                    <a:cubicBezTo>
                      <a:pt x="1124101" y="1159272"/>
                      <a:pt x="1112446" y="1163452"/>
                      <a:pt x="1099524" y="1170800"/>
                    </a:cubicBezTo>
                    <a:cubicBezTo>
                      <a:pt x="1093063" y="1174474"/>
                      <a:pt x="1087997" y="1178274"/>
                      <a:pt x="1089009" y="1185495"/>
                    </a:cubicBezTo>
                    <a:cubicBezTo>
                      <a:pt x="1090277" y="1194109"/>
                      <a:pt x="1099524" y="1195376"/>
                      <a:pt x="1089009" y="1202217"/>
                    </a:cubicBezTo>
                    <a:cubicBezTo>
                      <a:pt x="1084703" y="1205004"/>
                      <a:pt x="1074948" y="1204751"/>
                      <a:pt x="1069754" y="1206778"/>
                    </a:cubicBezTo>
                    <a:cubicBezTo>
                      <a:pt x="1042264" y="1217419"/>
                      <a:pt x="1027188" y="1238701"/>
                      <a:pt x="1032636" y="1267585"/>
                    </a:cubicBezTo>
                    <a:cubicBezTo>
                      <a:pt x="1034917" y="1279367"/>
                      <a:pt x="1034917" y="1306223"/>
                      <a:pt x="1021361" y="1312431"/>
                    </a:cubicBezTo>
                    <a:cubicBezTo>
                      <a:pt x="1010847" y="1317371"/>
                      <a:pt x="1006033" y="1305210"/>
                      <a:pt x="999572" y="1300269"/>
                    </a:cubicBezTo>
                    <a:cubicBezTo>
                      <a:pt x="987411" y="1290895"/>
                      <a:pt x="983357" y="1301663"/>
                      <a:pt x="985637" y="1313444"/>
                    </a:cubicBezTo>
                    <a:cubicBezTo>
                      <a:pt x="989691" y="1335234"/>
                      <a:pt x="996531" y="1367538"/>
                      <a:pt x="970308" y="1378559"/>
                    </a:cubicBezTo>
                    <a:cubicBezTo>
                      <a:pt x="956880" y="1384133"/>
                      <a:pt x="883024" y="1394901"/>
                      <a:pt x="900379" y="1362344"/>
                    </a:cubicBezTo>
                    <a:cubicBezTo>
                      <a:pt x="907600" y="1348662"/>
                      <a:pt x="926856" y="1345748"/>
                      <a:pt x="938131" y="1336500"/>
                    </a:cubicBezTo>
                    <a:cubicBezTo>
                      <a:pt x="946239" y="1329660"/>
                      <a:pt x="958273" y="1312051"/>
                      <a:pt x="956880" y="1300523"/>
                    </a:cubicBezTo>
                    <a:cubicBezTo>
                      <a:pt x="955233" y="1286587"/>
                      <a:pt x="935724" y="1288994"/>
                      <a:pt x="926856" y="1294822"/>
                    </a:cubicBezTo>
                    <a:cubicBezTo>
                      <a:pt x="913934" y="1303310"/>
                      <a:pt x="907727" y="1324212"/>
                      <a:pt x="889232" y="1322945"/>
                    </a:cubicBezTo>
                    <a:cubicBezTo>
                      <a:pt x="874156" y="1321932"/>
                      <a:pt x="867062" y="1302930"/>
                      <a:pt x="850720" y="1307110"/>
                    </a:cubicBezTo>
                    <a:cubicBezTo>
                      <a:pt x="832477" y="1311797"/>
                      <a:pt x="834505" y="1329913"/>
                      <a:pt x="834251" y="1344481"/>
                    </a:cubicBezTo>
                    <a:cubicBezTo>
                      <a:pt x="833998" y="1364751"/>
                      <a:pt x="826397" y="1364244"/>
                      <a:pt x="812208" y="1353983"/>
                    </a:cubicBezTo>
                    <a:cubicBezTo>
                      <a:pt x="794853" y="1341314"/>
                      <a:pt x="791939" y="1357150"/>
                      <a:pt x="778637" y="1367031"/>
                    </a:cubicBezTo>
                    <a:cubicBezTo>
                      <a:pt x="764449" y="1377546"/>
                      <a:pt x="746840" y="1366144"/>
                      <a:pt x="732272" y="1375265"/>
                    </a:cubicBezTo>
                    <a:cubicBezTo>
                      <a:pt x="719350" y="1383373"/>
                      <a:pt x="715550" y="1403389"/>
                      <a:pt x="709469" y="1416564"/>
                    </a:cubicBezTo>
                    <a:cubicBezTo>
                      <a:pt x="706935" y="1422011"/>
                      <a:pt x="703388" y="1427585"/>
                      <a:pt x="704782" y="1433793"/>
                    </a:cubicBezTo>
                    <a:cubicBezTo>
                      <a:pt x="706048" y="1439620"/>
                      <a:pt x="712002" y="1441774"/>
                      <a:pt x="714156" y="1446841"/>
                    </a:cubicBezTo>
                    <a:cubicBezTo>
                      <a:pt x="719096" y="1458242"/>
                      <a:pt x="701488" y="1468123"/>
                      <a:pt x="706555" y="1477245"/>
                    </a:cubicBezTo>
                    <a:cubicBezTo>
                      <a:pt x="710736" y="1484846"/>
                      <a:pt x="734679" y="1483326"/>
                      <a:pt x="742660" y="1488393"/>
                    </a:cubicBezTo>
                    <a:cubicBezTo>
                      <a:pt x="737339" y="1496880"/>
                      <a:pt x="730625" y="1504355"/>
                      <a:pt x="724670" y="1512589"/>
                    </a:cubicBezTo>
                    <a:cubicBezTo>
                      <a:pt x="716056" y="1524371"/>
                      <a:pt x="704021" y="1524751"/>
                      <a:pt x="690973" y="1520823"/>
                    </a:cubicBezTo>
                    <a:cubicBezTo>
                      <a:pt x="673364" y="1515376"/>
                      <a:pt x="671338" y="1525384"/>
                      <a:pt x="660063" y="1538433"/>
                    </a:cubicBezTo>
                    <a:cubicBezTo>
                      <a:pt x="655629" y="1543626"/>
                      <a:pt x="648028" y="1545147"/>
                      <a:pt x="644734" y="1550720"/>
                    </a:cubicBezTo>
                    <a:cubicBezTo>
                      <a:pt x="640427" y="1558195"/>
                      <a:pt x="645621" y="1568836"/>
                      <a:pt x="637387" y="1575170"/>
                    </a:cubicBezTo>
                    <a:cubicBezTo>
                      <a:pt x="632700" y="1578717"/>
                      <a:pt x="625858" y="1576944"/>
                      <a:pt x="620538" y="1576944"/>
                    </a:cubicBezTo>
                    <a:cubicBezTo>
                      <a:pt x="609516" y="1576944"/>
                      <a:pt x="599762" y="1579478"/>
                      <a:pt x="588994" y="1581631"/>
                    </a:cubicBezTo>
                    <a:cubicBezTo>
                      <a:pt x="587220" y="1582011"/>
                      <a:pt x="585320" y="1582518"/>
                      <a:pt x="583420" y="1583405"/>
                    </a:cubicBezTo>
                    <a:cubicBezTo>
                      <a:pt x="581900" y="1581378"/>
                      <a:pt x="580633" y="1579097"/>
                      <a:pt x="579366" y="1576564"/>
                    </a:cubicBezTo>
                    <a:cubicBezTo>
                      <a:pt x="572905" y="1562882"/>
                      <a:pt x="569738" y="1548567"/>
                      <a:pt x="561757" y="1535392"/>
                    </a:cubicBezTo>
                    <a:cubicBezTo>
                      <a:pt x="546809" y="1510689"/>
                      <a:pt x="519571" y="1508915"/>
                      <a:pt x="492968" y="1509042"/>
                    </a:cubicBezTo>
                    <a:cubicBezTo>
                      <a:pt x="478274" y="1509168"/>
                      <a:pt x="463705" y="1510942"/>
                      <a:pt x="449010" y="1511956"/>
                    </a:cubicBezTo>
                    <a:cubicBezTo>
                      <a:pt x="437735" y="1512842"/>
                      <a:pt x="430260" y="1514363"/>
                      <a:pt x="420886" y="1521077"/>
                    </a:cubicBezTo>
                    <a:cubicBezTo>
                      <a:pt x="413159" y="1526651"/>
                      <a:pt x="406444" y="1533999"/>
                      <a:pt x="396056" y="1529945"/>
                    </a:cubicBezTo>
                    <a:cubicBezTo>
                      <a:pt x="379461" y="1523357"/>
                      <a:pt x="378194" y="1495487"/>
                      <a:pt x="376801" y="1480539"/>
                    </a:cubicBezTo>
                    <a:cubicBezTo>
                      <a:pt x="375027" y="1461916"/>
                      <a:pt x="383262" y="1445067"/>
                      <a:pt x="385288" y="1426952"/>
                    </a:cubicBezTo>
                    <a:cubicBezTo>
                      <a:pt x="387062" y="1410736"/>
                      <a:pt x="382375" y="1395915"/>
                      <a:pt x="379587" y="1379953"/>
                    </a:cubicBezTo>
                    <a:cubicBezTo>
                      <a:pt x="377307" y="1366397"/>
                      <a:pt x="374900" y="1347902"/>
                      <a:pt x="366540" y="1336627"/>
                    </a:cubicBezTo>
                    <a:cubicBezTo>
                      <a:pt x="347917" y="1311164"/>
                      <a:pt x="312699" y="1285701"/>
                      <a:pt x="281282" y="1280887"/>
                    </a:cubicBezTo>
                    <a:cubicBezTo>
                      <a:pt x="262279" y="1277973"/>
                      <a:pt x="242517" y="1273159"/>
                      <a:pt x="223135" y="1272526"/>
                    </a:cubicBezTo>
                    <a:cubicBezTo>
                      <a:pt x="202865" y="1271892"/>
                      <a:pt x="188804" y="1271386"/>
                      <a:pt x="184497" y="1293175"/>
                    </a:cubicBezTo>
                    <a:cubicBezTo>
                      <a:pt x="182217" y="1304957"/>
                      <a:pt x="176262" y="1309390"/>
                      <a:pt x="167901" y="1317498"/>
                    </a:cubicBezTo>
                    <a:cubicBezTo>
                      <a:pt x="161060" y="1323959"/>
                      <a:pt x="136484" y="1339034"/>
                      <a:pt x="126982" y="1333460"/>
                    </a:cubicBezTo>
                    <a:lnTo>
                      <a:pt x="126982" y="1333460"/>
                    </a:lnTo>
                    <a:cubicBezTo>
                      <a:pt x="123942" y="1331687"/>
                      <a:pt x="122422" y="1327506"/>
                      <a:pt x="124069" y="1320032"/>
                    </a:cubicBezTo>
                    <a:cubicBezTo>
                      <a:pt x="127363" y="1303690"/>
                      <a:pt x="142818" y="1292922"/>
                      <a:pt x="141045" y="1275820"/>
                    </a:cubicBezTo>
                    <a:cubicBezTo>
                      <a:pt x="139904" y="1263785"/>
                      <a:pt x="130783" y="1253270"/>
                      <a:pt x="125462" y="1243262"/>
                    </a:cubicBezTo>
                    <a:cubicBezTo>
                      <a:pt x="121916" y="1236548"/>
                      <a:pt x="117862" y="1231101"/>
                      <a:pt x="112667" y="1225400"/>
                    </a:cubicBezTo>
                    <a:cubicBezTo>
                      <a:pt x="107727" y="1219826"/>
                      <a:pt x="98226" y="1214125"/>
                      <a:pt x="94679" y="1207791"/>
                    </a:cubicBezTo>
                    <a:cubicBezTo>
                      <a:pt x="91512" y="1201964"/>
                      <a:pt x="92272" y="1192842"/>
                      <a:pt x="89611" y="1186255"/>
                    </a:cubicBezTo>
                    <a:cubicBezTo>
                      <a:pt x="83784" y="1171307"/>
                      <a:pt x="72382" y="1159272"/>
                      <a:pt x="65035" y="1145210"/>
                    </a:cubicBezTo>
                    <a:cubicBezTo>
                      <a:pt x="60347" y="1136342"/>
                      <a:pt x="52874" y="1126461"/>
                      <a:pt x="50846" y="1116453"/>
                    </a:cubicBezTo>
                    <a:cubicBezTo>
                      <a:pt x="48439" y="1103785"/>
                      <a:pt x="57688" y="1098084"/>
                      <a:pt x="59587" y="1086809"/>
                    </a:cubicBezTo>
                    <a:cubicBezTo>
                      <a:pt x="63641" y="1064133"/>
                      <a:pt x="24876" y="1069707"/>
                      <a:pt x="22469" y="1046778"/>
                    </a:cubicBezTo>
                    <a:cubicBezTo>
                      <a:pt x="21203" y="1034996"/>
                      <a:pt x="23483" y="1024101"/>
                      <a:pt x="19556" y="1012447"/>
                    </a:cubicBezTo>
                    <a:cubicBezTo>
                      <a:pt x="16516" y="1003452"/>
                      <a:pt x="11068" y="995471"/>
                      <a:pt x="7267" y="986857"/>
                    </a:cubicBezTo>
                    <a:cubicBezTo>
                      <a:pt x="-1473" y="966841"/>
                      <a:pt x="-7427" y="946192"/>
                      <a:pt x="20570" y="945178"/>
                    </a:cubicBezTo>
                    <a:cubicBezTo>
                      <a:pt x="30704" y="944798"/>
                      <a:pt x="44892" y="949232"/>
                      <a:pt x="54394" y="944418"/>
                    </a:cubicBezTo>
                    <a:cubicBezTo>
                      <a:pt x="64528" y="939351"/>
                      <a:pt x="63768" y="927443"/>
                      <a:pt x="65542" y="917815"/>
                    </a:cubicBezTo>
                    <a:cubicBezTo>
                      <a:pt x="71495" y="886777"/>
                      <a:pt x="90372" y="929216"/>
                      <a:pt x="108234" y="927696"/>
                    </a:cubicBezTo>
                    <a:cubicBezTo>
                      <a:pt x="131670" y="925669"/>
                      <a:pt x="122422" y="885004"/>
                      <a:pt x="112667" y="873603"/>
                    </a:cubicBezTo>
                    <a:cubicBezTo>
                      <a:pt x="99239" y="857894"/>
                      <a:pt x="74283" y="851180"/>
                      <a:pt x="87078" y="824323"/>
                    </a:cubicBezTo>
                    <a:cubicBezTo>
                      <a:pt x="97466" y="802534"/>
                      <a:pt x="133317" y="816595"/>
                      <a:pt x="152699" y="808361"/>
                    </a:cubicBezTo>
                    <a:cubicBezTo>
                      <a:pt x="154220" y="785178"/>
                      <a:pt x="148772" y="749707"/>
                      <a:pt x="184116" y="753634"/>
                    </a:cubicBezTo>
                    <a:cubicBezTo>
                      <a:pt x="197038" y="755028"/>
                      <a:pt x="209326" y="765036"/>
                      <a:pt x="222121" y="765162"/>
                    </a:cubicBezTo>
                    <a:cubicBezTo>
                      <a:pt x="240490" y="765289"/>
                      <a:pt x="234283" y="750847"/>
                      <a:pt x="236310" y="738432"/>
                    </a:cubicBezTo>
                    <a:cubicBezTo>
                      <a:pt x="238717" y="724497"/>
                      <a:pt x="256579" y="715883"/>
                      <a:pt x="266333" y="707268"/>
                    </a:cubicBezTo>
                    <a:cubicBezTo>
                      <a:pt x="279382" y="695614"/>
                      <a:pt x="285462" y="679018"/>
                      <a:pt x="292557" y="663436"/>
                    </a:cubicBezTo>
                    <a:cubicBezTo>
                      <a:pt x="303705" y="639113"/>
                      <a:pt x="313460" y="621504"/>
                      <a:pt x="294204" y="598448"/>
                    </a:cubicBezTo>
                    <a:cubicBezTo>
                      <a:pt x="265954" y="564624"/>
                      <a:pt x="209199" y="520792"/>
                      <a:pt x="232382" y="472146"/>
                    </a:cubicBezTo>
                    <a:cubicBezTo>
                      <a:pt x="237577" y="461251"/>
                      <a:pt x="250752" y="446683"/>
                      <a:pt x="251131" y="434268"/>
                    </a:cubicBezTo>
                    <a:cubicBezTo>
                      <a:pt x="251385" y="421979"/>
                      <a:pt x="240617" y="421219"/>
                      <a:pt x="230483" y="419446"/>
                    </a:cubicBezTo>
                    <a:cubicBezTo>
                      <a:pt x="214140" y="416532"/>
                      <a:pt x="162201" y="403357"/>
                      <a:pt x="198432" y="383595"/>
                    </a:cubicBezTo>
                    <a:cubicBezTo>
                      <a:pt x="205906" y="379414"/>
                      <a:pt x="224909" y="378781"/>
                      <a:pt x="229849" y="371686"/>
                    </a:cubicBezTo>
                    <a:cubicBezTo>
                      <a:pt x="235296" y="363959"/>
                      <a:pt x="225415" y="352431"/>
                      <a:pt x="221994" y="345463"/>
                    </a:cubicBezTo>
                    <a:cubicBezTo>
                      <a:pt x="208946" y="319493"/>
                      <a:pt x="210213" y="298971"/>
                      <a:pt x="224275" y="274014"/>
                    </a:cubicBezTo>
                    <a:cubicBezTo>
                      <a:pt x="238843" y="247791"/>
                      <a:pt x="255945" y="248804"/>
                      <a:pt x="283182" y="245257"/>
                    </a:cubicBezTo>
                    <a:cubicBezTo>
                      <a:pt x="312446" y="241457"/>
                      <a:pt x="295850" y="215740"/>
                      <a:pt x="311559" y="199398"/>
                    </a:cubicBezTo>
                    <a:cubicBezTo>
                      <a:pt x="328914" y="181283"/>
                      <a:pt x="357038" y="195218"/>
                      <a:pt x="362359" y="163167"/>
                    </a:cubicBezTo>
                    <a:cubicBezTo>
                      <a:pt x="366666" y="136944"/>
                      <a:pt x="359065" y="109327"/>
                      <a:pt x="371606" y="84497"/>
                    </a:cubicBezTo>
                    <a:cubicBezTo>
                      <a:pt x="372620" y="82597"/>
                      <a:pt x="373634" y="80823"/>
                      <a:pt x="374773" y="79050"/>
                    </a:cubicBezTo>
                    <a:cubicBezTo>
                      <a:pt x="387062" y="60934"/>
                      <a:pt x="411258" y="52447"/>
                      <a:pt x="429121" y="69802"/>
                    </a:cubicBezTo>
                    <a:cubicBezTo>
                      <a:pt x="447236" y="87284"/>
                      <a:pt x="442676" y="117181"/>
                      <a:pt x="471813" y="123515"/>
                    </a:cubicBezTo>
                    <a:cubicBezTo>
                      <a:pt x="503230" y="130356"/>
                      <a:pt x="523246" y="108060"/>
                      <a:pt x="550229" y="98812"/>
                    </a:cubicBezTo>
                    <a:cubicBezTo>
                      <a:pt x="575058" y="90198"/>
                      <a:pt x="605209" y="103880"/>
                      <a:pt x="627252" y="86904"/>
                    </a:cubicBezTo>
                    <a:cubicBezTo>
                      <a:pt x="636880" y="79557"/>
                      <a:pt x="642454" y="68029"/>
                      <a:pt x="651702" y="60174"/>
                    </a:cubicBezTo>
                    <a:cubicBezTo>
                      <a:pt x="662089" y="51306"/>
                      <a:pt x="674378" y="47633"/>
                      <a:pt x="687679" y="45732"/>
                    </a:cubicBezTo>
                    <a:cubicBezTo>
                      <a:pt x="714156" y="41932"/>
                      <a:pt x="736072" y="40032"/>
                      <a:pt x="759762" y="26350"/>
                    </a:cubicBezTo>
                    <a:cubicBezTo>
                      <a:pt x="776611" y="16595"/>
                      <a:pt x="794473" y="380"/>
                      <a:pt x="814868" y="0"/>
                    </a:cubicBezTo>
                    <a:cubicBezTo>
                      <a:pt x="816642" y="0"/>
                      <a:pt x="818416" y="127"/>
                      <a:pt x="820316" y="380"/>
                    </a:cubicBezTo>
                    <a:cubicBezTo>
                      <a:pt x="840205" y="2914"/>
                      <a:pt x="875550" y="20903"/>
                      <a:pt x="867948" y="45479"/>
                    </a:cubicBezTo>
                    <a:cubicBezTo>
                      <a:pt x="864655" y="56120"/>
                      <a:pt x="856547" y="63468"/>
                      <a:pt x="864528" y="74996"/>
                    </a:cubicBezTo>
                    <a:cubicBezTo>
                      <a:pt x="871496" y="85004"/>
                      <a:pt x="887331" y="88044"/>
                      <a:pt x="898226" y="91085"/>
                    </a:cubicBezTo>
                    <a:cubicBezTo>
                      <a:pt x="919635" y="97165"/>
                      <a:pt x="941804" y="98179"/>
                      <a:pt x="956246" y="117181"/>
                    </a:cubicBezTo>
                    <a:cubicBezTo>
                      <a:pt x="963467" y="126682"/>
                      <a:pt x="967901" y="136944"/>
                      <a:pt x="978162" y="143658"/>
                    </a:cubicBezTo>
                    <a:cubicBezTo>
                      <a:pt x="988424" y="150372"/>
                      <a:pt x="1003246" y="151512"/>
                      <a:pt x="1011733" y="160760"/>
                    </a:cubicBezTo>
                    <a:cubicBezTo>
                      <a:pt x="1032889" y="183563"/>
                      <a:pt x="985637" y="208139"/>
                      <a:pt x="999825" y="228155"/>
                    </a:cubicBezTo>
                    <a:cubicBezTo>
                      <a:pt x="1016294" y="251338"/>
                      <a:pt x="1066460" y="220174"/>
                      <a:pt x="1088249" y="225748"/>
                    </a:cubicBezTo>
                    <a:cubicBezTo>
                      <a:pt x="1113079" y="232209"/>
                      <a:pt x="1106238" y="269960"/>
                      <a:pt x="1118146" y="287189"/>
                    </a:cubicBezTo>
                    <a:cubicBezTo>
                      <a:pt x="1130815" y="305558"/>
                      <a:pt x="1157038" y="298844"/>
                      <a:pt x="1165399" y="321394"/>
                    </a:cubicBezTo>
                    <a:cubicBezTo>
                      <a:pt x="1169833" y="333302"/>
                      <a:pt x="1171226" y="344070"/>
                      <a:pt x="1182628" y="351797"/>
                    </a:cubicBezTo>
                    <a:cubicBezTo>
                      <a:pt x="1188456" y="355851"/>
                      <a:pt x="1195296" y="357878"/>
                      <a:pt x="1202137" y="359905"/>
                    </a:cubicBezTo>
                    <a:cubicBezTo>
                      <a:pt x="1202264" y="363959"/>
                      <a:pt x="1202517" y="367633"/>
                      <a:pt x="1202771" y="370420"/>
                    </a:cubicBezTo>
                    <a:cubicBezTo>
                      <a:pt x="1206318" y="405131"/>
                      <a:pt x="1208471" y="439715"/>
                      <a:pt x="1208471" y="474553"/>
                    </a:cubicBezTo>
                    <a:cubicBezTo>
                      <a:pt x="1208471" y="501663"/>
                      <a:pt x="1226207" y="520285"/>
                      <a:pt x="1240776" y="541568"/>
                    </a:cubicBezTo>
                    <a:cubicBezTo>
                      <a:pt x="1251037" y="557530"/>
                      <a:pt x="1241409" y="577419"/>
                      <a:pt x="1235581" y="593381"/>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sp>
            <p:nvSpPr>
              <p:cNvPr id="721" name="Полилиния: фигура 720">
                <a:extLst>
                  <a:ext uri="{FF2B5EF4-FFF2-40B4-BE49-F238E27FC236}">
                    <a16:creationId xmlns:a16="http://schemas.microsoft.com/office/drawing/2014/main" id="{FB275663-B50C-4860-8221-8FBB384BC08F}"/>
                  </a:ext>
                </a:extLst>
              </p:cNvPr>
              <p:cNvSpPr/>
              <p:nvPr/>
            </p:nvSpPr>
            <p:spPr>
              <a:xfrm>
                <a:off x="11703392" y="3728946"/>
                <a:ext cx="25716" cy="26732"/>
              </a:xfrm>
              <a:custGeom>
                <a:avLst/>
                <a:gdLst>
                  <a:gd name="connsiteX0" fmla="*/ 25716 w 25716"/>
                  <a:gd name="connsiteY0" fmla="*/ 13304 h 26732"/>
                  <a:gd name="connsiteX1" fmla="*/ 12795 w 25716"/>
                  <a:gd name="connsiteY1" fmla="*/ 26732 h 26732"/>
                  <a:gd name="connsiteX2" fmla="*/ 0 w 25716"/>
                  <a:gd name="connsiteY2" fmla="*/ 13304 h 26732"/>
                  <a:gd name="connsiteX3" fmla="*/ 12795 w 25716"/>
                  <a:gd name="connsiteY3" fmla="*/ 2 h 26732"/>
                  <a:gd name="connsiteX4" fmla="*/ 25716 w 25716"/>
                  <a:gd name="connsiteY4" fmla="*/ 13304 h 26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6" h="26732">
                    <a:moveTo>
                      <a:pt x="25716" y="13304"/>
                    </a:moveTo>
                    <a:cubicBezTo>
                      <a:pt x="25716" y="20651"/>
                      <a:pt x="20016" y="26732"/>
                      <a:pt x="12795" y="26732"/>
                    </a:cubicBezTo>
                    <a:cubicBezTo>
                      <a:pt x="5701" y="26732"/>
                      <a:pt x="0" y="20778"/>
                      <a:pt x="0" y="13304"/>
                    </a:cubicBezTo>
                    <a:cubicBezTo>
                      <a:pt x="0" y="5956"/>
                      <a:pt x="5701" y="2"/>
                      <a:pt x="12795" y="2"/>
                    </a:cubicBezTo>
                    <a:cubicBezTo>
                      <a:pt x="19889" y="-124"/>
                      <a:pt x="25716" y="5830"/>
                      <a:pt x="25716" y="13304"/>
                    </a:cubicBezTo>
                    <a:close/>
                  </a:path>
                </a:pathLst>
              </a:custGeom>
              <a:solidFill>
                <a:srgbClr val="E3E8EC"/>
              </a:solidFill>
              <a:ln w="12666" cap="flat">
                <a:solidFill>
                  <a:srgbClr val="FFFFFF"/>
                </a:solid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24859729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тарифы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Основной заголовок</a:t>
            </a:r>
            <a:br>
              <a:rPr lang="ru-RU" dirty="0"/>
            </a:br>
            <a:r>
              <a:rPr lang="ru-RU" dirty="0"/>
              <a:t>набранный в две строчки</a:t>
            </a:r>
          </a:p>
        </p:txBody>
      </p:sp>
      <p:sp>
        <p:nvSpPr>
          <p:cNvPr id="12" name="Прямоугольник: скругленные углы 11">
            <a:extLst>
              <a:ext uri="{FF2B5EF4-FFF2-40B4-BE49-F238E27FC236}">
                <a16:creationId xmlns:a16="http://schemas.microsoft.com/office/drawing/2014/main" id="{14F38DA2-E643-4B7E-B7C7-873CDD759A92}"/>
              </a:ext>
            </a:extLst>
          </p:cNvPr>
          <p:cNvSpPr/>
          <p:nvPr userDrawn="1"/>
        </p:nvSpPr>
        <p:spPr>
          <a:xfrm>
            <a:off x="417037" y="1699093"/>
            <a:ext cx="5560011" cy="4255435"/>
          </a:xfrm>
          <a:prstGeom prst="roundRect">
            <a:avLst>
              <a:gd name="adj" fmla="val 2842"/>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13" name="Полилиния: фигура 12">
            <a:extLst>
              <a:ext uri="{FF2B5EF4-FFF2-40B4-BE49-F238E27FC236}">
                <a16:creationId xmlns:a16="http://schemas.microsoft.com/office/drawing/2014/main" id="{BFC58B2B-2E38-45D4-A0F5-B577C34E9C86}"/>
              </a:ext>
            </a:extLst>
          </p:cNvPr>
          <p:cNvSpPr/>
          <p:nvPr userDrawn="1"/>
        </p:nvSpPr>
        <p:spPr>
          <a:xfrm>
            <a:off x="417037" y="1699097"/>
            <a:ext cx="5560011" cy="526677"/>
          </a:xfrm>
          <a:custGeom>
            <a:avLst/>
            <a:gdLst>
              <a:gd name="connsiteX0" fmla="*/ 137065 w 6307137"/>
              <a:gd name="connsiteY0" fmla="*/ 0 h 596901"/>
              <a:gd name="connsiteX1" fmla="*/ 6170072 w 6307137"/>
              <a:gd name="connsiteY1" fmla="*/ 0 h 596901"/>
              <a:gd name="connsiteX2" fmla="*/ 6307137 w 6307137"/>
              <a:gd name="connsiteY2" fmla="*/ 137065 h 596901"/>
              <a:gd name="connsiteX3" fmla="*/ 6307137 w 6307137"/>
              <a:gd name="connsiteY3" fmla="*/ 596901 h 596901"/>
              <a:gd name="connsiteX4" fmla="*/ 0 w 6307137"/>
              <a:gd name="connsiteY4" fmla="*/ 596901 h 596901"/>
              <a:gd name="connsiteX5" fmla="*/ 0 w 6307137"/>
              <a:gd name="connsiteY5" fmla="*/ 137065 h 596901"/>
              <a:gd name="connsiteX6" fmla="*/ 137065 w 6307137"/>
              <a:gd name="connsiteY6" fmla="*/ 0 h 59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137" h="596901">
                <a:moveTo>
                  <a:pt x="137065" y="0"/>
                </a:moveTo>
                <a:lnTo>
                  <a:pt x="6170072" y="0"/>
                </a:lnTo>
                <a:cubicBezTo>
                  <a:pt x="6245771" y="0"/>
                  <a:pt x="6307137" y="61366"/>
                  <a:pt x="6307137" y="137065"/>
                </a:cubicBezTo>
                <a:lnTo>
                  <a:pt x="6307137" y="596901"/>
                </a:lnTo>
                <a:lnTo>
                  <a:pt x="0" y="596901"/>
                </a:lnTo>
                <a:lnTo>
                  <a:pt x="0" y="137065"/>
                </a:lnTo>
                <a:cubicBezTo>
                  <a:pt x="0" y="61366"/>
                  <a:pt x="61366" y="0"/>
                  <a:pt x="137065"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14" name="Текст 14">
            <a:extLst>
              <a:ext uri="{FF2B5EF4-FFF2-40B4-BE49-F238E27FC236}">
                <a16:creationId xmlns:a16="http://schemas.microsoft.com/office/drawing/2014/main" id="{78A23032-B92E-4297-B016-48D82304BB5D}"/>
              </a:ext>
            </a:extLst>
          </p:cNvPr>
          <p:cNvSpPr>
            <a:spLocks noGrp="1"/>
          </p:cNvSpPr>
          <p:nvPr>
            <p:ph type="body" sz="quarter" idx="30" hasCustomPrompt="1"/>
          </p:nvPr>
        </p:nvSpPr>
        <p:spPr>
          <a:xfrm>
            <a:off x="584973" y="1814090"/>
            <a:ext cx="5257119" cy="317681"/>
          </a:xfrm>
          <a:prstGeom prst="rect">
            <a:avLst/>
          </a:prstGeom>
        </p:spPr>
        <p:txBody>
          <a:bodyPr lIns="0" tIns="0" rIns="0" bIns="0"/>
          <a:lstStyle>
            <a:lvl1pPr>
              <a:lnSpc>
                <a:spcPct val="100000"/>
              </a:lnSpc>
              <a:spcBef>
                <a:spcPts val="0"/>
              </a:spcBef>
              <a:defRPr sz="2204"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Название дополнительной функции</a:t>
            </a:r>
          </a:p>
        </p:txBody>
      </p:sp>
      <p:sp>
        <p:nvSpPr>
          <p:cNvPr id="16" name="Текст 14">
            <a:extLst>
              <a:ext uri="{FF2B5EF4-FFF2-40B4-BE49-F238E27FC236}">
                <a16:creationId xmlns:a16="http://schemas.microsoft.com/office/drawing/2014/main" id="{CC902B0E-9C46-438A-B990-28980D679D73}"/>
              </a:ext>
            </a:extLst>
          </p:cNvPr>
          <p:cNvSpPr>
            <a:spLocks noGrp="1"/>
          </p:cNvSpPr>
          <p:nvPr>
            <p:ph type="body" sz="quarter" idx="34" hasCustomPrompt="1"/>
          </p:nvPr>
        </p:nvSpPr>
        <p:spPr>
          <a:xfrm>
            <a:off x="584973" y="5117987"/>
            <a:ext cx="5257119" cy="312671"/>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17" name="Текст 14">
            <a:extLst>
              <a:ext uri="{FF2B5EF4-FFF2-40B4-BE49-F238E27FC236}">
                <a16:creationId xmlns:a16="http://schemas.microsoft.com/office/drawing/2014/main" id="{823B24D1-8FA8-48DE-A523-A7EF21B12D6F}"/>
              </a:ext>
            </a:extLst>
          </p:cNvPr>
          <p:cNvSpPr>
            <a:spLocks noGrp="1"/>
          </p:cNvSpPr>
          <p:nvPr>
            <p:ph type="body" sz="quarter" idx="35" hasCustomPrompt="1"/>
          </p:nvPr>
        </p:nvSpPr>
        <p:spPr>
          <a:xfrm>
            <a:off x="584973" y="5562738"/>
            <a:ext cx="5257119"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19" name="Текст 14">
            <a:extLst>
              <a:ext uri="{FF2B5EF4-FFF2-40B4-BE49-F238E27FC236}">
                <a16:creationId xmlns:a16="http://schemas.microsoft.com/office/drawing/2014/main" id="{EF6487A9-D90D-45FA-8580-A8ECCDA822E6}"/>
              </a:ext>
            </a:extLst>
          </p:cNvPr>
          <p:cNvSpPr>
            <a:spLocks noGrp="1"/>
          </p:cNvSpPr>
          <p:nvPr>
            <p:ph type="body" sz="quarter" idx="37" hasCustomPrompt="1"/>
          </p:nvPr>
        </p:nvSpPr>
        <p:spPr>
          <a:xfrm>
            <a:off x="584973" y="2703596"/>
            <a:ext cx="5257119" cy="2197275"/>
          </a:xfrm>
          <a:prstGeom prst="rect">
            <a:avLst/>
          </a:prstGeom>
        </p:spPr>
        <p:txBody>
          <a:bodyPr lIns="0" tIns="0" rIns="0" bIns="0"/>
          <a:lstStyle>
            <a:lvl1pPr marL="156727" indent="-156727">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20" name="Текст 14">
            <a:extLst>
              <a:ext uri="{FF2B5EF4-FFF2-40B4-BE49-F238E27FC236}">
                <a16:creationId xmlns:a16="http://schemas.microsoft.com/office/drawing/2014/main" id="{6F572EC0-3D1E-48EE-AD08-1971356B0BE5}"/>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5104478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тарифы_2">
    <p:spTree>
      <p:nvGrpSpPr>
        <p:cNvPr id="1" name=""/>
        <p:cNvGrpSpPr/>
        <p:nvPr/>
      </p:nvGrpSpPr>
      <p:grpSpPr>
        <a:xfrm>
          <a:off x="0" y="0"/>
          <a:ext cx="0" cy="0"/>
          <a:chOff x="0" y="0"/>
          <a:chExt cx="0" cy="0"/>
        </a:xfrm>
      </p:grpSpPr>
      <p:sp>
        <p:nvSpPr>
          <p:cNvPr id="41" name="Заголовок 1">
            <a:extLst>
              <a:ext uri="{FF2B5EF4-FFF2-40B4-BE49-F238E27FC236}">
                <a16:creationId xmlns:a16="http://schemas.microsoft.com/office/drawing/2014/main" id="{07C137D2-5C83-4133-A6D0-FCD403F068F1}"/>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Основной заголовок</a:t>
            </a:r>
            <a:br>
              <a:rPr lang="ru-RU" dirty="0"/>
            </a:br>
            <a:r>
              <a:rPr lang="ru-RU" dirty="0"/>
              <a:t>набранный в две строчки</a:t>
            </a:r>
          </a:p>
        </p:txBody>
      </p:sp>
      <p:sp>
        <p:nvSpPr>
          <p:cNvPr id="60" name="Прямоугольник: скругленные углы 59">
            <a:extLst>
              <a:ext uri="{FF2B5EF4-FFF2-40B4-BE49-F238E27FC236}">
                <a16:creationId xmlns:a16="http://schemas.microsoft.com/office/drawing/2014/main" id="{9156BE3F-EFAA-42D2-976A-B494DF71C4EE}"/>
              </a:ext>
            </a:extLst>
          </p:cNvPr>
          <p:cNvSpPr/>
          <p:nvPr userDrawn="1"/>
        </p:nvSpPr>
        <p:spPr>
          <a:xfrm>
            <a:off x="417038"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1" name="Полилиния: фигура 60">
            <a:extLst>
              <a:ext uri="{FF2B5EF4-FFF2-40B4-BE49-F238E27FC236}">
                <a16:creationId xmlns:a16="http://schemas.microsoft.com/office/drawing/2014/main" id="{E8631BE6-264F-4F99-B0BC-BCE2902DCF48}"/>
              </a:ext>
            </a:extLst>
          </p:cNvPr>
          <p:cNvSpPr/>
          <p:nvPr userDrawn="1"/>
        </p:nvSpPr>
        <p:spPr>
          <a:xfrm>
            <a:off x="417038"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62" name="Текст 14">
            <a:extLst>
              <a:ext uri="{FF2B5EF4-FFF2-40B4-BE49-F238E27FC236}">
                <a16:creationId xmlns:a16="http://schemas.microsoft.com/office/drawing/2014/main" id="{EBF8EA7A-BCED-4EA9-B0BB-4F47FCF73264}"/>
              </a:ext>
            </a:extLst>
          </p:cNvPr>
          <p:cNvSpPr>
            <a:spLocks noGrp="1"/>
          </p:cNvSpPr>
          <p:nvPr>
            <p:ph type="body" sz="quarter" idx="27" hasCustomPrompt="1"/>
          </p:nvPr>
        </p:nvSpPr>
        <p:spPr>
          <a:xfrm>
            <a:off x="584972" y="2706399"/>
            <a:ext cx="2371507" cy="2194776"/>
          </a:xfrm>
          <a:prstGeom prst="rect">
            <a:avLst/>
          </a:prstGeom>
        </p:spPr>
        <p:txBody>
          <a:bodyPr lIns="0" tIns="0" rIns="0" bIns="0"/>
          <a:lstStyle>
            <a:lvl1pPr marL="156727" indent="-156727">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3" name="Текст 14">
            <a:extLst>
              <a:ext uri="{FF2B5EF4-FFF2-40B4-BE49-F238E27FC236}">
                <a16:creationId xmlns:a16="http://schemas.microsoft.com/office/drawing/2014/main" id="{F2B96B88-71F8-49A4-ADBD-906773B80629}"/>
              </a:ext>
            </a:extLst>
          </p:cNvPr>
          <p:cNvSpPr>
            <a:spLocks noGrp="1"/>
          </p:cNvSpPr>
          <p:nvPr>
            <p:ph type="body" sz="quarter" idx="34" hasCustomPrompt="1"/>
          </p:nvPr>
        </p:nvSpPr>
        <p:spPr>
          <a:xfrm>
            <a:off x="584972"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64" name="Текст 14">
            <a:extLst>
              <a:ext uri="{FF2B5EF4-FFF2-40B4-BE49-F238E27FC236}">
                <a16:creationId xmlns:a16="http://schemas.microsoft.com/office/drawing/2014/main" id="{38383EB3-4633-494A-91AD-DBC62A648417}"/>
              </a:ext>
            </a:extLst>
          </p:cNvPr>
          <p:cNvSpPr>
            <a:spLocks noGrp="1"/>
          </p:cNvSpPr>
          <p:nvPr>
            <p:ph type="body" sz="quarter" idx="35" hasCustomPrompt="1"/>
          </p:nvPr>
        </p:nvSpPr>
        <p:spPr>
          <a:xfrm>
            <a:off x="584972"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65" name="Текст 14">
            <a:extLst>
              <a:ext uri="{FF2B5EF4-FFF2-40B4-BE49-F238E27FC236}">
                <a16:creationId xmlns:a16="http://schemas.microsoft.com/office/drawing/2014/main" id="{9B45BC26-E6F2-4C45-864B-1292DC871E64}"/>
              </a:ext>
            </a:extLst>
          </p:cNvPr>
          <p:cNvSpPr>
            <a:spLocks noGrp="1"/>
          </p:cNvSpPr>
          <p:nvPr>
            <p:ph type="body" sz="quarter" idx="30" hasCustomPrompt="1"/>
          </p:nvPr>
        </p:nvSpPr>
        <p:spPr>
          <a:xfrm>
            <a:off x="584970" y="1919969"/>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6" name="Прямоугольник: скругленные углы 65">
            <a:extLst>
              <a:ext uri="{FF2B5EF4-FFF2-40B4-BE49-F238E27FC236}">
                <a16:creationId xmlns:a16="http://schemas.microsoft.com/office/drawing/2014/main" id="{41FDBCCF-B207-46B3-AA00-F5865D0C8D8C}"/>
              </a:ext>
            </a:extLst>
          </p:cNvPr>
          <p:cNvSpPr/>
          <p:nvPr userDrawn="1"/>
        </p:nvSpPr>
        <p:spPr>
          <a:xfrm>
            <a:off x="3318097"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7" name="Полилиния: фигура 66">
            <a:extLst>
              <a:ext uri="{FF2B5EF4-FFF2-40B4-BE49-F238E27FC236}">
                <a16:creationId xmlns:a16="http://schemas.microsoft.com/office/drawing/2014/main" id="{559DFDE8-C0C2-43CF-B7DD-1CAABE488BFE}"/>
              </a:ext>
            </a:extLst>
          </p:cNvPr>
          <p:cNvSpPr/>
          <p:nvPr userDrawn="1"/>
        </p:nvSpPr>
        <p:spPr>
          <a:xfrm>
            <a:off x="3318097"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68" name="Текст 14">
            <a:extLst>
              <a:ext uri="{FF2B5EF4-FFF2-40B4-BE49-F238E27FC236}">
                <a16:creationId xmlns:a16="http://schemas.microsoft.com/office/drawing/2014/main" id="{D5B0DE75-947F-466F-8E61-9EDC6297630E}"/>
              </a:ext>
            </a:extLst>
          </p:cNvPr>
          <p:cNvSpPr>
            <a:spLocks noGrp="1"/>
          </p:cNvSpPr>
          <p:nvPr>
            <p:ph type="body" sz="quarter" idx="37" hasCustomPrompt="1"/>
          </p:nvPr>
        </p:nvSpPr>
        <p:spPr>
          <a:xfrm>
            <a:off x="3486029" y="2706399"/>
            <a:ext cx="2371507" cy="2194776"/>
          </a:xfrm>
          <a:prstGeom prst="rect">
            <a:avLst/>
          </a:prstGeom>
        </p:spPr>
        <p:txBody>
          <a:bodyPr lIns="0" tIns="0" rIns="0" bIns="0"/>
          <a:lstStyle>
            <a:lvl1pPr marL="160925" indent="-160925">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9" name="Текст 14">
            <a:extLst>
              <a:ext uri="{FF2B5EF4-FFF2-40B4-BE49-F238E27FC236}">
                <a16:creationId xmlns:a16="http://schemas.microsoft.com/office/drawing/2014/main" id="{462CAB99-D7A1-4C93-B921-0B11D27E858C}"/>
              </a:ext>
            </a:extLst>
          </p:cNvPr>
          <p:cNvSpPr>
            <a:spLocks noGrp="1"/>
          </p:cNvSpPr>
          <p:nvPr>
            <p:ph type="body" sz="quarter" idx="39" hasCustomPrompt="1"/>
          </p:nvPr>
        </p:nvSpPr>
        <p:spPr>
          <a:xfrm>
            <a:off x="3486029"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70" name="Текст 14">
            <a:extLst>
              <a:ext uri="{FF2B5EF4-FFF2-40B4-BE49-F238E27FC236}">
                <a16:creationId xmlns:a16="http://schemas.microsoft.com/office/drawing/2014/main" id="{4B383A62-BC7E-4005-B731-45CFBCAB21D4}"/>
              </a:ext>
            </a:extLst>
          </p:cNvPr>
          <p:cNvSpPr>
            <a:spLocks noGrp="1"/>
          </p:cNvSpPr>
          <p:nvPr>
            <p:ph type="body" sz="quarter" idx="40" hasCustomPrompt="1"/>
          </p:nvPr>
        </p:nvSpPr>
        <p:spPr>
          <a:xfrm>
            <a:off x="3486029"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B8F37A52-304D-4E6F-9529-2D3ABB91778E}"/>
              </a:ext>
            </a:extLst>
          </p:cNvPr>
          <p:cNvSpPr>
            <a:spLocks noGrp="1"/>
          </p:cNvSpPr>
          <p:nvPr>
            <p:ph type="body" sz="quarter" idx="41" hasCustomPrompt="1"/>
          </p:nvPr>
        </p:nvSpPr>
        <p:spPr>
          <a:xfrm>
            <a:off x="3486027" y="1919969"/>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20" name="Текст 14">
            <a:extLst>
              <a:ext uri="{FF2B5EF4-FFF2-40B4-BE49-F238E27FC236}">
                <a16:creationId xmlns:a16="http://schemas.microsoft.com/office/drawing/2014/main" id="{F16FB159-232F-4042-B2D5-919350C7B8E4}"/>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905521106"/>
      </p:ext>
    </p:extLst>
  </p:cSld>
  <p:clrMapOvr>
    <a:masterClrMapping/>
  </p:clrMapOvr>
  <p:extLst mod="1">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тарифы_3">
    <p:spTree>
      <p:nvGrpSpPr>
        <p:cNvPr id="1" name=""/>
        <p:cNvGrpSpPr/>
        <p:nvPr/>
      </p:nvGrpSpPr>
      <p:grpSpPr>
        <a:xfrm>
          <a:off x="0" y="0"/>
          <a:ext cx="0" cy="0"/>
          <a:chOff x="0" y="0"/>
          <a:chExt cx="0" cy="0"/>
        </a:xfrm>
      </p:grpSpPr>
      <p:sp>
        <p:nvSpPr>
          <p:cNvPr id="60" name="Заголовок 1">
            <a:extLst>
              <a:ext uri="{FF2B5EF4-FFF2-40B4-BE49-F238E27FC236}">
                <a16:creationId xmlns:a16="http://schemas.microsoft.com/office/drawing/2014/main" id="{284BC825-AC08-491E-B6A4-BE1D4DCE4A29}"/>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Основной заголовок</a:t>
            </a:r>
            <a:br>
              <a:rPr lang="ru-RU" dirty="0"/>
            </a:br>
            <a:r>
              <a:rPr lang="ru-RU" dirty="0"/>
              <a:t>набранный в две строчки</a:t>
            </a:r>
          </a:p>
        </p:txBody>
      </p:sp>
      <p:sp>
        <p:nvSpPr>
          <p:cNvPr id="61" name="Прямоугольник: скругленные углы 60">
            <a:extLst>
              <a:ext uri="{FF2B5EF4-FFF2-40B4-BE49-F238E27FC236}">
                <a16:creationId xmlns:a16="http://schemas.microsoft.com/office/drawing/2014/main" id="{A1F58EA0-5C77-427E-BE3C-D1F06C43407E}"/>
              </a:ext>
            </a:extLst>
          </p:cNvPr>
          <p:cNvSpPr/>
          <p:nvPr userDrawn="1"/>
        </p:nvSpPr>
        <p:spPr>
          <a:xfrm>
            <a:off x="417038"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2" name="Полилиния: фигура 61">
            <a:extLst>
              <a:ext uri="{FF2B5EF4-FFF2-40B4-BE49-F238E27FC236}">
                <a16:creationId xmlns:a16="http://schemas.microsoft.com/office/drawing/2014/main" id="{4BCC6E90-B4ED-46DD-9A0D-B45DED7245E3}"/>
              </a:ext>
            </a:extLst>
          </p:cNvPr>
          <p:cNvSpPr/>
          <p:nvPr userDrawn="1"/>
        </p:nvSpPr>
        <p:spPr>
          <a:xfrm>
            <a:off x="417038"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63" name="Текст 14">
            <a:extLst>
              <a:ext uri="{FF2B5EF4-FFF2-40B4-BE49-F238E27FC236}">
                <a16:creationId xmlns:a16="http://schemas.microsoft.com/office/drawing/2014/main" id="{B9799268-6564-41F7-BE95-5A710427C9E5}"/>
              </a:ext>
            </a:extLst>
          </p:cNvPr>
          <p:cNvSpPr>
            <a:spLocks noGrp="1"/>
          </p:cNvSpPr>
          <p:nvPr>
            <p:ph type="body" sz="quarter" idx="27" hasCustomPrompt="1"/>
          </p:nvPr>
        </p:nvSpPr>
        <p:spPr>
          <a:xfrm>
            <a:off x="584972" y="2706399"/>
            <a:ext cx="2371507" cy="2194776"/>
          </a:xfrm>
          <a:prstGeom prst="rect">
            <a:avLst/>
          </a:prstGeom>
        </p:spPr>
        <p:txBody>
          <a:bodyPr lIns="0" tIns="0" rIns="0" bIns="0"/>
          <a:lstStyle>
            <a:lvl1pPr marL="160925" indent="-160925">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4" name="Текст 14">
            <a:extLst>
              <a:ext uri="{FF2B5EF4-FFF2-40B4-BE49-F238E27FC236}">
                <a16:creationId xmlns:a16="http://schemas.microsoft.com/office/drawing/2014/main" id="{2A4C38DD-DCE6-49CB-BDEC-96A00F727772}"/>
              </a:ext>
            </a:extLst>
          </p:cNvPr>
          <p:cNvSpPr>
            <a:spLocks noGrp="1"/>
          </p:cNvSpPr>
          <p:nvPr>
            <p:ph type="body" sz="quarter" idx="34" hasCustomPrompt="1"/>
          </p:nvPr>
        </p:nvSpPr>
        <p:spPr>
          <a:xfrm>
            <a:off x="584972"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F31FC1D2-DED2-4073-BF73-31DCA7DAD15E}"/>
              </a:ext>
            </a:extLst>
          </p:cNvPr>
          <p:cNvSpPr>
            <a:spLocks noGrp="1"/>
          </p:cNvSpPr>
          <p:nvPr>
            <p:ph type="body" sz="quarter" idx="35" hasCustomPrompt="1"/>
          </p:nvPr>
        </p:nvSpPr>
        <p:spPr>
          <a:xfrm>
            <a:off x="584972"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23F9994D-3864-4DE0-AB2C-801CD13123D2}"/>
              </a:ext>
            </a:extLst>
          </p:cNvPr>
          <p:cNvSpPr>
            <a:spLocks noGrp="1"/>
          </p:cNvSpPr>
          <p:nvPr>
            <p:ph type="body" sz="quarter" idx="30" hasCustomPrompt="1"/>
          </p:nvPr>
        </p:nvSpPr>
        <p:spPr>
          <a:xfrm>
            <a:off x="584970" y="1919969"/>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7" name="Прямоугольник: скругленные углы 66">
            <a:extLst>
              <a:ext uri="{FF2B5EF4-FFF2-40B4-BE49-F238E27FC236}">
                <a16:creationId xmlns:a16="http://schemas.microsoft.com/office/drawing/2014/main" id="{C38EC820-DE98-40DE-82E1-A3E5C78C44BC}"/>
              </a:ext>
            </a:extLst>
          </p:cNvPr>
          <p:cNvSpPr/>
          <p:nvPr userDrawn="1"/>
        </p:nvSpPr>
        <p:spPr>
          <a:xfrm>
            <a:off x="3318097"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8" name="Полилиния: фигура 67">
            <a:extLst>
              <a:ext uri="{FF2B5EF4-FFF2-40B4-BE49-F238E27FC236}">
                <a16:creationId xmlns:a16="http://schemas.microsoft.com/office/drawing/2014/main" id="{D4724109-F38D-4B7C-A361-4D76940B1177}"/>
              </a:ext>
            </a:extLst>
          </p:cNvPr>
          <p:cNvSpPr/>
          <p:nvPr userDrawn="1"/>
        </p:nvSpPr>
        <p:spPr>
          <a:xfrm>
            <a:off x="3318097"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69" name="Текст 14">
            <a:extLst>
              <a:ext uri="{FF2B5EF4-FFF2-40B4-BE49-F238E27FC236}">
                <a16:creationId xmlns:a16="http://schemas.microsoft.com/office/drawing/2014/main" id="{D98BDEF5-59B6-4251-86D9-4A8DF2380211}"/>
              </a:ext>
            </a:extLst>
          </p:cNvPr>
          <p:cNvSpPr>
            <a:spLocks noGrp="1"/>
          </p:cNvSpPr>
          <p:nvPr>
            <p:ph type="body" sz="quarter" idx="37" hasCustomPrompt="1"/>
          </p:nvPr>
        </p:nvSpPr>
        <p:spPr>
          <a:xfrm>
            <a:off x="3486029" y="2706399"/>
            <a:ext cx="2371507" cy="2194776"/>
          </a:xfrm>
          <a:prstGeom prst="rect">
            <a:avLst/>
          </a:prstGeom>
        </p:spPr>
        <p:txBody>
          <a:bodyPr lIns="0" tIns="0" rIns="0" bIns="0"/>
          <a:lstStyle>
            <a:lvl1pPr marL="160925" indent="-160925">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0" name="Текст 14">
            <a:extLst>
              <a:ext uri="{FF2B5EF4-FFF2-40B4-BE49-F238E27FC236}">
                <a16:creationId xmlns:a16="http://schemas.microsoft.com/office/drawing/2014/main" id="{AAFD0E76-F5AC-46E9-874B-9FF5837BD48C}"/>
              </a:ext>
            </a:extLst>
          </p:cNvPr>
          <p:cNvSpPr>
            <a:spLocks noGrp="1"/>
          </p:cNvSpPr>
          <p:nvPr>
            <p:ph type="body" sz="quarter" idx="39" hasCustomPrompt="1"/>
          </p:nvPr>
        </p:nvSpPr>
        <p:spPr>
          <a:xfrm>
            <a:off x="3486029"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71" name="Текст 14">
            <a:extLst>
              <a:ext uri="{FF2B5EF4-FFF2-40B4-BE49-F238E27FC236}">
                <a16:creationId xmlns:a16="http://schemas.microsoft.com/office/drawing/2014/main" id="{47238161-ABB3-4135-9D20-D3361A20D6E4}"/>
              </a:ext>
            </a:extLst>
          </p:cNvPr>
          <p:cNvSpPr>
            <a:spLocks noGrp="1"/>
          </p:cNvSpPr>
          <p:nvPr>
            <p:ph type="body" sz="quarter" idx="40" hasCustomPrompt="1"/>
          </p:nvPr>
        </p:nvSpPr>
        <p:spPr>
          <a:xfrm>
            <a:off x="3486029"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72" name="Текст 14">
            <a:extLst>
              <a:ext uri="{FF2B5EF4-FFF2-40B4-BE49-F238E27FC236}">
                <a16:creationId xmlns:a16="http://schemas.microsoft.com/office/drawing/2014/main" id="{04331AF8-4D00-4E85-9621-7C9D5BB3B2F3}"/>
              </a:ext>
            </a:extLst>
          </p:cNvPr>
          <p:cNvSpPr>
            <a:spLocks noGrp="1"/>
          </p:cNvSpPr>
          <p:nvPr>
            <p:ph type="body" sz="quarter" idx="41" hasCustomPrompt="1"/>
          </p:nvPr>
        </p:nvSpPr>
        <p:spPr>
          <a:xfrm>
            <a:off x="3486027" y="1919969"/>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73" name="Прямоугольник: скругленные углы 72">
            <a:extLst>
              <a:ext uri="{FF2B5EF4-FFF2-40B4-BE49-F238E27FC236}">
                <a16:creationId xmlns:a16="http://schemas.microsoft.com/office/drawing/2014/main" id="{8AFC3582-6ADE-45BF-BF93-69F79C29ACC5}"/>
              </a:ext>
            </a:extLst>
          </p:cNvPr>
          <p:cNvSpPr/>
          <p:nvPr userDrawn="1"/>
        </p:nvSpPr>
        <p:spPr>
          <a:xfrm>
            <a:off x="6202361"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74" name="Полилиния: фигура 73">
            <a:extLst>
              <a:ext uri="{FF2B5EF4-FFF2-40B4-BE49-F238E27FC236}">
                <a16:creationId xmlns:a16="http://schemas.microsoft.com/office/drawing/2014/main" id="{1D7A412A-D335-4905-A341-48EA081229E5}"/>
              </a:ext>
            </a:extLst>
          </p:cNvPr>
          <p:cNvSpPr/>
          <p:nvPr userDrawn="1"/>
        </p:nvSpPr>
        <p:spPr>
          <a:xfrm>
            <a:off x="6202361"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75" name="Текст 14">
            <a:extLst>
              <a:ext uri="{FF2B5EF4-FFF2-40B4-BE49-F238E27FC236}">
                <a16:creationId xmlns:a16="http://schemas.microsoft.com/office/drawing/2014/main" id="{4556A8C8-D105-4718-8EA5-4CF0FD4BB129}"/>
              </a:ext>
            </a:extLst>
          </p:cNvPr>
          <p:cNvSpPr>
            <a:spLocks noGrp="1"/>
          </p:cNvSpPr>
          <p:nvPr>
            <p:ph type="body" sz="quarter" idx="42" hasCustomPrompt="1"/>
          </p:nvPr>
        </p:nvSpPr>
        <p:spPr>
          <a:xfrm>
            <a:off x="6370293" y="2706399"/>
            <a:ext cx="2371507" cy="2194776"/>
          </a:xfrm>
          <a:prstGeom prst="rect">
            <a:avLst/>
          </a:prstGeom>
        </p:spPr>
        <p:txBody>
          <a:bodyPr lIns="0" tIns="0" rIns="0" bIns="0"/>
          <a:lstStyle>
            <a:lvl1pPr marL="160925" indent="-160925">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76" name="Текст 14">
            <a:extLst>
              <a:ext uri="{FF2B5EF4-FFF2-40B4-BE49-F238E27FC236}">
                <a16:creationId xmlns:a16="http://schemas.microsoft.com/office/drawing/2014/main" id="{E3A65BE1-29E8-4962-BF6F-094F3B5B19F3}"/>
              </a:ext>
            </a:extLst>
          </p:cNvPr>
          <p:cNvSpPr>
            <a:spLocks noGrp="1"/>
          </p:cNvSpPr>
          <p:nvPr>
            <p:ph type="body" sz="quarter" idx="44" hasCustomPrompt="1"/>
          </p:nvPr>
        </p:nvSpPr>
        <p:spPr>
          <a:xfrm>
            <a:off x="6370293"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77" name="Текст 14">
            <a:extLst>
              <a:ext uri="{FF2B5EF4-FFF2-40B4-BE49-F238E27FC236}">
                <a16:creationId xmlns:a16="http://schemas.microsoft.com/office/drawing/2014/main" id="{F256B842-BEE7-4053-8D9E-D0C703B3B083}"/>
              </a:ext>
            </a:extLst>
          </p:cNvPr>
          <p:cNvSpPr>
            <a:spLocks noGrp="1"/>
          </p:cNvSpPr>
          <p:nvPr>
            <p:ph type="body" sz="quarter" idx="45" hasCustomPrompt="1"/>
          </p:nvPr>
        </p:nvSpPr>
        <p:spPr>
          <a:xfrm>
            <a:off x="6370293"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78" name="Текст 14">
            <a:extLst>
              <a:ext uri="{FF2B5EF4-FFF2-40B4-BE49-F238E27FC236}">
                <a16:creationId xmlns:a16="http://schemas.microsoft.com/office/drawing/2014/main" id="{C2B42A58-41DA-4E08-8CF7-21B9DC13CB6B}"/>
              </a:ext>
            </a:extLst>
          </p:cNvPr>
          <p:cNvSpPr>
            <a:spLocks noGrp="1"/>
          </p:cNvSpPr>
          <p:nvPr>
            <p:ph type="body" sz="quarter" idx="46" hasCustomPrompt="1"/>
          </p:nvPr>
        </p:nvSpPr>
        <p:spPr>
          <a:xfrm>
            <a:off x="6370294" y="1919969"/>
            <a:ext cx="2371508" cy="433268"/>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27" name="Текст 14">
            <a:extLst>
              <a:ext uri="{FF2B5EF4-FFF2-40B4-BE49-F238E27FC236}">
                <a16:creationId xmlns:a16="http://schemas.microsoft.com/office/drawing/2014/main" id="{556C9375-9F5F-4445-905D-A7C2051D3C1C}"/>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253721392"/>
      </p:ext>
    </p:extLst>
  </p:cSld>
  <p:clrMapOvr>
    <a:masterClrMapping/>
  </p:clrMapOvr>
  <p:extLst mod="1">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тарифы_4">
    <p:spTree>
      <p:nvGrpSpPr>
        <p:cNvPr id="1" name=""/>
        <p:cNvGrpSpPr/>
        <p:nvPr/>
      </p:nvGrpSpPr>
      <p:grpSpPr>
        <a:xfrm>
          <a:off x="0" y="0"/>
          <a:ext cx="0" cy="0"/>
          <a:chOff x="0" y="0"/>
          <a:chExt cx="0" cy="0"/>
        </a:xfrm>
      </p:grpSpPr>
      <p:sp>
        <p:nvSpPr>
          <p:cNvPr id="46" name="Прямоугольник: скругленные углы 45">
            <a:extLst>
              <a:ext uri="{FF2B5EF4-FFF2-40B4-BE49-F238E27FC236}">
                <a16:creationId xmlns:a16="http://schemas.microsoft.com/office/drawing/2014/main" id="{1D7C0FE8-7943-4B29-8425-D682F58FB615}"/>
              </a:ext>
            </a:extLst>
          </p:cNvPr>
          <p:cNvSpPr/>
          <p:nvPr userDrawn="1"/>
        </p:nvSpPr>
        <p:spPr>
          <a:xfrm>
            <a:off x="417038"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7" name="Полилиния: фигура 46">
            <a:extLst>
              <a:ext uri="{FF2B5EF4-FFF2-40B4-BE49-F238E27FC236}">
                <a16:creationId xmlns:a16="http://schemas.microsoft.com/office/drawing/2014/main" id="{DDA68D61-9864-4960-8216-7C904C80F0C4}"/>
              </a:ext>
            </a:extLst>
          </p:cNvPr>
          <p:cNvSpPr/>
          <p:nvPr userDrawn="1"/>
        </p:nvSpPr>
        <p:spPr>
          <a:xfrm>
            <a:off x="417038"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48" name="Текст 14">
            <a:extLst>
              <a:ext uri="{FF2B5EF4-FFF2-40B4-BE49-F238E27FC236}">
                <a16:creationId xmlns:a16="http://schemas.microsoft.com/office/drawing/2014/main" id="{BB170B94-1C11-4334-BC8B-2CF57810C45D}"/>
              </a:ext>
            </a:extLst>
          </p:cNvPr>
          <p:cNvSpPr>
            <a:spLocks noGrp="1"/>
          </p:cNvSpPr>
          <p:nvPr>
            <p:ph type="body" sz="quarter" idx="27" hasCustomPrompt="1"/>
          </p:nvPr>
        </p:nvSpPr>
        <p:spPr>
          <a:xfrm>
            <a:off x="584972" y="2706399"/>
            <a:ext cx="2371507" cy="2194776"/>
          </a:xfrm>
          <a:prstGeom prst="rect">
            <a:avLst/>
          </a:prstGeom>
        </p:spPr>
        <p:txBody>
          <a:bodyPr lIns="0" tIns="0" rIns="0" bIns="0"/>
          <a:lstStyle>
            <a:lvl1pPr marL="160925" indent="-160925">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49" name="Текст 14">
            <a:extLst>
              <a:ext uri="{FF2B5EF4-FFF2-40B4-BE49-F238E27FC236}">
                <a16:creationId xmlns:a16="http://schemas.microsoft.com/office/drawing/2014/main" id="{AD030E49-367D-499B-8FB3-D07CCB02D4C5}"/>
              </a:ext>
            </a:extLst>
          </p:cNvPr>
          <p:cNvSpPr>
            <a:spLocks noGrp="1"/>
          </p:cNvSpPr>
          <p:nvPr>
            <p:ph type="body" sz="quarter" idx="34" hasCustomPrompt="1"/>
          </p:nvPr>
        </p:nvSpPr>
        <p:spPr>
          <a:xfrm>
            <a:off x="584972"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50" name="Текст 14">
            <a:extLst>
              <a:ext uri="{FF2B5EF4-FFF2-40B4-BE49-F238E27FC236}">
                <a16:creationId xmlns:a16="http://schemas.microsoft.com/office/drawing/2014/main" id="{0DD56B67-704C-4D40-8638-452527A50286}"/>
              </a:ext>
            </a:extLst>
          </p:cNvPr>
          <p:cNvSpPr>
            <a:spLocks noGrp="1"/>
          </p:cNvSpPr>
          <p:nvPr>
            <p:ph type="body" sz="quarter" idx="35" hasCustomPrompt="1"/>
          </p:nvPr>
        </p:nvSpPr>
        <p:spPr>
          <a:xfrm>
            <a:off x="584972"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51" name="Текст 14">
            <a:extLst>
              <a:ext uri="{FF2B5EF4-FFF2-40B4-BE49-F238E27FC236}">
                <a16:creationId xmlns:a16="http://schemas.microsoft.com/office/drawing/2014/main" id="{9D63A61F-F91C-43C7-8952-98FC125D2C58}"/>
              </a:ext>
            </a:extLst>
          </p:cNvPr>
          <p:cNvSpPr>
            <a:spLocks noGrp="1"/>
          </p:cNvSpPr>
          <p:nvPr>
            <p:ph type="body" sz="quarter" idx="30" hasCustomPrompt="1"/>
          </p:nvPr>
        </p:nvSpPr>
        <p:spPr>
          <a:xfrm>
            <a:off x="584970" y="1919968"/>
            <a:ext cx="2371508" cy="444475"/>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52" name="Прямоугольник: скругленные углы 51">
            <a:extLst>
              <a:ext uri="{FF2B5EF4-FFF2-40B4-BE49-F238E27FC236}">
                <a16:creationId xmlns:a16="http://schemas.microsoft.com/office/drawing/2014/main" id="{45967680-1774-4468-9768-51E0F48F97B6}"/>
              </a:ext>
            </a:extLst>
          </p:cNvPr>
          <p:cNvSpPr/>
          <p:nvPr userDrawn="1"/>
        </p:nvSpPr>
        <p:spPr>
          <a:xfrm>
            <a:off x="3318097"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3" name="Полилиния: фигура 52">
            <a:extLst>
              <a:ext uri="{FF2B5EF4-FFF2-40B4-BE49-F238E27FC236}">
                <a16:creationId xmlns:a16="http://schemas.microsoft.com/office/drawing/2014/main" id="{3B4E180B-3396-4431-B1FE-CABC17857CFA}"/>
              </a:ext>
            </a:extLst>
          </p:cNvPr>
          <p:cNvSpPr/>
          <p:nvPr userDrawn="1"/>
        </p:nvSpPr>
        <p:spPr>
          <a:xfrm>
            <a:off x="3318097"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54" name="Текст 14">
            <a:extLst>
              <a:ext uri="{FF2B5EF4-FFF2-40B4-BE49-F238E27FC236}">
                <a16:creationId xmlns:a16="http://schemas.microsoft.com/office/drawing/2014/main" id="{94CE0AB0-8FAF-4109-AFC7-56C2D7C8482C}"/>
              </a:ext>
            </a:extLst>
          </p:cNvPr>
          <p:cNvSpPr>
            <a:spLocks noGrp="1"/>
          </p:cNvSpPr>
          <p:nvPr>
            <p:ph type="body" sz="quarter" idx="37" hasCustomPrompt="1"/>
          </p:nvPr>
        </p:nvSpPr>
        <p:spPr>
          <a:xfrm>
            <a:off x="3486029" y="2706399"/>
            <a:ext cx="2371507" cy="2194776"/>
          </a:xfrm>
          <a:prstGeom prst="rect">
            <a:avLst/>
          </a:prstGeom>
        </p:spPr>
        <p:txBody>
          <a:bodyPr lIns="0" tIns="0" rIns="0" bIns="0"/>
          <a:lstStyle>
            <a:lvl1pPr marL="160925" indent="-160925">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55" name="Текст 14">
            <a:extLst>
              <a:ext uri="{FF2B5EF4-FFF2-40B4-BE49-F238E27FC236}">
                <a16:creationId xmlns:a16="http://schemas.microsoft.com/office/drawing/2014/main" id="{0FE8F097-0F07-4A8A-9557-46658BEE5211}"/>
              </a:ext>
            </a:extLst>
          </p:cNvPr>
          <p:cNvSpPr>
            <a:spLocks noGrp="1"/>
          </p:cNvSpPr>
          <p:nvPr>
            <p:ph type="body" sz="quarter" idx="39" hasCustomPrompt="1"/>
          </p:nvPr>
        </p:nvSpPr>
        <p:spPr>
          <a:xfrm>
            <a:off x="3486029"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56" name="Текст 14">
            <a:extLst>
              <a:ext uri="{FF2B5EF4-FFF2-40B4-BE49-F238E27FC236}">
                <a16:creationId xmlns:a16="http://schemas.microsoft.com/office/drawing/2014/main" id="{54929266-CEC8-400A-B16D-16989DCA1C8F}"/>
              </a:ext>
            </a:extLst>
          </p:cNvPr>
          <p:cNvSpPr>
            <a:spLocks noGrp="1"/>
          </p:cNvSpPr>
          <p:nvPr>
            <p:ph type="body" sz="quarter" idx="40" hasCustomPrompt="1"/>
          </p:nvPr>
        </p:nvSpPr>
        <p:spPr>
          <a:xfrm>
            <a:off x="3486029"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57" name="Текст 14">
            <a:extLst>
              <a:ext uri="{FF2B5EF4-FFF2-40B4-BE49-F238E27FC236}">
                <a16:creationId xmlns:a16="http://schemas.microsoft.com/office/drawing/2014/main" id="{D1A871F3-C7B5-41D8-8D7C-0A686253B186}"/>
              </a:ext>
            </a:extLst>
          </p:cNvPr>
          <p:cNvSpPr>
            <a:spLocks noGrp="1"/>
          </p:cNvSpPr>
          <p:nvPr>
            <p:ph type="body" sz="quarter" idx="41" hasCustomPrompt="1"/>
          </p:nvPr>
        </p:nvSpPr>
        <p:spPr>
          <a:xfrm>
            <a:off x="3486027" y="1919968"/>
            <a:ext cx="2371508" cy="444475"/>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58" name="Прямоугольник: скругленные углы 57">
            <a:extLst>
              <a:ext uri="{FF2B5EF4-FFF2-40B4-BE49-F238E27FC236}">
                <a16:creationId xmlns:a16="http://schemas.microsoft.com/office/drawing/2014/main" id="{40C9B3D2-2CC1-4381-BB06-677868ACD9BC}"/>
              </a:ext>
            </a:extLst>
          </p:cNvPr>
          <p:cNvSpPr/>
          <p:nvPr userDrawn="1"/>
        </p:nvSpPr>
        <p:spPr>
          <a:xfrm>
            <a:off x="6202361"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9" name="Полилиния: фигура 58">
            <a:extLst>
              <a:ext uri="{FF2B5EF4-FFF2-40B4-BE49-F238E27FC236}">
                <a16:creationId xmlns:a16="http://schemas.microsoft.com/office/drawing/2014/main" id="{816A0F2C-53BB-47CD-AAE6-A80C646A15DB}"/>
              </a:ext>
            </a:extLst>
          </p:cNvPr>
          <p:cNvSpPr/>
          <p:nvPr userDrawn="1"/>
        </p:nvSpPr>
        <p:spPr>
          <a:xfrm>
            <a:off x="6202361"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60" name="Текст 14">
            <a:extLst>
              <a:ext uri="{FF2B5EF4-FFF2-40B4-BE49-F238E27FC236}">
                <a16:creationId xmlns:a16="http://schemas.microsoft.com/office/drawing/2014/main" id="{34C848A3-7437-4367-8A1B-2D494B2838DC}"/>
              </a:ext>
            </a:extLst>
          </p:cNvPr>
          <p:cNvSpPr>
            <a:spLocks noGrp="1"/>
          </p:cNvSpPr>
          <p:nvPr>
            <p:ph type="body" sz="quarter" idx="42" hasCustomPrompt="1"/>
          </p:nvPr>
        </p:nvSpPr>
        <p:spPr>
          <a:xfrm>
            <a:off x="6370293" y="2706399"/>
            <a:ext cx="2371507" cy="2194776"/>
          </a:xfrm>
          <a:prstGeom prst="rect">
            <a:avLst/>
          </a:prstGeom>
        </p:spPr>
        <p:txBody>
          <a:bodyPr lIns="0" tIns="0" rIns="0" bIns="0"/>
          <a:lstStyle>
            <a:lvl1pPr marL="160925" indent="-160925">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1" name="Текст 14">
            <a:extLst>
              <a:ext uri="{FF2B5EF4-FFF2-40B4-BE49-F238E27FC236}">
                <a16:creationId xmlns:a16="http://schemas.microsoft.com/office/drawing/2014/main" id="{B1E00368-7F17-4729-A2F6-F881EBA34605}"/>
              </a:ext>
            </a:extLst>
          </p:cNvPr>
          <p:cNvSpPr>
            <a:spLocks noGrp="1"/>
          </p:cNvSpPr>
          <p:nvPr>
            <p:ph type="body" sz="quarter" idx="44" hasCustomPrompt="1"/>
          </p:nvPr>
        </p:nvSpPr>
        <p:spPr>
          <a:xfrm>
            <a:off x="6370293"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62" name="Текст 14">
            <a:extLst>
              <a:ext uri="{FF2B5EF4-FFF2-40B4-BE49-F238E27FC236}">
                <a16:creationId xmlns:a16="http://schemas.microsoft.com/office/drawing/2014/main" id="{68105B92-612B-4EE5-8295-78835BC3347B}"/>
              </a:ext>
            </a:extLst>
          </p:cNvPr>
          <p:cNvSpPr>
            <a:spLocks noGrp="1"/>
          </p:cNvSpPr>
          <p:nvPr>
            <p:ph type="body" sz="quarter" idx="45" hasCustomPrompt="1"/>
          </p:nvPr>
        </p:nvSpPr>
        <p:spPr>
          <a:xfrm>
            <a:off x="6370293"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63" name="Текст 14">
            <a:extLst>
              <a:ext uri="{FF2B5EF4-FFF2-40B4-BE49-F238E27FC236}">
                <a16:creationId xmlns:a16="http://schemas.microsoft.com/office/drawing/2014/main" id="{C6A2037C-FCF2-4179-8E70-A898948EDE2D}"/>
              </a:ext>
            </a:extLst>
          </p:cNvPr>
          <p:cNvSpPr>
            <a:spLocks noGrp="1"/>
          </p:cNvSpPr>
          <p:nvPr>
            <p:ph type="body" sz="quarter" idx="46" hasCustomPrompt="1"/>
          </p:nvPr>
        </p:nvSpPr>
        <p:spPr>
          <a:xfrm>
            <a:off x="6370294" y="1919968"/>
            <a:ext cx="2371508" cy="444475"/>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64" name="Прямоугольник: скругленные углы 63">
            <a:extLst>
              <a:ext uri="{FF2B5EF4-FFF2-40B4-BE49-F238E27FC236}">
                <a16:creationId xmlns:a16="http://schemas.microsoft.com/office/drawing/2014/main" id="{37FB5E9D-A00B-4E5D-8346-181093A29082}"/>
              </a:ext>
            </a:extLst>
          </p:cNvPr>
          <p:cNvSpPr/>
          <p:nvPr userDrawn="1"/>
        </p:nvSpPr>
        <p:spPr>
          <a:xfrm>
            <a:off x="9104818" y="1701898"/>
            <a:ext cx="2671551"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5" name="Полилиния: фигура 64">
            <a:extLst>
              <a:ext uri="{FF2B5EF4-FFF2-40B4-BE49-F238E27FC236}">
                <a16:creationId xmlns:a16="http://schemas.microsoft.com/office/drawing/2014/main" id="{AA0F665C-5AC7-4BF1-AA5A-D2ADD8D5C48D}"/>
              </a:ext>
            </a:extLst>
          </p:cNvPr>
          <p:cNvSpPr/>
          <p:nvPr userDrawn="1"/>
        </p:nvSpPr>
        <p:spPr>
          <a:xfrm>
            <a:off x="9104817" y="1701899"/>
            <a:ext cx="2671551" cy="855907"/>
          </a:xfrm>
          <a:custGeom>
            <a:avLst/>
            <a:gdLst>
              <a:gd name="connsiteX0" fmla="*/ 133616 w 3030538"/>
              <a:gd name="connsiteY0" fmla="*/ 0 h 970028"/>
              <a:gd name="connsiteX1" fmla="*/ 2896922 w 3030538"/>
              <a:gd name="connsiteY1" fmla="*/ 0 h 970028"/>
              <a:gd name="connsiteX2" fmla="*/ 3030538 w 3030538"/>
              <a:gd name="connsiteY2" fmla="*/ 133616 h 970028"/>
              <a:gd name="connsiteX3" fmla="*/ 3030538 w 3030538"/>
              <a:gd name="connsiteY3" fmla="*/ 970028 h 970028"/>
              <a:gd name="connsiteX4" fmla="*/ 0 w 3030538"/>
              <a:gd name="connsiteY4" fmla="*/ 970028 h 970028"/>
              <a:gd name="connsiteX5" fmla="*/ 0 w 3030538"/>
              <a:gd name="connsiteY5" fmla="*/ 133616 h 970028"/>
              <a:gd name="connsiteX6" fmla="*/ 133616 w 3030538"/>
              <a:gd name="connsiteY6" fmla="*/ 0 h 97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970028">
                <a:moveTo>
                  <a:pt x="133616" y="0"/>
                </a:moveTo>
                <a:lnTo>
                  <a:pt x="2896922" y="0"/>
                </a:lnTo>
                <a:cubicBezTo>
                  <a:pt x="2970716" y="0"/>
                  <a:pt x="3030538" y="59822"/>
                  <a:pt x="3030538" y="133616"/>
                </a:cubicBezTo>
                <a:lnTo>
                  <a:pt x="3030538" y="970028"/>
                </a:lnTo>
                <a:lnTo>
                  <a:pt x="0" y="970028"/>
                </a:lnTo>
                <a:lnTo>
                  <a:pt x="0" y="133616"/>
                </a:lnTo>
                <a:cubicBezTo>
                  <a:pt x="0" y="59822"/>
                  <a:pt x="59822" y="0"/>
                  <a:pt x="133616" y="0"/>
                </a:cubicBezTo>
                <a:close/>
              </a:path>
            </a:pathLst>
          </a:cu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ru-RU" sz="1587" dirty="0"/>
          </a:p>
        </p:txBody>
      </p:sp>
      <p:sp>
        <p:nvSpPr>
          <p:cNvPr id="66" name="Текст 14">
            <a:extLst>
              <a:ext uri="{FF2B5EF4-FFF2-40B4-BE49-F238E27FC236}">
                <a16:creationId xmlns:a16="http://schemas.microsoft.com/office/drawing/2014/main" id="{48D554E7-58DB-487B-B890-29E929DA3FB7}"/>
              </a:ext>
            </a:extLst>
          </p:cNvPr>
          <p:cNvSpPr>
            <a:spLocks noGrp="1"/>
          </p:cNvSpPr>
          <p:nvPr>
            <p:ph type="body" sz="quarter" idx="47" hasCustomPrompt="1"/>
          </p:nvPr>
        </p:nvSpPr>
        <p:spPr>
          <a:xfrm>
            <a:off x="9272749" y="2706399"/>
            <a:ext cx="2373467" cy="2194776"/>
          </a:xfrm>
          <a:prstGeom prst="rect">
            <a:avLst/>
          </a:prstGeom>
        </p:spPr>
        <p:txBody>
          <a:bodyPr lIns="0" tIns="0" rIns="0" bIns="0"/>
          <a:lstStyle>
            <a:lvl1pPr marL="159525" indent="-159525">
              <a:lnSpc>
                <a:spcPts val="1851"/>
              </a:lnSpc>
              <a:spcBef>
                <a:spcPts val="0"/>
              </a:spcBef>
              <a:spcAft>
                <a:spcPts val="529"/>
              </a:spcAft>
              <a:buFont typeface="Rostelecom Basis" panose="020B0604020202020204" pitchFamily="34" charset="0"/>
              <a:buChar char="•"/>
              <a:defRPr sz="1587" b="0">
                <a:solidFill>
                  <a:schemeClr val="tx1"/>
                </a:solidFill>
                <a:latin typeface="+mn-lt"/>
                <a:ea typeface="Rostelecom Basis" panose="020B0503040504020204" pitchFamily="34" charset="-52"/>
              </a:defRPr>
            </a:lvl1pPr>
          </a:lstStyle>
          <a:p>
            <a:pPr lvl="0"/>
            <a:r>
              <a:rPr lang="ru-RU" dirty="0"/>
              <a:t>Текст</a:t>
            </a:r>
          </a:p>
          <a:p>
            <a:pPr lvl="0"/>
            <a:r>
              <a:rPr lang="ru-RU" dirty="0"/>
              <a:t>Текст</a:t>
            </a:r>
          </a:p>
          <a:p>
            <a:pPr lvl="0"/>
            <a:r>
              <a:rPr lang="ru-RU" dirty="0"/>
              <a:t>Текст</a:t>
            </a:r>
          </a:p>
        </p:txBody>
      </p:sp>
      <p:sp>
        <p:nvSpPr>
          <p:cNvPr id="67" name="Текст 14">
            <a:extLst>
              <a:ext uri="{FF2B5EF4-FFF2-40B4-BE49-F238E27FC236}">
                <a16:creationId xmlns:a16="http://schemas.microsoft.com/office/drawing/2014/main" id="{38DD4F7D-0B1D-4990-8537-F3A0A7A29429}"/>
              </a:ext>
            </a:extLst>
          </p:cNvPr>
          <p:cNvSpPr>
            <a:spLocks noGrp="1"/>
          </p:cNvSpPr>
          <p:nvPr>
            <p:ph type="body" sz="quarter" idx="49" hasCustomPrompt="1"/>
          </p:nvPr>
        </p:nvSpPr>
        <p:spPr>
          <a:xfrm>
            <a:off x="9272749" y="5120784"/>
            <a:ext cx="2371507" cy="444755"/>
          </a:xfrm>
          <a:prstGeom prst="rect">
            <a:avLst/>
          </a:prstGeom>
        </p:spPr>
        <p:txBody>
          <a:bodyPr lIns="0" tIns="0" rIns="0" bIns="0"/>
          <a:lstStyle>
            <a:lvl1pPr>
              <a:lnSpc>
                <a:spcPct val="100000"/>
              </a:lnSpc>
              <a:spcBef>
                <a:spcPts val="0"/>
              </a:spcBef>
              <a:defRPr sz="3261" b="0">
                <a:solidFill>
                  <a:schemeClr val="tx1"/>
                </a:solidFill>
                <a:latin typeface="+mj-lt"/>
                <a:ea typeface="Rostelecom Basis" panose="020B0503040504020204" pitchFamily="34" charset="-52"/>
              </a:defRPr>
            </a:lvl1pPr>
          </a:lstStyle>
          <a:p>
            <a:pPr lvl="0"/>
            <a:r>
              <a:rPr lang="ru-RU" dirty="0"/>
              <a:t>000 ₽</a:t>
            </a:r>
          </a:p>
        </p:txBody>
      </p:sp>
      <p:sp>
        <p:nvSpPr>
          <p:cNvPr id="68" name="Текст 14">
            <a:extLst>
              <a:ext uri="{FF2B5EF4-FFF2-40B4-BE49-F238E27FC236}">
                <a16:creationId xmlns:a16="http://schemas.microsoft.com/office/drawing/2014/main" id="{B744FD16-138D-4011-8535-884F01243225}"/>
              </a:ext>
            </a:extLst>
          </p:cNvPr>
          <p:cNvSpPr>
            <a:spLocks noGrp="1"/>
          </p:cNvSpPr>
          <p:nvPr>
            <p:ph type="body" sz="quarter" idx="50" hasCustomPrompt="1"/>
          </p:nvPr>
        </p:nvSpPr>
        <p:spPr>
          <a:xfrm>
            <a:off x="9272749" y="5565539"/>
            <a:ext cx="2371507" cy="220340"/>
          </a:xfrm>
          <a:prstGeom prst="rect">
            <a:avLst/>
          </a:prstGeom>
        </p:spPr>
        <p:txBody>
          <a:bodyPr lIns="0" tIns="0" rIns="0" bIns="0"/>
          <a:lstStyle>
            <a:lvl1pPr>
              <a:lnSpc>
                <a:spcPct val="100000"/>
              </a:lnSpc>
              <a:spcBef>
                <a:spcPts val="0"/>
              </a:spcBef>
              <a:defRPr sz="1411" b="0">
                <a:solidFill>
                  <a:srgbClr val="979799"/>
                </a:solidFill>
                <a:latin typeface="+mj-lt"/>
                <a:ea typeface="Rostelecom Basis" panose="020B0503040504020204" pitchFamily="34" charset="-52"/>
              </a:defRPr>
            </a:lvl1pPr>
          </a:lstStyle>
          <a:p>
            <a:pPr lvl="0"/>
            <a:r>
              <a:rPr lang="ru-RU" dirty="0"/>
              <a:t>в месяц*</a:t>
            </a:r>
          </a:p>
        </p:txBody>
      </p:sp>
      <p:sp>
        <p:nvSpPr>
          <p:cNvPr id="69" name="Текст 14">
            <a:extLst>
              <a:ext uri="{FF2B5EF4-FFF2-40B4-BE49-F238E27FC236}">
                <a16:creationId xmlns:a16="http://schemas.microsoft.com/office/drawing/2014/main" id="{D26DD25B-08AB-44E9-A6BA-AEEC9627AA85}"/>
              </a:ext>
            </a:extLst>
          </p:cNvPr>
          <p:cNvSpPr>
            <a:spLocks noGrp="1"/>
          </p:cNvSpPr>
          <p:nvPr>
            <p:ph type="body" sz="quarter" idx="51" hasCustomPrompt="1"/>
          </p:nvPr>
        </p:nvSpPr>
        <p:spPr>
          <a:xfrm>
            <a:off x="9272750" y="1919968"/>
            <a:ext cx="2371508" cy="444475"/>
          </a:xfrm>
          <a:prstGeom prst="rect">
            <a:avLst/>
          </a:prstGeom>
        </p:spPr>
        <p:txBody>
          <a:bodyPr lIns="0" tIns="0" rIns="0" bIns="0"/>
          <a:lstStyle>
            <a:lvl1pPr>
              <a:lnSpc>
                <a:spcPts val="1851"/>
              </a:lnSpc>
              <a:spcBef>
                <a:spcPts val="0"/>
              </a:spcBef>
              <a:defRPr sz="1763" b="0">
                <a:solidFill>
                  <a:schemeClr val="bg1"/>
                </a:solidFill>
                <a:latin typeface="Rostelecom Basis Medium" panose="020B0603030604040103" pitchFamily="34" charset="0"/>
                <a:ea typeface="Rostelecom Basis" panose="020B0503040504020204" pitchFamily="34" charset="-52"/>
              </a:defRPr>
            </a:lvl1pPr>
          </a:lstStyle>
          <a:p>
            <a:pPr lvl="0"/>
            <a:r>
              <a:rPr lang="ru-RU" dirty="0"/>
              <a:t>Заголовок </a:t>
            </a:r>
            <a:br>
              <a:rPr lang="ru-RU" dirty="0"/>
            </a:br>
            <a:r>
              <a:rPr lang="ru-RU" dirty="0"/>
              <a:t>в две строчки</a:t>
            </a:r>
          </a:p>
        </p:txBody>
      </p:sp>
      <p:sp>
        <p:nvSpPr>
          <p:cNvPr id="71" name="Заголовок 1">
            <a:extLst>
              <a:ext uri="{FF2B5EF4-FFF2-40B4-BE49-F238E27FC236}">
                <a16:creationId xmlns:a16="http://schemas.microsoft.com/office/drawing/2014/main" id="{C03CDE2B-91FC-4AB6-91D9-22C4B7121524}"/>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Основной заголовок</a:t>
            </a:r>
            <a:br>
              <a:rPr lang="ru-RU" dirty="0"/>
            </a:br>
            <a:r>
              <a:rPr lang="ru-RU" dirty="0"/>
              <a:t>набранный в две строчки</a:t>
            </a:r>
          </a:p>
        </p:txBody>
      </p:sp>
      <p:sp>
        <p:nvSpPr>
          <p:cNvPr id="33" name="Текст 14">
            <a:extLst>
              <a:ext uri="{FF2B5EF4-FFF2-40B4-BE49-F238E27FC236}">
                <a16:creationId xmlns:a16="http://schemas.microsoft.com/office/drawing/2014/main" id="{8A4C2F4D-C0D1-4DC2-AB7F-A544E85B79D7}"/>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566427937"/>
      </p:ext>
    </p:extLst>
  </p:cSld>
  <p:clrMapOvr>
    <a:masterClrMapping/>
  </p:clrMapOvr>
  <p:extLst mod="1">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1">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6" y="419100"/>
            <a:ext cx="3859203" cy="532000"/>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8" y="555381"/>
            <a:ext cx="3215935"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33" name="Прямоугольник: скругленные углы 32">
            <a:extLst>
              <a:ext uri="{FF2B5EF4-FFF2-40B4-BE49-F238E27FC236}">
                <a16:creationId xmlns:a16="http://schemas.microsoft.com/office/drawing/2014/main" id="{3F131EDA-860E-4277-81AF-5DB35EF62DC0}"/>
              </a:ext>
            </a:extLst>
          </p:cNvPr>
          <p:cNvSpPr/>
          <p:nvPr userDrawn="1"/>
        </p:nvSpPr>
        <p:spPr>
          <a:xfrm>
            <a:off x="417038" y="1916206"/>
            <a:ext cx="2671551" cy="336127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35" name="Текст 14">
            <a:extLst>
              <a:ext uri="{FF2B5EF4-FFF2-40B4-BE49-F238E27FC236}">
                <a16:creationId xmlns:a16="http://schemas.microsoft.com/office/drawing/2014/main" id="{3152549D-18EA-4DB5-9048-D4AE7F91521A}"/>
              </a:ext>
            </a:extLst>
          </p:cNvPr>
          <p:cNvSpPr>
            <a:spLocks noGrp="1"/>
          </p:cNvSpPr>
          <p:nvPr>
            <p:ph type="body" sz="quarter" idx="27" hasCustomPrompt="1"/>
          </p:nvPr>
        </p:nvSpPr>
        <p:spPr>
          <a:xfrm>
            <a:off x="584969" y="2824231"/>
            <a:ext cx="2400603" cy="312671"/>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1"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36" name="Текст 14">
            <a:extLst>
              <a:ext uri="{FF2B5EF4-FFF2-40B4-BE49-F238E27FC236}">
                <a16:creationId xmlns:a16="http://schemas.microsoft.com/office/drawing/2014/main" id="{948F19D4-0A5D-47C5-93A1-D8ECD621B348}"/>
              </a:ext>
            </a:extLst>
          </p:cNvPr>
          <p:cNvSpPr>
            <a:spLocks noGrp="1"/>
          </p:cNvSpPr>
          <p:nvPr>
            <p:ph type="body" sz="quarter" idx="34" hasCustomPrompt="1"/>
          </p:nvPr>
        </p:nvSpPr>
        <p:spPr>
          <a:xfrm>
            <a:off x="584969" y="4456074"/>
            <a:ext cx="2400603"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37" name="Текст 14">
            <a:extLst>
              <a:ext uri="{FF2B5EF4-FFF2-40B4-BE49-F238E27FC236}">
                <a16:creationId xmlns:a16="http://schemas.microsoft.com/office/drawing/2014/main" id="{CFBF99DB-AAF5-4A89-B179-1425E20BCF2B}"/>
              </a:ext>
            </a:extLst>
          </p:cNvPr>
          <p:cNvSpPr>
            <a:spLocks noGrp="1"/>
          </p:cNvSpPr>
          <p:nvPr>
            <p:ph type="body" sz="quarter" idx="35" hasCustomPrompt="1"/>
          </p:nvPr>
        </p:nvSpPr>
        <p:spPr>
          <a:xfrm>
            <a:off x="584969" y="4754927"/>
            <a:ext cx="2400603" cy="220340"/>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38" name="Полилиния: фигура 37">
            <a:extLst>
              <a:ext uri="{FF2B5EF4-FFF2-40B4-BE49-F238E27FC236}">
                <a16:creationId xmlns:a16="http://schemas.microsoft.com/office/drawing/2014/main" id="{02CC86E1-F62B-4B06-92EA-E8051F62CFD6}"/>
              </a:ext>
            </a:extLst>
          </p:cNvPr>
          <p:cNvSpPr/>
          <p:nvPr userDrawn="1"/>
        </p:nvSpPr>
        <p:spPr>
          <a:xfrm>
            <a:off x="417038" y="1916210"/>
            <a:ext cx="2671551" cy="577105"/>
          </a:xfrm>
          <a:custGeom>
            <a:avLst/>
            <a:gdLst>
              <a:gd name="connsiteX0" fmla="*/ 133616 w 3030538"/>
              <a:gd name="connsiteY0" fmla="*/ 0 h 654052"/>
              <a:gd name="connsiteX1" fmla="*/ 2896922 w 3030538"/>
              <a:gd name="connsiteY1" fmla="*/ 0 h 654052"/>
              <a:gd name="connsiteX2" fmla="*/ 3030538 w 3030538"/>
              <a:gd name="connsiteY2" fmla="*/ 133616 h 654052"/>
              <a:gd name="connsiteX3" fmla="*/ 3030538 w 3030538"/>
              <a:gd name="connsiteY3" fmla="*/ 654052 h 654052"/>
              <a:gd name="connsiteX4" fmla="*/ 0 w 3030538"/>
              <a:gd name="connsiteY4" fmla="*/ 654052 h 654052"/>
              <a:gd name="connsiteX5" fmla="*/ 0 w 3030538"/>
              <a:gd name="connsiteY5" fmla="*/ 133616 h 654052"/>
              <a:gd name="connsiteX6" fmla="*/ 133616 w 3030538"/>
              <a:gd name="connsiteY6" fmla="*/ 0 h 654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54052">
                <a:moveTo>
                  <a:pt x="133616" y="0"/>
                </a:moveTo>
                <a:lnTo>
                  <a:pt x="2896922" y="0"/>
                </a:lnTo>
                <a:cubicBezTo>
                  <a:pt x="2970716" y="0"/>
                  <a:pt x="3030538" y="59822"/>
                  <a:pt x="3030538" y="133616"/>
                </a:cubicBezTo>
                <a:lnTo>
                  <a:pt x="3030538" y="654052"/>
                </a:lnTo>
                <a:lnTo>
                  <a:pt x="0" y="654052"/>
                </a:lnTo>
                <a:lnTo>
                  <a:pt x="0" y="133616"/>
                </a:lnTo>
                <a:cubicBezTo>
                  <a:pt x="0" y="59822"/>
                  <a:pt x="59822" y="0"/>
                  <a:pt x="133616"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dirty="0">
              <a:solidFill>
                <a:schemeClr val="accent2"/>
              </a:solidFill>
            </a:endParaRPr>
          </a:p>
        </p:txBody>
      </p:sp>
      <p:sp>
        <p:nvSpPr>
          <p:cNvPr id="39" name="Текст 14">
            <a:extLst>
              <a:ext uri="{FF2B5EF4-FFF2-40B4-BE49-F238E27FC236}">
                <a16:creationId xmlns:a16="http://schemas.microsoft.com/office/drawing/2014/main" id="{4C482ED2-33C1-461B-8CD5-D5128E5CF411}"/>
              </a:ext>
            </a:extLst>
          </p:cNvPr>
          <p:cNvSpPr>
            <a:spLocks noGrp="1"/>
          </p:cNvSpPr>
          <p:nvPr>
            <p:ph type="body" sz="quarter" idx="30" hasCustomPrompt="1"/>
          </p:nvPr>
        </p:nvSpPr>
        <p:spPr>
          <a:xfrm>
            <a:off x="584972" y="2080653"/>
            <a:ext cx="2400603" cy="248219"/>
          </a:xfrm>
          <a:prstGeom prst="rect">
            <a:avLst/>
          </a:prstGeom>
        </p:spPr>
        <p:txBody>
          <a:bodyPr lIns="0" tIns="0" rIns="0" bIns="0"/>
          <a:lstStyle>
            <a:lvl1pPr>
              <a:lnSpc>
                <a:spcPct val="100000"/>
              </a:lnSpc>
              <a:spcBef>
                <a:spcPts val="0"/>
              </a:spcBef>
              <a:defRPr sz="1763" b="0">
                <a:solidFill>
                  <a:schemeClr val="tx1"/>
                </a:solidFill>
                <a:latin typeface="Rostelecom Basis Medium" panose="020B0603030604040103" pitchFamily="34" charset="0"/>
                <a:ea typeface="Rostelecom Basis" panose="020B0503040504020204" pitchFamily="34" charset="-52"/>
              </a:defRPr>
            </a:lvl1pPr>
          </a:lstStyle>
          <a:p>
            <a:pPr lvl="0"/>
            <a:r>
              <a:rPr lang="ru-RU" dirty="0"/>
              <a:t>Заголовок</a:t>
            </a:r>
          </a:p>
        </p:txBody>
      </p:sp>
      <p:sp>
        <p:nvSpPr>
          <p:cNvPr id="40" name="Текст 14">
            <a:extLst>
              <a:ext uri="{FF2B5EF4-FFF2-40B4-BE49-F238E27FC236}">
                <a16:creationId xmlns:a16="http://schemas.microsoft.com/office/drawing/2014/main" id="{59150BBF-A9DB-419E-A8D7-C69D1E17AFDC}"/>
              </a:ext>
            </a:extLst>
          </p:cNvPr>
          <p:cNvSpPr>
            <a:spLocks noGrp="1"/>
          </p:cNvSpPr>
          <p:nvPr>
            <p:ph type="body" sz="quarter" idx="37" hasCustomPrompt="1"/>
          </p:nvPr>
        </p:nvSpPr>
        <p:spPr>
          <a:xfrm>
            <a:off x="584969" y="3462559"/>
            <a:ext cx="2400603" cy="745253"/>
          </a:xfrm>
          <a:prstGeom prst="rect">
            <a:avLst/>
          </a:prstGeom>
        </p:spPr>
        <p:txBody>
          <a:bodyPr lIns="0" tIns="0" rIns="0" bIns="0"/>
          <a:lstStyle>
            <a:lvl1pPr marL="0" indent="0">
              <a:lnSpc>
                <a:spcPts val="149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2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a:p>
            <a:pPr lvl="0"/>
            <a:endParaRPr lang="ru-RU" dirty="0"/>
          </a:p>
        </p:txBody>
      </p:sp>
      <p:sp>
        <p:nvSpPr>
          <p:cNvPr id="41" name="Текст 14">
            <a:extLst>
              <a:ext uri="{FF2B5EF4-FFF2-40B4-BE49-F238E27FC236}">
                <a16:creationId xmlns:a16="http://schemas.microsoft.com/office/drawing/2014/main" id="{72F8D434-AC30-4E87-B39E-2D2837A4EE68}"/>
              </a:ext>
            </a:extLst>
          </p:cNvPr>
          <p:cNvSpPr>
            <a:spLocks noGrp="1"/>
          </p:cNvSpPr>
          <p:nvPr>
            <p:ph type="body" sz="quarter" idx="38" hasCustomPrompt="1"/>
          </p:nvPr>
        </p:nvSpPr>
        <p:spPr>
          <a:xfrm>
            <a:off x="4516875" y="187948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42" name="Текст 14">
            <a:extLst>
              <a:ext uri="{FF2B5EF4-FFF2-40B4-BE49-F238E27FC236}">
                <a16:creationId xmlns:a16="http://schemas.microsoft.com/office/drawing/2014/main" id="{DC041F8C-3CC3-4D7D-9AF4-7C9B7D8F1C35}"/>
              </a:ext>
            </a:extLst>
          </p:cNvPr>
          <p:cNvSpPr>
            <a:spLocks noGrp="1"/>
          </p:cNvSpPr>
          <p:nvPr>
            <p:ph type="body" sz="quarter" idx="39" hasCustomPrompt="1"/>
          </p:nvPr>
        </p:nvSpPr>
        <p:spPr>
          <a:xfrm>
            <a:off x="4516875" y="2125596"/>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3" name="Текст 14">
            <a:extLst>
              <a:ext uri="{FF2B5EF4-FFF2-40B4-BE49-F238E27FC236}">
                <a16:creationId xmlns:a16="http://schemas.microsoft.com/office/drawing/2014/main" id="{E8F222CD-877A-47D7-9582-05AFCB4A45DD}"/>
              </a:ext>
            </a:extLst>
          </p:cNvPr>
          <p:cNvSpPr>
            <a:spLocks noGrp="1"/>
          </p:cNvSpPr>
          <p:nvPr>
            <p:ph type="body" sz="quarter" idx="40" hasCustomPrompt="1"/>
          </p:nvPr>
        </p:nvSpPr>
        <p:spPr>
          <a:xfrm>
            <a:off x="4516877" y="244911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44" name="Текст 14">
            <a:extLst>
              <a:ext uri="{FF2B5EF4-FFF2-40B4-BE49-F238E27FC236}">
                <a16:creationId xmlns:a16="http://schemas.microsoft.com/office/drawing/2014/main" id="{127CA6BA-3AFE-4242-9B82-47DA69476E70}"/>
              </a:ext>
            </a:extLst>
          </p:cNvPr>
          <p:cNvSpPr>
            <a:spLocks noGrp="1"/>
          </p:cNvSpPr>
          <p:nvPr>
            <p:ph type="body" sz="quarter" idx="41" hasCustomPrompt="1"/>
          </p:nvPr>
        </p:nvSpPr>
        <p:spPr>
          <a:xfrm>
            <a:off x="4518345" y="2657525"/>
            <a:ext cx="761495" cy="204856"/>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45" name="Текст 14">
            <a:extLst>
              <a:ext uri="{FF2B5EF4-FFF2-40B4-BE49-F238E27FC236}">
                <a16:creationId xmlns:a16="http://schemas.microsoft.com/office/drawing/2014/main" id="{BD9FA710-C2EC-4913-82B1-471039484E09}"/>
              </a:ext>
            </a:extLst>
          </p:cNvPr>
          <p:cNvSpPr>
            <a:spLocks noGrp="1"/>
          </p:cNvSpPr>
          <p:nvPr>
            <p:ph type="body" sz="quarter" idx="42" hasCustomPrompt="1"/>
          </p:nvPr>
        </p:nvSpPr>
        <p:spPr>
          <a:xfrm>
            <a:off x="4516875" y="3153016"/>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46" name="Текст 14">
            <a:extLst>
              <a:ext uri="{FF2B5EF4-FFF2-40B4-BE49-F238E27FC236}">
                <a16:creationId xmlns:a16="http://schemas.microsoft.com/office/drawing/2014/main" id="{317E4219-CCC2-4217-81DE-9597872739E2}"/>
              </a:ext>
            </a:extLst>
          </p:cNvPr>
          <p:cNvSpPr>
            <a:spLocks noGrp="1"/>
          </p:cNvSpPr>
          <p:nvPr>
            <p:ph type="body" sz="quarter" idx="43" hasCustomPrompt="1"/>
          </p:nvPr>
        </p:nvSpPr>
        <p:spPr>
          <a:xfrm>
            <a:off x="4516875" y="3399120"/>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47" name="Текст 14">
            <a:extLst>
              <a:ext uri="{FF2B5EF4-FFF2-40B4-BE49-F238E27FC236}">
                <a16:creationId xmlns:a16="http://schemas.microsoft.com/office/drawing/2014/main" id="{94041AC4-D76B-496F-BAA3-A527601EAEA5}"/>
              </a:ext>
            </a:extLst>
          </p:cNvPr>
          <p:cNvSpPr>
            <a:spLocks noGrp="1"/>
          </p:cNvSpPr>
          <p:nvPr>
            <p:ph type="body" sz="quarter" idx="44" hasCustomPrompt="1"/>
          </p:nvPr>
        </p:nvSpPr>
        <p:spPr>
          <a:xfrm>
            <a:off x="4516877" y="3722637"/>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48" name="Текст 14">
            <a:extLst>
              <a:ext uri="{FF2B5EF4-FFF2-40B4-BE49-F238E27FC236}">
                <a16:creationId xmlns:a16="http://schemas.microsoft.com/office/drawing/2014/main" id="{BB618265-3C93-452C-B613-58DB77143127}"/>
              </a:ext>
            </a:extLst>
          </p:cNvPr>
          <p:cNvSpPr>
            <a:spLocks noGrp="1"/>
          </p:cNvSpPr>
          <p:nvPr>
            <p:ph type="body" sz="quarter" idx="45" hasCustomPrompt="1"/>
          </p:nvPr>
        </p:nvSpPr>
        <p:spPr>
          <a:xfrm>
            <a:off x="4518345" y="3971393"/>
            <a:ext cx="761495"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49" name="Текст 14">
            <a:extLst>
              <a:ext uri="{FF2B5EF4-FFF2-40B4-BE49-F238E27FC236}">
                <a16:creationId xmlns:a16="http://schemas.microsoft.com/office/drawing/2014/main" id="{B2094C6F-651E-4EEF-8C52-A5CF4757E849}"/>
              </a:ext>
            </a:extLst>
          </p:cNvPr>
          <p:cNvSpPr>
            <a:spLocks noGrp="1"/>
          </p:cNvSpPr>
          <p:nvPr>
            <p:ph type="body" sz="quarter" idx="46" hasCustomPrompt="1"/>
          </p:nvPr>
        </p:nvSpPr>
        <p:spPr>
          <a:xfrm>
            <a:off x="4516875" y="4490749"/>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50" name="Текст 14">
            <a:extLst>
              <a:ext uri="{FF2B5EF4-FFF2-40B4-BE49-F238E27FC236}">
                <a16:creationId xmlns:a16="http://schemas.microsoft.com/office/drawing/2014/main" id="{E7785C78-E291-4A36-9952-81A5F6136BFB}"/>
              </a:ext>
            </a:extLst>
          </p:cNvPr>
          <p:cNvSpPr>
            <a:spLocks noGrp="1"/>
          </p:cNvSpPr>
          <p:nvPr>
            <p:ph type="body" sz="quarter" idx="47" hasCustomPrompt="1"/>
          </p:nvPr>
        </p:nvSpPr>
        <p:spPr>
          <a:xfrm>
            <a:off x="4516875" y="4736856"/>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51" name="Текст 14">
            <a:extLst>
              <a:ext uri="{FF2B5EF4-FFF2-40B4-BE49-F238E27FC236}">
                <a16:creationId xmlns:a16="http://schemas.microsoft.com/office/drawing/2014/main" id="{E4969F8D-B4F6-4369-9DCD-ADC9B45E78E1}"/>
              </a:ext>
            </a:extLst>
          </p:cNvPr>
          <p:cNvSpPr>
            <a:spLocks noGrp="1"/>
          </p:cNvSpPr>
          <p:nvPr>
            <p:ph type="body" sz="quarter" idx="48" hasCustomPrompt="1"/>
          </p:nvPr>
        </p:nvSpPr>
        <p:spPr>
          <a:xfrm>
            <a:off x="4516877" y="5060372"/>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52" name="Текст 14">
            <a:extLst>
              <a:ext uri="{FF2B5EF4-FFF2-40B4-BE49-F238E27FC236}">
                <a16:creationId xmlns:a16="http://schemas.microsoft.com/office/drawing/2014/main" id="{27D31CD0-3F0F-47B1-85F1-2BB62298CEBD}"/>
              </a:ext>
            </a:extLst>
          </p:cNvPr>
          <p:cNvSpPr>
            <a:spLocks noGrp="1"/>
          </p:cNvSpPr>
          <p:nvPr>
            <p:ph type="body" sz="quarter" idx="49" hasCustomPrompt="1"/>
          </p:nvPr>
        </p:nvSpPr>
        <p:spPr>
          <a:xfrm>
            <a:off x="4518345" y="5268789"/>
            <a:ext cx="761495"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54" name="Текст 14">
            <a:extLst>
              <a:ext uri="{FF2B5EF4-FFF2-40B4-BE49-F238E27FC236}">
                <a16:creationId xmlns:a16="http://schemas.microsoft.com/office/drawing/2014/main" id="{16AD4C6E-718E-4BDC-8910-00D3F0439045}"/>
              </a:ext>
            </a:extLst>
          </p:cNvPr>
          <p:cNvSpPr>
            <a:spLocks noGrp="1"/>
          </p:cNvSpPr>
          <p:nvPr>
            <p:ph type="body" sz="quarter" idx="50" hasCustomPrompt="1"/>
          </p:nvPr>
        </p:nvSpPr>
        <p:spPr>
          <a:xfrm>
            <a:off x="7870654" y="1879488"/>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55" name="Текст 14">
            <a:extLst>
              <a:ext uri="{FF2B5EF4-FFF2-40B4-BE49-F238E27FC236}">
                <a16:creationId xmlns:a16="http://schemas.microsoft.com/office/drawing/2014/main" id="{ACEAA25D-A976-4BD1-A463-E8646659E311}"/>
              </a:ext>
            </a:extLst>
          </p:cNvPr>
          <p:cNvSpPr>
            <a:spLocks noGrp="1"/>
          </p:cNvSpPr>
          <p:nvPr>
            <p:ph type="body" sz="quarter" idx="51" hasCustomPrompt="1"/>
          </p:nvPr>
        </p:nvSpPr>
        <p:spPr>
          <a:xfrm>
            <a:off x="7870654" y="2125596"/>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0" name="Текст 14">
            <a:extLst>
              <a:ext uri="{FF2B5EF4-FFF2-40B4-BE49-F238E27FC236}">
                <a16:creationId xmlns:a16="http://schemas.microsoft.com/office/drawing/2014/main" id="{2FDC08D3-0CF5-43E5-985D-0539808B8192}"/>
              </a:ext>
            </a:extLst>
          </p:cNvPr>
          <p:cNvSpPr>
            <a:spLocks noGrp="1"/>
          </p:cNvSpPr>
          <p:nvPr>
            <p:ph type="body" sz="quarter" idx="52" hasCustomPrompt="1"/>
          </p:nvPr>
        </p:nvSpPr>
        <p:spPr>
          <a:xfrm>
            <a:off x="7870653" y="2449113"/>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65" name="Текст 14">
            <a:extLst>
              <a:ext uri="{FF2B5EF4-FFF2-40B4-BE49-F238E27FC236}">
                <a16:creationId xmlns:a16="http://schemas.microsoft.com/office/drawing/2014/main" id="{4E13E040-98DA-42E6-95CC-C70DE10ECA2B}"/>
              </a:ext>
            </a:extLst>
          </p:cNvPr>
          <p:cNvSpPr>
            <a:spLocks noGrp="1"/>
          </p:cNvSpPr>
          <p:nvPr>
            <p:ph type="body" sz="quarter" idx="53" hasCustomPrompt="1"/>
          </p:nvPr>
        </p:nvSpPr>
        <p:spPr>
          <a:xfrm>
            <a:off x="7872121" y="2657530"/>
            <a:ext cx="761495"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66" name="Текст 14">
            <a:extLst>
              <a:ext uri="{FF2B5EF4-FFF2-40B4-BE49-F238E27FC236}">
                <a16:creationId xmlns:a16="http://schemas.microsoft.com/office/drawing/2014/main" id="{F698B7AB-6710-4AB4-B862-C4573C056A83}"/>
              </a:ext>
            </a:extLst>
          </p:cNvPr>
          <p:cNvSpPr>
            <a:spLocks noGrp="1"/>
          </p:cNvSpPr>
          <p:nvPr>
            <p:ph type="body" sz="quarter" idx="54" hasCustomPrompt="1"/>
          </p:nvPr>
        </p:nvSpPr>
        <p:spPr>
          <a:xfrm>
            <a:off x="7870654" y="3153016"/>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67" name="Текст 14">
            <a:extLst>
              <a:ext uri="{FF2B5EF4-FFF2-40B4-BE49-F238E27FC236}">
                <a16:creationId xmlns:a16="http://schemas.microsoft.com/office/drawing/2014/main" id="{BDDA8F15-C125-49D3-8FFB-A510E5EAE022}"/>
              </a:ext>
            </a:extLst>
          </p:cNvPr>
          <p:cNvSpPr>
            <a:spLocks noGrp="1"/>
          </p:cNvSpPr>
          <p:nvPr>
            <p:ph type="body" sz="quarter" idx="55" hasCustomPrompt="1"/>
          </p:nvPr>
        </p:nvSpPr>
        <p:spPr>
          <a:xfrm>
            <a:off x="7870654" y="3399120"/>
            <a:ext cx="1842644"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68" name="Текст 14">
            <a:extLst>
              <a:ext uri="{FF2B5EF4-FFF2-40B4-BE49-F238E27FC236}">
                <a16:creationId xmlns:a16="http://schemas.microsoft.com/office/drawing/2014/main" id="{D4E0B163-4B26-443B-B068-4000C3CA2F6F}"/>
              </a:ext>
            </a:extLst>
          </p:cNvPr>
          <p:cNvSpPr>
            <a:spLocks noGrp="1"/>
          </p:cNvSpPr>
          <p:nvPr>
            <p:ph type="body" sz="quarter" idx="56" hasCustomPrompt="1"/>
          </p:nvPr>
        </p:nvSpPr>
        <p:spPr>
          <a:xfrm>
            <a:off x="7870653" y="3722637"/>
            <a:ext cx="105786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69" name="Текст 14">
            <a:extLst>
              <a:ext uri="{FF2B5EF4-FFF2-40B4-BE49-F238E27FC236}">
                <a16:creationId xmlns:a16="http://schemas.microsoft.com/office/drawing/2014/main" id="{ED03B61A-A6B5-4CA2-AEAD-80161668E4CE}"/>
              </a:ext>
            </a:extLst>
          </p:cNvPr>
          <p:cNvSpPr>
            <a:spLocks noGrp="1"/>
          </p:cNvSpPr>
          <p:nvPr>
            <p:ph type="body" sz="quarter" idx="57" hasCustomPrompt="1"/>
          </p:nvPr>
        </p:nvSpPr>
        <p:spPr>
          <a:xfrm>
            <a:off x="7872121" y="3931051"/>
            <a:ext cx="761495"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81346141"/>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7790293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3">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6" y="419100"/>
            <a:ext cx="3859203" cy="532000"/>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8" y="555381"/>
            <a:ext cx="3215935"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7" y="1428050"/>
            <a:ext cx="2671551" cy="2148191"/>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9" y="2109325"/>
            <a:ext cx="2400603"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1"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7" y="1428050"/>
            <a:ext cx="2671551" cy="593583"/>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dirty="0">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31" y="288587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7" y="318725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9" y="1428050"/>
            <a:ext cx="2671551" cy="2148191"/>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9" y="1623812"/>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9" y="2408364"/>
            <a:ext cx="2400603"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2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9" y="3703823"/>
            <a:ext cx="2671551" cy="2117203"/>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9" y="1428050"/>
            <a:ext cx="2671551" cy="593583"/>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dirty="0">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9" y="3703823"/>
            <a:ext cx="2671551" cy="593583"/>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dirty="0">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69" y="2109325"/>
            <a:ext cx="2400603"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1"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3" y="288587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7" y="318725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3" y="1623812"/>
            <a:ext cx="2400603" cy="248219"/>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69" y="2408364"/>
            <a:ext cx="2400603"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2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69" y="4354110"/>
            <a:ext cx="2400603"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1"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5" y="5130659"/>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7" y="5432044"/>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3" y="3868603"/>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69" y="4653150"/>
            <a:ext cx="2400603"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2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8318" y="1452013"/>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8318" y="1698117"/>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8318" y="202163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79785" y="2230049"/>
            <a:ext cx="695751" cy="204856"/>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8318" y="2725540"/>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8318" y="2971647"/>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8318" y="329516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79785" y="3543920"/>
            <a:ext cx="695751"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8318" y="4063270"/>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8318" y="4309380"/>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8318" y="4632896"/>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79785" y="4841313"/>
            <a:ext cx="695751"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75176" y="1454808"/>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75176" y="1700912"/>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75178" y="2024429"/>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76645" y="2232848"/>
            <a:ext cx="692457"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75176" y="2728333"/>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75176" y="2974440"/>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75178" y="3297956"/>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76645" y="3506371"/>
            <a:ext cx="692457"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Tree>
    <p:extLst>
      <p:ext uri="{BB962C8B-B14F-4D97-AF65-F5344CB8AC3E}">
        <p14:creationId xmlns:p14="http://schemas.microsoft.com/office/powerpoint/2010/main" val="1100752727"/>
      </p:ext>
    </p:extLst>
  </p:cSld>
  <p:clrMapOvr>
    <a:masterClrMapping/>
  </p:clrMapOvr>
  <p:extLst mod="1">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тарифы с иконками_4">
    <p:spTree>
      <p:nvGrpSpPr>
        <p:cNvPr id="1" name=""/>
        <p:cNvGrpSpPr/>
        <p:nvPr/>
      </p:nvGrpSpPr>
      <p:grpSpPr>
        <a:xfrm>
          <a:off x="0" y="0"/>
          <a:ext cx="0" cy="0"/>
          <a:chOff x="0" y="0"/>
          <a:chExt cx="0" cy="0"/>
        </a:xfrm>
      </p:grpSpPr>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6" y="419100"/>
            <a:ext cx="3859203" cy="532000"/>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Название тарифа</a:t>
            </a:r>
          </a:p>
        </p:txBody>
      </p:sp>
      <p:sp>
        <p:nvSpPr>
          <p:cNvPr id="34" name="Текст 14">
            <a:extLst>
              <a:ext uri="{FF2B5EF4-FFF2-40B4-BE49-F238E27FC236}">
                <a16:creationId xmlns:a16="http://schemas.microsoft.com/office/drawing/2014/main" id="{B7678A26-0718-4F91-8518-A8F88324A710}"/>
              </a:ext>
            </a:extLst>
          </p:cNvPr>
          <p:cNvSpPr>
            <a:spLocks noGrp="1"/>
          </p:cNvSpPr>
          <p:nvPr>
            <p:ph type="body" sz="quarter" idx="75" hasCustomPrompt="1"/>
          </p:nvPr>
        </p:nvSpPr>
        <p:spPr>
          <a:xfrm>
            <a:off x="4276718" y="555381"/>
            <a:ext cx="3215935" cy="364204"/>
          </a:xfrm>
          <a:prstGeom prst="rect">
            <a:avLst/>
          </a:prstGeom>
        </p:spPr>
        <p:txBody>
          <a:bodyPr lIns="0" tIns="0" rIns="0" bIns="0"/>
          <a:lstStyle>
            <a:lvl1pPr>
              <a:lnSpc>
                <a:spcPct val="100000"/>
              </a:lnSpc>
              <a:spcBef>
                <a:spcPts val="0"/>
              </a:spcBef>
              <a:defRPr sz="1851" b="0">
                <a:solidFill>
                  <a:srgbClr val="979799"/>
                </a:solidFill>
                <a:latin typeface="+mj-lt"/>
                <a:ea typeface="Rostelecom Basis" panose="020B0503040504020204" pitchFamily="34" charset="-52"/>
              </a:defRPr>
            </a:lvl1pPr>
          </a:lstStyle>
          <a:p>
            <a:r>
              <a:rPr lang="ru-RU" sz="1851" dirty="0">
                <a:solidFill>
                  <a:srgbClr val="979799"/>
                </a:solidFill>
              </a:rPr>
              <a:t>для непубличного показа</a:t>
            </a:r>
          </a:p>
        </p:txBody>
      </p:sp>
      <p:sp>
        <p:nvSpPr>
          <p:cNvPr id="71" name="Текст 14">
            <a:extLst>
              <a:ext uri="{FF2B5EF4-FFF2-40B4-BE49-F238E27FC236}">
                <a16:creationId xmlns:a16="http://schemas.microsoft.com/office/drawing/2014/main" id="{74BA5BD4-3374-47EE-B502-80149DC12241}"/>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
        <p:nvSpPr>
          <p:cNvPr id="57" name="Прямоугольник: скругленные углы 56">
            <a:extLst>
              <a:ext uri="{FF2B5EF4-FFF2-40B4-BE49-F238E27FC236}">
                <a16:creationId xmlns:a16="http://schemas.microsoft.com/office/drawing/2014/main" id="{99C402D6-EFF8-4758-8EB8-DA42770F78B7}"/>
              </a:ext>
            </a:extLst>
          </p:cNvPr>
          <p:cNvSpPr/>
          <p:nvPr userDrawn="1"/>
        </p:nvSpPr>
        <p:spPr>
          <a:xfrm>
            <a:off x="3318097" y="1428050"/>
            <a:ext cx="2671551" cy="2148191"/>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8" name="Текст 14">
            <a:extLst>
              <a:ext uri="{FF2B5EF4-FFF2-40B4-BE49-F238E27FC236}">
                <a16:creationId xmlns:a16="http://schemas.microsoft.com/office/drawing/2014/main" id="{FC63026B-046D-4089-9996-9CCA7F722EAD}"/>
              </a:ext>
            </a:extLst>
          </p:cNvPr>
          <p:cNvSpPr>
            <a:spLocks noGrp="1"/>
          </p:cNvSpPr>
          <p:nvPr>
            <p:ph type="body" sz="quarter" idx="27" hasCustomPrompt="1"/>
          </p:nvPr>
        </p:nvSpPr>
        <p:spPr>
          <a:xfrm>
            <a:off x="3486029" y="2109325"/>
            <a:ext cx="2400603"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1"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9" name="Полилиния: фигура 58">
            <a:extLst>
              <a:ext uri="{FF2B5EF4-FFF2-40B4-BE49-F238E27FC236}">
                <a16:creationId xmlns:a16="http://schemas.microsoft.com/office/drawing/2014/main" id="{5DD5ECFB-9676-4A2D-A005-C198AC76A0BF}"/>
              </a:ext>
            </a:extLst>
          </p:cNvPr>
          <p:cNvSpPr/>
          <p:nvPr userDrawn="1"/>
        </p:nvSpPr>
        <p:spPr>
          <a:xfrm>
            <a:off x="3318097" y="1428050"/>
            <a:ext cx="2671551" cy="593583"/>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dirty="0">
              <a:solidFill>
                <a:schemeClr val="accent2"/>
              </a:solidFill>
            </a:endParaRPr>
          </a:p>
        </p:txBody>
      </p:sp>
      <p:sp>
        <p:nvSpPr>
          <p:cNvPr id="70" name="Текст 14">
            <a:extLst>
              <a:ext uri="{FF2B5EF4-FFF2-40B4-BE49-F238E27FC236}">
                <a16:creationId xmlns:a16="http://schemas.microsoft.com/office/drawing/2014/main" id="{FAF96625-CF9D-4544-800C-830EC428AE6D}"/>
              </a:ext>
            </a:extLst>
          </p:cNvPr>
          <p:cNvSpPr>
            <a:spLocks noGrp="1"/>
          </p:cNvSpPr>
          <p:nvPr>
            <p:ph type="body" sz="quarter" idx="34" hasCustomPrompt="1"/>
          </p:nvPr>
        </p:nvSpPr>
        <p:spPr>
          <a:xfrm>
            <a:off x="3486031" y="288587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72" name="Текст 14">
            <a:extLst>
              <a:ext uri="{FF2B5EF4-FFF2-40B4-BE49-F238E27FC236}">
                <a16:creationId xmlns:a16="http://schemas.microsoft.com/office/drawing/2014/main" id="{B16FD128-6C7D-4DBC-BBF0-0200D02455EE}"/>
              </a:ext>
            </a:extLst>
          </p:cNvPr>
          <p:cNvSpPr>
            <a:spLocks noGrp="1"/>
          </p:cNvSpPr>
          <p:nvPr>
            <p:ph type="body" sz="quarter" idx="35" hasCustomPrompt="1"/>
          </p:nvPr>
        </p:nvSpPr>
        <p:spPr>
          <a:xfrm>
            <a:off x="3487887" y="318725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73" name="Прямоугольник: скругленные углы 72">
            <a:extLst>
              <a:ext uri="{FF2B5EF4-FFF2-40B4-BE49-F238E27FC236}">
                <a16:creationId xmlns:a16="http://schemas.microsoft.com/office/drawing/2014/main" id="{96E46905-CCB9-4AF0-88A6-9D74D6D11342}"/>
              </a:ext>
            </a:extLst>
          </p:cNvPr>
          <p:cNvSpPr/>
          <p:nvPr userDrawn="1"/>
        </p:nvSpPr>
        <p:spPr>
          <a:xfrm>
            <a:off x="417039" y="1428050"/>
            <a:ext cx="2671551" cy="2148191"/>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74" name="Текст 14">
            <a:extLst>
              <a:ext uri="{FF2B5EF4-FFF2-40B4-BE49-F238E27FC236}">
                <a16:creationId xmlns:a16="http://schemas.microsoft.com/office/drawing/2014/main" id="{7CF6A723-E254-44EC-AC4E-411D5A0EFA9D}"/>
              </a:ext>
            </a:extLst>
          </p:cNvPr>
          <p:cNvSpPr>
            <a:spLocks noGrp="1"/>
          </p:cNvSpPr>
          <p:nvPr>
            <p:ph type="body" sz="quarter" idx="30" hasCustomPrompt="1"/>
          </p:nvPr>
        </p:nvSpPr>
        <p:spPr>
          <a:xfrm>
            <a:off x="3486029" y="1623812"/>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75" name="Текст 14">
            <a:extLst>
              <a:ext uri="{FF2B5EF4-FFF2-40B4-BE49-F238E27FC236}">
                <a16:creationId xmlns:a16="http://schemas.microsoft.com/office/drawing/2014/main" id="{8316B256-B071-4473-8EDE-D992F6245BF1}"/>
              </a:ext>
            </a:extLst>
          </p:cNvPr>
          <p:cNvSpPr>
            <a:spLocks noGrp="1"/>
          </p:cNvSpPr>
          <p:nvPr>
            <p:ph type="body" sz="quarter" idx="37" hasCustomPrompt="1"/>
          </p:nvPr>
        </p:nvSpPr>
        <p:spPr>
          <a:xfrm>
            <a:off x="3486029" y="2408364"/>
            <a:ext cx="2400603"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2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76" name="Прямоугольник: скругленные углы 75">
            <a:extLst>
              <a:ext uri="{FF2B5EF4-FFF2-40B4-BE49-F238E27FC236}">
                <a16:creationId xmlns:a16="http://schemas.microsoft.com/office/drawing/2014/main" id="{16F5C281-F0C3-4B1A-9F80-05795CD3C03E}"/>
              </a:ext>
            </a:extLst>
          </p:cNvPr>
          <p:cNvSpPr/>
          <p:nvPr userDrawn="1"/>
        </p:nvSpPr>
        <p:spPr>
          <a:xfrm>
            <a:off x="417039" y="3703823"/>
            <a:ext cx="2671551" cy="2117203"/>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77" name="Полилиния: фигура 76">
            <a:extLst>
              <a:ext uri="{FF2B5EF4-FFF2-40B4-BE49-F238E27FC236}">
                <a16:creationId xmlns:a16="http://schemas.microsoft.com/office/drawing/2014/main" id="{E4F93AB8-FBAE-491B-92A9-236BD8B72BAF}"/>
              </a:ext>
            </a:extLst>
          </p:cNvPr>
          <p:cNvSpPr/>
          <p:nvPr userDrawn="1"/>
        </p:nvSpPr>
        <p:spPr>
          <a:xfrm>
            <a:off x="417039" y="1428050"/>
            <a:ext cx="2671551" cy="593583"/>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dirty="0">
              <a:solidFill>
                <a:schemeClr val="accent2"/>
              </a:solidFill>
            </a:endParaRPr>
          </a:p>
        </p:txBody>
      </p:sp>
      <p:sp>
        <p:nvSpPr>
          <p:cNvPr id="78" name="Полилиния: фигура 77">
            <a:extLst>
              <a:ext uri="{FF2B5EF4-FFF2-40B4-BE49-F238E27FC236}">
                <a16:creationId xmlns:a16="http://schemas.microsoft.com/office/drawing/2014/main" id="{4BD3EFAF-49E3-44CB-B6A6-F6D4984B0F9C}"/>
              </a:ext>
            </a:extLst>
          </p:cNvPr>
          <p:cNvSpPr/>
          <p:nvPr userDrawn="1"/>
        </p:nvSpPr>
        <p:spPr>
          <a:xfrm>
            <a:off x="417039" y="3703823"/>
            <a:ext cx="2671551" cy="593583"/>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dirty="0">
              <a:solidFill>
                <a:schemeClr val="accent2"/>
              </a:solidFill>
            </a:endParaRPr>
          </a:p>
        </p:txBody>
      </p:sp>
      <p:sp>
        <p:nvSpPr>
          <p:cNvPr id="79" name="Текст 14">
            <a:extLst>
              <a:ext uri="{FF2B5EF4-FFF2-40B4-BE49-F238E27FC236}">
                <a16:creationId xmlns:a16="http://schemas.microsoft.com/office/drawing/2014/main" id="{7CD31CE8-0190-485D-AF5D-6A993385A65E}"/>
              </a:ext>
            </a:extLst>
          </p:cNvPr>
          <p:cNvSpPr>
            <a:spLocks noGrp="1"/>
          </p:cNvSpPr>
          <p:nvPr>
            <p:ph type="body" sz="quarter" idx="76" hasCustomPrompt="1"/>
          </p:nvPr>
        </p:nvSpPr>
        <p:spPr>
          <a:xfrm>
            <a:off x="584969" y="2109325"/>
            <a:ext cx="2400603"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1"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80" name="Текст 14">
            <a:extLst>
              <a:ext uri="{FF2B5EF4-FFF2-40B4-BE49-F238E27FC236}">
                <a16:creationId xmlns:a16="http://schemas.microsoft.com/office/drawing/2014/main" id="{5320E5F9-9BC1-4673-905A-DB4EA18DA03E}"/>
              </a:ext>
            </a:extLst>
          </p:cNvPr>
          <p:cNvSpPr>
            <a:spLocks noGrp="1"/>
          </p:cNvSpPr>
          <p:nvPr>
            <p:ph type="body" sz="quarter" idx="77" hasCustomPrompt="1"/>
          </p:nvPr>
        </p:nvSpPr>
        <p:spPr>
          <a:xfrm>
            <a:off x="584973" y="2885874"/>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1" name="Текст 14">
            <a:extLst>
              <a:ext uri="{FF2B5EF4-FFF2-40B4-BE49-F238E27FC236}">
                <a16:creationId xmlns:a16="http://schemas.microsoft.com/office/drawing/2014/main" id="{486C5762-D49D-4EA8-BBBC-24DF73E63E70}"/>
              </a:ext>
            </a:extLst>
          </p:cNvPr>
          <p:cNvSpPr>
            <a:spLocks noGrp="1"/>
          </p:cNvSpPr>
          <p:nvPr>
            <p:ph type="body" sz="quarter" idx="78" hasCustomPrompt="1"/>
          </p:nvPr>
        </p:nvSpPr>
        <p:spPr>
          <a:xfrm>
            <a:off x="586827" y="318725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82" name="Текст 14">
            <a:extLst>
              <a:ext uri="{FF2B5EF4-FFF2-40B4-BE49-F238E27FC236}">
                <a16:creationId xmlns:a16="http://schemas.microsoft.com/office/drawing/2014/main" id="{CEB49B83-8B17-410D-B10F-E99852C025DE}"/>
              </a:ext>
            </a:extLst>
          </p:cNvPr>
          <p:cNvSpPr>
            <a:spLocks noGrp="1"/>
          </p:cNvSpPr>
          <p:nvPr>
            <p:ph type="body" sz="quarter" idx="79" hasCustomPrompt="1"/>
          </p:nvPr>
        </p:nvSpPr>
        <p:spPr>
          <a:xfrm>
            <a:off x="584973" y="1623812"/>
            <a:ext cx="2400603" cy="248219"/>
          </a:xfrm>
          <a:prstGeom prst="rect">
            <a:avLst/>
          </a:prstGeom>
        </p:spPr>
        <p:txBody>
          <a:bodyPr lIns="0" tIns="0" rIns="0" bIns="0"/>
          <a:lstStyle>
            <a:lvl1pPr>
              <a:lnSpc>
                <a:spcPct val="100000"/>
              </a:lnSpc>
              <a:spcBef>
                <a:spcPts val="0"/>
              </a:spcBef>
              <a:defRPr lang="ru-RU" sz="1763" b="0" dirty="0">
                <a:ea typeface="Rostelecom Basis" panose="020B0503040504020204" pitchFamily="34" charset="-52"/>
              </a:defRPr>
            </a:lvl1pPr>
          </a:lstStyle>
          <a:p>
            <a:pPr lvl="0">
              <a:lnSpc>
                <a:spcPct val="100000"/>
              </a:lnSpc>
              <a:spcBef>
                <a:spcPts val="0"/>
              </a:spcBef>
            </a:pPr>
            <a:r>
              <a:rPr lang="ru-RU" dirty="0"/>
              <a:t>Заголовок</a:t>
            </a:r>
          </a:p>
        </p:txBody>
      </p:sp>
      <p:sp>
        <p:nvSpPr>
          <p:cNvPr id="83" name="Текст 14">
            <a:extLst>
              <a:ext uri="{FF2B5EF4-FFF2-40B4-BE49-F238E27FC236}">
                <a16:creationId xmlns:a16="http://schemas.microsoft.com/office/drawing/2014/main" id="{12B1C409-3C45-4C0D-A828-60A9075EFF72}"/>
              </a:ext>
            </a:extLst>
          </p:cNvPr>
          <p:cNvSpPr>
            <a:spLocks noGrp="1"/>
          </p:cNvSpPr>
          <p:nvPr>
            <p:ph type="body" sz="quarter" idx="80" hasCustomPrompt="1"/>
          </p:nvPr>
        </p:nvSpPr>
        <p:spPr>
          <a:xfrm>
            <a:off x="584969" y="2408364"/>
            <a:ext cx="2400603"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2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4" name="Текст 14">
            <a:extLst>
              <a:ext uri="{FF2B5EF4-FFF2-40B4-BE49-F238E27FC236}">
                <a16:creationId xmlns:a16="http://schemas.microsoft.com/office/drawing/2014/main" id="{AD4264D1-B304-4304-B472-0465452F4072}"/>
              </a:ext>
            </a:extLst>
          </p:cNvPr>
          <p:cNvSpPr>
            <a:spLocks noGrp="1"/>
          </p:cNvSpPr>
          <p:nvPr>
            <p:ph type="body" sz="quarter" idx="81" hasCustomPrompt="1"/>
          </p:nvPr>
        </p:nvSpPr>
        <p:spPr>
          <a:xfrm>
            <a:off x="584969" y="4354110"/>
            <a:ext cx="2400603"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1" b="0">
                <a:solidFill>
                  <a:schemeClr val="tx1"/>
                </a:solidFill>
                <a:latin typeface="Rostelecom Basis Medium" panose="020B0603030604040103" pitchFamily="34" charset="0"/>
                <a:ea typeface="Rostelecom Basis" panose="020B0503040504020204" pitchFamily="34" charset="-52"/>
              </a:defRPr>
            </a:lvl1pPr>
          </a:lstStyle>
          <a:p>
            <a:pPr lvl="0"/>
            <a:r>
              <a:rPr lang="ru-RU" dirty="0"/>
              <a:t>Текст </a:t>
            </a:r>
            <a:r>
              <a:rPr lang="ru-RU" dirty="0" err="1"/>
              <a:t>текст</a:t>
            </a:r>
            <a:endParaRPr lang="ru-RU" dirty="0"/>
          </a:p>
        </p:txBody>
      </p:sp>
      <p:sp>
        <p:nvSpPr>
          <p:cNvPr id="85" name="Текст 14">
            <a:extLst>
              <a:ext uri="{FF2B5EF4-FFF2-40B4-BE49-F238E27FC236}">
                <a16:creationId xmlns:a16="http://schemas.microsoft.com/office/drawing/2014/main" id="{4F773230-A0FC-4296-8393-829AC5B9DCA5}"/>
              </a:ext>
            </a:extLst>
          </p:cNvPr>
          <p:cNvSpPr>
            <a:spLocks noGrp="1"/>
          </p:cNvSpPr>
          <p:nvPr>
            <p:ph type="body" sz="quarter" idx="82" hasCustomPrompt="1"/>
          </p:nvPr>
        </p:nvSpPr>
        <p:spPr>
          <a:xfrm>
            <a:off x="584975" y="5130659"/>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86" name="Текст 14">
            <a:extLst>
              <a:ext uri="{FF2B5EF4-FFF2-40B4-BE49-F238E27FC236}">
                <a16:creationId xmlns:a16="http://schemas.microsoft.com/office/drawing/2014/main" id="{4E08D0F8-446B-47BD-9888-5028761C7E08}"/>
              </a:ext>
            </a:extLst>
          </p:cNvPr>
          <p:cNvSpPr>
            <a:spLocks noGrp="1"/>
          </p:cNvSpPr>
          <p:nvPr>
            <p:ph type="body" sz="quarter" idx="83" hasCustomPrompt="1"/>
          </p:nvPr>
        </p:nvSpPr>
        <p:spPr>
          <a:xfrm>
            <a:off x="586827" y="5432044"/>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87" name="Текст 14">
            <a:extLst>
              <a:ext uri="{FF2B5EF4-FFF2-40B4-BE49-F238E27FC236}">
                <a16:creationId xmlns:a16="http://schemas.microsoft.com/office/drawing/2014/main" id="{9C2E0BA2-3BC4-4499-A68D-9A36B965E899}"/>
              </a:ext>
            </a:extLst>
          </p:cNvPr>
          <p:cNvSpPr>
            <a:spLocks noGrp="1"/>
          </p:cNvSpPr>
          <p:nvPr>
            <p:ph type="body" sz="quarter" idx="84" hasCustomPrompt="1"/>
          </p:nvPr>
        </p:nvSpPr>
        <p:spPr>
          <a:xfrm>
            <a:off x="584973" y="3868603"/>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88" name="Текст 14">
            <a:extLst>
              <a:ext uri="{FF2B5EF4-FFF2-40B4-BE49-F238E27FC236}">
                <a16:creationId xmlns:a16="http://schemas.microsoft.com/office/drawing/2014/main" id="{D23016FE-36E7-4DD3-9FCE-71721DE21337}"/>
              </a:ext>
            </a:extLst>
          </p:cNvPr>
          <p:cNvSpPr>
            <a:spLocks noGrp="1"/>
          </p:cNvSpPr>
          <p:nvPr>
            <p:ph type="body" sz="quarter" idx="85" hasCustomPrompt="1"/>
          </p:nvPr>
        </p:nvSpPr>
        <p:spPr>
          <a:xfrm>
            <a:off x="584969" y="4653150"/>
            <a:ext cx="2400603"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2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
        <p:nvSpPr>
          <p:cNvPr id="89" name="Текст 14">
            <a:extLst>
              <a:ext uri="{FF2B5EF4-FFF2-40B4-BE49-F238E27FC236}">
                <a16:creationId xmlns:a16="http://schemas.microsoft.com/office/drawing/2014/main" id="{F839F86B-3D7A-4D10-84F4-D18839F14EF0}"/>
              </a:ext>
            </a:extLst>
          </p:cNvPr>
          <p:cNvSpPr>
            <a:spLocks noGrp="1"/>
          </p:cNvSpPr>
          <p:nvPr>
            <p:ph type="body" sz="quarter" idx="38" hasCustomPrompt="1"/>
          </p:nvPr>
        </p:nvSpPr>
        <p:spPr>
          <a:xfrm>
            <a:off x="7179718" y="1452013"/>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0" name="Текст 14">
            <a:extLst>
              <a:ext uri="{FF2B5EF4-FFF2-40B4-BE49-F238E27FC236}">
                <a16:creationId xmlns:a16="http://schemas.microsoft.com/office/drawing/2014/main" id="{453E73E4-4E8D-4B62-B7AC-B57A0F50B441}"/>
              </a:ext>
            </a:extLst>
          </p:cNvPr>
          <p:cNvSpPr>
            <a:spLocks noGrp="1"/>
          </p:cNvSpPr>
          <p:nvPr>
            <p:ph type="body" sz="quarter" idx="39" hasCustomPrompt="1"/>
          </p:nvPr>
        </p:nvSpPr>
        <p:spPr>
          <a:xfrm>
            <a:off x="7179718" y="1698117"/>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1" name="Текст 14">
            <a:extLst>
              <a:ext uri="{FF2B5EF4-FFF2-40B4-BE49-F238E27FC236}">
                <a16:creationId xmlns:a16="http://schemas.microsoft.com/office/drawing/2014/main" id="{D4C09F0D-111B-45ED-BE7B-B648326EAB77}"/>
              </a:ext>
            </a:extLst>
          </p:cNvPr>
          <p:cNvSpPr>
            <a:spLocks noGrp="1"/>
          </p:cNvSpPr>
          <p:nvPr>
            <p:ph type="body" sz="quarter" idx="40" hasCustomPrompt="1"/>
          </p:nvPr>
        </p:nvSpPr>
        <p:spPr>
          <a:xfrm>
            <a:off x="7179718" y="2021637"/>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2" name="Текст 14">
            <a:extLst>
              <a:ext uri="{FF2B5EF4-FFF2-40B4-BE49-F238E27FC236}">
                <a16:creationId xmlns:a16="http://schemas.microsoft.com/office/drawing/2014/main" id="{9E9D9ED0-B701-4429-A9AC-D3A8921F3662}"/>
              </a:ext>
            </a:extLst>
          </p:cNvPr>
          <p:cNvSpPr>
            <a:spLocks noGrp="1"/>
          </p:cNvSpPr>
          <p:nvPr>
            <p:ph type="body" sz="quarter" idx="41" hasCustomPrompt="1"/>
          </p:nvPr>
        </p:nvSpPr>
        <p:spPr>
          <a:xfrm>
            <a:off x="7181186" y="2230049"/>
            <a:ext cx="695751" cy="204856"/>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93" name="Текст 14">
            <a:extLst>
              <a:ext uri="{FF2B5EF4-FFF2-40B4-BE49-F238E27FC236}">
                <a16:creationId xmlns:a16="http://schemas.microsoft.com/office/drawing/2014/main" id="{D680EB5B-A545-4B0C-AD5D-A7A2794DA661}"/>
              </a:ext>
            </a:extLst>
          </p:cNvPr>
          <p:cNvSpPr>
            <a:spLocks noGrp="1"/>
          </p:cNvSpPr>
          <p:nvPr>
            <p:ph type="body" sz="quarter" idx="42" hasCustomPrompt="1"/>
          </p:nvPr>
        </p:nvSpPr>
        <p:spPr>
          <a:xfrm>
            <a:off x="7179718" y="2725540"/>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4" name="Текст 14">
            <a:extLst>
              <a:ext uri="{FF2B5EF4-FFF2-40B4-BE49-F238E27FC236}">
                <a16:creationId xmlns:a16="http://schemas.microsoft.com/office/drawing/2014/main" id="{15F6F231-28B1-40AE-937C-954320AB1B50}"/>
              </a:ext>
            </a:extLst>
          </p:cNvPr>
          <p:cNvSpPr>
            <a:spLocks noGrp="1"/>
          </p:cNvSpPr>
          <p:nvPr>
            <p:ph type="body" sz="quarter" idx="43" hasCustomPrompt="1"/>
          </p:nvPr>
        </p:nvSpPr>
        <p:spPr>
          <a:xfrm>
            <a:off x="7179718" y="2971647"/>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5" name="Текст 14">
            <a:extLst>
              <a:ext uri="{FF2B5EF4-FFF2-40B4-BE49-F238E27FC236}">
                <a16:creationId xmlns:a16="http://schemas.microsoft.com/office/drawing/2014/main" id="{4D938B46-1CB5-472A-B301-0AFD353DA0E5}"/>
              </a:ext>
            </a:extLst>
          </p:cNvPr>
          <p:cNvSpPr>
            <a:spLocks noGrp="1"/>
          </p:cNvSpPr>
          <p:nvPr>
            <p:ph type="body" sz="quarter" idx="44" hasCustomPrompt="1"/>
          </p:nvPr>
        </p:nvSpPr>
        <p:spPr>
          <a:xfrm>
            <a:off x="7179718" y="3295161"/>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96" name="Текст 14">
            <a:extLst>
              <a:ext uri="{FF2B5EF4-FFF2-40B4-BE49-F238E27FC236}">
                <a16:creationId xmlns:a16="http://schemas.microsoft.com/office/drawing/2014/main" id="{2579DC58-0484-4857-9FDB-0B96B7CAE685}"/>
              </a:ext>
            </a:extLst>
          </p:cNvPr>
          <p:cNvSpPr>
            <a:spLocks noGrp="1"/>
          </p:cNvSpPr>
          <p:nvPr>
            <p:ph type="body" sz="quarter" idx="45" hasCustomPrompt="1"/>
          </p:nvPr>
        </p:nvSpPr>
        <p:spPr>
          <a:xfrm>
            <a:off x="7181186" y="3543920"/>
            <a:ext cx="695751"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97" name="Текст 14">
            <a:extLst>
              <a:ext uri="{FF2B5EF4-FFF2-40B4-BE49-F238E27FC236}">
                <a16:creationId xmlns:a16="http://schemas.microsoft.com/office/drawing/2014/main" id="{DB3031E3-2913-4698-A471-2FD00C197336}"/>
              </a:ext>
            </a:extLst>
          </p:cNvPr>
          <p:cNvSpPr>
            <a:spLocks noGrp="1"/>
          </p:cNvSpPr>
          <p:nvPr>
            <p:ph type="body" sz="quarter" idx="46" hasCustomPrompt="1"/>
          </p:nvPr>
        </p:nvSpPr>
        <p:spPr>
          <a:xfrm>
            <a:off x="7179718" y="4063270"/>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p:txBody>
      </p:sp>
      <p:sp>
        <p:nvSpPr>
          <p:cNvPr id="98" name="Текст 14">
            <a:extLst>
              <a:ext uri="{FF2B5EF4-FFF2-40B4-BE49-F238E27FC236}">
                <a16:creationId xmlns:a16="http://schemas.microsoft.com/office/drawing/2014/main" id="{CA88799B-BE83-4E82-9709-4D91B8C110F8}"/>
              </a:ext>
            </a:extLst>
          </p:cNvPr>
          <p:cNvSpPr>
            <a:spLocks noGrp="1"/>
          </p:cNvSpPr>
          <p:nvPr>
            <p:ph type="body" sz="quarter" idx="47" hasCustomPrompt="1"/>
          </p:nvPr>
        </p:nvSpPr>
        <p:spPr>
          <a:xfrm>
            <a:off x="7179718" y="4309380"/>
            <a:ext cx="16835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99" name="Текст 14">
            <a:extLst>
              <a:ext uri="{FF2B5EF4-FFF2-40B4-BE49-F238E27FC236}">
                <a16:creationId xmlns:a16="http://schemas.microsoft.com/office/drawing/2014/main" id="{57F7F427-AECF-4255-82B5-7886841C4213}"/>
              </a:ext>
            </a:extLst>
          </p:cNvPr>
          <p:cNvSpPr>
            <a:spLocks noGrp="1"/>
          </p:cNvSpPr>
          <p:nvPr>
            <p:ph type="body" sz="quarter" idx="48" hasCustomPrompt="1"/>
          </p:nvPr>
        </p:nvSpPr>
        <p:spPr>
          <a:xfrm>
            <a:off x="7179718" y="4632896"/>
            <a:ext cx="966537"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00" name="Текст 14">
            <a:extLst>
              <a:ext uri="{FF2B5EF4-FFF2-40B4-BE49-F238E27FC236}">
                <a16:creationId xmlns:a16="http://schemas.microsoft.com/office/drawing/2014/main" id="{E4450BB2-5266-45B0-A053-DADC0770C5E4}"/>
              </a:ext>
            </a:extLst>
          </p:cNvPr>
          <p:cNvSpPr>
            <a:spLocks noGrp="1"/>
          </p:cNvSpPr>
          <p:nvPr>
            <p:ph type="body" sz="quarter" idx="49" hasCustomPrompt="1"/>
          </p:nvPr>
        </p:nvSpPr>
        <p:spPr>
          <a:xfrm>
            <a:off x="7181186" y="4841313"/>
            <a:ext cx="695751"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102" name="Текст 14">
            <a:extLst>
              <a:ext uri="{FF2B5EF4-FFF2-40B4-BE49-F238E27FC236}">
                <a16:creationId xmlns:a16="http://schemas.microsoft.com/office/drawing/2014/main" id="{322A59CF-3137-4C96-9F13-5DCBF6729F5C}"/>
              </a:ext>
            </a:extLst>
          </p:cNvPr>
          <p:cNvSpPr>
            <a:spLocks noGrp="1"/>
          </p:cNvSpPr>
          <p:nvPr>
            <p:ph type="body" sz="quarter" idx="50" hasCustomPrompt="1"/>
          </p:nvPr>
        </p:nvSpPr>
        <p:spPr>
          <a:xfrm>
            <a:off x="10068180" y="1454808"/>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03" name="Текст 14">
            <a:extLst>
              <a:ext uri="{FF2B5EF4-FFF2-40B4-BE49-F238E27FC236}">
                <a16:creationId xmlns:a16="http://schemas.microsoft.com/office/drawing/2014/main" id="{D7FE8A0B-7FC2-4965-AB3A-20C34A744F98}"/>
              </a:ext>
            </a:extLst>
          </p:cNvPr>
          <p:cNvSpPr>
            <a:spLocks noGrp="1"/>
          </p:cNvSpPr>
          <p:nvPr>
            <p:ph type="body" sz="quarter" idx="51" hasCustomPrompt="1"/>
          </p:nvPr>
        </p:nvSpPr>
        <p:spPr>
          <a:xfrm>
            <a:off x="10068180" y="1700912"/>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04" name="Текст 14">
            <a:extLst>
              <a:ext uri="{FF2B5EF4-FFF2-40B4-BE49-F238E27FC236}">
                <a16:creationId xmlns:a16="http://schemas.microsoft.com/office/drawing/2014/main" id="{06C7594E-8276-4033-8F5E-AE8E32B3F077}"/>
              </a:ext>
            </a:extLst>
          </p:cNvPr>
          <p:cNvSpPr>
            <a:spLocks noGrp="1"/>
          </p:cNvSpPr>
          <p:nvPr>
            <p:ph type="body" sz="quarter" idx="52" hasCustomPrompt="1"/>
          </p:nvPr>
        </p:nvSpPr>
        <p:spPr>
          <a:xfrm>
            <a:off x="10068181" y="2024429"/>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rgbClr val="313A49"/>
                </a:solidFill>
                <a:latin typeface="+mj-lt"/>
                <a:ea typeface="Rostelecom Basis" panose="020B0503040504020204" pitchFamily="34" charset="-52"/>
              </a:defRPr>
            </a:lvl1pPr>
          </a:lstStyle>
          <a:p>
            <a:pPr lvl="0"/>
            <a:r>
              <a:rPr lang="ru-RU" dirty="0"/>
              <a:t>000 ₽</a:t>
            </a:r>
          </a:p>
        </p:txBody>
      </p:sp>
      <p:sp>
        <p:nvSpPr>
          <p:cNvPr id="109" name="Текст 14">
            <a:extLst>
              <a:ext uri="{FF2B5EF4-FFF2-40B4-BE49-F238E27FC236}">
                <a16:creationId xmlns:a16="http://schemas.microsoft.com/office/drawing/2014/main" id="{5B460EB9-E708-4D8B-8F79-8B6C217BFC9F}"/>
              </a:ext>
            </a:extLst>
          </p:cNvPr>
          <p:cNvSpPr>
            <a:spLocks noGrp="1"/>
          </p:cNvSpPr>
          <p:nvPr>
            <p:ph type="body" sz="quarter" idx="53" hasCustomPrompt="1"/>
          </p:nvPr>
        </p:nvSpPr>
        <p:spPr>
          <a:xfrm>
            <a:off x="10069649" y="2232848"/>
            <a:ext cx="692457"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110" name="Текст 14">
            <a:extLst>
              <a:ext uri="{FF2B5EF4-FFF2-40B4-BE49-F238E27FC236}">
                <a16:creationId xmlns:a16="http://schemas.microsoft.com/office/drawing/2014/main" id="{6D53721E-EF7E-4CE8-AD31-D0AC8356F47E}"/>
              </a:ext>
            </a:extLst>
          </p:cNvPr>
          <p:cNvSpPr>
            <a:spLocks noGrp="1"/>
          </p:cNvSpPr>
          <p:nvPr>
            <p:ph type="body" sz="quarter" idx="54" hasCustomPrompt="1"/>
          </p:nvPr>
        </p:nvSpPr>
        <p:spPr>
          <a:xfrm>
            <a:off x="10068180" y="2728333"/>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587" b="0">
                <a:solidFill>
                  <a:schemeClr val="tx1"/>
                </a:solidFill>
                <a:latin typeface="+mj-lt"/>
                <a:ea typeface="Rostelecom Basis" panose="020B0503040504020204" pitchFamily="34" charset="-52"/>
              </a:defRPr>
            </a:lvl1pPr>
          </a:lstStyle>
          <a:p>
            <a:pPr marL="0" marR="0" lvl="0" indent="0" algn="l" defTabSz="806024" rtl="0" eaLnBrk="1" fontAlgn="auto" latinLnBrk="0" hangingPunct="1">
              <a:lnSpc>
                <a:spcPts val="193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endParaRPr lang="ru-RU" dirty="0"/>
          </a:p>
          <a:p>
            <a:pPr lvl="0"/>
            <a:endParaRPr lang="ru-RU" dirty="0"/>
          </a:p>
        </p:txBody>
      </p:sp>
      <p:sp>
        <p:nvSpPr>
          <p:cNvPr id="111" name="Текст 14">
            <a:extLst>
              <a:ext uri="{FF2B5EF4-FFF2-40B4-BE49-F238E27FC236}">
                <a16:creationId xmlns:a16="http://schemas.microsoft.com/office/drawing/2014/main" id="{51E0E3FB-24BD-448D-A6CF-3B81A33FB1E5}"/>
              </a:ext>
            </a:extLst>
          </p:cNvPr>
          <p:cNvSpPr>
            <a:spLocks noGrp="1"/>
          </p:cNvSpPr>
          <p:nvPr>
            <p:ph type="body" sz="quarter" idx="55" hasCustomPrompt="1"/>
          </p:nvPr>
        </p:nvSpPr>
        <p:spPr>
          <a:xfrm>
            <a:off x="10068180" y="2974440"/>
            <a:ext cx="1675589"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lvl="0"/>
            <a:r>
              <a:rPr lang="ru-RU" dirty="0"/>
              <a:t>Текст </a:t>
            </a:r>
            <a:r>
              <a:rPr lang="ru-RU" dirty="0" err="1"/>
              <a:t>текст</a:t>
            </a:r>
            <a:r>
              <a:rPr lang="ru-RU" dirty="0"/>
              <a:t> </a:t>
            </a:r>
            <a:r>
              <a:rPr lang="ru-RU" dirty="0" err="1"/>
              <a:t>текст</a:t>
            </a:r>
            <a:endParaRPr lang="ru-RU" dirty="0"/>
          </a:p>
        </p:txBody>
      </p:sp>
      <p:sp>
        <p:nvSpPr>
          <p:cNvPr id="112" name="Текст 14">
            <a:extLst>
              <a:ext uri="{FF2B5EF4-FFF2-40B4-BE49-F238E27FC236}">
                <a16:creationId xmlns:a16="http://schemas.microsoft.com/office/drawing/2014/main" id="{6E9E7C67-8EB5-4CF2-9A04-B0C34E192049}"/>
              </a:ext>
            </a:extLst>
          </p:cNvPr>
          <p:cNvSpPr>
            <a:spLocks noGrp="1"/>
          </p:cNvSpPr>
          <p:nvPr>
            <p:ph type="body" sz="quarter" idx="56" hasCustomPrompt="1"/>
          </p:nvPr>
        </p:nvSpPr>
        <p:spPr>
          <a:xfrm>
            <a:off x="10068181" y="3297956"/>
            <a:ext cx="961961" cy="246107"/>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851" b="0">
                <a:solidFill>
                  <a:schemeClr val="tx1"/>
                </a:solidFill>
                <a:latin typeface="+mj-lt"/>
                <a:ea typeface="Rostelecom Basis" panose="020B0503040504020204" pitchFamily="34" charset="-52"/>
              </a:defRPr>
            </a:lvl1pPr>
          </a:lstStyle>
          <a:p>
            <a:pPr lvl="0"/>
            <a:r>
              <a:rPr lang="ru-RU" dirty="0"/>
              <a:t>000 ₽</a:t>
            </a:r>
          </a:p>
        </p:txBody>
      </p:sp>
      <p:sp>
        <p:nvSpPr>
          <p:cNvPr id="113" name="Текст 14">
            <a:extLst>
              <a:ext uri="{FF2B5EF4-FFF2-40B4-BE49-F238E27FC236}">
                <a16:creationId xmlns:a16="http://schemas.microsoft.com/office/drawing/2014/main" id="{3E343CB1-8CAB-40AB-AA21-48D6083086ED}"/>
              </a:ext>
            </a:extLst>
          </p:cNvPr>
          <p:cNvSpPr>
            <a:spLocks noGrp="1"/>
          </p:cNvSpPr>
          <p:nvPr>
            <p:ph type="body" sz="quarter" idx="57" hasCustomPrompt="1"/>
          </p:nvPr>
        </p:nvSpPr>
        <p:spPr>
          <a:xfrm>
            <a:off x="10069649" y="3506371"/>
            <a:ext cx="692457" cy="204857"/>
          </a:xfrm>
          <a:prstGeom prst="rect">
            <a:avLst/>
          </a:prstGeom>
        </p:spPr>
        <p:txBody>
          <a:bodyPr lIns="0" tIns="0" rIns="0" bIns="0"/>
          <a:lstStyle>
            <a:lvl1pPr>
              <a:lnSpc>
                <a:spcPct val="100000"/>
              </a:lnSpc>
              <a:spcBef>
                <a:spcPts val="0"/>
              </a:spcBef>
              <a:defRPr sz="1235" b="0">
                <a:solidFill>
                  <a:srgbClr val="979799"/>
                </a:solidFill>
                <a:latin typeface="+mn-lt"/>
                <a:ea typeface="Rostelecom Basis" panose="020B0503040504020204" pitchFamily="34" charset="-52"/>
              </a:defRPr>
            </a:lvl1pPr>
          </a:lstStyle>
          <a:p>
            <a:pPr lvl="0"/>
            <a:r>
              <a:rPr lang="ru-RU" dirty="0"/>
              <a:t>в месяц</a:t>
            </a:r>
          </a:p>
        </p:txBody>
      </p:sp>
      <p:sp>
        <p:nvSpPr>
          <p:cNvPr id="52" name="Прямоугольник: скругленные углы 51">
            <a:extLst>
              <a:ext uri="{FF2B5EF4-FFF2-40B4-BE49-F238E27FC236}">
                <a16:creationId xmlns:a16="http://schemas.microsoft.com/office/drawing/2014/main" id="{C3525499-95E7-4576-903F-B3C8897BAC8C}"/>
              </a:ext>
            </a:extLst>
          </p:cNvPr>
          <p:cNvSpPr/>
          <p:nvPr userDrawn="1"/>
        </p:nvSpPr>
        <p:spPr>
          <a:xfrm>
            <a:off x="3318097" y="3702783"/>
            <a:ext cx="2671551" cy="2148191"/>
          </a:xfrm>
          <a:prstGeom prst="roundRect">
            <a:avLst>
              <a:gd name="adj" fmla="val 5990"/>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3" name="Текст 14">
            <a:extLst>
              <a:ext uri="{FF2B5EF4-FFF2-40B4-BE49-F238E27FC236}">
                <a16:creationId xmlns:a16="http://schemas.microsoft.com/office/drawing/2014/main" id="{F0759445-35AF-4E97-B441-83F45C245873}"/>
              </a:ext>
            </a:extLst>
          </p:cNvPr>
          <p:cNvSpPr>
            <a:spLocks noGrp="1"/>
          </p:cNvSpPr>
          <p:nvPr>
            <p:ph type="body" sz="quarter" idx="91" hasCustomPrompt="1"/>
          </p:nvPr>
        </p:nvSpPr>
        <p:spPr>
          <a:xfrm>
            <a:off x="3486029" y="4384057"/>
            <a:ext cx="2400603" cy="177353"/>
          </a:xfrm>
          <a:prstGeom prst="rect">
            <a:avLst/>
          </a:prstGeom>
        </p:spPr>
        <p:txBody>
          <a:bodyPr lIns="0" tIns="0" rIns="0" bIns="0"/>
          <a:lstStyle>
            <a:lvl1pPr marL="0" indent="0">
              <a:lnSpc>
                <a:spcPts val="1939"/>
              </a:lnSpc>
              <a:spcBef>
                <a:spcPts val="0"/>
              </a:spcBef>
              <a:buFont typeface="Rostelecom Basis" panose="020B0604020202020204" pitchFamily="34" charset="0"/>
              <a:buNone/>
              <a:defRPr sz="1411" b="0">
                <a:solidFill>
                  <a:schemeClr val="tx1"/>
                </a:solidFill>
                <a:latin typeface="+mj-lt"/>
                <a:ea typeface="Rostelecom Basis" panose="020B0503040504020204" pitchFamily="34" charset="-52"/>
              </a:defRPr>
            </a:lvl1pPr>
          </a:lstStyle>
          <a:p>
            <a:pPr lvl="0"/>
            <a:r>
              <a:rPr lang="ru-RU" dirty="0"/>
              <a:t>Текст </a:t>
            </a:r>
            <a:r>
              <a:rPr lang="ru-RU" dirty="0" err="1"/>
              <a:t>текст</a:t>
            </a:r>
            <a:endParaRPr lang="ru-RU" dirty="0"/>
          </a:p>
        </p:txBody>
      </p:sp>
      <p:sp>
        <p:nvSpPr>
          <p:cNvPr id="54" name="Полилиния: фигура 53">
            <a:extLst>
              <a:ext uri="{FF2B5EF4-FFF2-40B4-BE49-F238E27FC236}">
                <a16:creationId xmlns:a16="http://schemas.microsoft.com/office/drawing/2014/main" id="{E0BC4EB7-1C64-4805-9F78-AECEA11A7F09}"/>
              </a:ext>
            </a:extLst>
          </p:cNvPr>
          <p:cNvSpPr/>
          <p:nvPr userDrawn="1"/>
        </p:nvSpPr>
        <p:spPr>
          <a:xfrm>
            <a:off x="3318097" y="3702783"/>
            <a:ext cx="2671551" cy="593583"/>
          </a:xfrm>
          <a:custGeom>
            <a:avLst/>
            <a:gdLst>
              <a:gd name="connsiteX0" fmla="*/ 145833 w 3030538"/>
              <a:gd name="connsiteY0" fmla="*/ 0 h 672726"/>
              <a:gd name="connsiteX1" fmla="*/ 2884705 w 3030538"/>
              <a:gd name="connsiteY1" fmla="*/ 0 h 672726"/>
              <a:gd name="connsiteX2" fmla="*/ 3030538 w 3030538"/>
              <a:gd name="connsiteY2" fmla="*/ 145833 h 672726"/>
              <a:gd name="connsiteX3" fmla="*/ 3030538 w 3030538"/>
              <a:gd name="connsiteY3" fmla="*/ 672726 h 672726"/>
              <a:gd name="connsiteX4" fmla="*/ 0 w 3030538"/>
              <a:gd name="connsiteY4" fmla="*/ 672726 h 672726"/>
              <a:gd name="connsiteX5" fmla="*/ 0 w 3030538"/>
              <a:gd name="connsiteY5" fmla="*/ 145833 h 672726"/>
              <a:gd name="connsiteX6" fmla="*/ 145833 w 3030538"/>
              <a:gd name="connsiteY6" fmla="*/ 0 h 67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0538" h="672726">
                <a:moveTo>
                  <a:pt x="145833" y="0"/>
                </a:moveTo>
                <a:lnTo>
                  <a:pt x="2884705" y="0"/>
                </a:lnTo>
                <a:cubicBezTo>
                  <a:pt x="2965246" y="0"/>
                  <a:pt x="3030538" y="65292"/>
                  <a:pt x="3030538" y="145833"/>
                </a:cubicBezTo>
                <a:lnTo>
                  <a:pt x="3030538" y="672726"/>
                </a:lnTo>
                <a:lnTo>
                  <a:pt x="0" y="672726"/>
                </a:lnTo>
                <a:lnTo>
                  <a:pt x="0" y="145833"/>
                </a:lnTo>
                <a:cubicBezTo>
                  <a:pt x="0" y="65292"/>
                  <a:pt x="65292" y="0"/>
                  <a:pt x="145833" y="0"/>
                </a:cubicBez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ru-RU" sz="1587" dirty="0">
              <a:solidFill>
                <a:schemeClr val="accent2"/>
              </a:solidFill>
            </a:endParaRPr>
          </a:p>
        </p:txBody>
      </p:sp>
      <p:sp>
        <p:nvSpPr>
          <p:cNvPr id="55" name="Текст 14">
            <a:extLst>
              <a:ext uri="{FF2B5EF4-FFF2-40B4-BE49-F238E27FC236}">
                <a16:creationId xmlns:a16="http://schemas.microsoft.com/office/drawing/2014/main" id="{EBBA21F0-581A-4594-B64C-1C39939231B6}"/>
              </a:ext>
            </a:extLst>
          </p:cNvPr>
          <p:cNvSpPr>
            <a:spLocks noGrp="1"/>
          </p:cNvSpPr>
          <p:nvPr>
            <p:ph type="body" sz="quarter" idx="92" hasCustomPrompt="1"/>
          </p:nvPr>
        </p:nvSpPr>
        <p:spPr>
          <a:xfrm>
            <a:off x="3486031" y="5160606"/>
            <a:ext cx="940607"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000 ₽</a:t>
            </a:r>
          </a:p>
        </p:txBody>
      </p:sp>
      <p:sp>
        <p:nvSpPr>
          <p:cNvPr id="60" name="Текст 14">
            <a:extLst>
              <a:ext uri="{FF2B5EF4-FFF2-40B4-BE49-F238E27FC236}">
                <a16:creationId xmlns:a16="http://schemas.microsoft.com/office/drawing/2014/main" id="{295F16C7-DE62-4BE2-8A53-6A3E1B2662CF}"/>
              </a:ext>
            </a:extLst>
          </p:cNvPr>
          <p:cNvSpPr>
            <a:spLocks noGrp="1"/>
          </p:cNvSpPr>
          <p:nvPr>
            <p:ph type="body" sz="quarter" idx="93" hasCustomPrompt="1"/>
          </p:nvPr>
        </p:nvSpPr>
        <p:spPr>
          <a:xfrm>
            <a:off x="3487887" y="5461991"/>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61" name="Текст 14">
            <a:extLst>
              <a:ext uri="{FF2B5EF4-FFF2-40B4-BE49-F238E27FC236}">
                <a16:creationId xmlns:a16="http://schemas.microsoft.com/office/drawing/2014/main" id="{BB792D77-CA37-4857-88A5-079D0306A3BA}"/>
              </a:ext>
            </a:extLst>
          </p:cNvPr>
          <p:cNvSpPr>
            <a:spLocks noGrp="1"/>
          </p:cNvSpPr>
          <p:nvPr>
            <p:ph type="body" sz="quarter" idx="94" hasCustomPrompt="1"/>
          </p:nvPr>
        </p:nvSpPr>
        <p:spPr>
          <a:xfrm>
            <a:off x="3486029" y="3898545"/>
            <a:ext cx="2400603" cy="248219"/>
          </a:xfrm>
          <a:prstGeom prst="rect">
            <a:avLst/>
          </a:prstGeom>
        </p:spPr>
        <p:txBody>
          <a:bodyPr lIns="0" tIns="0" rIns="0" bIns="0"/>
          <a:lstStyle>
            <a:lvl1pPr>
              <a:lnSpc>
                <a:spcPct val="100000"/>
              </a:lnSpc>
              <a:spcBef>
                <a:spcPts val="0"/>
              </a:spcBef>
              <a:defRPr lang="ru-RU" sz="1763" b="0" kern="1200" dirty="0">
                <a:solidFill>
                  <a:schemeClr val="tx1"/>
                </a:solidFill>
                <a:latin typeface="Rostelecom Basis Medium" panose="020B0603030604040103" pitchFamily="34" charset="0"/>
                <a:ea typeface="Rostelecom Basis" panose="020B0503040504020204" pitchFamily="34" charset="-52"/>
                <a:cs typeface="+mn-cs"/>
              </a:defRPr>
            </a:lvl1pPr>
          </a:lstStyle>
          <a:p>
            <a:pPr lvl="0"/>
            <a:r>
              <a:rPr lang="ru-RU" dirty="0"/>
              <a:t>Заголовок</a:t>
            </a:r>
          </a:p>
        </p:txBody>
      </p:sp>
      <p:sp>
        <p:nvSpPr>
          <p:cNvPr id="62" name="Текст 14">
            <a:extLst>
              <a:ext uri="{FF2B5EF4-FFF2-40B4-BE49-F238E27FC236}">
                <a16:creationId xmlns:a16="http://schemas.microsoft.com/office/drawing/2014/main" id="{76A059CA-EE36-4EA1-97FF-6F3ADAB51AC5}"/>
              </a:ext>
            </a:extLst>
          </p:cNvPr>
          <p:cNvSpPr>
            <a:spLocks noGrp="1"/>
          </p:cNvSpPr>
          <p:nvPr>
            <p:ph type="body" sz="quarter" idx="95" hasCustomPrompt="1"/>
          </p:nvPr>
        </p:nvSpPr>
        <p:spPr>
          <a:xfrm>
            <a:off x="3486029" y="4683096"/>
            <a:ext cx="2400603" cy="349925"/>
          </a:xfrm>
          <a:prstGeom prst="rect">
            <a:avLst/>
          </a:prstGeom>
        </p:spPr>
        <p:txBody>
          <a:bodyPr lIns="0" tIns="0" rIns="0" bIns="0"/>
          <a:lstStyle>
            <a:lvl1pPr marL="0" indent="0">
              <a:lnSpc>
                <a:spcPts val="1481"/>
              </a:lnSpc>
              <a:spcBef>
                <a:spcPts val="0"/>
              </a:spcBef>
              <a:buFont typeface="Rostelecom Basis" panose="020B0604020202020204" pitchFamily="34" charset="0"/>
              <a:buNone/>
              <a:defRPr sz="1235" b="0">
                <a:solidFill>
                  <a:srgbClr val="979799"/>
                </a:solidFill>
                <a:latin typeface="Rostelecom Basis" panose="020B0503030604040103" pitchFamily="34" charset="0"/>
                <a:ea typeface="Rostelecom Basis" panose="020B0503040504020204" pitchFamily="34" charset="-52"/>
              </a:defRPr>
            </a:lvl1pPr>
          </a:lstStyle>
          <a:p>
            <a:pPr marL="0" marR="0" lvl="0" indent="0" algn="l" defTabSz="806024" rtl="0" eaLnBrk="1" fontAlgn="auto" latinLnBrk="0" hangingPunct="1">
              <a:lnSpc>
                <a:spcPts val="1499"/>
              </a:lnSpc>
              <a:spcBef>
                <a:spcPts val="0"/>
              </a:spcBef>
              <a:spcAft>
                <a:spcPts val="0"/>
              </a:spcAft>
              <a:buClrTx/>
              <a:buSzTx/>
              <a:buFont typeface="Rostelecom Basis" panose="020B0604020202020204" pitchFamily="34" charset="0"/>
              <a:buNone/>
              <a:tabLst/>
              <a:defRPr/>
            </a:pPr>
            <a:r>
              <a:rPr lang="ru-RU" dirty="0"/>
              <a:t>Текст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r>
              <a:rPr lang="ru-RU" dirty="0"/>
              <a:t> </a:t>
            </a:r>
            <a:r>
              <a:rPr lang="ru-RU" dirty="0" err="1"/>
              <a:t>текст</a:t>
            </a:r>
            <a:endParaRPr lang="ru-RU" dirty="0"/>
          </a:p>
        </p:txBody>
      </p:sp>
    </p:spTree>
    <p:extLst>
      <p:ext uri="{BB962C8B-B14F-4D97-AF65-F5344CB8AC3E}">
        <p14:creationId xmlns:p14="http://schemas.microsoft.com/office/powerpoint/2010/main" val="974344801"/>
      </p:ext>
    </p:extLst>
  </p:cSld>
  <p:clrMapOvr>
    <a:masterClrMapping/>
  </p:clrMapOvr>
  <p:extLst mod="1">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5_Заголовок + 2 блока_2">
    <p:spTree>
      <p:nvGrpSpPr>
        <p:cNvPr id="1" name=""/>
        <p:cNvGrpSpPr/>
        <p:nvPr/>
      </p:nvGrpSpPr>
      <p:grpSpPr>
        <a:xfrm>
          <a:off x="0" y="0"/>
          <a:ext cx="0" cy="0"/>
          <a:chOff x="0" y="0"/>
          <a:chExt cx="0" cy="0"/>
        </a:xfrm>
      </p:grpSpPr>
      <p:sp>
        <p:nvSpPr>
          <p:cNvPr id="8" name="Прямоугольник: скругленные углы 7">
            <a:extLst>
              <a:ext uri="{FF2B5EF4-FFF2-40B4-BE49-F238E27FC236}">
                <a16:creationId xmlns:a16="http://schemas.microsoft.com/office/drawing/2014/main" id="{18DCF793-35F6-429E-B196-B97A214656FF}"/>
              </a:ext>
            </a:extLst>
          </p:cNvPr>
          <p:cNvSpPr/>
          <p:nvPr userDrawn="1"/>
        </p:nvSpPr>
        <p:spPr>
          <a:xfrm>
            <a:off x="417516" y="1166817"/>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dirty="0">
              <a:solidFill>
                <a:schemeClr val="tx1"/>
              </a:solidFill>
              <a:latin typeface="+mn-lt"/>
            </a:endParaRPr>
          </a:p>
        </p:txBody>
      </p:sp>
      <p:sp>
        <p:nvSpPr>
          <p:cNvPr id="50" name="Рисунок 49">
            <a:extLst>
              <a:ext uri="{FF2B5EF4-FFF2-40B4-BE49-F238E27FC236}">
                <a16:creationId xmlns:a16="http://schemas.microsoft.com/office/drawing/2014/main" id="{F992AC5F-B207-4B2F-93C7-D7B33B8BD619}"/>
              </a:ext>
            </a:extLst>
          </p:cNvPr>
          <p:cNvSpPr>
            <a:spLocks noGrp="1"/>
          </p:cNvSpPr>
          <p:nvPr>
            <p:ph type="pic" sz="quarter" idx="19"/>
          </p:nvPr>
        </p:nvSpPr>
        <p:spPr>
          <a:xfrm>
            <a:off x="417516"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43" name="Текст 4">
            <a:extLst>
              <a:ext uri="{FF2B5EF4-FFF2-40B4-BE49-F238E27FC236}">
                <a16:creationId xmlns:a16="http://schemas.microsoft.com/office/drawing/2014/main" id="{5CAF23B2-3F2C-4472-A99D-91253907FF0E}"/>
              </a:ext>
            </a:extLst>
          </p:cNvPr>
          <p:cNvSpPr>
            <a:spLocks noGrp="1"/>
          </p:cNvSpPr>
          <p:nvPr>
            <p:ph type="body" sz="quarter" idx="18" hasCustomPrompt="1"/>
          </p:nvPr>
        </p:nvSpPr>
        <p:spPr>
          <a:xfrm>
            <a:off x="573406" y="2765256"/>
            <a:ext cx="3237385"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53" name="Прямоугольник: скругленные углы 52">
            <a:extLst>
              <a:ext uri="{FF2B5EF4-FFF2-40B4-BE49-F238E27FC236}">
                <a16:creationId xmlns:a16="http://schemas.microsoft.com/office/drawing/2014/main" id="{F4AAF675-6513-4322-BACE-BE6A99FCB20F}"/>
              </a:ext>
            </a:extLst>
          </p:cNvPr>
          <p:cNvSpPr/>
          <p:nvPr userDrawn="1"/>
        </p:nvSpPr>
        <p:spPr>
          <a:xfrm>
            <a:off x="4276719" y="1166817"/>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dirty="0">
              <a:solidFill>
                <a:schemeClr val="tx1"/>
              </a:solidFill>
              <a:latin typeface="+mn-lt"/>
            </a:endParaRPr>
          </a:p>
        </p:txBody>
      </p:sp>
      <p:sp>
        <p:nvSpPr>
          <p:cNvPr id="54" name="Рисунок 53">
            <a:extLst>
              <a:ext uri="{FF2B5EF4-FFF2-40B4-BE49-F238E27FC236}">
                <a16:creationId xmlns:a16="http://schemas.microsoft.com/office/drawing/2014/main" id="{CE84FCD3-220F-4ECF-B9E8-7B7436BD65AD}"/>
              </a:ext>
            </a:extLst>
          </p:cNvPr>
          <p:cNvSpPr>
            <a:spLocks noGrp="1"/>
          </p:cNvSpPr>
          <p:nvPr>
            <p:ph type="pic" sz="quarter" idx="20"/>
          </p:nvPr>
        </p:nvSpPr>
        <p:spPr>
          <a:xfrm>
            <a:off x="4276720"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56" name="Прямоугольник: скругленные углы 55">
            <a:extLst>
              <a:ext uri="{FF2B5EF4-FFF2-40B4-BE49-F238E27FC236}">
                <a16:creationId xmlns:a16="http://schemas.microsoft.com/office/drawing/2014/main" id="{9DD90E3F-1AF1-491B-853F-1CE422ECA067}"/>
              </a:ext>
            </a:extLst>
          </p:cNvPr>
          <p:cNvSpPr/>
          <p:nvPr userDrawn="1"/>
        </p:nvSpPr>
        <p:spPr>
          <a:xfrm>
            <a:off x="8135919" y="1166817"/>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dirty="0">
              <a:solidFill>
                <a:schemeClr val="tx1"/>
              </a:solidFill>
              <a:latin typeface="+mn-lt"/>
            </a:endParaRPr>
          </a:p>
        </p:txBody>
      </p:sp>
      <p:sp>
        <p:nvSpPr>
          <p:cNvPr id="57" name="Рисунок 56">
            <a:extLst>
              <a:ext uri="{FF2B5EF4-FFF2-40B4-BE49-F238E27FC236}">
                <a16:creationId xmlns:a16="http://schemas.microsoft.com/office/drawing/2014/main" id="{CD443D7B-FBCE-419D-882D-D2098FC1043A}"/>
              </a:ext>
            </a:extLst>
          </p:cNvPr>
          <p:cNvSpPr>
            <a:spLocks noGrp="1"/>
          </p:cNvSpPr>
          <p:nvPr>
            <p:ph type="pic" sz="quarter" idx="22"/>
          </p:nvPr>
        </p:nvSpPr>
        <p:spPr>
          <a:xfrm>
            <a:off x="8135920" y="1166812"/>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58" name="Текст 4">
            <a:extLst>
              <a:ext uri="{FF2B5EF4-FFF2-40B4-BE49-F238E27FC236}">
                <a16:creationId xmlns:a16="http://schemas.microsoft.com/office/drawing/2014/main" id="{3CEDB646-A576-46FF-B8A1-8C649909FB4E}"/>
              </a:ext>
            </a:extLst>
          </p:cNvPr>
          <p:cNvSpPr>
            <a:spLocks noGrp="1"/>
          </p:cNvSpPr>
          <p:nvPr>
            <p:ph type="body" sz="quarter" idx="23" hasCustomPrompt="1"/>
          </p:nvPr>
        </p:nvSpPr>
        <p:spPr>
          <a:xfrm>
            <a:off x="8291808" y="2765256"/>
            <a:ext cx="3237385"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59" name="Прямоугольник: скругленные углы 58">
            <a:extLst>
              <a:ext uri="{FF2B5EF4-FFF2-40B4-BE49-F238E27FC236}">
                <a16:creationId xmlns:a16="http://schemas.microsoft.com/office/drawing/2014/main" id="{46A7D747-AF3D-490D-A1B6-66DAE2520696}"/>
              </a:ext>
            </a:extLst>
          </p:cNvPr>
          <p:cNvSpPr/>
          <p:nvPr userDrawn="1"/>
        </p:nvSpPr>
        <p:spPr>
          <a:xfrm>
            <a:off x="423115" y="3668761"/>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dirty="0">
              <a:solidFill>
                <a:schemeClr val="tx1"/>
              </a:solidFill>
              <a:latin typeface="+mn-lt"/>
            </a:endParaRPr>
          </a:p>
        </p:txBody>
      </p:sp>
      <p:sp>
        <p:nvSpPr>
          <p:cNvPr id="62" name="Прямоугольник: скругленные углы 61">
            <a:extLst>
              <a:ext uri="{FF2B5EF4-FFF2-40B4-BE49-F238E27FC236}">
                <a16:creationId xmlns:a16="http://schemas.microsoft.com/office/drawing/2014/main" id="{4B0CE9A6-0CD2-43D2-A2B1-EF3CBB3912B2}"/>
              </a:ext>
            </a:extLst>
          </p:cNvPr>
          <p:cNvSpPr/>
          <p:nvPr userDrawn="1"/>
        </p:nvSpPr>
        <p:spPr>
          <a:xfrm>
            <a:off x="4282316" y="3668761"/>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dirty="0">
              <a:solidFill>
                <a:schemeClr val="tx1"/>
              </a:solidFill>
              <a:latin typeface="+mn-lt"/>
            </a:endParaRPr>
          </a:p>
        </p:txBody>
      </p:sp>
      <p:sp>
        <p:nvSpPr>
          <p:cNvPr id="63" name="Рисунок 62">
            <a:extLst>
              <a:ext uri="{FF2B5EF4-FFF2-40B4-BE49-F238E27FC236}">
                <a16:creationId xmlns:a16="http://schemas.microsoft.com/office/drawing/2014/main" id="{5FB7C564-B269-4A03-89EE-D093EB691822}"/>
              </a:ext>
            </a:extLst>
          </p:cNvPr>
          <p:cNvSpPr>
            <a:spLocks noGrp="1"/>
          </p:cNvSpPr>
          <p:nvPr>
            <p:ph type="pic" sz="quarter" idx="26"/>
          </p:nvPr>
        </p:nvSpPr>
        <p:spPr>
          <a:xfrm>
            <a:off x="4282316" y="3668756"/>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64" name="Текст 4">
            <a:extLst>
              <a:ext uri="{FF2B5EF4-FFF2-40B4-BE49-F238E27FC236}">
                <a16:creationId xmlns:a16="http://schemas.microsoft.com/office/drawing/2014/main" id="{3232A48E-34BD-4F65-AD9F-2057E0ABE69D}"/>
              </a:ext>
            </a:extLst>
          </p:cNvPr>
          <p:cNvSpPr>
            <a:spLocks noGrp="1"/>
          </p:cNvSpPr>
          <p:nvPr>
            <p:ph type="body" sz="quarter" idx="27" hasCustomPrompt="1"/>
          </p:nvPr>
        </p:nvSpPr>
        <p:spPr>
          <a:xfrm>
            <a:off x="4438206" y="5267200"/>
            <a:ext cx="3237385"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65" name="Прямоугольник: скругленные углы 64">
            <a:extLst>
              <a:ext uri="{FF2B5EF4-FFF2-40B4-BE49-F238E27FC236}">
                <a16:creationId xmlns:a16="http://schemas.microsoft.com/office/drawing/2014/main" id="{91A31EAB-2247-474C-9D7F-D0C1BEDFBF70}"/>
              </a:ext>
            </a:extLst>
          </p:cNvPr>
          <p:cNvSpPr/>
          <p:nvPr userDrawn="1"/>
        </p:nvSpPr>
        <p:spPr>
          <a:xfrm>
            <a:off x="8141516" y="3668761"/>
            <a:ext cx="3631093" cy="231710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b="1" dirty="0">
              <a:solidFill>
                <a:schemeClr val="tx1"/>
              </a:solidFill>
              <a:latin typeface="+mn-lt"/>
            </a:endParaRPr>
          </a:p>
        </p:txBody>
      </p:sp>
      <p:sp>
        <p:nvSpPr>
          <p:cNvPr id="68" name="Рисунок 67">
            <a:extLst>
              <a:ext uri="{FF2B5EF4-FFF2-40B4-BE49-F238E27FC236}">
                <a16:creationId xmlns:a16="http://schemas.microsoft.com/office/drawing/2014/main" id="{40DB5398-FE67-4B0E-88CB-0A7904A71F7F}"/>
              </a:ext>
            </a:extLst>
          </p:cNvPr>
          <p:cNvSpPr>
            <a:spLocks noGrp="1"/>
          </p:cNvSpPr>
          <p:nvPr>
            <p:ph type="pic" sz="quarter" idx="30"/>
          </p:nvPr>
        </p:nvSpPr>
        <p:spPr>
          <a:xfrm>
            <a:off x="429059"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70" name="Рисунок 69">
            <a:extLst>
              <a:ext uri="{FF2B5EF4-FFF2-40B4-BE49-F238E27FC236}">
                <a16:creationId xmlns:a16="http://schemas.microsoft.com/office/drawing/2014/main" id="{5C2AFBA0-4275-41BB-9216-3B89C8B1CF82}"/>
              </a:ext>
            </a:extLst>
          </p:cNvPr>
          <p:cNvSpPr>
            <a:spLocks noGrp="1"/>
          </p:cNvSpPr>
          <p:nvPr>
            <p:ph type="pic" sz="quarter" idx="32"/>
          </p:nvPr>
        </p:nvSpPr>
        <p:spPr>
          <a:xfrm>
            <a:off x="8131856" y="3646617"/>
            <a:ext cx="3631093" cy="1444360"/>
          </a:xfrm>
          <a:custGeom>
            <a:avLst/>
            <a:gdLst>
              <a:gd name="connsiteX0" fmla="*/ 119697 w 4119021"/>
              <a:gd name="connsiteY0" fmla="*/ 0 h 1692277"/>
              <a:gd name="connsiteX1" fmla="*/ 3999324 w 4119021"/>
              <a:gd name="connsiteY1" fmla="*/ 0 h 1692277"/>
              <a:gd name="connsiteX2" fmla="*/ 4119021 w 4119021"/>
              <a:gd name="connsiteY2" fmla="*/ 119697 h 1692277"/>
              <a:gd name="connsiteX3" fmla="*/ 4119021 w 4119021"/>
              <a:gd name="connsiteY3" fmla="*/ 1692277 h 1692277"/>
              <a:gd name="connsiteX4" fmla="*/ 0 w 4119021"/>
              <a:gd name="connsiteY4" fmla="*/ 1692277 h 1692277"/>
              <a:gd name="connsiteX5" fmla="*/ 0 w 4119021"/>
              <a:gd name="connsiteY5" fmla="*/ 119697 h 1692277"/>
              <a:gd name="connsiteX6" fmla="*/ 119697 w 4119021"/>
              <a:gd name="connsiteY6" fmla="*/ 0 h 169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19021" h="1692277">
                <a:moveTo>
                  <a:pt x="119697" y="0"/>
                </a:moveTo>
                <a:lnTo>
                  <a:pt x="3999324" y="0"/>
                </a:lnTo>
                <a:cubicBezTo>
                  <a:pt x="4065431" y="0"/>
                  <a:pt x="4119021" y="53590"/>
                  <a:pt x="4119021" y="119697"/>
                </a:cubicBezTo>
                <a:lnTo>
                  <a:pt x="4119021" y="1692277"/>
                </a:lnTo>
                <a:lnTo>
                  <a:pt x="0" y="1692277"/>
                </a:lnTo>
                <a:lnTo>
                  <a:pt x="0" y="119697"/>
                </a:lnTo>
                <a:cubicBezTo>
                  <a:pt x="0" y="53590"/>
                  <a:pt x="53590" y="0"/>
                  <a:pt x="119697" y="0"/>
                </a:cubicBezTo>
                <a:close/>
              </a:path>
            </a:pathLst>
          </a:custGeom>
          <a:solidFill>
            <a:schemeClr val="bg1">
              <a:lumMod val="95000"/>
            </a:schemeClr>
          </a:solidFill>
        </p:spPr>
        <p:txBody>
          <a:bodyPr wrap="square" anchor="ctr">
            <a:noAutofit/>
          </a:bodyPr>
          <a:lstStyle>
            <a:lvl1pPr algn="ctr">
              <a:defRPr b="1">
                <a:solidFill>
                  <a:schemeClr val="tx1"/>
                </a:solidFill>
                <a:latin typeface="+mn-lt"/>
              </a:defRPr>
            </a:lvl1pPr>
          </a:lstStyle>
          <a:p>
            <a:endParaRPr lang="ru-RU" dirty="0"/>
          </a:p>
        </p:txBody>
      </p:sp>
      <p:sp>
        <p:nvSpPr>
          <p:cNvPr id="22" name="Заголовок 1">
            <a:extLst>
              <a:ext uri="{FF2B5EF4-FFF2-40B4-BE49-F238E27FC236}">
                <a16:creationId xmlns:a16="http://schemas.microsoft.com/office/drawing/2014/main" id="{D4501F6A-D17E-439D-812E-374FF99B8C0F}"/>
              </a:ext>
            </a:extLst>
          </p:cNvPr>
          <p:cNvSpPr>
            <a:spLocks noGrp="1"/>
          </p:cNvSpPr>
          <p:nvPr>
            <p:ph type="title" hasCustomPrompt="1"/>
          </p:nvPr>
        </p:nvSpPr>
        <p:spPr>
          <a:xfrm>
            <a:off x="417513" y="419101"/>
            <a:ext cx="11366499" cy="521276"/>
          </a:xfrm>
          <a:prstGeom prst="rect">
            <a:avLst/>
          </a:prstGeom>
        </p:spPr>
        <p:txBody>
          <a:bodyPr lIns="0" tIns="0" rIns="0" bIns="0"/>
          <a:lstStyle>
            <a:lvl1pPr>
              <a:lnSpc>
                <a:spcPts val="3703"/>
              </a:lnSpc>
              <a:defRPr sz="3527" b="0">
                <a:solidFill>
                  <a:schemeClr val="tx1"/>
                </a:solidFill>
                <a:latin typeface="+mj-lt"/>
              </a:defRPr>
            </a:lvl1pPr>
          </a:lstStyle>
          <a:p>
            <a:r>
              <a:rPr lang="ru-RU" dirty="0"/>
              <a:t>Заголовок</a:t>
            </a:r>
          </a:p>
        </p:txBody>
      </p:sp>
      <p:sp>
        <p:nvSpPr>
          <p:cNvPr id="23" name="Текст 4">
            <a:extLst>
              <a:ext uri="{FF2B5EF4-FFF2-40B4-BE49-F238E27FC236}">
                <a16:creationId xmlns:a16="http://schemas.microsoft.com/office/drawing/2014/main" id="{164047A6-2EC0-4FC2-8F78-3EA011F8ED04}"/>
              </a:ext>
            </a:extLst>
          </p:cNvPr>
          <p:cNvSpPr>
            <a:spLocks noGrp="1"/>
          </p:cNvSpPr>
          <p:nvPr>
            <p:ph type="body" sz="quarter" idx="33" hasCustomPrompt="1"/>
          </p:nvPr>
        </p:nvSpPr>
        <p:spPr>
          <a:xfrm>
            <a:off x="573406" y="5267200"/>
            <a:ext cx="3237385"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
        <p:nvSpPr>
          <p:cNvPr id="24" name="Текст 4">
            <a:extLst>
              <a:ext uri="{FF2B5EF4-FFF2-40B4-BE49-F238E27FC236}">
                <a16:creationId xmlns:a16="http://schemas.microsoft.com/office/drawing/2014/main" id="{59C447C8-B99A-4660-A4B3-5FAEAF1ECB20}"/>
              </a:ext>
            </a:extLst>
          </p:cNvPr>
          <p:cNvSpPr>
            <a:spLocks noGrp="1"/>
          </p:cNvSpPr>
          <p:nvPr>
            <p:ph type="body" sz="quarter" idx="34" hasCustomPrompt="1"/>
          </p:nvPr>
        </p:nvSpPr>
        <p:spPr>
          <a:xfrm>
            <a:off x="8291808" y="5267200"/>
            <a:ext cx="3237385"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a:p>
            <a:pPr lvl="0"/>
            <a:endParaRPr lang="ru-RU" dirty="0"/>
          </a:p>
        </p:txBody>
      </p:sp>
      <p:sp>
        <p:nvSpPr>
          <p:cNvPr id="25" name="Текст 4">
            <a:extLst>
              <a:ext uri="{FF2B5EF4-FFF2-40B4-BE49-F238E27FC236}">
                <a16:creationId xmlns:a16="http://schemas.microsoft.com/office/drawing/2014/main" id="{5CB0B18B-C466-4E55-94C1-5B4A7DE8D5A4}"/>
              </a:ext>
            </a:extLst>
          </p:cNvPr>
          <p:cNvSpPr>
            <a:spLocks noGrp="1"/>
          </p:cNvSpPr>
          <p:nvPr>
            <p:ph type="body" sz="quarter" idx="35" hasCustomPrompt="1"/>
          </p:nvPr>
        </p:nvSpPr>
        <p:spPr>
          <a:xfrm>
            <a:off x="4438206" y="2765256"/>
            <a:ext cx="3237385" cy="604881"/>
          </a:xfrm>
          <a:prstGeom prst="rect">
            <a:avLst/>
          </a:prstGeom>
        </p:spPr>
        <p:txBody>
          <a:bodyPr lIns="0" tIns="0" rIns="0" bIns="0"/>
          <a:lstStyle>
            <a:lvl1pPr>
              <a:lnSpc>
                <a:spcPts val="2292"/>
              </a:lnSpc>
              <a:spcBef>
                <a:spcPts val="0"/>
              </a:spcBef>
              <a:defRPr sz="2116" b="0">
                <a:solidFill>
                  <a:schemeClr val="tx1"/>
                </a:solidFill>
                <a:latin typeface="+mj-lt"/>
              </a:defRPr>
            </a:lvl1pPr>
          </a:lstStyle>
          <a:p>
            <a:pPr lvl="0"/>
            <a:r>
              <a:rPr lang="ru-RU" dirty="0"/>
              <a:t>Заголовок</a:t>
            </a:r>
            <a:br>
              <a:rPr lang="ru-RU" dirty="0"/>
            </a:br>
            <a:r>
              <a:rPr lang="ru-RU" dirty="0"/>
              <a:t>в одну-две строки</a:t>
            </a:r>
          </a:p>
        </p:txBody>
      </p:sp>
    </p:spTree>
    <p:extLst>
      <p:ext uri="{BB962C8B-B14F-4D97-AF65-F5344CB8AC3E}">
        <p14:creationId xmlns:p14="http://schemas.microsoft.com/office/powerpoint/2010/main" val="226109920"/>
      </p:ext>
    </p:extLst>
  </p:cSld>
  <p:clrMapOvr>
    <a:masterClrMapping/>
  </p:clrMapOvr>
  <p:extLst mod="1">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3">
    <p:spTree>
      <p:nvGrpSpPr>
        <p:cNvPr id="1" name=""/>
        <p:cNvGrpSpPr/>
        <p:nvPr/>
      </p:nvGrpSpPr>
      <p:grpSpPr>
        <a:xfrm>
          <a:off x="0" y="0"/>
          <a:ext cx="0" cy="0"/>
          <a:chOff x="0" y="0"/>
          <a:chExt cx="0" cy="0"/>
        </a:xfrm>
      </p:grpSpPr>
      <p:sp>
        <p:nvSpPr>
          <p:cNvPr id="22" name="Прямоугольник: скругленные углы 21">
            <a:extLst>
              <a:ext uri="{FF2B5EF4-FFF2-40B4-BE49-F238E27FC236}">
                <a16:creationId xmlns:a16="http://schemas.microsoft.com/office/drawing/2014/main" id="{DF291BB7-9BE6-40CE-B3B3-3B4C34252565}"/>
              </a:ext>
            </a:extLst>
          </p:cNvPr>
          <p:cNvSpPr/>
          <p:nvPr userDrawn="1"/>
        </p:nvSpPr>
        <p:spPr>
          <a:xfrm>
            <a:off x="8127303" y="1916210"/>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24" name="Прямоугольник: скругленные углы 23">
            <a:extLst>
              <a:ext uri="{FF2B5EF4-FFF2-40B4-BE49-F238E27FC236}">
                <a16:creationId xmlns:a16="http://schemas.microsoft.com/office/drawing/2014/main" id="{6BCE745E-3C89-43D2-B1E4-5C48BD1BCB12}"/>
              </a:ext>
            </a:extLst>
          </p:cNvPr>
          <p:cNvSpPr/>
          <p:nvPr userDrawn="1"/>
        </p:nvSpPr>
        <p:spPr>
          <a:xfrm>
            <a:off x="4285899" y="1916210"/>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26" name="Прямоугольник: скругленные углы 25">
            <a:extLst>
              <a:ext uri="{FF2B5EF4-FFF2-40B4-BE49-F238E27FC236}">
                <a16:creationId xmlns:a16="http://schemas.microsoft.com/office/drawing/2014/main" id="{6D769DD0-6108-4C95-AF18-AE1D0C57364F}"/>
              </a:ext>
            </a:extLst>
          </p:cNvPr>
          <p:cNvSpPr/>
          <p:nvPr userDrawn="1"/>
        </p:nvSpPr>
        <p:spPr>
          <a:xfrm>
            <a:off x="411155" y="1916210"/>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27" name="Рисунок 26">
            <a:extLst>
              <a:ext uri="{FF2B5EF4-FFF2-40B4-BE49-F238E27FC236}">
                <a16:creationId xmlns:a16="http://schemas.microsoft.com/office/drawing/2014/main" id="{617721D5-5BAB-4E64-B667-A185B17E1D8C}"/>
              </a:ext>
            </a:extLst>
          </p:cNvPr>
          <p:cNvSpPr>
            <a:spLocks noGrp="1"/>
          </p:cNvSpPr>
          <p:nvPr>
            <p:ph type="pic" sz="quarter" idx="57"/>
          </p:nvPr>
        </p:nvSpPr>
        <p:spPr>
          <a:xfrm>
            <a:off x="411155" y="1916213"/>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8" name="Рисунок 27">
            <a:extLst>
              <a:ext uri="{FF2B5EF4-FFF2-40B4-BE49-F238E27FC236}">
                <a16:creationId xmlns:a16="http://schemas.microsoft.com/office/drawing/2014/main" id="{CE02079D-4965-42AC-9EFC-5E3DBBEA0E09}"/>
              </a:ext>
            </a:extLst>
          </p:cNvPr>
          <p:cNvSpPr>
            <a:spLocks noGrp="1"/>
          </p:cNvSpPr>
          <p:nvPr>
            <p:ph type="pic" sz="quarter" idx="58"/>
          </p:nvPr>
        </p:nvSpPr>
        <p:spPr>
          <a:xfrm>
            <a:off x="4285899" y="1916212"/>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9" name="Рисунок 28">
            <a:extLst>
              <a:ext uri="{FF2B5EF4-FFF2-40B4-BE49-F238E27FC236}">
                <a16:creationId xmlns:a16="http://schemas.microsoft.com/office/drawing/2014/main" id="{FE7EE251-4CE3-4983-8955-EC67982B38A7}"/>
              </a:ext>
            </a:extLst>
          </p:cNvPr>
          <p:cNvSpPr>
            <a:spLocks noGrp="1"/>
          </p:cNvSpPr>
          <p:nvPr>
            <p:ph type="pic" sz="quarter" idx="61"/>
          </p:nvPr>
        </p:nvSpPr>
        <p:spPr>
          <a:xfrm>
            <a:off x="8127303" y="1916212"/>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1"/>
            <a:ext cx="11366499"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8" y="1010655"/>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7" y="4747027"/>
            <a:ext cx="3300860" cy="98718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51" y="4747027"/>
            <a:ext cx="3300860" cy="98718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5" y="4747027"/>
            <a:ext cx="3300860" cy="98718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3" y="4284726"/>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7" y="4284726"/>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5" y="4284726"/>
            <a:ext cx="3300860" cy="364759"/>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27043611"/>
      </p:ext>
    </p:extLst>
  </p:cSld>
  <p:clrMapOvr>
    <a:masterClrMapping/>
  </p:clrMapOvr>
  <p:extLst mod="1">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3">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C7A709E-F7EC-4C5C-A57D-7E89ADB6377D}"/>
              </a:ext>
            </a:extLst>
          </p:cNvPr>
          <p:cNvSpPr/>
          <p:nvPr userDrawn="1"/>
        </p:nvSpPr>
        <p:spPr>
          <a:xfrm>
            <a:off x="8127303" y="1916210"/>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27" name="Прямоугольник: скругленные углы 26">
            <a:extLst>
              <a:ext uri="{FF2B5EF4-FFF2-40B4-BE49-F238E27FC236}">
                <a16:creationId xmlns:a16="http://schemas.microsoft.com/office/drawing/2014/main" id="{B4BF1677-7F71-4B97-B63D-C772D5014094}"/>
              </a:ext>
            </a:extLst>
          </p:cNvPr>
          <p:cNvSpPr/>
          <p:nvPr userDrawn="1"/>
        </p:nvSpPr>
        <p:spPr>
          <a:xfrm>
            <a:off x="4285899" y="1916210"/>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24" name="Прямоугольник: скругленные углы 23">
            <a:extLst>
              <a:ext uri="{FF2B5EF4-FFF2-40B4-BE49-F238E27FC236}">
                <a16:creationId xmlns:a16="http://schemas.microsoft.com/office/drawing/2014/main" id="{FE2B3DAD-199F-4A0D-A04A-74EF4E97DB49}"/>
              </a:ext>
            </a:extLst>
          </p:cNvPr>
          <p:cNvSpPr/>
          <p:nvPr userDrawn="1"/>
        </p:nvSpPr>
        <p:spPr>
          <a:xfrm>
            <a:off x="411155" y="1916210"/>
            <a:ext cx="3637452"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23" name="Рисунок 22">
            <a:extLst>
              <a:ext uri="{FF2B5EF4-FFF2-40B4-BE49-F238E27FC236}">
                <a16:creationId xmlns:a16="http://schemas.microsoft.com/office/drawing/2014/main" id="{5B44BF0D-66C1-48FF-9321-EF50C7963A8E}"/>
              </a:ext>
            </a:extLst>
          </p:cNvPr>
          <p:cNvSpPr>
            <a:spLocks noGrp="1"/>
          </p:cNvSpPr>
          <p:nvPr>
            <p:ph type="pic" sz="quarter" idx="57"/>
          </p:nvPr>
        </p:nvSpPr>
        <p:spPr>
          <a:xfrm>
            <a:off x="411155" y="1916213"/>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1"/>
            <a:ext cx="11366499"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8" y="1010655"/>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7" y="4878295"/>
            <a:ext cx="3300860" cy="98718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6" name="Рисунок 25">
            <a:extLst>
              <a:ext uri="{FF2B5EF4-FFF2-40B4-BE49-F238E27FC236}">
                <a16:creationId xmlns:a16="http://schemas.microsoft.com/office/drawing/2014/main" id="{259BD8D5-1870-42FE-AD57-B2D142F9CC55}"/>
              </a:ext>
            </a:extLst>
          </p:cNvPr>
          <p:cNvSpPr>
            <a:spLocks noGrp="1"/>
          </p:cNvSpPr>
          <p:nvPr>
            <p:ph type="pic" sz="quarter" idx="58"/>
          </p:nvPr>
        </p:nvSpPr>
        <p:spPr>
          <a:xfrm>
            <a:off x="4285899" y="1916212"/>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6" name="Текст 14">
            <a:extLst>
              <a:ext uri="{FF2B5EF4-FFF2-40B4-BE49-F238E27FC236}">
                <a16:creationId xmlns:a16="http://schemas.microsoft.com/office/drawing/2014/main" id="{C78E69C1-35DE-4AAC-87EC-C239A21D0E30}"/>
              </a:ext>
            </a:extLst>
          </p:cNvPr>
          <p:cNvSpPr>
            <a:spLocks noGrp="1"/>
          </p:cNvSpPr>
          <p:nvPr>
            <p:ph type="body" sz="quarter" idx="60" hasCustomPrompt="1"/>
          </p:nvPr>
        </p:nvSpPr>
        <p:spPr>
          <a:xfrm>
            <a:off x="4448151" y="4878295"/>
            <a:ext cx="3300860" cy="98718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28" name="Рисунок 27">
            <a:extLst>
              <a:ext uri="{FF2B5EF4-FFF2-40B4-BE49-F238E27FC236}">
                <a16:creationId xmlns:a16="http://schemas.microsoft.com/office/drawing/2014/main" id="{A779EE00-C9C3-4A9E-921D-C174D770679E}"/>
              </a:ext>
            </a:extLst>
          </p:cNvPr>
          <p:cNvSpPr>
            <a:spLocks noGrp="1"/>
          </p:cNvSpPr>
          <p:nvPr>
            <p:ph type="pic" sz="quarter" idx="61"/>
          </p:nvPr>
        </p:nvSpPr>
        <p:spPr>
          <a:xfrm>
            <a:off x="8127303" y="1916212"/>
            <a:ext cx="3637452" cy="2148161"/>
          </a:xfrm>
          <a:custGeom>
            <a:avLst/>
            <a:gdLst>
              <a:gd name="connsiteX0" fmla="*/ 181926 w 4126235"/>
              <a:gd name="connsiteY0" fmla="*/ 0 h 2434583"/>
              <a:gd name="connsiteX1" fmla="*/ 3944309 w 4126235"/>
              <a:gd name="connsiteY1" fmla="*/ 0 h 2434583"/>
              <a:gd name="connsiteX2" fmla="*/ 4126235 w 4126235"/>
              <a:gd name="connsiteY2" fmla="*/ 181926 h 2434583"/>
              <a:gd name="connsiteX3" fmla="*/ 4126235 w 4126235"/>
              <a:gd name="connsiteY3" fmla="*/ 2434583 h 2434583"/>
              <a:gd name="connsiteX4" fmla="*/ 0 w 4126235"/>
              <a:gd name="connsiteY4" fmla="*/ 2434583 h 2434583"/>
              <a:gd name="connsiteX5" fmla="*/ 0 w 4126235"/>
              <a:gd name="connsiteY5" fmla="*/ 181926 h 2434583"/>
              <a:gd name="connsiteX6" fmla="*/ 181926 w 4126235"/>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3">
                <a:moveTo>
                  <a:pt x="181926" y="0"/>
                </a:moveTo>
                <a:lnTo>
                  <a:pt x="3944309" y="0"/>
                </a:lnTo>
                <a:cubicBezTo>
                  <a:pt x="4044784" y="0"/>
                  <a:pt x="4126235" y="81451"/>
                  <a:pt x="4126235" y="181926"/>
                </a:cubicBezTo>
                <a:lnTo>
                  <a:pt x="4126235" y="2434583"/>
                </a:lnTo>
                <a:lnTo>
                  <a:pt x="0" y="2434583"/>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60" name="Текст 14">
            <a:extLst>
              <a:ext uri="{FF2B5EF4-FFF2-40B4-BE49-F238E27FC236}">
                <a16:creationId xmlns:a16="http://schemas.microsoft.com/office/drawing/2014/main" id="{79B21CA8-CE17-4A2F-AF75-6B15404B68D1}"/>
              </a:ext>
            </a:extLst>
          </p:cNvPr>
          <p:cNvSpPr>
            <a:spLocks noGrp="1"/>
          </p:cNvSpPr>
          <p:nvPr>
            <p:ph type="body" sz="quarter" idx="63" hasCustomPrompt="1"/>
          </p:nvPr>
        </p:nvSpPr>
        <p:spPr>
          <a:xfrm>
            <a:off x="8289555" y="4878295"/>
            <a:ext cx="3300860" cy="987183"/>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 Рекомендуемый объём текста для блока</a:t>
            </a:r>
          </a:p>
        </p:txBody>
      </p:sp>
      <p:sp>
        <p:nvSpPr>
          <p:cNvPr id="17" name="Текст 4">
            <a:extLst>
              <a:ext uri="{FF2B5EF4-FFF2-40B4-BE49-F238E27FC236}">
                <a16:creationId xmlns:a16="http://schemas.microsoft.com/office/drawing/2014/main" id="{86F3A628-5558-43DC-B34A-1B430214CA5E}"/>
              </a:ext>
            </a:extLst>
          </p:cNvPr>
          <p:cNvSpPr>
            <a:spLocks noGrp="1"/>
          </p:cNvSpPr>
          <p:nvPr>
            <p:ph type="body" sz="quarter" idx="67" hasCustomPrompt="1"/>
          </p:nvPr>
        </p:nvSpPr>
        <p:spPr>
          <a:xfrm>
            <a:off x="574443" y="4204679"/>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8" name="Текст 4">
            <a:extLst>
              <a:ext uri="{FF2B5EF4-FFF2-40B4-BE49-F238E27FC236}">
                <a16:creationId xmlns:a16="http://schemas.microsoft.com/office/drawing/2014/main" id="{17387778-B220-4236-9C06-C0993805907C}"/>
              </a:ext>
            </a:extLst>
          </p:cNvPr>
          <p:cNvSpPr>
            <a:spLocks noGrp="1"/>
          </p:cNvSpPr>
          <p:nvPr>
            <p:ph type="body" sz="quarter" idx="98" hasCustomPrompt="1"/>
          </p:nvPr>
        </p:nvSpPr>
        <p:spPr>
          <a:xfrm>
            <a:off x="4433087" y="4204679"/>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19" name="Текст 4">
            <a:extLst>
              <a:ext uri="{FF2B5EF4-FFF2-40B4-BE49-F238E27FC236}">
                <a16:creationId xmlns:a16="http://schemas.microsoft.com/office/drawing/2014/main" id="{525498E6-002D-4C3C-AC8C-A0F2A225376F}"/>
              </a:ext>
            </a:extLst>
          </p:cNvPr>
          <p:cNvSpPr>
            <a:spLocks noGrp="1"/>
          </p:cNvSpPr>
          <p:nvPr>
            <p:ph type="body" sz="quarter" idx="99" hasCustomPrompt="1"/>
          </p:nvPr>
        </p:nvSpPr>
        <p:spPr>
          <a:xfrm>
            <a:off x="8308812" y="4204679"/>
            <a:ext cx="328160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941728201"/>
      </p:ext>
    </p:extLst>
  </p:cSld>
  <p:clrMapOvr>
    <a:masterClrMapping/>
  </p:clrMapOvr>
  <p:extLst mod="1">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4">
    <p:spTree>
      <p:nvGrpSpPr>
        <p:cNvPr id="1" name=""/>
        <p:cNvGrpSpPr/>
        <p:nvPr/>
      </p:nvGrpSpPr>
      <p:grpSpPr>
        <a:xfrm>
          <a:off x="0" y="0"/>
          <a:ext cx="0" cy="0"/>
          <a:chOff x="0" y="0"/>
          <a:chExt cx="0" cy="0"/>
        </a:xfrm>
      </p:grpSpPr>
      <p:sp>
        <p:nvSpPr>
          <p:cNvPr id="24" name="Прямоугольник: скругленные углы 23">
            <a:extLst>
              <a:ext uri="{FF2B5EF4-FFF2-40B4-BE49-F238E27FC236}">
                <a16:creationId xmlns:a16="http://schemas.microsoft.com/office/drawing/2014/main" id="{BF9DF7E0-710B-4C9B-8571-67A12B682AA1}"/>
              </a:ext>
            </a:extLst>
          </p:cNvPr>
          <p:cNvSpPr/>
          <p:nvPr userDrawn="1"/>
        </p:nvSpPr>
        <p:spPr>
          <a:xfrm>
            <a:off x="6202649" y="1916210"/>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29" name="Прямоугольник: скругленные углы 28">
            <a:extLst>
              <a:ext uri="{FF2B5EF4-FFF2-40B4-BE49-F238E27FC236}">
                <a16:creationId xmlns:a16="http://schemas.microsoft.com/office/drawing/2014/main" id="{B2B4CDB0-9FE2-4606-AF77-1CBC111C434C}"/>
              </a:ext>
            </a:extLst>
          </p:cNvPr>
          <p:cNvSpPr/>
          <p:nvPr userDrawn="1"/>
        </p:nvSpPr>
        <p:spPr>
          <a:xfrm>
            <a:off x="3318098" y="1916210"/>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30" name="Прямоугольник: скругленные углы 29">
            <a:extLst>
              <a:ext uri="{FF2B5EF4-FFF2-40B4-BE49-F238E27FC236}">
                <a16:creationId xmlns:a16="http://schemas.microsoft.com/office/drawing/2014/main" id="{0881E241-1ABF-4D0B-925D-58AD54A6DDE1}"/>
              </a:ext>
            </a:extLst>
          </p:cNvPr>
          <p:cNvSpPr/>
          <p:nvPr userDrawn="1"/>
        </p:nvSpPr>
        <p:spPr>
          <a:xfrm>
            <a:off x="429634" y="1916210"/>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31" name="Прямоугольник: скругленные углы 30">
            <a:extLst>
              <a:ext uri="{FF2B5EF4-FFF2-40B4-BE49-F238E27FC236}">
                <a16:creationId xmlns:a16="http://schemas.microsoft.com/office/drawing/2014/main" id="{BB2E227E-AF18-4625-BAD1-920555AA839F}"/>
              </a:ext>
            </a:extLst>
          </p:cNvPr>
          <p:cNvSpPr/>
          <p:nvPr userDrawn="1"/>
        </p:nvSpPr>
        <p:spPr>
          <a:xfrm>
            <a:off x="9105672" y="1916210"/>
            <a:ext cx="266836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32" name="Рисунок 31">
            <a:extLst>
              <a:ext uri="{FF2B5EF4-FFF2-40B4-BE49-F238E27FC236}">
                <a16:creationId xmlns:a16="http://schemas.microsoft.com/office/drawing/2014/main" id="{4C21C587-80E0-4B90-9802-42E4B6E96702}"/>
              </a:ext>
            </a:extLst>
          </p:cNvPr>
          <p:cNvSpPr>
            <a:spLocks noGrp="1"/>
          </p:cNvSpPr>
          <p:nvPr>
            <p:ph type="pic" sz="quarter" idx="57"/>
          </p:nvPr>
        </p:nvSpPr>
        <p:spPr>
          <a:xfrm>
            <a:off x="429634" y="1916213"/>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0" name="Рисунок 39">
            <a:extLst>
              <a:ext uri="{FF2B5EF4-FFF2-40B4-BE49-F238E27FC236}">
                <a16:creationId xmlns:a16="http://schemas.microsoft.com/office/drawing/2014/main" id="{5E168175-A273-481A-A590-A437A47B1980}"/>
              </a:ext>
            </a:extLst>
          </p:cNvPr>
          <p:cNvSpPr>
            <a:spLocks noGrp="1"/>
          </p:cNvSpPr>
          <p:nvPr>
            <p:ph type="pic" sz="quarter" idx="58"/>
          </p:nvPr>
        </p:nvSpPr>
        <p:spPr>
          <a:xfrm>
            <a:off x="3318098" y="1916213"/>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1" name="Рисунок 40">
            <a:extLst>
              <a:ext uri="{FF2B5EF4-FFF2-40B4-BE49-F238E27FC236}">
                <a16:creationId xmlns:a16="http://schemas.microsoft.com/office/drawing/2014/main" id="{F2532C2E-69D1-4656-92F6-0AE760955547}"/>
              </a:ext>
            </a:extLst>
          </p:cNvPr>
          <p:cNvSpPr>
            <a:spLocks noGrp="1"/>
          </p:cNvSpPr>
          <p:nvPr>
            <p:ph type="pic" sz="quarter" idx="61"/>
          </p:nvPr>
        </p:nvSpPr>
        <p:spPr>
          <a:xfrm>
            <a:off x="6202649" y="1916210"/>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3" name="Рисунок 42">
            <a:extLst>
              <a:ext uri="{FF2B5EF4-FFF2-40B4-BE49-F238E27FC236}">
                <a16:creationId xmlns:a16="http://schemas.microsoft.com/office/drawing/2014/main" id="{B8F59AB2-051A-41F7-BCA1-F5C72E7E0EB5}"/>
              </a:ext>
            </a:extLst>
          </p:cNvPr>
          <p:cNvSpPr>
            <a:spLocks noGrp="1"/>
          </p:cNvSpPr>
          <p:nvPr>
            <p:ph type="pic" sz="quarter" idx="64"/>
          </p:nvPr>
        </p:nvSpPr>
        <p:spPr>
          <a:xfrm>
            <a:off x="9105672" y="1916210"/>
            <a:ext cx="2668363"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1"/>
            <a:ext cx="11366499"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8" y="1010655"/>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10"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272874"/>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5"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272874"/>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32"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8" y="4272874"/>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8" y="476807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8" y="4272874"/>
            <a:ext cx="2330860" cy="35803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4116728080"/>
      </p:ext>
    </p:extLst>
  </p:cSld>
  <p:clrMapOvr>
    <a:masterClrMapping/>
  </p:clrMapOvr>
  <p:extLst mod="1">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4">
    <p:spTree>
      <p:nvGrpSpPr>
        <p:cNvPr id="1" name=""/>
        <p:cNvGrpSpPr/>
        <p:nvPr/>
      </p:nvGrpSpPr>
      <p:grpSpPr>
        <a:xfrm>
          <a:off x="0" y="0"/>
          <a:ext cx="0" cy="0"/>
          <a:chOff x="0" y="0"/>
          <a:chExt cx="0" cy="0"/>
        </a:xfrm>
      </p:grpSpPr>
      <p:sp>
        <p:nvSpPr>
          <p:cNvPr id="41" name="Прямоугольник: скругленные углы 40">
            <a:extLst>
              <a:ext uri="{FF2B5EF4-FFF2-40B4-BE49-F238E27FC236}">
                <a16:creationId xmlns:a16="http://schemas.microsoft.com/office/drawing/2014/main" id="{7473CC58-259A-43C0-A2DD-BF2C02572D22}"/>
              </a:ext>
            </a:extLst>
          </p:cNvPr>
          <p:cNvSpPr/>
          <p:nvPr userDrawn="1"/>
        </p:nvSpPr>
        <p:spPr>
          <a:xfrm>
            <a:off x="6202649" y="1916210"/>
            <a:ext cx="2677431"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32" name="Прямоугольник: скругленные углы 31">
            <a:extLst>
              <a:ext uri="{FF2B5EF4-FFF2-40B4-BE49-F238E27FC236}">
                <a16:creationId xmlns:a16="http://schemas.microsoft.com/office/drawing/2014/main" id="{423B52B6-D9AF-4677-8F08-39C837C37FB3}"/>
              </a:ext>
            </a:extLst>
          </p:cNvPr>
          <p:cNvSpPr/>
          <p:nvPr userDrawn="1"/>
        </p:nvSpPr>
        <p:spPr>
          <a:xfrm>
            <a:off x="3318098" y="1916210"/>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30" name="Прямоугольник: скругленные углы 29">
            <a:extLst>
              <a:ext uri="{FF2B5EF4-FFF2-40B4-BE49-F238E27FC236}">
                <a16:creationId xmlns:a16="http://schemas.microsoft.com/office/drawing/2014/main" id="{6C7D76EC-2D01-4E98-92C4-8BB2FDD82F93}"/>
              </a:ext>
            </a:extLst>
          </p:cNvPr>
          <p:cNvSpPr/>
          <p:nvPr userDrawn="1"/>
        </p:nvSpPr>
        <p:spPr>
          <a:xfrm>
            <a:off x="429634" y="1916210"/>
            <a:ext cx="265895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46" name="Прямоугольник: скругленные углы 45">
            <a:extLst>
              <a:ext uri="{FF2B5EF4-FFF2-40B4-BE49-F238E27FC236}">
                <a16:creationId xmlns:a16="http://schemas.microsoft.com/office/drawing/2014/main" id="{B71188DC-87D7-4BE6-94B3-D39C27C2DEF3}"/>
              </a:ext>
            </a:extLst>
          </p:cNvPr>
          <p:cNvSpPr/>
          <p:nvPr userDrawn="1"/>
        </p:nvSpPr>
        <p:spPr>
          <a:xfrm>
            <a:off x="9105672" y="1916210"/>
            <a:ext cx="266836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29" name="Рисунок 28">
            <a:extLst>
              <a:ext uri="{FF2B5EF4-FFF2-40B4-BE49-F238E27FC236}">
                <a16:creationId xmlns:a16="http://schemas.microsoft.com/office/drawing/2014/main" id="{59834600-64FB-47C3-8578-96B0AC67696C}"/>
              </a:ext>
            </a:extLst>
          </p:cNvPr>
          <p:cNvSpPr>
            <a:spLocks noGrp="1"/>
          </p:cNvSpPr>
          <p:nvPr>
            <p:ph type="pic" sz="quarter" idx="57"/>
          </p:nvPr>
        </p:nvSpPr>
        <p:spPr>
          <a:xfrm>
            <a:off x="429634" y="1916213"/>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1"/>
            <a:ext cx="11366499"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8" y="1010655"/>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10"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1" name="Рисунок 30">
            <a:extLst>
              <a:ext uri="{FF2B5EF4-FFF2-40B4-BE49-F238E27FC236}">
                <a16:creationId xmlns:a16="http://schemas.microsoft.com/office/drawing/2014/main" id="{1C70AC74-DBB0-46CF-8463-F5EE81847C40}"/>
              </a:ext>
            </a:extLst>
          </p:cNvPr>
          <p:cNvSpPr>
            <a:spLocks noGrp="1"/>
          </p:cNvSpPr>
          <p:nvPr>
            <p:ph type="pic" sz="quarter" idx="58"/>
          </p:nvPr>
        </p:nvSpPr>
        <p:spPr>
          <a:xfrm>
            <a:off x="3318098" y="1916213"/>
            <a:ext cx="2658953" cy="2148161"/>
          </a:xfrm>
          <a:custGeom>
            <a:avLst/>
            <a:gdLst>
              <a:gd name="connsiteX0" fmla="*/ 132986 w 3016250"/>
              <a:gd name="connsiteY0" fmla="*/ 0 h 2434583"/>
              <a:gd name="connsiteX1" fmla="*/ 2883264 w 3016250"/>
              <a:gd name="connsiteY1" fmla="*/ 0 h 2434583"/>
              <a:gd name="connsiteX2" fmla="*/ 3016250 w 3016250"/>
              <a:gd name="connsiteY2" fmla="*/ 132986 h 2434583"/>
              <a:gd name="connsiteX3" fmla="*/ 3016250 w 3016250"/>
              <a:gd name="connsiteY3" fmla="*/ 2434583 h 2434583"/>
              <a:gd name="connsiteX4" fmla="*/ 0 w 3016250"/>
              <a:gd name="connsiteY4" fmla="*/ 2434583 h 2434583"/>
              <a:gd name="connsiteX5" fmla="*/ 0 w 3016250"/>
              <a:gd name="connsiteY5" fmla="*/ 132986 h 2434583"/>
              <a:gd name="connsiteX6" fmla="*/ 132986 w 3016250"/>
              <a:gd name="connsiteY6" fmla="*/ 0 h 243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16250" h="2434583">
                <a:moveTo>
                  <a:pt x="132986" y="0"/>
                </a:moveTo>
                <a:lnTo>
                  <a:pt x="2883264" y="0"/>
                </a:lnTo>
                <a:cubicBezTo>
                  <a:pt x="2956710" y="0"/>
                  <a:pt x="3016250" y="59540"/>
                  <a:pt x="3016250" y="132986"/>
                </a:cubicBezTo>
                <a:lnTo>
                  <a:pt x="3016250" y="2434583"/>
                </a:lnTo>
                <a:lnTo>
                  <a:pt x="0" y="2434583"/>
                </a:lnTo>
                <a:lnTo>
                  <a:pt x="0" y="132986"/>
                </a:lnTo>
                <a:cubicBezTo>
                  <a:pt x="0" y="59540"/>
                  <a:pt x="59540" y="0"/>
                  <a:pt x="132986"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0" name="Рисунок 39">
            <a:extLst>
              <a:ext uri="{FF2B5EF4-FFF2-40B4-BE49-F238E27FC236}">
                <a16:creationId xmlns:a16="http://schemas.microsoft.com/office/drawing/2014/main" id="{015FC641-6450-4E8F-947D-A6732F47F202}"/>
              </a:ext>
            </a:extLst>
          </p:cNvPr>
          <p:cNvSpPr>
            <a:spLocks noGrp="1"/>
          </p:cNvSpPr>
          <p:nvPr>
            <p:ph type="pic" sz="quarter" idx="61"/>
          </p:nvPr>
        </p:nvSpPr>
        <p:spPr>
          <a:xfrm>
            <a:off x="6202649" y="1916210"/>
            <a:ext cx="2677431" cy="2148161"/>
          </a:xfrm>
          <a:custGeom>
            <a:avLst/>
            <a:gdLst>
              <a:gd name="connsiteX0" fmla="*/ 133911 w 3037211"/>
              <a:gd name="connsiteY0" fmla="*/ 0 h 2434582"/>
              <a:gd name="connsiteX1" fmla="*/ 2903300 w 3037211"/>
              <a:gd name="connsiteY1" fmla="*/ 0 h 2434582"/>
              <a:gd name="connsiteX2" fmla="*/ 3037211 w 3037211"/>
              <a:gd name="connsiteY2" fmla="*/ 133911 h 2434582"/>
              <a:gd name="connsiteX3" fmla="*/ 3037211 w 3037211"/>
              <a:gd name="connsiteY3" fmla="*/ 2434582 h 2434582"/>
              <a:gd name="connsiteX4" fmla="*/ 0 w 3037211"/>
              <a:gd name="connsiteY4" fmla="*/ 2434582 h 2434582"/>
              <a:gd name="connsiteX5" fmla="*/ 0 w 3037211"/>
              <a:gd name="connsiteY5" fmla="*/ 133911 h 2434582"/>
              <a:gd name="connsiteX6" fmla="*/ 133911 w 3037211"/>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434582">
                <a:moveTo>
                  <a:pt x="133911" y="0"/>
                </a:moveTo>
                <a:lnTo>
                  <a:pt x="2903300" y="0"/>
                </a:lnTo>
                <a:cubicBezTo>
                  <a:pt x="2977257" y="0"/>
                  <a:pt x="3037211" y="59954"/>
                  <a:pt x="3037211" y="133911"/>
                </a:cubicBezTo>
                <a:lnTo>
                  <a:pt x="3037211" y="2434582"/>
                </a:lnTo>
                <a:lnTo>
                  <a:pt x="0" y="2434582"/>
                </a:lnTo>
                <a:lnTo>
                  <a:pt x="0" y="133911"/>
                </a:lnTo>
                <a:cubicBezTo>
                  <a:pt x="0" y="59954"/>
                  <a:pt x="59954" y="0"/>
                  <a:pt x="133911"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5" name="Рисунок 44">
            <a:extLst>
              <a:ext uri="{FF2B5EF4-FFF2-40B4-BE49-F238E27FC236}">
                <a16:creationId xmlns:a16="http://schemas.microsoft.com/office/drawing/2014/main" id="{AEB2757B-FD2F-4A38-A46B-C7132D748A54}"/>
              </a:ext>
            </a:extLst>
          </p:cNvPr>
          <p:cNvSpPr>
            <a:spLocks noGrp="1"/>
          </p:cNvSpPr>
          <p:nvPr>
            <p:ph type="pic" sz="quarter" idx="64"/>
          </p:nvPr>
        </p:nvSpPr>
        <p:spPr>
          <a:xfrm>
            <a:off x="9105672" y="1916210"/>
            <a:ext cx="2668363" cy="2148161"/>
          </a:xfrm>
          <a:custGeom>
            <a:avLst/>
            <a:gdLst>
              <a:gd name="connsiteX0" fmla="*/ 133457 w 3026923"/>
              <a:gd name="connsiteY0" fmla="*/ 0 h 2434582"/>
              <a:gd name="connsiteX1" fmla="*/ 2893466 w 3026923"/>
              <a:gd name="connsiteY1" fmla="*/ 0 h 2434582"/>
              <a:gd name="connsiteX2" fmla="*/ 3026923 w 3026923"/>
              <a:gd name="connsiteY2" fmla="*/ 133457 h 2434582"/>
              <a:gd name="connsiteX3" fmla="*/ 3026923 w 3026923"/>
              <a:gd name="connsiteY3" fmla="*/ 2434582 h 2434582"/>
              <a:gd name="connsiteX4" fmla="*/ 0 w 3026923"/>
              <a:gd name="connsiteY4" fmla="*/ 2434582 h 2434582"/>
              <a:gd name="connsiteX5" fmla="*/ 0 w 3026923"/>
              <a:gd name="connsiteY5" fmla="*/ 133457 h 2434582"/>
              <a:gd name="connsiteX6" fmla="*/ 133457 w 3026923"/>
              <a:gd name="connsiteY6" fmla="*/ 0 h 243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6923" h="2434582">
                <a:moveTo>
                  <a:pt x="133457" y="0"/>
                </a:moveTo>
                <a:lnTo>
                  <a:pt x="2893466" y="0"/>
                </a:lnTo>
                <a:cubicBezTo>
                  <a:pt x="2967172" y="0"/>
                  <a:pt x="3026923" y="59751"/>
                  <a:pt x="3026923" y="133457"/>
                </a:cubicBezTo>
                <a:lnTo>
                  <a:pt x="3026923" y="2434582"/>
                </a:lnTo>
                <a:lnTo>
                  <a:pt x="0" y="2434582"/>
                </a:lnTo>
                <a:lnTo>
                  <a:pt x="0" y="133457"/>
                </a:lnTo>
                <a:cubicBezTo>
                  <a:pt x="0" y="59751"/>
                  <a:pt x="59751" y="0"/>
                  <a:pt x="133457"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33" name="Текст 4">
            <a:extLst>
              <a:ext uri="{FF2B5EF4-FFF2-40B4-BE49-F238E27FC236}">
                <a16:creationId xmlns:a16="http://schemas.microsoft.com/office/drawing/2014/main" id="{635BCA79-04D8-4FCE-839B-19D1FC5F8C77}"/>
              </a:ext>
            </a:extLst>
          </p:cNvPr>
          <p:cNvSpPr>
            <a:spLocks noGrp="1"/>
          </p:cNvSpPr>
          <p:nvPr>
            <p:ph type="body" sz="quarter" idx="67" hasCustomPrompt="1"/>
          </p:nvPr>
        </p:nvSpPr>
        <p:spPr>
          <a:xfrm>
            <a:off x="591235"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4" name="Текст 14">
            <a:extLst>
              <a:ext uri="{FF2B5EF4-FFF2-40B4-BE49-F238E27FC236}">
                <a16:creationId xmlns:a16="http://schemas.microsoft.com/office/drawing/2014/main" id="{C3A806B0-F638-4711-96F5-2FDAF498F886}"/>
              </a:ext>
            </a:extLst>
          </p:cNvPr>
          <p:cNvSpPr>
            <a:spLocks noGrp="1"/>
          </p:cNvSpPr>
          <p:nvPr>
            <p:ph type="body" sz="quarter" idx="68" hasCustomPrompt="1"/>
          </p:nvPr>
        </p:nvSpPr>
        <p:spPr>
          <a:xfrm>
            <a:off x="3478665"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5" name="Текст 4">
            <a:extLst>
              <a:ext uri="{FF2B5EF4-FFF2-40B4-BE49-F238E27FC236}">
                <a16:creationId xmlns:a16="http://schemas.microsoft.com/office/drawing/2014/main" id="{E7B85145-F6EE-4CA5-AAAC-81CDDE484AE5}"/>
              </a:ext>
            </a:extLst>
          </p:cNvPr>
          <p:cNvSpPr>
            <a:spLocks noGrp="1"/>
          </p:cNvSpPr>
          <p:nvPr>
            <p:ph type="body" sz="quarter" idx="69" hasCustomPrompt="1"/>
          </p:nvPr>
        </p:nvSpPr>
        <p:spPr>
          <a:xfrm>
            <a:off x="3496491"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C79F9494-B123-484F-8080-8FF317DF14CF}"/>
              </a:ext>
            </a:extLst>
          </p:cNvPr>
          <p:cNvSpPr>
            <a:spLocks noGrp="1"/>
          </p:cNvSpPr>
          <p:nvPr>
            <p:ph type="body" sz="quarter" idx="70" hasCustomPrompt="1"/>
          </p:nvPr>
        </p:nvSpPr>
        <p:spPr>
          <a:xfrm>
            <a:off x="6358732"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7" name="Текст 4">
            <a:extLst>
              <a:ext uri="{FF2B5EF4-FFF2-40B4-BE49-F238E27FC236}">
                <a16:creationId xmlns:a16="http://schemas.microsoft.com/office/drawing/2014/main" id="{8EE642C3-FAA4-4FD1-BEA9-063982226108}"/>
              </a:ext>
            </a:extLst>
          </p:cNvPr>
          <p:cNvSpPr>
            <a:spLocks noGrp="1"/>
          </p:cNvSpPr>
          <p:nvPr>
            <p:ph type="body" sz="quarter" idx="71" hasCustomPrompt="1"/>
          </p:nvPr>
        </p:nvSpPr>
        <p:spPr>
          <a:xfrm>
            <a:off x="6376558"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8" name="Текст 14">
            <a:extLst>
              <a:ext uri="{FF2B5EF4-FFF2-40B4-BE49-F238E27FC236}">
                <a16:creationId xmlns:a16="http://schemas.microsoft.com/office/drawing/2014/main" id="{D34B21E9-147E-4FBB-815E-BA91A2E135AA}"/>
              </a:ext>
            </a:extLst>
          </p:cNvPr>
          <p:cNvSpPr>
            <a:spLocks noGrp="1"/>
          </p:cNvSpPr>
          <p:nvPr>
            <p:ph type="body" sz="quarter" idx="72" hasCustomPrompt="1"/>
          </p:nvPr>
        </p:nvSpPr>
        <p:spPr>
          <a:xfrm>
            <a:off x="9269908" y="4901267"/>
            <a:ext cx="2348689" cy="961408"/>
          </a:xfrm>
          <a:prstGeom prst="rect">
            <a:avLst/>
          </a:prstGeom>
        </p:spPr>
        <p:txBody>
          <a:bodyPr lIns="0" tIns="0" rIns="0" bIns="0"/>
          <a:lstStyle>
            <a:lvl1pPr>
              <a:lnSpc>
                <a:spcPts val="1851"/>
              </a:lnSpc>
              <a:spcBef>
                <a:spcPts val="0"/>
              </a:spcBef>
              <a:defRPr lang="ru-RU" sz="1587" b="0" dirty="0">
                <a:latin typeface="+mn-lt"/>
              </a:defRPr>
            </a:lvl1pPr>
          </a:lstStyle>
          <a:p>
            <a:pPr lvl="0">
              <a:lnSpc>
                <a:spcPts val="1851"/>
              </a:lnSpc>
              <a:spcBef>
                <a:spcPts val="0"/>
              </a:spcBef>
            </a:pPr>
            <a:r>
              <a:rPr lang="ru-RU" dirty="0"/>
              <a:t>Рекомендуемый объём текста для блока Рекомендуемый объём текста для блока</a:t>
            </a:r>
          </a:p>
        </p:txBody>
      </p:sp>
      <p:sp>
        <p:nvSpPr>
          <p:cNvPr id="39" name="Текст 4">
            <a:extLst>
              <a:ext uri="{FF2B5EF4-FFF2-40B4-BE49-F238E27FC236}">
                <a16:creationId xmlns:a16="http://schemas.microsoft.com/office/drawing/2014/main" id="{C1E2E10E-124A-4F6E-A68F-6F560685C65E}"/>
              </a:ext>
            </a:extLst>
          </p:cNvPr>
          <p:cNvSpPr>
            <a:spLocks noGrp="1"/>
          </p:cNvSpPr>
          <p:nvPr>
            <p:ph type="body" sz="quarter" idx="73" hasCustomPrompt="1"/>
          </p:nvPr>
        </p:nvSpPr>
        <p:spPr>
          <a:xfrm>
            <a:off x="9287738" y="4183227"/>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3343490749"/>
      </p:ext>
    </p:extLst>
  </p:cSld>
  <p:clrMapOvr>
    <a:masterClrMapping/>
  </p:clrMapOvr>
  <p:extLst mod="1">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контейнеры с фото_5">
    <p:spTree>
      <p:nvGrpSpPr>
        <p:cNvPr id="1" name=""/>
        <p:cNvGrpSpPr/>
        <p:nvPr/>
      </p:nvGrpSpPr>
      <p:grpSpPr>
        <a:xfrm>
          <a:off x="0" y="0"/>
          <a:ext cx="0" cy="0"/>
          <a:chOff x="0" y="0"/>
          <a:chExt cx="0" cy="0"/>
        </a:xfrm>
      </p:grpSpPr>
      <p:sp>
        <p:nvSpPr>
          <p:cNvPr id="43" name="Прямоугольник: скругленные углы 42">
            <a:extLst>
              <a:ext uri="{FF2B5EF4-FFF2-40B4-BE49-F238E27FC236}">
                <a16:creationId xmlns:a16="http://schemas.microsoft.com/office/drawing/2014/main" id="{63AB9C3F-6019-4D04-8B8F-82C4073FB8A2}"/>
              </a:ext>
            </a:extLst>
          </p:cNvPr>
          <p:cNvSpPr/>
          <p:nvPr userDrawn="1"/>
        </p:nvSpPr>
        <p:spPr>
          <a:xfrm>
            <a:off x="417520"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47" name="Прямоугольник: скругленные углы 46">
            <a:extLst>
              <a:ext uri="{FF2B5EF4-FFF2-40B4-BE49-F238E27FC236}">
                <a16:creationId xmlns:a16="http://schemas.microsoft.com/office/drawing/2014/main" id="{F13FB169-6744-4E42-BB4F-E9F65F736243}"/>
              </a:ext>
            </a:extLst>
          </p:cNvPr>
          <p:cNvSpPr/>
          <p:nvPr userDrawn="1"/>
        </p:nvSpPr>
        <p:spPr>
          <a:xfrm>
            <a:off x="5062038"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50" name="Прямоугольник: скругленные углы 49">
            <a:extLst>
              <a:ext uri="{FF2B5EF4-FFF2-40B4-BE49-F238E27FC236}">
                <a16:creationId xmlns:a16="http://schemas.microsoft.com/office/drawing/2014/main" id="{E3DB2C50-DE11-49F6-87F2-A8BC53DD745C}"/>
              </a:ext>
            </a:extLst>
          </p:cNvPr>
          <p:cNvSpPr/>
          <p:nvPr userDrawn="1"/>
        </p:nvSpPr>
        <p:spPr>
          <a:xfrm>
            <a:off x="2739778"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51" name="Рисунок 50">
            <a:extLst>
              <a:ext uri="{FF2B5EF4-FFF2-40B4-BE49-F238E27FC236}">
                <a16:creationId xmlns:a16="http://schemas.microsoft.com/office/drawing/2014/main" id="{F2AF9A1E-5017-4849-9316-D58937766083}"/>
              </a:ext>
            </a:extLst>
          </p:cNvPr>
          <p:cNvSpPr>
            <a:spLocks noGrp="1"/>
          </p:cNvSpPr>
          <p:nvPr>
            <p:ph type="pic" sz="quarter" idx="57"/>
          </p:nvPr>
        </p:nvSpPr>
        <p:spPr>
          <a:xfrm>
            <a:off x="417520"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3" name="Прямоугольник: скругленные углы 52">
            <a:extLst>
              <a:ext uri="{FF2B5EF4-FFF2-40B4-BE49-F238E27FC236}">
                <a16:creationId xmlns:a16="http://schemas.microsoft.com/office/drawing/2014/main" id="{2B3AA6A2-E046-4857-9475-957CA4B2B11C}"/>
              </a:ext>
            </a:extLst>
          </p:cNvPr>
          <p:cNvSpPr/>
          <p:nvPr userDrawn="1"/>
        </p:nvSpPr>
        <p:spPr>
          <a:xfrm>
            <a:off x="9706560"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54" name="Прямоугольник: скругленные углы 53">
            <a:extLst>
              <a:ext uri="{FF2B5EF4-FFF2-40B4-BE49-F238E27FC236}">
                <a16:creationId xmlns:a16="http://schemas.microsoft.com/office/drawing/2014/main" id="{71C7097E-24CB-4F33-AD2D-02889A3261D9}"/>
              </a:ext>
            </a:extLst>
          </p:cNvPr>
          <p:cNvSpPr/>
          <p:nvPr userDrawn="1"/>
        </p:nvSpPr>
        <p:spPr>
          <a:xfrm>
            <a:off x="7384298"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55" name="Рисунок 54">
            <a:extLst>
              <a:ext uri="{FF2B5EF4-FFF2-40B4-BE49-F238E27FC236}">
                <a16:creationId xmlns:a16="http://schemas.microsoft.com/office/drawing/2014/main" id="{A1C10B7C-F164-49CD-945A-B39CC0D3D4B4}"/>
              </a:ext>
            </a:extLst>
          </p:cNvPr>
          <p:cNvSpPr>
            <a:spLocks noGrp="1"/>
          </p:cNvSpPr>
          <p:nvPr>
            <p:ph type="pic" sz="quarter" idx="58"/>
          </p:nvPr>
        </p:nvSpPr>
        <p:spPr>
          <a:xfrm>
            <a:off x="9706561"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6" name="Рисунок 55">
            <a:extLst>
              <a:ext uri="{FF2B5EF4-FFF2-40B4-BE49-F238E27FC236}">
                <a16:creationId xmlns:a16="http://schemas.microsoft.com/office/drawing/2014/main" id="{07146451-3A33-497B-A491-2AF3310D6A93}"/>
              </a:ext>
            </a:extLst>
          </p:cNvPr>
          <p:cNvSpPr>
            <a:spLocks noGrp="1"/>
          </p:cNvSpPr>
          <p:nvPr>
            <p:ph type="pic" sz="quarter" idx="61"/>
          </p:nvPr>
        </p:nvSpPr>
        <p:spPr>
          <a:xfrm>
            <a:off x="2739778"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7" name="Рисунок 56">
            <a:extLst>
              <a:ext uri="{FF2B5EF4-FFF2-40B4-BE49-F238E27FC236}">
                <a16:creationId xmlns:a16="http://schemas.microsoft.com/office/drawing/2014/main" id="{ABD77682-1163-4C89-B1D6-B7C0CB8E1864}"/>
              </a:ext>
            </a:extLst>
          </p:cNvPr>
          <p:cNvSpPr>
            <a:spLocks noGrp="1"/>
          </p:cNvSpPr>
          <p:nvPr>
            <p:ph type="pic" sz="quarter" idx="64"/>
          </p:nvPr>
        </p:nvSpPr>
        <p:spPr>
          <a:xfrm>
            <a:off x="5062040"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58" name="Рисунок 57">
            <a:extLst>
              <a:ext uri="{FF2B5EF4-FFF2-40B4-BE49-F238E27FC236}">
                <a16:creationId xmlns:a16="http://schemas.microsoft.com/office/drawing/2014/main" id="{AD12A8D4-D9FB-4EBF-98B4-75A7A0D7417D}"/>
              </a:ext>
            </a:extLst>
          </p:cNvPr>
          <p:cNvSpPr>
            <a:spLocks noGrp="1"/>
          </p:cNvSpPr>
          <p:nvPr>
            <p:ph type="pic" sz="quarter" idx="67"/>
          </p:nvPr>
        </p:nvSpPr>
        <p:spPr>
          <a:xfrm>
            <a:off x="7384300" y="1916211"/>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1"/>
            <a:ext cx="11366499"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8" y="1010655"/>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8" y="4312172"/>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32793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8" y="432793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8" y="432793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8" y="432793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10"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8"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5"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5"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53" y="3868421"/>
            <a:ext cx="1759839" cy="35943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Tree>
    <p:extLst>
      <p:ext uri="{BB962C8B-B14F-4D97-AF65-F5344CB8AC3E}">
        <p14:creationId xmlns:p14="http://schemas.microsoft.com/office/powerpoint/2010/main" val="2277884332"/>
      </p:ext>
    </p:extLst>
  </p:cSld>
  <p:clrMapOvr>
    <a:masterClrMapping/>
  </p:clrMapOvr>
  <p:extLst mod="1">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контейнеры с фото_5">
    <p:spTree>
      <p:nvGrpSpPr>
        <p:cNvPr id="1" name=""/>
        <p:cNvGrpSpPr/>
        <p:nvPr/>
      </p:nvGrpSpPr>
      <p:grpSpPr>
        <a:xfrm>
          <a:off x="0" y="0"/>
          <a:ext cx="0" cy="0"/>
          <a:chOff x="0" y="0"/>
          <a:chExt cx="0" cy="0"/>
        </a:xfrm>
      </p:grpSpPr>
      <p:sp>
        <p:nvSpPr>
          <p:cNvPr id="54" name="Прямоугольник: скругленные углы 53">
            <a:extLst>
              <a:ext uri="{FF2B5EF4-FFF2-40B4-BE49-F238E27FC236}">
                <a16:creationId xmlns:a16="http://schemas.microsoft.com/office/drawing/2014/main" id="{D50146BB-A220-4CD6-876E-8314F768D2FF}"/>
              </a:ext>
            </a:extLst>
          </p:cNvPr>
          <p:cNvSpPr/>
          <p:nvPr userDrawn="1"/>
        </p:nvSpPr>
        <p:spPr>
          <a:xfrm>
            <a:off x="417520"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43" name="Прямоугольник: скругленные углы 42">
            <a:extLst>
              <a:ext uri="{FF2B5EF4-FFF2-40B4-BE49-F238E27FC236}">
                <a16:creationId xmlns:a16="http://schemas.microsoft.com/office/drawing/2014/main" id="{42FB469C-0F6D-484B-B9B2-2D1ABB4655D6}"/>
              </a:ext>
            </a:extLst>
          </p:cNvPr>
          <p:cNvSpPr/>
          <p:nvPr userDrawn="1"/>
        </p:nvSpPr>
        <p:spPr>
          <a:xfrm>
            <a:off x="5062038"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53" name="Прямоугольник: скругленные углы 52">
            <a:extLst>
              <a:ext uri="{FF2B5EF4-FFF2-40B4-BE49-F238E27FC236}">
                <a16:creationId xmlns:a16="http://schemas.microsoft.com/office/drawing/2014/main" id="{37B4A387-7377-41A5-A172-5536C0897353}"/>
              </a:ext>
            </a:extLst>
          </p:cNvPr>
          <p:cNvSpPr/>
          <p:nvPr userDrawn="1"/>
        </p:nvSpPr>
        <p:spPr>
          <a:xfrm>
            <a:off x="2739778"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50" name="Рисунок 49">
            <a:extLst>
              <a:ext uri="{FF2B5EF4-FFF2-40B4-BE49-F238E27FC236}">
                <a16:creationId xmlns:a16="http://schemas.microsoft.com/office/drawing/2014/main" id="{0C0C02DD-53C2-4D60-BD2B-62D208B377D1}"/>
              </a:ext>
            </a:extLst>
          </p:cNvPr>
          <p:cNvSpPr>
            <a:spLocks noGrp="1"/>
          </p:cNvSpPr>
          <p:nvPr>
            <p:ph type="pic" sz="quarter" idx="57"/>
          </p:nvPr>
        </p:nvSpPr>
        <p:spPr>
          <a:xfrm>
            <a:off x="417520"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25" name="Заголовок 1">
            <a:extLst>
              <a:ext uri="{FF2B5EF4-FFF2-40B4-BE49-F238E27FC236}">
                <a16:creationId xmlns:a16="http://schemas.microsoft.com/office/drawing/2014/main" id="{7CF92CFE-B640-489E-9527-0B463703E06A}"/>
              </a:ext>
            </a:extLst>
          </p:cNvPr>
          <p:cNvSpPr>
            <a:spLocks noGrp="1"/>
          </p:cNvSpPr>
          <p:nvPr>
            <p:ph type="title" hasCustomPrompt="1"/>
          </p:nvPr>
        </p:nvSpPr>
        <p:spPr>
          <a:xfrm>
            <a:off x="417513" y="419101"/>
            <a:ext cx="11366499"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Заголовок</a:t>
            </a:r>
          </a:p>
        </p:txBody>
      </p:sp>
      <p:sp>
        <p:nvSpPr>
          <p:cNvPr id="52" name="Текст 14">
            <a:extLst>
              <a:ext uri="{FF2B5EF4-FFF2-40B4-BE49-F238E27FC236}">
                <a16:creationId xmlns:a16="http://schemas.microsoft.com/office/drawing/2014/main" id="{6DF1114B-D420-4AE6-AE4C-B2FD3C196D41}"/>
              </a:ext>
            </a:extLst>
          </p:cNvPr>
          <p:cNvSpPr>
            <a:spLocks noGrp="1"/>
          </p:cNvSpPr>
          <p:nvPr>
            <p:ph type="body" sz="quarter" idx="56" hasCustomPrompt="1"/>
          </p:nvPr>
        </p:nvSpPr>
        <p:spPr>
          <a:xfrm>
            <a:off x="417518" y="1010655"/>
            <a:ext cx="7282657" cy="521276"/>
          </a:xfrm>
          <a:prstGeom prst="rect">
            <a:avLst/>
          </a:prstGeom>
        </p:spPr>
        <p:txBody>
          <a:bodyPr lIns="0" tIns="0" rIns="0" bIns="0"/>
          <a:lstStyle>
            <a:lvl1pPr>
              <a:lnSpc>
                <a:spcPts val="2027"/>
              </a:lnSpc>
              <a:spcBef>
                <a:spcPts val="0"/>
              </a:spcBef>
              <a:defRPr sz="1763" b="0" strike="noStrike">
                <a:solidFill>
                  <a:schemeClr val="tx1"/>
                </a:solidFill>
                <a:latin typeface="+mn-lt"/>
                <a:ea typeface="Rostelecom Basis" panose="020B0503040504020204" pitchFamily="34" charset="-52"/>
              </a:defRPr>
            </a:lvl1pPr>
          </a:lstStyle>
          <a:p>
            <a:pPr lvl="0"/>
            <a:r>
              <a:rPr lang="ru-RU" dirty="0"/>
              <a:t>Дескриптор с текстом дополнительной информации</a:t>
            </a:r>
            <a:br>
              <a:rPr lang="ru-RU" dirty="0"/>
            </a:br>
            <a:r>
              <a:rPr lang="ru-RU" dirty="0"/>
              <a:t>информация дополнительная информация</a:t>
            </a:r>
          </a:p>
        </p:txBody>
      </p:sp>
      <p:sp>
        <p:nvSpPr>
          <p:cNvPr id="44" name="Текст 14">
            <a:extLst>
              <a:ext uri="{FF2B5EF4-FFF2-40B4-BE49-F238E27FC236}">
                <a16:creationId xmlns:a16="http://schemas.microsoft.com/office/drawing/2014/main" id="{1FE44AA3-EE56-488F-AE95-2EA0BD995E3B}"/>
              </a:ext>
            </a:extLst>
          </p:cNvPr>
          <p:cNvSpPr>
            <a:spLocks noGrp="1"/>
          </p:cNvSpPr>
          <p:nvPr>
            <p:ph type="body" sz="quarter" idx="27" hasCustomPrompt="1"/>
          </p:nvPr>
        </p:nvSpPr>
        <p:spPr>
          <a:xfrm>
            <a:off x="573408" y="4425193"/>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8" name="Прямоугольник: скругленные углы 57">
            <a:extLst>
              <a:ext uri="{FF2B5EF4-FFF2-40B4-BE49-F238E27FC236}">
                <a16:creationId xmlns:a16="http://schemas.microsoft.com/office/drawing/2014/main" id="{81DFF268-5C62-41C9-9A89-EDE20D19DBFE}"/>
              </a:ext>
            </a:extLst>
          </p:cNvPr>
          <p:cNvSpPr/>
          <p:nvPr userDrawn="1"/>
        </p:nvSpPr>
        <p:spPr>
          <a:xfrm>
            <a:off x="9706560"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56" name="Прямоугольник: скругленные углы 55">
            <a:extLst>
              <a:ext uri="{FF2B5EF4-FFF2-40B4-BE49-F238E27FC236}">
                <a16:creationId xmlns:a16="http://schemas.microsoft.com/office/drawing/2014/main" id="{9B31EA8D-6E17-4C1C-ACC2-6DFD5E79D7F9}"/>
              </a:ext>
            </a:extLst>
          </p:cNvPr>
          <p:cNvSpPr/>
          <p:nvPr userDrawn="1"/>
        </p:nvSpPr>
        <p:spPr>
          <a:xfrm>
            <a:off x="7384298" y="1916210"/>
            <a:ext cx="2060233" cy="4053729"/>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solidFill>
                <a:schemeClr val="tx1"/>
              </a:solidFill>
            </a:endParaRPr>
          </a:p>
        </p:txBody>
      </p:sp>
      <p:sp>
        <p:nvSpPr>
          <p:cNvPr id="57" name="Рисунок 56">
            <a:extLst>
              <a:ext uri="{FF2B5EF4-FFF2-40B4-BE49-F238E27FC236}">
                <a16:creationId xmlns:a16="http://schemas.microsoft.com/office/drawing/2014/main" id="{A892E4DF-7435-40ED-ACAA-9BBA8AD3CFBE}"/>
              </a:ext>
            </a:extLst>
          </p:cNvPr>
          <p:cNvSpPr>
            <a:spLocks noGrp="1"/>
          </p:cNvSpPr>
          <p:nvPr>
            <p:ph type="pic" sz="quarter" idx="58"/>
          </p:nvPr>
        </p:nvSpPr>
        <p:spPr>
          <a:xfrm>
            <a:off x="9706561"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33" name="Текст 14">
            <a:extLst>
              <a:ext uri="{FF2B5EF4-FFF2-40B4-BE49-F238E27FC236}">
                <a16:creationId xmlns:a16="http://schemas.microsoft.com/office/drawing/2014/main" id="{99343B03-BF46-4B7D-A8A5-299B2331FC75}"/>
              </a:ext>
            </a:extLst>
          </p:cNvPr>
          <p:cNvSpPr>
            <a:spLocks noGrp="1"/>
          </p:cNvSpPr>
          <p:nvPr>
            <p:ph type="body" sz="quarter" idx="60" hasCustomPrompt="1"/>
          </p:nvPr>
        </p:nvSpPr>
        <p:spPr>
          <a:xfrm>
            <a:off x="9862448" y="444095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1" name="Рисунок 50">
            <a:extLst>
              <a:ext uri="{FF2B5EF4-FFF2-40B4-BE49-F238E27FC236}">
                <a16:creationId xmlns:a16="http://schemas.microsoft.com/office/drawing/2014/main" id="{EF273AB3-7736-4717-AF6B-B388EF3029D3}"/>
              </a:ext>
            </a:extLst>
          </p:cNvPr>
          <p:cNvSpPr>
            <a:spLocks noGrp="1"/>
          </p:cNvSpPr>
          <p:nvPr>
            <p:ph type="pic" sz="quarter" idx="61"/>
          </p:nvPr>
        </p:nvSpPr>
        <p:spPr>
          <a:xfrm>
            <a:off x="2739778"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37" name="Текст 14">
            <a:extLst>
              <a:ext uri="{FF2B5EF4-FFF2-40B4-BE49-F238E27FC236}">
                <a16:creationId xmlns:a16="http://schemas.microsoft.com/office/drawing/2014/main" id="{6BFF0BE4-87E1-49B9-AF78-7970929FDE0D}"/>
              </a:ext>
            </a:extLst>
          </p:cNvPr>
          <p:cNvSpPr>
            <a:spLocks noGrp="1"/>
          </p:cNvSpPr>
          <p:nvPr>
            <p:ph type="body" sz="quarter" idx="63" hasCustomPrompt="1"/>
          </p:nvPr>
        </p:nvSpPr>
        <p:spPr>
          <a:xfrm>
            <a:off x="2895668" y="444095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40" name="Рисунок 39">
            <a:extLst>
              <a:ext uri="{FF2B5EF4-FFF2-40B4-BE49-F238E27FC236}">
                <a16:creationId xmlns:a16="http://schemas.microsoft.com/office/drawing/2014/main" id="{938D9FCE-70CD-432E-A9EA-E7EEECF34F78}"/>
              </a:ext>
            </a:extLst>
          </p:cNvPr>
          <p:cNvSpPr>
            <a:spLocks noGrp="1"/>
          </p:cNvSpPr>
          <p:nvPr>
            <p:ph type="pic" sz="quarter" idx="64"/>
          </p:nvPr>
        </p:nvSpPr>
        <p:spPr>
          <a:xfrm>
            <a:off x="5062040" y="1916207"/>
            <a:ext cx="2060233" cy="1703404"/>
          </a:xfrm>
          <a:custGeom>
            <a:avLst/>
            <a:gdLst>
              <a:gd name="connsiteX0" fmla="*/ 103042 w 2337077"/>
              <a:gd name="connsiteY0" fmla="*/ 0 h 1930525"/>
              <a:gd name="connsiteX1" fmla="*/ 2234035 w 2337077"/>
              <a:gd name="connsiteY1" fmla="*/ 0 h 1930525"/>
              <a:gd name="connsiteX2" fmla="*/ 2337077 w 2337077"/>
              <a:gd name="connsiteY2" fmla="*/ 103042 h 1930525"/>
              <a:gd name="connsiteX3" fmla="*/ 2337077 w 2337077"/>
              <a:gd name="connsiteY3" fmla="*/ 1930525 h 1930525"/>
              <a:gd name="connsiteX4" fmla="*/ 0 w 2337077"/>
              <a:gd name="connsiteY4" fmla="*/ 1930525 h 1930525"/>
              <a:gd name="connsiteX5" fmla="*/ 0 w 2337077"/>
              <a:gd name="connsiteY5" fmla="*/ 103042 h 1930525"/>
              <a:gd name="connsiteX6" fmla="*/ 103042 w 2337077"/>
              <a:gd name="connsiteY6" fmla="*/ 0 h 193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5">
                <a:moveTo>
                  <a:pt x="103042" y="0"/>
                </a:moveTo>
                <a:lnTo>
                  <a:pt x="2234035" y="0"/>
                </a:lnTo>
                <a:cubicBezTo>
                  <a:pt x="2290944" y="0"/>
                  <a:pt x="2337077" y="46133"/>
                  <a:pt x="2337077" y="103042"/>
                </a:cubicBezTo>
                <a:lnTo>
                  <a:pt x="2337077" y="1930525"/>
                </a:lnTo>
                <a:lnTo>
                  <a:pt x="0" y="1930525"/>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1" name="Текст 14">
            <a:extLst>
              <a:ext uri="{FF2B5EF4-FFF2-40B4-BE49-F238E27FC236}">
                <a16:creationId xmlns:a16="http://schemas.microsoft.com/office/drawing/2014/main" id="{D6F653D6-5C49-42C2-B709-704CFD28D8BE}"/>
              </a:ext>
            </a:extLst>
          </p:cNvPr>
          <p:cNvSpPr>
            <a:spLocks noGrp="1"/>
          </p:cNvSpPr>
          <p:nvPr>
            <p:ph type="body" sz="quarter" idx="66" hasCustomPrompt="1"/>
          </p:nvPr>
        </p:nvSpPr>
        <p:spPr>
          <a:xfrm>
            <a:off x="5217928" y="444095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55" name="Рисунок 54">
            <a:extLst>
              <a:ext uri="{FF2B5EF4-FFF2-40B4-BE49-F238E27FC236}">
                <a16:creationId xmlns:a16="http://schemas.microsoft.com/office/drawing/2014/main" id="{2682E8EA-2221-411B-85AB-805032C54548}"/>
              </a:ext>
            </a:extLst>
          </p:cNvPr>
          <p:cNvSpPr>
            <a:spLocks noGrp="1"/>
          </p:cNvSpPr>
          <p:nvPr>
            <p:ph type="pic" sz="quarter" idx="67"/>
          </p:nvPr>
        </p:nvSpPr>
        <p:spPr>
          <a:xfrm>
            <a:off x="7384300" y="1916211"/>
            <a:ext cx="2060233" cy="1703405"/>
          </a:xfrm>
          <a:custGeom>
            <a:avLst/>
            <a:gdLst>
              <a:gd name="connsiteX0" fmla="*/ 103042 w 2337077"/>
              <a:gd name="connsiteY0" fmla="*/ 0 h 1930526"/>
              <a:gd name="connsiteX1" fmla="*/ 2234035 w 2337077"/>
              <a:gd name="connsiteY1" fmla="*/ 0 h 1930526"/>
              <a:gd name="connsiteX2" fmla="*/ 2337077 w 2337077"/>
              <a:gd name="connsiteY2" fmla="*/ 103042 h 1930526"/>
              <a:gd name="connsiteX3" fmla="*/ 2337077 w 2337077"/>
              <a:gd name="connsiteY3" fmla="*/ 1930526 h 1930526"/>
              <a:gd name="connsiteX4" fmla="*/ 0 w 2337077"/>
              <a:gd name="connsiteY4" fmla="*/ 1930526 h 1930526"/>
              <a:gd name="connsiteX5" fmla="*/ 0 w 2337077"/>
              <a:gd name="connsiteY5" fmla="*/ 103042 h 1930526"/>
              <a:gd name="connsiteX6" fmla="*/ 103042 w 2337077"/>
              <a:gd name="connsiteY6" fmla="*/ 0 h 193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077" h="1930526">
                <a:moveTo>
                  <a:pt x="103042" y="0"/>
                </a:moveTo>
                <a:lnTo>
                  <a:pt x="2234035" y="0"/>
                </a:lnTo>
                <a:cubicBezTo>
                  <a:pt x="2290944" y="0"/>
                  <a:pt x="2337077" y="46133"/>
                  <a:pt x="2337077" y="103042"/>
                </a:cubicBezTo>
                <a:lnTo>
                  <a:pt x="2337077" y="1930526"/>
                </a:lnTo>
                <a:lnTo>
                  <a:pt x="0" y="1930526"/>
                </a:lnTo>
                <a:lnTo>
                  <a:pt x="0" y="103042"/>
                </a:lnTo>
                <a:cubicBezTo>
                  <a:pt x="0" y="46133"/>
                  <a:pt x="46133" y="0"/>
                  <a:pt x="103042" y="0"/>
                </a:cubicBezTo>
                <a:close/>
              </a:path>
            </a:pathLst>
          </a:custGeom>
          <a:solidFill>
            <a:schemeClr val="bg1">
              <a:lumMod val="95000"/>
            </a:schemeClr>
          </a:solidFill>
        </p:spPr>
        <p:txBody>
          <a:bodyPr wrap="square" anchor="ctr">
            <a:noAutofit/>
          </a:bodyPr>
          <a:lstStyle>
            <a:lvl1pPr algn="ctr">
              <a:defRPr>
                <a:solidFill>
                  <a:schemeClr val="tx1"/>
                </a:solidFill>
              </a:defRPr>
            </a:lvl1pPr>
          </a:lstStyle>
          <a:p>
            <a:endParaRPr lang="ru-RU" dirty="0"/>
          </a:p>
        </p:txBody>
      </p:sp>
      <p:sp>
        <p:nvSpPr>
          <p:cNvPr id="48" name="Текст 14">
            <a:extLst>
              <a:ext uri="{FF2B5EF4-FFF2-40B4-BE49-F238E27FC236}">
                <a16:creationId xmlns:a16="http://schemas.microsoft.com/office/drawing/2014/main" id="{FF70B736-6BFC-4ADA-87F0-84198232D4BB}"/>
              </a:ext>
            </a:extLst>
          </p:cNvPr>
          <p:cNvSpPr>
            <a:spLocks noGrp="1"/>
          </p:cNvSpPr>
          <p:nvPr>
            <p:ph type="body" sz="quarter" idx="69" hasCustomPrompt="1"/>
          </p:nvPr>
        </p:nvSpPr>
        <p:spPr>
          <a:xfrm>
            <a:off x="7540188" y="4440957"/>
            <a:ext cx="1777669" cy="1468211"/>
          </a:xfrm>
          <a:prstGeom prst="rect">
            <a:avLst/>
          </a:prstGeom>
        </p:spPr>
        <p:txBody>
          <a:bodyPr lIns="0" tIns="0" rIns="0" bIns="0"/>
          <a:lstStyle>
            <a:lvl1pPr>
              <a:lnSpc>
                <a:spcPts val="1851"/>
              </a:lnSpc>
              <a:spcBef>
                <a:spcPts val="0"/>
              </a:spcBef>
              <a:defRPr sz="1587" b="0">
                <a:solidFill>
                  <a:schemeClr val="tx1"/>
                </a:solidFill>
                <a:latin typeface="Rostelecom Basis" panose="020B0503030604040103" pitchFamily="34" charset="0"/>
                <a:ea typeface="Rostelecom Basis" panose="020B0503040504020204" pitchFamily="34" charset="-52"/>
              </a:defRPr>
            </a:lvl1pPr>
          </a:lstStyle>
          <a:p>
            <a:pPr lvl="0"/>
            <a:r>
              <a:rPr lang="ru-RU" dirty="0"/>
              <a:t>Рекомендуемый объём текста для блока объём текста для блока</a:t>
            </a:r>
            <a:br>
              <a:rPr lang="ru-RU" dirty="0"/>
            </a:br>
            <a:r>
              <a:rPr lang="ru-RU" dirty="0"/>
              <a:t>Рекомендуемый объём текста</a:t>
            </a:r>
          </a:p>
        </p:txBody>
      </p:sp>
      <p:sp>
        <p:nvSpPr>
          <p:cNvPr id="26" name="Текст 4">
            <a:extLst>
              <a:ext uri="{FF2B5EF4-FFF2-40B4-BE49-F238E27FC236}">
                <a16:creationId xmlns:a16="http://schemas.microsoft.com/office/drawing/2014/main" id="{8EC3291C-DA35-40EB-B038-332E65B0BFE3}"/>
              </a:ext>
            </a:extLst>
          </p:cNvPr>
          <p:cNvSpPr>
            <a:spLocks noGrp="1"/>
          </p:cNvSpPr>
          <p:nvPr>
            <p:ph type="body" sz="quarter" idx="70" hasCustomPrompt="1"/>
          </p:nvPr>
        </p:nvSpPr>
        <p:spPr>
          <a:xfrm>
            <a:off x="573410" y="3757326"/>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7" name="Текст 4">
            <a:extLst>
              <a:ext uri="{FF2B5EF4-FFF2-40B4-BE49-F238E27FC236}">
                <a16:creationId xmlns:a16="http://schemas.microsoft.com/office/drawing/2014/main" id="{530A3C5B-512D-493D-88E6-00A1DAAD4052}"/>
              </a:ext>
            </a:extLst>
          </p:cNvPr>
          <p:cNvSpPr>
            <a:spLocks noGrp="1"/>
          </p:cNvSpPr>
          <p:nvPr>
            <p:ph type="body" sz="quarter" idx="71" hasCustomPrompt="1"/>
          </p:nvPr>
        </p:nvSpPr>
        <p:spPr>
          <a:xfrm>
            <a:off x="2895668" y="3757326"/>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8" name="Текст 4">
            <a:extLst>
              <a:ext uri="{FF2B5EF4-FFF2-40B4-BE49-F238E27FC236}">
                <a16:creationId xmlns:a16="http://schemas.microsoft.com/office/drawing/2014/main" id="{3E1A2365-83AC-42D6-892E-F6FBAA7E7FB3}"/>
              </a:ext>
            </a:extLst>
          </p:cNvPr>
          <p:cNvSpPr>
            <a:spLocks noGrp="1"/>
          </p:cNvSpPr>
          <p:nvPr>
            <p:ph type="body" sz="quarter" idx="72" hasCustomPrompt="1"/>
          </p:nvPr>
        </p:nvSpPr>
        <p:spPr>
          <a:xfrm>
            <a:off x="5212235" y="3757326"/>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9" name="Текст 4">
            <a:extLst>
              <a:ext uri="{FF2B5EF4-FFF2-40B4-BE49-F238E27FC236}">
                <a16:creationId xmlns:a16="http://schemas.microsoft.com/office/drawing/2014/main" id="{167CD525-EE6B-4980-882B-A95D07598B4C}"/>
              </a:ext>
            </a:extLst>
          </p:cNvPr>
          <p:cNvSpPr>
            <a:spLocks noGrp="1"/>
          </p:cNvSpPr>
          <p:nvPr>
            <p:ph type="body" sz="quarter" idx="73" hasCustomPrompt="1"/>
          </p:nvPr>
        </p:nvSpPr>
        <p:spPr>
          <a:xfrm>
            <a:off x="7534495" y="3757326"/>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49" name="Текст 4">
            <a:extLst>
              <a:ext uri="{FF2B5EF4-FFF2-40B4-BE49-F238E27FC236}">
                <a16:creationId xmlns:a16="http://schemas.microsoft.com/office/drawing/2014/main" id="{C55FF533-80B2-44BA-A8A7-20D6DE87336B}"/>
              </a:ext>
            </a:extLst>
          </p:cNvPr>
          <p:cNvSpPr>
            <a:spLocks noGrp="1"/>
          </p:cNvSpPr>
          <p:nvPr>
            <p:ph type="body" sz="quarter" idx="74" hasCustomPrompt="1"/>
          </p:nvPr>
        </p:nvSpPr>
        <p:spPr>
          <a:xfrm>
            <a:off x="9862453" y="3757326"/>
            <a:ext cx="1759839"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Tree>
    <p:extLst>
      <p:ext uri="{BB962C8B-B14F-4D97-AF65-F5344CB8AC3E}">
        <p14:creationId xmlns:p14="http://schemas.microsoft.com/office/powerpoint/2010/main" val="23616861"/>
      </p:ext>
    </p:extLst>
  </p:cSld>
  <p:clrMapOvr>
    <a:masterClrMapping/>
  </p:clrMapOvr>
  <p:extLst mod="1">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5" y="1699093"/>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5" y="1699095"/>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7" y="4512953"/>
            <a:ext cx="3300860" cy="623831"/>
          </a:xfrm>
          <a:prstGeom prst="rect">
            <a:avLst/>
          </a:prstGeom>
        </p:spPr>
        <p:txBody>
          <a:bodyPr lIns="0" tIns="0" rIns="0" bIns="0"/>
          <a:lstStyle>
            <a:lvl1pPr>
              <a:lnSpc>
                <a:spcPts val="1499"/>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10" y="5348202"/>
            <a:ext cx="1787399"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5" y="5647373"/>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3"/>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5"/>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7" y="4512953"/>
            <a:ext cx="3300860" cy="623831"/>
          </a:xfrm>
          <a:prstGeom prst="rect">
            <a:avLst/>
          </a:prstGeom>
        </p:spPr>
        <p:txBody>
          <a:bodyPr lIns="0" tIns="0" rIns="0" bIns="0"/>
          <a:lstStyle>
            <a:lvl1pPr>
              <a:lnSpc>
                <a:spcPts val="1499"/>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91" y="5348202"/>
            <a:ext cx="1787399"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6" y="5647373"/>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3" y="1699093"/>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3" y="1699095"/>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5" y="4512953"/>
            <a:ext cx="3300860" cy="623831"/>
          </a:xfrm>
          <a:prstGeom prst="rect">
            <a:avLst/>
          </a:prstGeom>
        </p:spPr>
        <p:txBody>
          <a:bodyPr lIns="0" tIns="0" rIns="0" bIns="0"/>
          <a:lstStyle>
            <a:lvl1pPr>
              <a:lnSpc>
                <a:spcPts val="1499"/>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7" y="5348202"/>
            <a:ext cx="1787399"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1" y="5647373"/>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3" y="4081734"/>
            <a:ext cx="3300860" cy="249215"/>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7" y="4081734"/>
            <a:ext cx="3300860" cy="249215"/>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5" y="4081734"/>
            <a:ext cx="3300860" cy="249215"/>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2" name="Текст 14">
            <a:extLst>
              <a:ext uri="{FF2B5EF4-FFF2-40B4-BE49-F238E27FC236}">
                <a16:creationId xmlns:a16="http://schemas.microsoft.com/office/drawing/2014/main" id="{F96ED4C8-4CD1-4064-ABA9-235A1FFFA4E5}"/>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634253793"/>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1" y="457200"/>
            <a:ext cx="3932239"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90" y="987430"/>
            <a:ext cx="6172201"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1" y="2057401"/>
            <a:ext cx="3932239" cy="3811588"/>
          </a:xfrm>
        </p:spPr>
        <p:txBody>
          <a:bodyPr/>
          <a:lstStyle>
            <a:lvl1pPr marL="0" indent="0">
              <a:buNone/>
              <a:defRPr sz="1600"/>
            </a:lvl1pPr>
            <a:lvl2pPr marL="457187" indent="0">
              <a:buNone/>
              <a:defRPr sz="1401"/>
            </a:lvl2pPr>
            <a:lvl3pPr marL="914377" indent="0">
              <a:buNone/>
              <a:defRPr sz="1200"/>
            </a:lvl3pPr>
            <a:lvl4pPr marL="1371566" indent="0">
              <a:buNone/>
              <a:defRPr sz="1001"/>
            </a:lvl4pPr>
            <a:lvl5pPr marL="1828756" indent="0">
              <a:buNone/>
              <a:defRPr sz="1001"/>
            </a:lvl5pPr>
            <a:lvl6pPr marL="2285943" indent="0">
              <a:buNone/>
              <a:defRPr sz="1001"/>
            </a:lvl6pPr>
            <a:lvl7pPr marL="2743133" indent="0">
              <a:buNone/>
              <a:defRPr sz="1001"/>
            </a:lvl7pPr>
            <a:lvl8pPr marL="3200320" indent="0">
              <a:buNone/>
              <a:defRPr sz="1001"/>
            </a:lvl8pPr>
            <a:lvl9pPr marL="3657507" indent="0">
              <a:buNone/>
              <a:defRPr sz="1001"/>
            </a:lvl9pPr>
          </a:lstStyle>
          <a:p>
            <a:pPr lvl="0"/>
            <a:r>
              <a:rPr lang="ru-RU" smtClean="0"/>
              <a:t>Образец текста</a:t>
            </a:r>
          </a:p>
        </p:txBody>
      </p:sp>
      <p:sp>
        <p:nvSpPr>
          <p:cNvPr id="5" name="Дата 4"/>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15894313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тарифы с фото_3">
    <p:spTree>
      <p:nvGrpSpPr>
        <p:cNvPr id="1" name=""/>
        <p:cNvGrpSpPr/>
        <p:nvPr/>
      </p:nvGrpSpPr>
      <p:grpSpPr>
        <a:xfrm>
          <a:off x="0" y="0"/>
          <a:ext cx="0" cy="0"/>
          <a:chOff x="0" y="0"/>
          <a:chExt cx="0" cy="0"/>
        </a:xfrm>
      </p:grpSpPr>
      <p:sp>
        <p:nvSpPr>
          <p:cNvPr id="25" name="Прямоугольник: скругленные углы 24">
            <a:extLst>
              <a:ext uri="{FF2B5EF4-FFF2-40B4-BE49-F238E27FC236}">
                <a16:creationId xmlns:a16="http://schemas.microsoft.com/office/drawing/2014/main" id="{4FB05665-7F03-484E-AE5A-74792F81172D}"/>
              </a:ext>
            </a:extLst>
          </p:cNvPr>
          <p:cNvSpPr/>
          <p:nvPr userDrawn="1"/>
        </p:nvSpPr>
        <p:spPr>
          <a:xfrm>
            <a:off x="411155" y="1699093"/>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34" name="Рисунок 41">
            <a:extLst>
              <a:ext uri="{FF2B5EF4-FFF2-40B4-BE49-F238E27FC236}">
                <a16:creationId xmlns:a16="http://schemas.microsoft.com/office/drawing/2014/main" id="{9F8073DE-7359-43AE-A0E8-EB50A04B7CD3}"/>
              </a:ext>
            </a:extLst>
          </p:cNvPr>
          <p:cNvSpPr>
            <a:spLocks noGrp="1"/>
          </p:cNvSpPr>
          <p:nvPr>
            <p:ph type="pic" sz="quarter" idx="57"/>
          </p:nvPr>
        </p:nvSpPr>
        <p:spPr>
          <a:xfrm>
            <a:off x="411155" y="1699095"/>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36" name="Текст 14">
            <a:extLst>
              <a:ext uri="{FF2B5EF4-FFF2-40B4-BE49-F238E27FC236}">
                <a16:creationId xmlns:a16="http://schemas.microsoft.com/office/drawing/2014/main" id="{60B2EFAA-79F3-41EC-8DD8-9D0D2F4DBEB7}"/>
              </a:ext>
            </a:extLst>
          </p:cNvPr>
          <p:cNvSpPr>
            <a:spLocks noGrp="1"/>
          </p:cNvSpPr>
          <p:nvPr>
            <p:ph type="body" sz="quarter" idx="27" hasCustomPrompt="1"/>
          </p:nvPr>
        </p:nvSpPr>
        <p:spPr>
          <a:xfrm>
            <a:off x="573407" y="4620530"/>
            <a:ext cx="3300860" cy="623831"/>
          </a:xfrm>
          <a:prstGeom prst="rect">
            <a:avLst/>
          </a:prstGeom>
        </p:spPr>
        <p:txBody>
          <a:bodyPr lIns="0" tIns="0" rIns="0" bIns="0"/>
          <a:lstStyle>
            <a:lvl1pPr>
              <a:lnSpc>
                <a:spcPts val="1499"/>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37" name="Текст 14">
            <a:extLst>
              <a:ext uri="{FF2B5EF4-FFF2-40B4-BE49-F238E27FC236}">
                <a16:creationId xmlns:a16="http://schemas.microsoft.com/office/drawing/2014/main" id="{A04928F1-C448-49C1-80F2-155313E89501}"/>
              </a:ext>
            </a:extLst>
          </p:cNvPr>
          <p:cNvSpPr>
            <a:spLocks noGrp="1"/>
          </p:cNvSpPr>
          <p:nvPr>
            <p:ph type="body" sz="quarter" idx="86" hasCustomPrompt="1"/>
          </p:nvPr>
        </p:nvSpPr>
        <p:spPr>
          <a:xfrm>
            <a:off x="577510" y="5348202"/>
            <a:ext cx="1787399"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8" name="Текст 14">
            <a:extLst>
              <a:ext uri="{FF2B5EF4-FFF2-40B4-BE49-F238E27FC236}">
                <a16:creationId xmlns:a16="http://schemas.microsoft.com/office/drawing/2014/main" id="{D82DC0D8-DB9A-49D3-9DC1-E09FA9995AA7}"/>
              </a:ext>
            </a:extLst>
          </p:cNvPr>
          <p:cNvSpPr>
            <a:spLocks noGrp="1"/>
          </p:cNvSpPr>
          <p:nvPr>
            <p:ph type="body" sz="quarter" idx="87" hasCustomPrompt="1"/>
          </p:nvPr>
        </p:nvSpPr>
        <p:spPr>
          <a:xfrm>
            <a:off x="573405" y="5647373"/>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39" name="Прямоугольник: скругленные углы 38">
            <a:extLst>
              <a:ext uri="{FF2B5EF4-FFF2-40B4-BE49-F238E27FC236}">
                <a16:creationId xmlns:a16="http://schemas.microsoft.com/office/drawing/2014/main" id="{B672E5F8-8427-4009-9708-493E45AEC794}"/>
              </a:ext>
            </a:extLst>
          </p:cNvPr>
          <p:cNvSpPr/>
          <p:nvPr userDrawn="1"/>
        </p:nvSpPr>
        <p:spPr>
          <a:xfrm>
            <a:off x="4270835" y="1699093"/>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0" name="Рисунок 41">
            <a:extLst>
              <a:ext uri="{FF2B5EF4-FFF2-40B4-BE49-F238E27FC236}">
                <a16:creationId xmlns:a16="http://schemas.microsoft.com/office/drawing/2014/main" id="{F48FF35C-11C7-4130-BFB4-04CD026C03C6}"/>
              </a:ext>
            </a:extLst>
          </p:cNvPr>
          <p:cNvSpPr>
            <a:spLocks noGrp="1"/>
          </p:cNvSpPr>
          <p:nvPr>
            <p:ph type="pic" sz="quarter" idx="88"/>
          </p:nvPr>
        </p:nvSpPr>
        <p:spPr>
          <a:xfrm>
            <a:off x="4270835" y="1699095"/>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45" name="Текст 14">
            <a:extLst>
              <a:ext uri="{FF2B5EF4-FFF2-40B4-BE49-F238E27FC236}">
                <a16:creationId xmlns:a16="http://schemas.microsoft.com/office/drawing/2014/main" id="{29514A6D-A967-4ED8-AEFF-C852BAD3F010}"/>
              </a:ext>
            </a:extLst>
          </p:cNvPr>
          <p:cNvSpPr>
            <a:spLocks noGrp="1"/>
          </p:cNvSpPr>
          <p:nvPr>
            <p:ph type="body" sz="quarter" idx="90" hasCustomPrompt="1"/>
          </p:nvPr>
        </p:nvSpPr>
        <p:spPr>
          <a:xfrm>
            <a:off x="4433087" y="4620530"/>
            <a:ext cx="3300860" cy="623831"/>
          </a:xfrm>
          <a:prstGeom prst="rect">
            <a:avLst/>
          </a:prstGeom>
        </p:spPr>
        <p:txBody>
          <a:bodyPr lIns="0" tIns="0" rIns="0" bIns="0"/>
          <a:lstStyle>
            <a:lvl1pPr>
              <a:lnSpc>
                <a:spcPts val="1499"/>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46" name="Текст 14">
            <a:extLst>
              <a:ext uri="{FF2B5EF4-FFF2-40B4-BE49-F238E27FC236}">
                <a16:creationId xmlns:a16="http://schemas.microsoft.com/office/drawing/2014/main" id="{0FDC4318-5533-4514-9D05-41A8D480CEED}"/>
              </a:ext>
            </a:extLst>
          </p:cNvPr>
          <p:cNvSpPr>
            <a:spLocks noGrp="1"/>
          </p:cNvSpPr>
          <p:nvPr>
            <p:ph type="body" sz="quarter" idx="91" hasCustomPrompt="1"/>
          </p:nvPr>
        </p:nvSpPr>
        <p:spPr>
          <a:xfrm>
            <a:off x="4437191" y="5348202"/>
            <a:ext cx="1787399"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7" name="Текст 14">
            <a:extLst>
              <a:ext uri="{FF2B5EF4-FFF2-40B4-BE49-F238E27FC236}">
                <a16:creationId xmlns:a16="http://schemas.microsoft.com/office/drawing/2014/main" id="{FCDE3435-89BE-4AA9-88FF-B6931735B4DD}"/>
              </a:ext>
            </a:extLst>
          </p:cNvPr>
          <p:cNvSpPr>
            <a:spLocks noGrp="1"/>
          </p:cNvSpPr>
          <p:nvPr>
            <p:ph type="body" sz="quarter" idx="92" hasCustomPrompt="1"/>
          </p:nvPr>
        </p:nvSpPr>
        <p:spPr>
          <a:xfrm>
            <a:off x="4433086" y="5647373"/>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48" name="Прямоугольник: скругленные углы 47">
            <a:extLst>
              <a:ext uri="{FF2B5EF4-FFF2-40B4-BE49-F238E27FC236}">
                <a16:creationId xmlns:a16="http://schemas.microsoft.com/office/drawing/2014/main" id="{9715759A-1FE9-4BAF-80D3-FCEF9DD6DEF7}"/>
              </a:ext>
            </a:extLst>
          </p:cNvPr>
          <p:cNvSpPr/>
          <p:nvPr userDrawn="1"/>
        </p:nvSpPr>
        <p:spPr>
          <a:xfrm>
            <a:off x="8146563" y="1699093"/>
            <a:ext cx="3637452"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9" name="Рисунок 41">
            <a:extLst>
              <a:ext uri="{FF2B5EF4-FFF2-40B4-BE49-F238E27FC236}">
                <a16:creationId xmlns:a16="http://schemas.microsoft.com/office/drawing/2014/main" id="{E68A2ACA-12AA-4EAE-BF2D-37AA349B1A53}"/>
              </a:ext>
            </a:extLst>
          </p:cNvPr>
          <p:cNvSpPr>
            <a:spLocks noGrp="1"/>
          </p:cNvSpPr>
          <p:nvPr>
            <p:ph type="pic" sz="quarter" idx="93"/>
          </p:nvPr>
        </p:nvSpPr>
        <p:spPr>
          <a:xfrm>
            <a:off x="8146563" y="1699095"/>
            <a:ext cx="3637452"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51" name="Текст 14">
            <a:extLst>
              <a:ext uri="{FF2B5EF4-FFF2-40B4-BE49-F238E27FC236}">
                <a16:creationId xmlns:a16="http://schemas.microsoft.com/office/drawing/2014/main" id="{A1003B66-7B13-4394-AEE4-7C6C25A5FC37}"/>
              </a:ext>
            </a:extLst>
          </p:cNvPr>
          <p:cNvSpPr>
            <a:spLocks noGrp="1"/>
          </p:cNvSpPr>
          <p:nvPr>
            <p:ph type="body" sz="quarter" idx="95" hasCustomPrompt="1"/>
          </p:nvPr>
        </p:nvSpPr>
        <p:spPr>
          <a:xfrm>
            <a:off x="8308815" y="4620530"/>
            <a:ext cx="3300860" cy="623831"/>
          </a:xfrm>
          <a:prstGeom prst="rect">
            <a:avLst/>
          </a:prstGeom>
        </p:spPr>
        <p:txBody>
          <a:bodyPr lIns="0" tIns="0" rIns="0" bIns="0"/>
          <a:lstStyle>
            <a:lvl1pPr>
              <a:lnSpc>
                <a:spcPts val="1499"/>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a:t>
            </a:r>
            <a:br>
              <a:rPr lang="ru-RU" dirty="0"/>
            </a:br>
            <a:r>
              <a:rPr lang="ru-RU" dirty="0"/>
              <a:t>текст для дополнительной информации</a:t>
            </a:r>
            <a:br>
              <a:rPr lang="ru-RU" dirty="0"/>
            </a:br>
            <a:r>
              <a:rPr lang="ru-RU" dirty="0"/>
              <a:t>текст дополнительной информации</a:t>
            </a:r>
          </a:p>
        </p:txBody>
      </p:sp>
      <p:sp>
        <p:nvSpPr>
          <p:cNvPr id="52" name="Текст 14">
            <a:extLst>
              <a:ext uri="{FF2B5EF4-FFF2-40B4-BE49-F238E27FC236}">
                <a16:creationId xmlns:a16="http://schemas.microsoft.com/office/drawing/2014/main" id="{D3B21094-647B-4841-96E0-C9E5F0374CBE}"/>
              </a:ext>
            </a:extLst>
          </p:cNvPr>
          <p:cNvSpPr>
            <a:spLocks noGrp="1"/>
          </p:cNvSpPr>
          <p:nvPr>
            <p:ph type="body" sz="quarter" idx="96" hasCustomPrompt="1"/>
          </p:nvPr>
        </p:nvSpPr>
        <p:spPr>
          <a:xfrm>
            <a:off x="8312917" y="5348202"/>
            <a:ext cx="1787399"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3" name="Текст 14">
            <a:extLst>
              <a:ext uri="{FF2B5EF4-FFF2-40B4-BE49-F238E27FC236}">
                <a16:creationId xmlns:a16="http://schemas.microsoft.com/office/drawing/2014/main" id="{5EFAA911-701D-4C9C-8DEB-5367E166FC73}"/>
              </a:ext>
            </a:extLst>
          </p:cNvPr>
          <p:cNvSpPr>
            <a:spLocks noGrp="1"/>
          </p:cNvSpPr>
          <p:nvPr>
            <p:ph type="body" sz="quarter" idx="97" hasCustomPrompt="1"/>
          </p:nvPr>
        </p:nvSpPr>
        <p:spPr>
          <a:xfrm>
            <a:off x="8308811" y="5647373"/>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54" name="Заголовок 1">
            <a:extLst>
              <a:ext uri="{FF2B5EF4-FFF2-40B4-BE49-F238E27FC236}">
                <a16:creationId xmlns:a16="http://schemas.microsoft.com/office/drawing/2014/main" id="{B68D6BD7-6049-4416-A701-1AA0D7D1F617}"/>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3" name="Текст 4">
            <a:extLst>
              <a:ext uri="{FF2B5EF4-FFF2-40B4-BE49-F238E27FC236}">
                <a16:creationId xmlns:a16="http://schemas.microsoft.com/office/drawing/2014/main" id="{D9FC6C56-E5C7-494E-A82B-C0E93EC1A4F4}"/>
              </a:ext>
            </a:extLst>
          </p:cNvPr>
          <p:cNvSpPr>
            <a:spLocks noGrp="1"/>
          </p:cNvSpPr>
          <p:nvPr>
            <p:ph type="body" sz="quarter" idx="67" hasCustomPrompt="1"/>
          </p:nvPr>
        </p:nvSpPr>
        <p:spPr>
          <a:xfrm>
            <a:off x="574443" y="4001054"/>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4" name="Текст 4">
            <a:extLst>
              <a:ext uri="{FF2B5EF4-FFF2-40B4-BE49-F238E27FC236}">
                <a16:creationId xmlns:a16="http://schemas.microsoft.com/office/drawing/2014/main" id="{5E89A580-AFA6-4E2C-B26D-FABFE8192DC2}"/>
              </a:ext>
            </a:extLst>
          </p:cNvPr>
          <p:cNvSpPr>
            <a:spLocks noGrp="1"/>
          </p:cNvSpPr>
          <p:nvPr>
            <p:ph type="body" sz="quarter" idx="98" hasCustomPrompt="1"/>
          </p:nvPr>
        </p:nvSpPr>
        <p:spPr>
          <a:xfrm>
            <a:off x="4433087" y="4001054"/>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26" name="Текст 4">
            <a:extLst>
              <a:ext uri="{FF2B5EF4-FFF2-40B4-BE49-F238E27FC236}">
                <a16:creationId xmlns:a16="http://schemas.microsoft.com/office/drawing/2014/main" id="{20A7E3AB-D076-4B54-90CD-A327DC8F0158}"/>
              </a:ext>
            </a:extLst>
          </p:cNvPr>
          <p:cNvSpPr>
            <a:spLocks noGrp="1"/>
          </p:cNvSpPr>
          <p:nvPr>
            <p:ph type="body" sz="quarter" idx="99" hasCustomPrompt="1"/>
          </p:nvPr>
        </p:nvSpPr>
        <p:spPr>
          <a:xfrm>
            <a:off x="8308815" y="4001054"/>
            <a:ext cx="330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14">
            <a:extLst>
              <a:ext uri="{FF2B5EF4-FFF2-40B4-BE49-F238E27FC236}">
                <a16:creationId xmlns:a16="http://schemas.microsoft.com/office/drawing/2014/main" id="{D5EC8ED3-C794-4358-AB09-47C21E7F7C35}"/>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586161359"/>
      </p:ext>
    </p:extLst>
  </p:cSld>
  <p:clrMapOvr>
    <a:masterClrMapping/>
  </p:clrMapOvr>
  <p:extLst mod="1">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7" y="1701895"/>
            <a:ext cx="5565895"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9"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0199" y="2361455"/>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4301" y="315456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4301" y="3440992"/>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7" y="1701895"/>
            <a:ext cx="5565895"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9"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0196" y="1892685"/>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0873" y="2361455"/>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4973" y="315456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4975" y="3440992"/>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0869" y="1892685"/>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7" y="3951486"/>
            <a:ext cx="5565895"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9" y="3951486"/>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0199" y="4611046"/>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4301" y="5404158"/>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4301" y="5690581"/>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7" y="3951486"/>
            <a:ext cx="5565895"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9" y="3951486"/>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0196" y="4142277"/>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0873" y="4611046"/>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4973" y="5404158"/>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4975" y="5690581"/>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0869" y="4142277"/>
            <a:ext cx="2412171" cy="284263"/>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8" name="Текст 14">
            <a:extLst>
              <a:ext uri="{FF2B5EF4-FFF2-40B4-BE49-F238E27FC236}">
                <a16:creationId xmlns:a16="http://schemas.microsoft.com/office/drawing/2014/main" id="{1FBD9820-38AE-49C4-9ADD-55FD09A3F51D}"/>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3164325898"/>
      </p:ext>
    </p:extLst>
  </p:cSld>
  <p:clrMapOvr>
    <a:masterClrMapping/>
  </p:clrMapOvr>
  <p:extLst mod="1">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тарифы с фото_4">
    <p:spTree>
      <p:nvGrpSpPr>
        <p:cNvPr id="1" name=""/>
        <p:cNvGrpSpPr/>
        <p:nvPr/>
      </p:nvGrpSpPr>
      <p:grpSpPr>
        <a:xfrm>
          <a:off x="0" y="0"/>
          <a:ext cx="0" cy="0"/>
          <a:chOff x="0" y="0"/>
          <a:chExt cx="0" cy="0"/>
        </a:xfrm>
      </p:grpSpPr>
      <p:sp>
        <p:nvSpPr>
          <p:cNvPr id="78" name="Прямоугольник: скругленные углы 77">
            <a:extLst>
              <a:ext uri="{FF2B5EF4-FFF2-40B4-BE49-F238E27FC236}">
                <a16:creationId xmlns:a16="http://schemas.microsoft.com/office/drawing/2014/main" id="{8A26E6AF-6FB1-46CD-98D2-C89604DD037D}"/>
              </a:ext>
            </a:extLst>
          </p:cNvPr>
          <p:cNvSpPr/>
          <p:nvPr userDrawn="1"/>
        </p:nvSpPr>
        <p:spPr>
          <a:xfrm>
            <a:off x="411157" y="1701895"/>
            <a:ext cx="5565895"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79" name="Рисунок 36">
            <a:extLst>
              <a:ext uri="{FF2B5EF4-FFF2-40B4-BE49-F238E27FC236}">
                <a16:creationId xmlns:a16="http://schemas.microsoft.com/office/drawing/2014/main" id="{EF493B13-7DF1-4573-93F5-C548AF65FAB7}"/>
              </a:ext>
            </a:extLst>
          </p:cNvPr>
          <p:cNvSpPr>
            <a:spLocks noGrp="1"/>
          </p:cNvSpPr>
          <p:nvPr>
            <p:ph type="pic" sz="quarter" idx="37"/>
          </p:nvPr>
        </p:nvSpPr>
        <p:spPr>
          <a:xfrm>
            <a:off x="411159" y="1701895"/>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81" name="Текст 14">
            <a:extLst>
              <a:ext uri="{FF2B5EF4-FFF2-40B4-BE49-F238E27FC236}">
                <a16:creationId xmlns:a16="http://schemas.microsoft.com/office/drawing/2014/main" id="{E6970BE5-40B2-40B1-8A50-6E07FDA4F842}"/>
              </a:ext>
            </a:extLst>
          </p:cNvPr>
          <p:cNvSpPr>
            <a:spLocks noGrp="1"/>
          </p:cNvSpPr>
          <p:nvPr>
            <p:ph type="body" sz="quarter" idx="27" hasCustomPrompt="1"/>
          </p:nvPr>
        </p:nvSpPr>
        <p:spPr>
          <a:xfrm>
            <a:off x="3321665" y="2513855"/>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82" name="Текст 14">
            <a:extLst>
              <a:ext uri="{FF2B5EF4-FFF2-40B4-BE49-F238E27FC236}">
                <a16:creationId xmlns:a16="http://schemas.microsoft.com/office/drawing/2014/main" id="{DF31AE30-991C-4DD6-A781-30D35DAC438F}"/>
              </a:ext>
            </a:extLst>
          </p:cNvPr>
          <p:cNvSpPr>
            <a:spLocks noGrp="1"/>
          </p:cNvSpPr>
          <p:nvPr>
            <p:ph type="body" sz="quarter" idx="86" hasCustomPrompt="1"/>
          </p:nvPr>
        </p:nvSpPr>
        <p:spPr>
          <a:xfrm>
            <a:off x="3325765" y="315456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83" name="Текст 14">
            <a:extLst>
              <a:ext uri="{FF2B5EF4-FFF2-40B4-BE49-F238E27FC236}">
                <a16:creationId xmlns:a16="http://schemas.microsoft.com/office/drawing/2014/main" id="{0BFA1264-86DA-4C14-9553-A51F154B296C}"/>
              </a:ext>
            </a:extLst>
          </p:cNvPr>
          <p:cNvSpPr>
            <a:spLocks noGrp="1"/>
          </p:cNvSpPr>
          <p:nvPr>
            <p:ph type="body" sz="quarter" idx="87" hasCustomPrompt="1"/>
          </p:nvPr>
        </p:nvSpPr>
        <p:spPr>
          <a:xfrm>
            <a:off x="3325766" y="3440992"/>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84" name="Прямоугольник: скругленные углы 83">
            <a:extLst>
              <a:ext uri="{FF2B5EF4-FFF2-40B4-BE49-F238E27FC236}">
                <a16:creationId xmlns:a16="http://schemas.microsoft.com/office/drawing/2014/main" id="{04291154-D6D4-4C36-A22C-FB49ACD07880}"/>
              </a:ext>
            </a:extLst>
          </p:cNvPr>
          <p:cNvSpPr/>
          <p:nvPr userDrawn="1"/>
        </p:nvSpPr>
        <p:spPr>
          <a:xfrm>
            <a:off x="6214957" y="1701895"/>
            <a:ext cx="5565895"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85" name="Рисунок 52">
            <a:extLst>
              <a:ext uri="{FF2B5EF4-FFF2-40B4-BE49-F238E27FC236}">
                <a16:creationId xmlns:a16="http://schemas.microsoft.com/office/drawing/2014/main" id="{327D0C3F-A8A4-40B7-97E8-2B644F735CD5}"/>
              </a:ext>
            </a:extLst>
          </p:cNvPr>
          <p:cNvSpPr>
            <a:spLocks noGrp="1"/>
          </p:cNvSpPr>
          <p:nvPr>
            <p:ph type="pic" sz="quarter" idx="93"/>
          </p:nvPr>
        </p:nvSpPr>
        <p:spPr>
          <a:xfrm>
            <a:off x="6214959" y="1701895"/>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88" name="Заголовок 1">
            <a:extLst>
              <a:ext uri="{FF2B5EF4-FFF2-40B4-BE49-F238E27FC236}">
                <a16:creationId xmlns:a16="http://schemas.microsoft.com/office/drawing/2014/main" id="{E0BFA535-883E-4675-8985-6C32A94C89C1}"/>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29" name="Текст 4">
            <a:extLst>
              <a:ext uri="{FF2B5EF4-FFF2-40B4-BE49-F238E27FC236}">
                <a16:creationId xmlns:a16="http://schemas.microsoft.com/office/drawing/2014/main" id="{41ABE565-0E31-4116-BCF4-F56E433BF4F7}"/>
              </a:ext>
            </a:extLst>
          </p:cNvPr>
          <p:cNvSpPr>
            <a:spLocks noGrp="1"/>
          </p:cNvSpPr>
          <p:nvPr>
            <p:ph type="body" sz="quarter" idx="70" hasCustomPrompt="1"/>
          </p:nvPr>
        </p:nvSpPr>
        <p:spPr>
          <a:xfrm>
            <a:off x="3321661"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0" name="Текст 14">
            <a:extLst>
              <a:ext uri="{FF2B5EF4-FFF2-40B4-BE49-F238E27FC236}">
                <a16:creationId xmlns:a16="http://schemas.microsoft.com/office/drawing/2014/main" id="{FF74B28F-7728-4178-9188-26FEEE4A5ED9}"/>
              </a:ext>
            </a:extLst>
          </p:cNvPr>
          <p:cNvSpPr>
            <a:spLocks noGrp="1"/>
          </p:cNvSpPr>
          <p:nvPr>
            <p:ph type="body" sz="quarter" idx="115" hasCustomPrompt="1"/>
          </p:nvPr>
        </p:nvSpPr>
        <p:spPr>
          <a:xfrm>
            <a:off x="9111467" y="2513855"/>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31" name="Текст 14">
            <a:extLst>
              <a:ext uri="{FF2B5EF4-FFF2-40B4-BE49-F238E27FC236}">
                <a16:creationId xmlns:a16="http://schemas.microsoft.com/office/drawing/2014/main" id="{3605810A-7BF5-4A30-8225-135B2DA63BD0}"/>
              </a:ext>
            </a:extLst>
          </p:cNvPr>
          <p:cNvSpPr>
            <a:spLocks noGrp="1"/>
          </p:cNvSpPr>
          <p:nvPr>
            <p:ph type="body" sz="quarter" idx="116" hasCustomPrompt="1"/>
          </p:nvPr>
        </p:nvSpPr>
        <p:spPr>
          <a:xfrm>
            <a:off x="9115568" y="3154567"/>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32" name="Текст 14">
            <a:extLst>
              <a:ext uri="{FF2B5EF4-FFF2-40B4-BE49-F238E27FC236}">
                <a16:creationId xmlns:a16="http://schemas.microsoft.com/office/drawing/2014/main" id="{8E3C83F6-6957-4CA8-90CB-6E0420BAAC4D}"/>
              </a:ext>
            </a:extLst>
          </p:cNvPr>
          <p:cNvSpPr>
            <a:spLocks noGrp="1"/>
          </p:cNvSpPr>
          <p:nvPr>
            <p:ph type="body" sz="quarter" idx="117" hasCustomPrompt="1"/>
          </p:nvPr>
        </p:nvSpPr>
        <p:spPr>
          <a:xfrm>
            <a:off x="9115567" y="3440992"/>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33" name="Текст 4">
            <a:extLst>
              <a:ext uri="{FF2B5EF4-FFF2-40B4-BE49-F238E27FC236}">
                <a16:creationId xmlns:a16="http://schemas.microsoft.com/office/drawing/2014/main" id="{BFED5189-2F39-43F4-871E-2A7F5B0A19B8}"/>
              </a:ext>
            </a:extLst>
          </p:cNvPr>
          <p:cNvSpPr>
            <a:spLocks noGrp="1"/>
          </p:cNvSpPr>
          <p:nvPr>
            <p:ph type="body" sz="quarter" idx="118" hasCustomPrompt="1"/>
          </p:nvPr>
        </p:nvSpPr>
        <p:spPr>
          <a:xfrm>
            <a:off x="9111461" y="186578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42" name="Прямоугольник: скругленные углы 41">
            <a:extLst>
              <a:ext uri="{FF2B5EF4-FFF2-40B4-BE49-F238E27FC236}">
                <a16:creationId xmlns:a16="http://schemas.microsoft.com/office/drawing/2014/main" id="{26BFDF3F-9EA4-4E9D-8A65-7B9F5195822D}"/>
              </a:ext>
            </a:extLst>
          </p:cNvPr>
          <p:cNvSpPr/>
          <p:nvPr userDrawn="1"/>
        </p:nvSpPr>
        <p:spPr>
          <a:xfrm>
            <a:off x="411157" y="3951486"/>
            <a:ext cx="5565895"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3" name="Рисунок 36">
            <a:extLst>
              <a:ext uri="{FF2B5EF4-FFF2-40B4-BE49-F238E27FC236}">
                <a16:creationId xmlns:a16="http://schemas.microsoft.com/office/drawing/2014/main" id="{A057F633-BC55-41C6-9046-0F831D4B1712}"/>
              </a:ext>
            </a:extLst>
          </p:cNvPr>
          <p:cNvSpPr>
            <a:spLocks noGrp="1"/>
          </p:cNvSpPr>
          <p:nvPr>
            <p:ph type="pic" sz="quarter" idx="119"/>
          </p:nvPr>
        </p:nvSpPr>
        <p:spPr>
          <a:xfrm>
            <a:off x="411159" y="3951486"/>
            <a:ext cx="267743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44" name="Текст 14">
            <a:extLst>
              <a:ext uri="{FF2B5EF4-FFF2-40B4-BE49-F238E27FC236}">
                <a16:creationId xmlns:a16="http://schemas.microsoft.com/office/drawing/2014/main" id="{BBBEB6C8-3F7F-4215-B08F-43DC81FA0F4F}"/>
              </a:ext>
            </a:extLst>
          </p:cNvPr>
          <p:cNvSpPr>
            <a:spLocks noGrp="1"/>
          </p:cNvSpPr>
          <p:nvPr>
            <p:ph type="body" sz="quarter" idx="120" hasCustomPrompt="1"/>
          </p:nvPr>
        </p:nvSpPr>
        <p:spPr>
          <a:xfrm>
            <a:off x="3321665" y="4763446"/>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45" name="Текст 14">
            <a:extLst>
              <a:ext uri="{FF2B5EF4-FFF2-40B4-BE49-F238E27FC236}">
                <a16:creationId xmlns:a16="http://schemas.microsoft.com/office/drawing/2014/main" id="{98D11D6F-A3F6-4AB4-A800-FFE84AF7DA7C}"/>
              </a:ext>
            </a:extLst>
          </p:cNvPr>
          <p:cNvSpPr>
            <a:spLocks noGrp="1"/>
          </p:cNvSpPr>
          <p:nvPr>
            <p:ph type="body" sz="quarter" idx="121" hasCustomPrompt="1"/>
          </p:nvPr>
        </p:nvSpPr>
        <p:spPr>
          <a:xfrm>
            <a:off x="3325765" y="5404158"/>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46" name="Текст 14">
            <a:extLst>
              <a:ext uri="{FF2B5EF4-FFF2-40B4-BE49-F238E27FC236}">
                <a16:creationId xmlns:a16="http://schemas.microsoft.com/office/drawing/2014/main" id="{6F0281C9-DC67-4FCB-8900-92C09A291ED9}"/>
              </a:ext>
            </a:extLst>
          </p:cNvPr>
          <p:cNvSpPr>
            <a:spLocks noGrp="1"/>
          </p:cNvSpPr>
          <p:nvPr>
            <p:ph type="body" sz="quarter" idx="122" hasCustomPrompt="1"/>
          </p:nvPr>
        </p:nvSpPr>
        <p:spPr>
          <a:xfrm>
            <a:off x="3325766" y="5690581"/>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47" name="Прямоугольник: скругленные углы 46">
            <a:extLst>
              <a:ext uri="{FF2B5EF4-FFF2-40B4-BE49-F238E27FC236}">
                <a16:creationId xmlns:a16="http://schemas.microsoft.com/office/drawing/2014/main" id="{8030EB42-1EA4-4667-AB5B-59B35D0F6E46}"/>
              </a:ext>
            </a:extLst>
          </p:cNvPr>
          <p:cNvSpPr/>
          <p:nvPr userDrawn="1"/>
        </p:nvSpPr>
        <p:spPr>
          <a:xfrm>
            <a:off x="6214957" y="3951486"/>
            <a:ext cx="5565895" cy="2017060"/>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48" name="Рисунок 52">
            <a:extLst>
              <a:ext uri="{FF2B5EF4-FFF2-40B4-BE49-F238E27FC236}">
                <a16:creationId xmlns:a16="http://schemas.microsoft.com/office/drawing/2014/main" id="{8D8B7775-15F0-4002-9AF5-6A27E4E4728D}"/>
              </a:ext>
            </a:extLst>
          </p:cNvPr>
          <p:cNvSpPr>
            <a:spLocks noGrp="1"/>
          </p:cNvSpPr>
          <p:nvPr>
            <p:ph type="pic" sz="quarter" idx="123"/>
          </p:nvPr>
        </p:nvSpPr>
        <p:spPr>
          <a:xfrm>
            <a:off x="6214959" y="3951486"/>
            <a:ext cx="2661751" cy="2017060"/>
          </a:xfrm>
          <a:custGeom>
            <a:avLst/>
            <a:gdLst>
              <a:gd name="connsiteX0" fmla="*/ 100790 w 3037211"/>
              <a:gd name="connsiteY0" fmla="*/ 0 h 2286001"/>
              <a:gd name="connsiteX1" fmla="*/ 3037211 w 3037211"/>
              <a:gd name="connsiteY1" fmla="*/ 0 h 2286001"/>
              <a:gd name="connsiteX2" fmla="*/ 3037211 w 3037211"/>
              <a:gd name="connsiteY2" fmla="*/ 2286001 h 2286001"/>
              <a:gd name="connsiteX3" fmla="*/ 100790 w 3037211"/>
              <a:gd name="connsiteY3" fmla="*/ 2286001 h 2286001"/>
              <a:gd name="connsiteX4" fmla="*/ 0 w 3037211"/>
              <a:gd name="connsiteY4" fmla="*/ 2185211 h 2286001"/>
              <a:gd name="connsiteX5" fmla="*/ 0 w 3037211"/>
              <a:gd name="connsiteY5" fmla="*/ 100790 h 2286001"/>
              <a:gd name="connsiteX6" fmla="*/ 100790 w 3037211"/>
              <a:gd name="connsiteY6" fmla="*/ 0 h 228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7211" h="2286001">
                <a:moveTo>
                  <a:pt x="100790" y="0"/>
                </a:moveTo>
                <a:lnTo>
                  <a:pt x="3037211" y="0"/>
                </a:lnTo>
                <a:lnTo>
                  <a:pt x="3037211" y="2286001"/>
                </a:lnTo>
                <a:lnTo>
                  <a:pt x="100790" y="2286001"/>
                </a:lnTo>
                <a:cubicBezTo>
                  <a:pt x="45125" y="2286001"/>
                  <a:pt x="0" y="2240876"/>
                  <a:pt x="0" y="2185211"/>
                </a:cubicBezTo>
                <a:lnTo>
                  <a:pt x="0" y="100790"/>
                </a:lnTo>
                <a:cubicBezTo>
                  <a:pt x="0" y="45125"/>
                  <a:pt x="45125" y="0"/>
                  <a:pt x="100790"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49" name="Текст 4">
            <a:extLst>
              <a:ext uri="{FF2B5EF4-FFF2-40B4-BE49-F238E27FC236}">
                <a16:creationId xmlns:a16="http://schemas.microsoft.com/office/drawing/2014/main" id="{B810C02E-CD46-4D99-8BD4-CD7D0DC90BF5}"/>
              </a:ext>
            </a:extLst>
          </p:cNvPr>
          <p:cNvSpPr>
            <a:spLocks noGrp="1"/>
          </p:cNvSpPr>
          <p:nvPr>
            <p:ph type="body" sz="quarter" idx="124" hasCustomPrompt="1"/>
          </p:nvPr>
        </p:nvSpPr>
        <p:spPr>
          <a:xfrm>
            <a:off x="3321661" y="411537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50" name="Текст 14">
            <a:extLst>
              <a:ext uri="{FF2B5EF4-FFF2-40B4-BE49-F238E27FC236}">
                <a16:creationId xmlns:a16="http://schemas.microsoft.com/office/drawing/2014/main" id="{9B57B3CF-EAF1-494D-B18A-EDAADB581D19}"/>
              </a:ext>
            </a:extLst>
          </p:cNvPr>
          <p:cNvSpPr>
            <a:spLocks noGrp="1"/>
          </p:cNvSpPr>
          <p:nvPr>
            <p:ph type="body" sz="quarter" idx="125" hasCustomPrompt="1"/>
          </p:nvPr>
        </p:nvSpPr>
        <p:spPr>
          <a:xfrm>
            <a:off x="9111467" y="4763446"/>
            <a:ext cx="2412167" cy="623831"/>
          </a:xfrm>
          <a:prstGeom prst="rect">
            <a:avLst/>
          </a:prstGeom>
        </p:spPr>
        <p:txBody>
          <a:bodyPr lIns="0" tIns="0" rIns="0" bIns="0"/>
          <a:lstStyle>
            <a:lvl1pPr>
              <a:lnSpc>
                <a:spcPts val="1499"/>
              </a:lnSpc>
              <a:spcBef>
                <a:spcPts val="0"/>
              </a:spcBef>
              <a:buFont typeface="Rostelecom Basis" panose="020B0604020202020204" pitchFamily="34" charset="0"/>
              <a:buNone/>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1" name="Текст 14">
            <a:extLst>
              <a:ext uri="{FF2B5EF4-FFF2-40B4-BE49-F238E27FC236}">
                <a16:creationId xmlns:a16="http://schemas.microsoft.com/office/drawing/2014/main" id="{64C082A6-4507-4783-9F38-DD135FEDC284}"/>
              </a:ext>
            </a:extLst>
          </p:cNvPr>
          <p:cNvSpPr>
            <a:spLocks noGrp="1"/>
          </p:cNvSpPr>
          <p:nvPr>
            <p:ph type="body" sz="quarter" idx="126" hasCustomPrompt="1"/>
          </p:nvPr>
        </p:nvSpPr>
        <p:spPr>
          <a:xfrm>
            <a:off x="9115568" y="5404158"/>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52" name="Текст 14">
            <a:extLst>
              <a:ext uri="{FF2B5EF4-FFF2-40B4-BE49-F238E27FC236}">
                <a16:creationId xmlns:a16="http://schemas.microsoft.com/office/drawing/2014/main" id="{47C98C48-E353-4CD8-81A9-6FBD635C624D}"/>
              </a:ext>
            </a:extLst>
          </p:cNvPr>
          <p:cNvSpPr>
            <a:spLocks noGrp="1"/>
          </p:cNvSpPr>
          <p:nvPr>
            <p:ph type="body" sz="quarter" idx="127" hasCustomPrompt="1"/>
          </p:nvPr>
        </p:nvSpPr>
        <p:spPr>
          <a:xfrm>
            <a:off x="9115567" y="5690581"/>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53" name="Текст 4">
            <a:extLst>
              <a:ext uri="{FF2B5EF4-FFF2-40B4-BE49-F238E27FC236}">
                <a16:creationId xmlns:a16="http://schemas.microsoft.com/office/drawing/2014/main" id="{08EDDE0D-2DBE-4F35-BF3A-F2BF045BD12E}"/>
              </a:ext>
            </a:extLst>
          </p:cNvPr>
          <p:cNvSpPr>
            <a:spLocks noGrp="1"/>
          </p:cNvSpPr>
          <p:nvPr>
            <p:ph type="body" sz="quarter" idx="128" hasCustomPrompt="1"/>
          </p:nvPr>
        </p:nvSpPr>
        <p:spPr>
          <a:xfrm>
            <a:off x="9111461" y="4115377"/>
            <a:ext cx="2412171"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7" name="Текст 14">
            <a:extLst>
              <a:ext uri="{FF2B5EF4-FFF2-40B4-BE49-F238E27FC236}">
                <a16:creationId xmlns:a16="http://schemas.microsoft.com/office/drawing/2014/main" id="{496AE103-4811-4042-B8C0-BF3049088180}"/>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2205878435"/>
      </p:ext>
    </p:extLst>
  </p:cSld>
  <p:clrMapOvr>
    <a:masterClrMapping/>
  </p:clrMapOvr>
  <p:extLst mod="1">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4" y="1703296"/>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4" y="1703295"/>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10" y="4593914"/>
            <a:ext cx="2348689" cy="623831"/>
          </a:xfrm>
          <a:prstGeom prst="rect">
            <a:avLst/>
          </a:prstGeom>
        </p:spPr>
        <p:txBody>
          <a:bodyPr lIns="0" tIns="0" rIns="0" bIns="0"/>
          <a:lstStyle>
            <a:lvl1pPr>
              <a:lnSpc>
                <a:spcPct val="100000"/>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8" y="1703296"/>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8" y="1703295"/>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70" y="4593914"/>
            <a:ext cx="2348689" cy="623831"/>
          </a:xfrm>
          <a:prstGeom prst="rect">
            <a:avLst/>
          </a:prstGeom>
        </p:spPr>
        <p:txBody>
          <a:bodyPr lIns="0" tIns="0" rIns="0" bIns="0"/>
          <a:lstStyle>
            <a:lvl1pPr>
              <a:lnSpc>
                <a:spcPct val="100000"/>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61" y="1703296"/>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61" y="1703295"/>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4" y="4593914"/>
            <a:ext cx="2348689" cy="623831"/>
          </a:xfrm>
          <a:prstGeom prst="rect">
            <a:avLst/>
          </a:prstGeom>
        </p:spPr>
        <p:txBody>
          <a:bodyPr lIns="0" tIns="0" rIns="0" bIns="0"/>
          <a:lstStyle>
            <a:lvl1pPr>
              <a:lnSpc>
                <a:spcPct val="100000"/>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82" y="1703296"/>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82" y="1703295"/>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7" y="4593914"/>
            <a:ext cx="2348689" cy="623831"/>
          </a:xfrm>
          <a:prstGeom prst="rect">
            <a:avLst/>
          </a:prstGeom>
        </p:spPr>
        <p:txBody>
          <a:bodyPr lIns="0" tIns="0" rIns="0" bIns="0"/>
          <a:lstStyle>
            <a:lvl1pPr>
              <a:lnSpc>
                <a:spcPct val="100000"/>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73" y="5384553"/>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1" y="567307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9" y="5384553"/>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7" y="567307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9" y="5384553"/>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31" y="567307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6" y="5384553"/>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7" y="567307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3" y="4144493"/>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144493"/>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70" y="4144493"/>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7" y="4144493"/>
            <a:ext cx="2330860" cy="320867"/>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a:t>
            </a:r>
          </a:p>
        </p:txBody>
      </p:sp>
      <p:sp>
        <p:nvSpPr>
          <p:cNvPr id="37" name="Текст 14">
            <a:extLst>
              <a:ext uri="{FF2B5EF4-FFF2-40B4-BE49-F238E27FC236}">
                <a16:creationId xmlns:a16="http://schemas.microsoft.com/office/drawing/2014/main" id="{CE8E2930-CD91-4C7A-B5AB-1AF69D75D30B}"/>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496851924"/>
      </p:ext>
    </p:extLst>
  </p:cSld>
  <p:clrMapOvr>
    <a:masterClrMapping/>
  </p:clrMapOvr>
  <p:extLst mod="1">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тарифы с фото__4">
    <p:spTree>
      <p:nvGrpSpPr>
        <p:cNvPr id="1" name=""/>
        <p:cNvGrpSpPr/>
        <p:nvPr/>
      </p:nvGrpSpPr>
      <p:grpSpPr>
        <a:xfrm>
          <a:off x="0" y="0"/>
          <a:ext cx="0" cy="0"/>
          <a:chOff x="0" y="0"/>
          <a:chExt cx="0" cy="0"/>
        </a:xfrm>
      </p:grpSpPr>
      <p:sp>
        <p:nvSpPr>
          <p:cNvPr id="29" name="Прямоугольник: скругленные углы 28">
            <a:extLst>
              <a:ext uri="{FF2B5EF4-FFF2-40B4-BE49-F238E27FC236}">
                <a16:creationId xmlns:a16="http://schemas.microsoft.com/office/drawing/2014/main" id="{52FB69C4-8DB9-4AD8-8FF3-A906F87279CC}"/>
              </a:ext>
            </a:extLst>
          </p:cNvPr>
          <p:cNvSpPr/>
          <p:nvPr userDrawn="1"/>
        </p:nvSpPr>
        <p:spPr>
          <a:xfrm>
            <a:off x="429634" y="1703296"/>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2" name="Рисунок 41">
            <a:extLst>
              <a:ext uri="{FF2B5EF4-FFF2-40B4-BE49-F238E27FC236}">
                <a16:creationId xmlns:a16="http://schemas.microsoft.com/office/drawing/2014/main" id="{8BD96F4E-910D-4290-90AB-DC2CDA81F3BF}"/>
              </a:ext>
            </a:extLst>
          </p:cNvPr>
          <p:cNvSpPr>
            <a:spLocks noGrp="1"/>
          </p:cNvSpPr>
          <p:nvPr>
            <p:ph type="pic" sz="quarter" idx="57"/>
          </p:nvPr>
        </p:nvSpPr>
        <p:spPr>
          <a:xfrm>
            <a:off x="429634" y="1703295"/>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57" name="Текст 14">
            <a:extLst>
              <a:ext uri="{FF2B5EF4-FFF2-40B4-BE49-F238E27FC236}">
                <a16:creationId xmlns:a16="http://schemas.microsoft.com/office/drawing/2014/main" id="{10ADE181-36FD-41B4-BE2E-F6F119A4B513}"/>
              </a:ext>
            </a:extLst>
          </p:cNvPr>
          <p:cNvSpPr>
            <a:spLocks noGrp="1"/>
          </p:cNvSpPr>
          <p:nvPr>
            <p:ph type="body" sz="quarter" idx="27" hasCustomPrompt="1"/>
          </p:nvPr>
        </p:nvSpPr>
        <p:spPr>
          <a:xfrm>
            <a:off x="573410" y="4683562"/>
            <a:ext cx="2348689" cy="623831"/>
          </a:xfrm>
          <a:prstGeom prst="rect">
            <a:avLst/>
          </a:prstGeom>
        </p:spPr>
        <p:txBody>
          <a:bodyPr lIns="0" tIns="0" rIns="0" bIns="0"/>
          <a:lstStyle>
            <a:lvl1pPr>
              <a:lnSpc>
                <a:spcPct val="100000"/>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58" name="Прямоугольник: скругленные углы 57">
            <a:extLst>
              <a:ext uri="{FF2B5EF4-FFF2-40B4-BE49-F238E27FC236}">
                <a16:creationId xmlns:a16="http://schemas.microsoft.com/office/drawing/2014/main" id="{15898208-0192-42C1-82E1-64C51E88FF5C}"/>
              </a:ext>
            </a:extLst>
          </p:cNvPr>
          <p:cNvSpPr/>
          <p:nvPr userDrawn="1"/>
        </p:nvSpPr>
        <p:spPr>
          <a:xfrm>
            <a:off x="3318098" y="1703296"/>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59" name="Рисунок 41">
            <a:extLst>
              <a:ext uri="{FF2B5EF4-FFF2-40B4-BE49-F238E27FC236}">
                <a16:creationId xmlns:a16="http://schemas.microsoft.com/office/drawing/2014/main" id="{B629CDA1-FD7C-49B2-AEA4-82100584D250}"/>
              </a:ext>
            </a:extLst>
          </p:cNvPr>
          <p:cNvSpPr>
            <a:spLocks noGrp="1"/>
          </p:cNvSpPr>
          <p:nvPr>
            <p:ph type="pic" sz="quarter" idx="88"/>
          </p:nvPr>
        </p:nvSpPr>
        <p:spPr>
          <a:xfrm>
            <a:off x="3318098" y="1703295"/>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61" name="Текст 14">
            <a:extLst>
              <a:ext uri="{FF2B5EF4-FFF2-40B4-BE49-F238E27FC236}">
                <a16:creationId xmlns:a16="http://schemas.microsoft.com/office/drawing/2014/main" id="{05DDBB67-C2A7-41D7-A994-C4EBB7D821C5}"/>
              </a:ext>
            </a:extLst>
          </p:cNvPr>
          <p:cNvSpPr>
            <a:spLocks noGrp="1"/>
          </p:cNvSpPr>
          <p:nvPr>
            <p:ph type="body" sz="quarter" idx="90" hasCustomPrompt="1"/>
          </p:nvPr>
        </p:nvSpPr>
        <p:spPr>
          <a:xfrm>
            <a:off x="3461870" y="4683562"/>
            <a:ext cx="2348689" cy="623831"/>
          </a:xfrm>
          <a:prstGeom prst="rect">
            <a:avLst/>
          </a:prstGeom>
        </p:spPr>
        <p:txBody>
          <a:bodyPr lIns="0" tIns="0" rIns="0" bIns="0"/>
          <a:lstStyle>
            <a:lvl1pPr>
              <a:lnSpc>
                <a:spcPct val="100000"/>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2" name="Прямоугольник: скругленные углы 61">
            <a:extLst>
              <a:ext uri="{FF2B5EF4-FFF2-40B4-BE49-F238E27FC236}">
                <a16:creationId xmlns:a16="http://schemas.microsoft.com/office/drawing/2014/main" id="{F0AF1418-502F-47B1-96DF-9C1185F49BA4}"/>
              </a:ext>
            </a:extLst>
          </p:cNvPr>
          <p:cNvSpPr/>
          <p:nvPr userDrawn="1"/>
        </p:nvSpPr>
        <p:spPr>
          <a:xfrm>
            <a:off x="6206561" y="1703296"/>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3" name="Рисунок 41">
            <a:extLst>
              <a:ext uri="{FF2B5EF4-FFF2-40B4-BE49-F238E27FC236}">
                <a16:creationId xmlns:a16="http://schemas.microsoft.com/office/drawing/2014/main" id="{C99EA430-C7E4-41EF-A8E9-303A0245D302}"/>
              </a:ext>
            </a:extLst>
          </p:cNvPr>
          <p:cNvSpPr>
            <a:spLocks noGrp="1"/>
          </p:cNvSpPr>
          <p:nvPr>
            <p:ph type="pic" sz="quarter" idx="93"/>
          </p:nvPr>
        </p:nvSpPr>
        <p:spPr>
          <a:xfrm>
            <a:off x="6206561" y="1703295"/>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65" name="Текст 14">
            <a:extLst>
              <a:ext uri="{FF2B5EF4-FFF2-40B4-BE49-F238E27FC236}">
                <a16:creationId xmlns:a16="http://schemas.microsoft.com/office/drawing/2014/main" id="{EDBE503B-78C9-4D81-BADA-225BA26DD521}"/>
              </a:ext>
            </a:extLst>
          </p:cNvPr>
          <p:cNvSpPr>
            <a:spLocks noGrp="1"/>
          </p:cNvSpPr>
          <p:nvPr>
            <p:ph type="body" sz="quarter" idx="95" hasCustomPrompt="1"/>
          </p:nvPr>
        </p:nvSpPr>
        <p:spPr>
          <a:xfrm>
            <a:off x="6350334" y="4683562"/>
            <a:ext cx="2348689" cy="623831"/>
          </a:xfrm>
          <a:prstGeom prst="rect">
            <a:avLst/>
          </a:prstGeom>
        </p:spPr>
        <p:txBody>
          <a:bodyPr lIns="0" tIns="0" rIns="0" bIns="0"/>
          <a:lstStyle>
            <a:lvl1pPr>
              <a:lnSpc>
                <a:spcPct val="100000"/>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66" name="Прямоугольник: скругленные углы 65">
            <a:extLst>
              <a:ext uri="{FF2B5EF4-FFF2-40B4-BE49-F238E27FC236}">
                <a16:creationId xmlns:a16="http://schemas.microsoft.com/office/drawing/2014/main" id="{CCC0946F-F531-4048-BC14-C0EA3B3F130F}"/>
              </a:ext>
            </a:extLst>
          </p:cNvPr>
          <p:cNvSpPr/>
          <p:nvPr userDrawn="1"/>
        </p:nvSpPr>
        <p:spPr>
          <a:xfrm>
            <a:off x="9115082" y="1703296"/>
            <a:ext cx="2658953" cy="4255435"/>
          </a:xfrm>
          <a:prstGeom prst="roundRect">
            <a:avLst>
              <a:gd name="adj" fmla="val 4409"/>
            </a:avLst>
          </a:prstGeom>
          <a:solidFill>
            <a:schemeClr val="bg1"/>
          </a:solidFill>
          <a:ln>
            <a:noFill/>
          </a:ln>
          <a:effectLst>
            <a:outerShdw blurRad="127000" dist="38100" dir="5400000" algn="ctr"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87" dirty="0"/>
          </a:p>
        </p:txBody>
      </p:sp>
      <p:sp>
        <p:nvSpPr>
          <p:cNvPr id="67" name="Рисунок 41">
            <a:extLst>
              <a:ext uri="{FF2B5EF4-FFF2-40B4-BE49-F238E27FC236}">
                <a16:creationId xmlns:a16="http://schemas.microsoft.com/office/drawing/2014/main" id="{BCA6A9DC-0C55-4FCC-AB5F-4964CEA94279}"/>
              </a:ext>
            </a:extLst>
          </p:cNvPr>
          <p:cNvSpPr>
            <a:spLocks noGrp="1"/>
          </p:cNvSpPr>
          <p:nvPr>
            <p:ph type="pic" sz="quarter" idx="98"/>
          </p:nvPr>
        </p:nvSpPr>
        <p:spPr>
          <a:xfrm>
            <a:off x="9115082" y="1703295"/>
            <a:ext cx="2658953" cy="2148160"/>
          </a:xfrm>
          <a:custGeom>
            <a:avLst/>
            <a:gdLst>
              <a:gd name="connsiteX0" fmla="*/ 181926 w 4126235"/>
              <a:gd name="connsiteY0" fmla="*/ 0 h 2434581"/>
              <a:gd name="connsiteX1" fmla="*/ 3944309 w 4126235"/>
              <a:gd name="connsiteY1" fmla="*/ 0 h 2434581"/>
              <a:gd name="connsiteX2" fmla="*/ 4126235 w 4126235"/>
              <a:gd name="connsiteY2" fmla="*/ 181926 h 2434581"/>
              <a:gd name="connsiteX3" fmla="*/ 4126235 w 4126235"/>
              <a:gd name="connsiteY3" fmla="*/ 2434581 h 2434581"/>
              <a:gd name="connsiteX4" fmla="*/ 0 w 4126235"/>
              <a:gd name="connsiteY4" fmla="*/ 2434581 h 2434581"/>
              <a:gd name="connsiteX5" fmla="*/ 0 w 4126235"/>
              <a:gd name="connsiteY5" fmla="*/ 181926 h 2434581"/>
              <a:gd name="connsiteX6" fmla="*/ 181926 w 4126235"/>
              <a:gd name="connsiteY6" fmla="*/ 0 h 243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26235" h="2434581">
                <a:moveTo>
                  <a:pt x="181926" y="0"/>
                </a:moveTo>
                <a:lnTo>
                  <a:pt x="3944309" y="0"/>
                </a:lnTo>
                <a:cubicBezTo>
                  <a:pt x="4044784" y="0"/>
                  <a:pt x="4126235" y="81451"/>
                  <a:pt x="4126235" y="181926"/>
                </a:cubicBezTo>
                <a:lnTo>
                  <a:pt x="4126235" y="2434581"/>
                </a:lnTo>
                <a:lnTo>
                  <a:pt x="0" y="2434581"/>
                </a:lnTo>
                <a:lnTo>
                  <a:pt x="0" y="181926"/>
                </a:lnTo>
                <a:cubicBezTo>
                  <a:pt x="0" y="81451"/>
                  <a:pt x="81451" y="0"/>
                  <a:pt x="181926" y="0"/>
                </a:cubicBezTo>
                <a:close/>
              </a:path>
            </a:pathLst>
          </a:custGeom>
          <a:solidFill>
            <a:schemeClr val="bg1">
              <a:lumMod val="95000"/>
            </a:schemeClr>
          </a:solidFill>
        </p:spPr>
        <p:txBody>
          <a:bodyPr wrap="square" anchor="ctr">
            <a:noAutofit/>
          </a:bodyPr>
          <a:lstStyle>
            <a:lvl1pPr algn="ctr">
              <a:defRPr/>
            </a:lvl1pPr>
          </a:lstStyle>
          <a:p>
            <a:endParaRPr lang="ru-RU" dirty="0"/>
          </a:p>
        </p:txBody>
      </p:sp>
      <p:sp>
        <p:nvSpPr>
          <p:cNvPr id="69" name="Текст 14">
            <a:extLst>
              <a:ext uri="{FF2B5EF4-FFF2-40B4-BE49-F238E27FC236}">
                <a16:creationId xmlns:a16="http://schemas.microsoft.com/office/drawing/2014/main" id="{1B28158A-6609-45E0-9ED7-4F56E8A2130F}"/>
              </a:ext>
            </a:extLst>
          </p:cNvPr>
          <p:cNvSpPr>
            <a:spLocks noGrp="1"/>
          </p:cNvSpPr>
          <p:nvPr>
            <p:ph type="body" sz="quarter" idx="100" hasCustomPrompt="1"/>
          </p:nvPr>
        </p:nvSpPr>
        <p:spPr>
          <a:xfrm>
            <a:off x="9258857" y="4683562"/>
            <a:ext cx="2348689" cy="623831"/>
          </a:xfrm>
          <a:prstGeom prst="rect">
            <a:avLst/>
          </a:prstGeom>
        </p:spPr>
        <p:txBody>
          <a:bodyPr lIns="0" tIns="0" rIns="0" bIns="0"/>
          <a:lstStyle>
            <a:lvl1pPr>
              <a:lnSpc>
                <a:spcPct val="100000"/>
              </a:lnSpc>
              <a:spcBef>
                <a:spcPts val="0"/>
              </a:spcBef>
              <a:defRPr sz="1235" b="0">
                <a:solidFill>
                  <a:schemeClr val="tx1"/>
                </a:solidFill>
                <a:latin typeface="Rostelecom Basis" panose="020B0503030604040103" pitchFamily="34" charset="0"/>
                <a:ea typeface="Rostelecom Basis" panose="020B0503040504020204" pitchFamily="34" charset="-52"/>
              </a:defRPr>
            </a:lvl1pPr>
          </a:lstStyle>
          <a:p>
            <a:pPr lvl="0"/>
            <a:r>
              <a:rPr lang="ru-RU" dirty="0"/>
              <a:t>Текст дополнительной информации текст для дополнительной информации </a:t>
            </a:r>
          </a:p>
        </p:txBody>
      </p:sp>
      <p:sp>
        <p:nvSpPr>
          <p:cNvPr id="70" name="Заголовок 1">
            <a:extLst>
              <a:ext uri="{FF2B5EF4-FFF2-40B4-BE49-F238E27FC236}">
                <a16:creationId xmlns:a16="http://schemas.microsoft.com/office/drawing/2014/main" id="{48352101-EC5F-4D3A-BFC5-323226EA5D59}"/>
              </a:ext>
            </a:extLst>
          </p:cNvPr>
          <p:cNvSpPr>
            <a:spLocks noGrp="1"/>
          </p:cNvSpPr>
          <p:nvPr>
            <p:ph type="title" hasCustomPrompt="1"/>
          </p:nvPr>
        </p:nvSpPr>
        <p:spPr>
          <a:xfrm>
            <a:off x="417513" y="419101"/>
            <a:ext cx="11366499" cy="1011236"/>
          </a:xfrm>
          <a:prstGeom prst="rect">
            <a:avLst/>
          </a:prstGeom>
        </p:spPr>
        <p:txBody>
          <a:bodyPr lIns="0" tIns="0" rIns="0" bIns="0"/>
          <a:lstStyle>
            <a:lvl1pPr>
              <a:lnSpc>
                <a:spcPts val="3703"/>
              </a:lnSpc>
              <a:defRPr lang="ru-RU" sz="3527" kern="1200" dirty="0">
                <a:solidFill>
                  <a:schemeClr val="tx1"/>
                </a:solidFill>
                <a:latin typeface="+mj-lt"/>
                <a:ea typeface="+mj-ea"/>
                <a:cs typeface="+mj-cs"/>
              </a:defRPr>
            </a:lvl1pPr>
          </a:lstStyle>
          <a:p>
            <a:r>
              <a:rPr lang="ru-RU" dirty="0"/>
              <a:t>Основной заголовок</a:t>
            </a:r>
            <a:br>
              <a:rPr lang="ru-RU" dirty="0"/>
            </a:br>
            <a:r>
              <a:rPr lang="ru-RU" dirty="0"/>
              <a:t>набранный в две строчки</a:t>
            </a:r>
          </a:p>
        </p:txBody>
      </p:sp>
      <p:sp>
        <p:nvSpPr>
          <p:cNvPr id="71" name="Текст 14">
            <a:extLst>
              <a:ext uri="{FF2B5EF4-FFF2-40B4-BE49-F238E27FC236}">
                <a16:creationId xmlns:a16="http://schemas.microsoft.com/office/drawing/2014/main" id="{7963A625-4E41-422E-AE45-DC3A9BA98F07}"/>
              </a:ext>
            </a:extLst>
          </p:cNvPr>
          <p:cNvSpPr>
            <a:spLocks noGrp="1"/>
          </p:cNvSpPr>
          <p:nvPr>
            <p:ph type="body" sz="quarter" idx="103" hasCustomPrompt="1"/>
          </p:nvPr>
        </p:nvSpPr>
        <p:spPr>
          <a:xfrm>
            <a:off x="584973" y="5384553"/>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2" name="Текст 14">
            <a:extLst>
              <a:ext uri="{FF2B5EF4-FFF2-40B4-BE49-F238E27FC236}">
                <a16:creationId xmlns:a16="http://schemas.microsoft.com/office/drawing/2014/main" id="{2F9F3FC7-9149-4EC8-B674-A9F00C905755}"/>
              </a:ext>
            </a:extLst>
          </p:cNvPr>
          <p:cNvSpPr>
            <a:spLocks noGrp="1"/>
          </p:cNvSpPr>
          <p:nvPr>
            <p:ph type="body" sz="quarter" idx="104" hasCustomPrompt="1"/>
          </p:nvPr>
        </p:nvSpPr>
        <p:spPr>
          <a:xfrm>
            <a:off x="584971" y="567307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73" name="Текст 14">
            <a:extLst>
              <a:ext uri="{FF2B5EF4-FFF2-40B4-BE49-F238E27FC236}">
                <a16:creationId xmlns:a16="http://schemas.microsoft.com/office/drawing/2014/main" id="{5366EC62-7075-4F1E-8FBE-66DAB51D037E}"/>
              </a:ext>
            </a:extLst>
          </p:cNvPr>
          <p:cNvSpPr>
            <a:spLocks noGrp="1"/>
          </p:cNvSpPr>
          <p:nvPr>
            <p:ph type="body" sz="quarter" idx="105" hasCustomPrompt="1"/>
          </p:nvPr>
        </p:nvSpPr>
        <p:spPr>
          <a:xfrm>
            <a:off x="3461869" y="5384553"/>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4" name="Текст 14">
            <a:extLst>
              <a:ext uri="{FF2B5EF4-FFF2-40B4-BE49-F238E27FC236}">
                <a16:creationId xmlns:a16="http://schemas.microsoft.com/office/drawing/2014/main" id="{83C26F8C-8E3E-463A-B8D1-E5B7A6843D8C}"/>
              </a:ext>
            </a:extLst>
          </p:cNvPr>
          <p:cNvSpPr>
            <a:spLocks noGrp="1"/>
          </p:cNvSpPr>
          <p:nvPr>
            <p:ph type="body" sz="quarter" idx="106" hasCustomPrompt="1"/>
          </p:nvPr>
        </p:nvSpPr>
        <p:spPr>
          <a:xfrm>
            <a:off x="3461867" y="567307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75" name="Текст 14">
            <a:extLst>
              <a:ext uri="{FF2B5EF4-FFF2-40B4-BE49-F238E27FC236}">
                <a16:creationId xmlns:a16="http://schemas.microsoft.com/office/drawing/2014/main" id="{EC7175ED-64B2-4828-B069-749D0CF42A74}"/>
              </a:ext>
            </a:extLst>
          </p:cNvPr>
          <p:cNvSpPr>
            <a:spLocks noGrp="1"/>
          </p:cNvSpPr>
          <p:nvPr>
            <p:ph type="body" sz="quarter" idx="107" hasCustomPrompt="1"/>
          </p:nvPr>
        </p:nvSpPr>
        <p:spPr>
          <a:xfrm>
            <a:off x="6350329" y="5384553"/>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6" name="Текст 14">
            <a:extLst>
              <a:ext uri="{FF2B5EF4-FFF2-40B4-BE49-F238E27FC236}">
                <a16:creationId xmlns:a16="http://schemas.microsoft.com/office/drawing/2014/main" id="{C5F2DE61-4C1C-4225-902F-6CC607EBE2C7}"/>
              </a:ext>
            </a:extLst>
          </p:cNvPr>
          <p:cNvSpPr>
            <a:spLocks noGrp="1"/>
          </p:cNvSpPr>
          <p:nvPr>
            <p:ph type="body" sz="quarter" idx="108" hasCustomPrompt="1"/>
          </p:nvPr>
        </p:nvSpPr>
        <p:spPr>
          <a:xfrm>
            <a:off x="6350331" y="567307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77" name="Текст 14">
            <a:extLst>
              <a:ext uri="{FF2B5EF4-FFF2-40B4-BE49-F238E27FC236}">
                <a16:creationId xmlns:a16="http://schemas.microsoft.com/office/drawing/2014/main" id="{02A1ABD3-AB8A-48DF-9091-20A6C71B9FD6}"/>
              </a:ext>
            </a:extLst>
          </p:cNvPr>
          <p:cNvSpPr>
            <a:spLocks noGrp="1"/>
          </p:cNvSpPr>
          <p:nvPr>
            <p:ph type="body" sz="quarter" idx="109" hasCustomPrompt="1"/>
          </p:nvPr>
        </p:nvSpPr>
        <p:spPr>
          <a:xfrm>
            <a:off x="9258856" y="5384553"/>
            <a:ext cx="1519371" cy="284263"/>
          </a:xfrm>
          <a:prstGeom prst="rect">
            <a:avLst/>
          </a:prstGeom>
        </p:spPr>
        <p:txBody>
          <a:bodyPr lIns="0" tIns="0" rIns="0" bIns="0"/>
          <a:lstStyle>
            <a:lvl1pPr>
              <a:lnSpc>
                <a:spcPct val="100000"/>
              </a:lnSpc>
              <a:spcBef>
                <a:spcPts val="0"/>
              </a:spcBef>
              <a:defRPr sz="2204" b="0">
                <a:solidFill>
                  <a:schemeClr val="tx1"/>
                </a:solidFill>
                <a:latin typeface="+mj-lt"/>
                <a:ea typeface="Rostelecom Basis" panose="020B0503040504020204" pitchFamily="34" charset="-52"/>
              </a:defRPr>
            </a:lvl1pPr>
          </a:lstStyle>
          <a:p>
            <a:pPr lvl="0"/>
            <a:r>
              <a:rPr lang="ru-RU" dirty="0"/>
              <a:t>от 000 ₽</a:t>
            </a:r>
          </a:p>
        </p:txBody>
      </p:sp>
      <p:sp>
        <p:nvSpPr>
          <p:cNvPr id="78" name="Текст 14">
            <a:extLst>
              <a:ext uri="{FF2B5EF4-FFF2-40B4-BE49-F238E27FC236}">
                <a16:creationId xmlns:a16="http://schemas.microsoft.com/office/drawing/2014/main" id="{C2981B04-553D-4063-AE96-6A8DF593A947}"/>
              </a:ext>
            </a:extLst>
          </p:cNvPr>
          <p:cNvSpPr>
            <a:spLocks noGrp="1"/>
          </p:cNvSpPr>
          <p:nvPr>
            <p:ph type="body" sz="quarter" idx="110" hasCustomPrompt="1"/>
          </p:nvPr>
        </p:nvSpPr>
        <p:spPr>
          <a:xfrm>
            <a:off x="9258857" y="5673077"/>
            <a:ext cx="1142607" cy="174499"/>
          </a:xfrm>
          <a:prstGeom prst="rect">
            <a:avLst/>
          </a:prstGeom>
        </p:spPr>
        <p:txBody>
          <a:bodyPr lIns="0" tIns="0" rIns="0" bIns="0"/>
          <a:lstStyle>
            <a:lvl1pPr>
              <a:lnSpc>
                <a:spcPct val="100000"/>
              </a:lnSpc>
              <a:spcBef>
                <a:spcPts val="0"/>
              </a:spcBef>
              <a:defRPr sz="1235" b="0">
                <a:solidFill>
                  <a:srgbClr val="979799"/>
                </a:solidFill>
                <a:latin typeface="+mj-lt"/>
                <a:ea typeface="Rostelecom Basis" panose="020B0503040504020204" pitchFamily="34" charset="-52"/>
              </a:defRPr>
            </a:lvl1pPr>
          </a:lstStyle>
          <a:p>
            <a:pPr lvl="0"/>
            <a:r>
              <a:rPr lang="ru-RU" dirty="0"/>
              <a:t>в месяц*</a:t>
            </a:r>
          </a:p>
        </p:txBody>
      </p:sp>
      <p:sp>
        <p:nvSpPr>
          <p:cNvPr id="30" name="Текст 4">
            <a:extLst>
              <a:ext uri="{FF2B5EF4-FFF2-40B4-BE49-F238E27FC236}">
                <a16:creationId xmlns:a16="http://schemas.microsoft.com/office/drawing/2014/main" id="{7C64ADB0-5AC5-4313-9DE3-20D71690E5B4}"/>
              </a:ext>
            </a:extLst>
          </p:cNvPr>
          <p:cNvSpPr>
            <a:spLocks noGrp="1"/>
          </p:cNvSpPr>
          <p:nvPr>
            <p:ph type="body" sz="quarter" idx="67" hasCustomPrompt="1"/>
          </p:nvPr>
        </p:nvSpPr>
        <p:spPr>
          <a:xfrm>
            <a:off x="574443" y="4072771"/>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1" name="Текст 4">
            <a:extLst>
              <a:ext uri="{FF2B5EF4-FFF2-40B4-BE49-F238E27FC236}">
                <a16:creationId xmlns:a16="http://schemas.microsoft.com/office/drawing/2014/main" id="{0F245FA3-11E5-458F-B52B-1E73FB886260}"/>
              </a:ext>
            </a:extLst>
          </p:cNvPr>
          <p:cNvSpPr>
            <a:spLocks noGrp="1"/>
          </p:cNvSpPr>
          <p:nvPr>
            <p:ph type="body" sz="quarter" idx="69" hasCustomPrompt="1"/>
          </p:nvPr>
        </p:nvSpPr>
        <p:spPr>
          <a:xfrm>
            <a:off x="3457307" y="4072771"/>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2" name="Текст 4">
            <a:extLst>
              <a:ext uri="{FF2B5EF4-FFF2-40B4-BE49-F238E27FC236}">
                <a16:creationId xmlns:a16="http://schemas.microsoft.com/office/drawing/2014/main" id="{B0A7D94D-A970-484C-A063-1FBBDF7C76C9}"/>
              </a:ext>
            </a:extLst>
          </p:cNvPr>
          <p:cNvSpPr>
            <a:spLocks noGrp="1"/>
          </p:cNvSpPr>
          <p:nvPr>
            <p:ph type="body" sz="quarter" idx="71" hasCustomPrompt="1"/>
          </p:nvPr>
        </p:nvSpPr>
        <p:spPr>
          <a:xfrm>
            <a:off x="6348570" y="4072771"/>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3" name="Текст 4">
            <a:extLst>
              <a:ext uri="{FF2B5EF4-FFF2-40B4-BE49-F238E27FC236}">
                <a16:creationId xmlns:a16="http://schemas.microsoft.com/office/drawing/2014/main" id="{784F259D-0FA2-4C69-9F46-A5ED5DB6B55A}"/>
              </a:ext>
            </a:extLst>
          </p:cNvPr>
          <p:cNvSpPr>
            <a:spLocks noGrp="1"/>
          </p:cNvSpPr>
          <p:nvPr>
            <p:ph type="body" sz="quarter" idx="73" hasCustomPrompt="1"/>
          </p:nvPr>
        </p:nvSpPr>
        <p:spPr>
          <a:xfrm>
            <a:off x="9259747" y="4072771"/>
            <a:ext cx="2330860" cy="595196"/>
          </a:xfrm>
          <a:prstGeom prst="rect">
            <a:avLst/>
          </a:prstGeom>
        </p:spPr>
        <p:txBody>
          <a:bodyPr lIns="0" tIns="0" rIns="0" bIns="0" anchor="t"/>
          <a:lstStyle>
            <a:lvl1pPr>
              <a:lnSpc>
                <a:spcPts val="2292"/>
              </a:lnSpc>
              <a:spcBef>
                <a:spcPts val="0"/>
              </a:spcBef>
              <a:defRPr sz="2116" b="0">
                <a:solidFill>
                  <a:schemeClr val="tx1"/>
                </a:solidFill>
                <a:latin typeface="+mj-lt"/>
              </a:defRPr>
            </a:lvl1pPr>
          </a:lstStyle>
          <a:p>
            <a:pPr lvl="0"/>
            <a:r>
              <a:rPr lang="ru-RU" dirty="0"/>
              <a:t>Заголовок </a:t>
            </a:r>
            <a:br>
              <a:rPr lang="ru-RU" dirty="0"/>
            </a:br>
            <a:r>
              <a:rPr lang="ru-RU" dirty="0"/>
              <a:t>две строки</a:t>
            </a:r>
          </a:p>
        </p:txBody>
      </p:sp>
      <p:sp>
        <p:nvSpPr>
          <p:cNvPr id="36" name="Текст 14">
            <a:extLst>
              <a:ext uri="{FF2B5EF4-FFF2-40B4-BE49-F238E27FC236}">
                <a16:creationId xmlns:a16="http://schemas.microsoft.com/office/drawing/2014/main" id="{4C3B22FA-8234-4660-ADBB-D94D2F19815E}"/>
              </a:ext>
            </a:extLst>
          </p:cNvPr>
          <p:cNvSpPr>
            <a:spLocks noGrp="1"/>
          </p:cNvSpPr>
          <p:nvPr>
            <p:ph type="body" sz="quarter" idx="36" hasCustomPrompt="1"/>
          </p:nvPr>
        </p:nvSpPr>
        <p:spPr>
          <a:xfrm>
            <a:off x="417517" y="6257085"/>
            <a:ext cx="9650123" cy="407619"/>
          </a:xfrm>
          <a:prstGeom prst="rect">
            <a:avLst/>
          </a:prstGeom>
        </p:spPr>
        <p:txBody>
          <a:bodyPr lIns="0" tIns="0" rIns="0" bIns="0" anchor="b"/>
          <a:lstStyle>
            <a:lvl1pPr>
              <a:lnSpc>
                <a:spcPts val="1120"/>
              </a:lnSpc>
              <a:spcBef>
                <a:spcPts val="0"/>
              </a:spcBef>
              <a:defRPr sz="971" b="0">
                <a:solidFill>
                  <a:srgbClr val="979799"/>
                </a:solidFill>
                <a:latin typeface="+mn-lt"/>
                <a:ea typeface="Rostelecom Basis" panose="020B0503040504020204" pitchFamily="34" charset="-52"/>
              </a:defRPr>
            </a:lvl1pPr>
          </a:lstStyle>
          <a:p>
            <a:pPr lvl="0"/>
            <a:r>
              <a:rPr lang="ru-RU" dirty="0"/>
              <a:t>*Цены указаны с учётом НДС</a:t>
            </a:r>
          </a:p>
        </p:txBody>
      </p:sp>
    </p:spTree>
    <p:extLst>
      <p:ext uri="{BB962C8B-B14F-4D97-AF65-F5344CB8AC3E}">
        <p14:creationId xmlns:p14="http://schemas.microsoft.com/office/powerpoint/2010/main" val="1048617787"/>
      </p:ext>
    </p:extLst>
  </p:cSld>
  <p:clrMapOvr>
    <a:masterClrMapping/>
  </p:clrMapOvr>
  <p:extLst mod="1">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спикеры">
    <p:spTree>
      <p:nvGrpSpPr>
        <p:cNvPr id="1" name=""/>
        <p:cNvGrpSpPr/>
        <p:nvPr/>
      </p:nvGrpSpPr>
      <p:grpSpPr>
        <a:xfrm>
          <a:off x="0" y="0"/>
          <a:ext cx="0" cy="0"/>
          <a:chOff x="0" y="0"/>
          <a:chExt cx="0" cy="0"/>
        </a:xfrm>
      </p:grpSpPr>
      <p:sp>
        <p:nvSpPr>
          <p:cNvPr id="74" name="Заголовок 1">
            <a:extLst>
              <a:ext uri="{FF2B5EF4-FFF2-40B4-BE49-F238E27FC236}">
                <a16:creationId xmlns:a16="http://schemas.microsoft.com/office/drawing/2014/main" id="{98D1D03C-65BA-4858-8C61-93CA28AEAF9E}"/>
              </a:ext>
            </a:extLst>
          </p:cNvPr>
          <p:cNvSpPr>
            <a:spLocks noGrp="1"/>
          </p:cNvSpPr>
          <p:nvPr>
            <p:ph type="title" hasCustomPrompt="1"/>
          </p:nvPr>
        </p:nvSpPr>
        <p:spPr>
          <a:xfrm>
            <a:off x="417515" y="419101"/>
            <a:ext cx="5559535" cy="521276"/>
          </a:xfrm>
          <a:prstGeom prst="rect">
            <a:avLst/>
          </a:prstGeom>
        </p:spPr>
        <p:txBody>
          <a:bodyPr lIns="0" tIns="0" rIns="0" bIns="0"/>
          <a:lstStyle>
            <a:lvl1pPr>
              <a:lnSpc>
                <a:spcPts val="3703"/>
              </a:lnSpc>
              <a:defRPr lang="ru-RU" sz="3527" dirty="0"/>
            </a:lvl1pPr>
          </a:lstStyle>
          <a:p>
            <a:pPr lvl="0">
              <a:lnSpc>
                <a:spcPts val="3703"/>
              </a:lnSpc>
              <a:tabLst>
                <a:tab pos="8776699" algn="l"/>
              </a:tabLst>
            </a:pPr>
            <a:r>
              <a:rPr lang="ru-RU" dirty="0"/>
              <a:t>Спикеры</a:t>
            </a:r>
          </a:p>
        </p:txBody>
      </p:sp>
      <p:sp>
        <p:nvSpPr>
          <p:cNvPr id="3" name="Рисунок 2">
            <a:extLst>
              <a:ext uri="{FF2B5EF4-FFF2-40B4-BE49-F238E27FC236}">
                <a16:creationId xmlns:a16="http://schemas.microsoft.com/office/drawing/2014/main" id="{3A5B56E7-236C-403D-9547-396D64036FB6}"/>
              </a:ext>
            </a:extLst>
          </p:cNvPr>
          <p:cNvSpPr>
            <a:spLocks noGrp="1"/>
          </p:cNvSpPr>
          <p:nvPr>
            <p:ph type="pic" sz="quarter" idx="67"/>
          </p:nvPr>
        </p:nvSpPr>
        <p:spPr>
          <a:xfrm>
            <a:off x="417513" y="1664769"/>
            <a:ext cx="1523307" cy="1524707"/>
          </a:xfrm>
          <a:prstGeom prst="ellipse">
            <a:avLst/>
          </a:prstGeom>
          <a:solidFill>
            <a:schemeClr val="bg2"/>
          </a:solidFill>
        </p:spPr>
        <p:txBody>
          <a:bodyPr anchor="ctr"/>
          <a:lstStyle>
            <a:lvl1pPr algn="ctr">
              <a:defRPr/>
            </a:lvl1pPr>
          </a:lstStyle>
          <a:p>
            <a:endParaRPr lang="ru-RU" dirty="0"/>
          </a:p>
        </p:txBody>
      </p:sp>
      <p:sp>
        <p:nvSpPr>
          <p:cNvPr id="13" name="Текст 14">
            <a:extLst>
              <a:ext uri="{FF2B5EF4-FFF2-40B4-BE49-F238E27FC236}">
                <a16:creationId xmlns:a16="http://schemas.microsoft.com/office/drawing/2014/main" id="{E1BCC101-0146-43D8-8E1B-1C3BA3CAA8B6}"/>
              </a:ext>
            </a:extLst>
          </p:cNvPr>
          <p:cNvSpPr>
            <a:spLocks noGrp="1"/>
          </p:cNvSpPr>
          <p:nvPr>
            <p:ph type="body" sz="quarter" idx="61" hasCustomPrompt="1"/>
          </p:nvPr>
        </p:nvSpPr>
        <p:spPr>
          <a:xfrm>
            <a:off x="425767"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Фамилия</a:t>
            </a:r>
          </a:p>
        </p:txBody>
      </p:sp>
      <p:sp>
        <p:nvSpPr>
          <p:cNvPr id="14" name="Текст 14">
            <a:extLst>
              <a:ext uri="{FF2B5EF4-FFF2-40B4-BE49-F238E27FC236}">
                <a16:creationId xmlns:a16="http://schemas.microsoft.com/office/drawing/2014/main" id="{4556AE7E-2327-4A32-BFD9-2E13C81EB6FD}"/>
              </a:ext>
            </a:extLst>
          </p:cNvPr>
          <p:cNvSpPr>
            <a:spLocks noGrp="1"/>
          </p:cNvSpPr>
          <p:nvPr>
            <p:ph type="body" sz="quarter" idx="68" hasCustomPrompt="1"/>
          </p:nvPr>
        </p:nvSpPr>
        <p:spPr>
          <a:xfrm>
            <a:off x="425767" y="3936071"/>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
        <p:nvSpPr>
          <p:cNvPr id="15" name="Рисунок 2">
            <a:extLst>
              <a:ext uri="{FF2B5EF4-FFF2-40B4-BE49-F238E27FC236}">
                <a16:creationId xmlns:a16="http://schemas.microsoft.com/office/drawing/2014/main" id="{32529F06-4AB3-424A-A6F1-2EB06A027345}"/>
              </a:ext>
            </a:extLst>
          </p:cNvPr>
          <p:cNvSpPr>
            <a:spLocks noGrp="1"/>
          </p:cNvSpPr>
          <p:nvPr>
            <p:ph type="pic" sz="quarter" idx="69"/>
          </p:nvPr>
        </p:nvSpPr>
        <p:spPr>
          <a:xfrm>
            <a:off x="6181013" y="1664769"/>
            <a:ext cx="1523307" cy="1524707"/>
          </a:xfrm>
          <a:prstGeom prst="ellipse">
            <a:avLst/>
          </a:prstGeom>
          <a:solidFill>
            <a:schemeClr val="bg2"/>
          </a:solidFill>
        </p:spPr>
        <p:txBody>
          <a:bodyPr anchor="ctr"/>
          <a:lstStyle>
            <a:lvl1pPr algn="ctr">
              <a:defRPr/>
            </a:lvl1pPr>
          </a:lstStyle>
          <a:p>
            <a:endParaRPr lang="ru-RU" dirty="0"/>
          </a:p>
        </p:txBody>
      </p:sp>
      <p:sp>
        <p:nvSpPr>
          <p:cNvPr id="16" name="Текст 14">
            <a:extLst>
              <a:ext uri="{FF2B5EF4-FFF2-40B4-BE49-F238E27FC236}">
                <a16:creationId xmlns:a16="http://schemas.microsoft.com/office/drawing/2014/main" id="{5F7C6819-6145-4F51-A65E-34B113363E42}"/>
              </a:ext>
            </a:extLst>
          </p:cNvPr>
          <p:cNvSpPr>
            <a:spLocks noGrp="1"/>
          </p:cNvSpPr>
          <p:nvPr>
            <p:ph type="body" sz="quarter" idx="70" hasCustomPrompt="1"/>
          </p:nvPr>
        </p:nvSpPr>
        <p:spPr>
          <a:xfrm>
            <a:off x="6189267" y="3530899"/>
            <a:ext cx="4591260" cy="293108"/>
          </a:xfrm>
          <a:prstGeom prst="rect">
            <a:avLst/>
          </a:prstGeom>
        </p:spPr>
        <p:txBody>
          <a:bodyPr lIns="0" tIns="0" rIns="0" bIns="0"/>
          <a:lstStyle>
            <a:lvl1pPr>
              <a:lnSpc>
                <a:spcPct val="100000"/>
              </a:lnSpc>
              <a:spcBef>
                <a:spcPts val="0"/>
              </a:spcBef>
              <a:defRPr sz="2204" b="0" strike="noStrike">
                <a:solidFill>
                  <a:schemeClr val="tx1"/>
                </a:solidFill>
                <a:latin typeface="+mj-lt"/>
                <a:ea typeface="Rostelecom Basis" panose="020B0503040504020204" pitchFamily="34" charset="-52"/>
              </a:defRPr>
            </a:lvl1pPr>
          </a:lstStyle>
          <a:p>
            <a:pPr lvl="0"/>
            <a:r>
              <a:rPr lang="ru-RU" dirty="0"/>
              <a:t>Имя Фамилия</a:t>
            </a:r>
          </a:p>
        </p:txBody>
      </p:sp>
      <p:sp>
        <p:nvSpPr>
          <p:cNvPr id="17" name="Текст 14">
            <a:extLst>
              <a:ext uri="{FF2B5EF4-FFF2-40B4-BE49-F238E27FC236}">
                <a16:creationId xmlns:a16="http://schemas.microsoft.com/office/drawing/2014/main" id="{6EF6506F-AC6C-4CF9-8A91-14B68223AA35}"/>
              </a:ext>
            </a:extLst>
          </p:cNvPr>
          <p:cNvSpPr>
            <a:spLocks noGrp="1"/>
          </p:cNvSpPr>
          <p:nvPr>
            <p:ph type="body" sz="quarter" idx="71" hasCustomPrompt="1"/>
          </p:nvPr>
        </p:nvSpPr>
        <p:spPr>
          <a:xfrm>
            <a:off x="6189267" y="3936071"/>
            <a:ext cx="4591260" cy="743791"/>
          </a:xfrm>
          <a:prstGeom prst="rect">
            <a:avLst/>
          </a:prstGeom>
        </p:spPr>
        <p:txBody>
          <a:bodyPr lIns="0" tIns="0" rIns="0" bIns="0"/>
          <a:lstStyle>
            <a:lvl1pPr>
              <a:lnSpc>
                <a:spcPts val="1851"/>
              </a:lnSpc>
              <a:spcBef>
                <a:spcPts val="0"/>
              </a:spcBef>
              <a:defRPr sz="1587" b="0" strike="noStrike">
                <a:solidFill>
                  <a:schemeClr val="tx1"/>
                </a:solidFill>
                <a:latin typeface="+mn-lt"/>
                <a:ea typeface="Rostelecom Basis" panose="020B0503040504020204" pitchFamily="34" charset="-52"/>
              </a:defRPr>
            </a:lvl1pPr>
          </a:lstStyle>
          <a:p>
            <a:pPr lvl="0"/>
            <a:r>
              <a:rPr lang="ru-RU" dirty="0"/>
              <a:t>Должность</a:t>
            </a:r>
          </a:p>
          <a:p>
            <a:pPr lvl="0"/>
            <a:r>
              <a:rPr lang="ru-RU" dirty="0"/>
              <a:t>в две-три строки</a:t>
            </a:r>
          </a:p>
        </p:txBody>
      </p:sp>
    </p:spTree>
    <p:extLst>
      <p:ext uri="{BB962C8B-B14F-4D97-AF65-F5344CB8AC3E}">
        <p14:creationId xmlns:p14="http://schemas.microsoft.com/office/powerpoint/2010/main" val="11393189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Обложка_1">
    <p:spTree>
      <p:nvGrpSpPr>
        <p:cNvPr id="1" name=""/>
        <p:cNvGrpSpPr/>
        <p:nvPr/>
      </p:nvGrpSpPr>
      <p:grpSpPr>
        <a:xfrm>
          <a:off x="0" y="0"/>
          <a:ext cx="0" cy="0"/>
          <a:chOff x="0" y="0"/>
          <a:chExt cx="0" cy="0"/>
        </a:xfrm>
      </p:grpSpPr>
      <p:sp>
        <p:nvSpPr>
          <p:cNvPr id="10" name="Текст 18">
            <a:extLst>
              <a:ext uri="{FF2B5EF4-FFF2-40B4-BE49-F238E27FC236}">
                <a16:creationId xmlns:a16="http://schemas.microsoft.com/office/drawing/2014/main" id="{5117F9EC-A302-430F-B64C-8E7880B91FB9}"/>
              </a:ext>
            </a:extLst>
          </p:cNvPr>
          <p:cNvSpPr>
            <a:spLocks noGrp="1"/>
          </p:cNvSpPr>
          <p:nvPr>
            <p:ph type="body" sz="quarter" idx="13" hasCustomPrompt="1"/>
          </p:nvPr>
        </p:nvSpPr>
        <p:spPr>
          <a:xfrm>
            <a:off x="417516" y="4852117"/>
            <a:ext cx="3911395" cy="339147"/>
          </a:xfrm>
          <a:prstGeom prst="rect">
            <a:avLst/>
          </a:prstGeom>
          <a:noFill/>
        </p:spPr>
        <p:txBody>
          <a:bodyPr wrap="none" lIns="0" tIns="36000" rIns="108000" bIns="0">
            <a:spAutoFit/>
          </a:bodyPr>
          <a:lstStyle>
            <a:lvl1pPr>
              <a:lnSpc>
                <a:spcPts val="2292"/>
              </a:lnSpc>
              <a:spcBef>
                <a:spcPts val="0"/>
              </a:spcBef>
              <a:defRPr sz="2116" b="0">
                <a:solidFill>
                  <a:schemeClr val="tx1"/>
                </a:solidFill>
                <a:latin typeface="Rostelecom Basis" panose="020B0503030604040103" pitchFamily="34" charset="0"/>
              </a:defRPr>
            </a:lvl1pPr>
          </a:lstStyle>
          <a:p>
            <a:pPr lvl="0"/>
            <a:r>
              <a:rPr lang="ru-RU" dirty="0"/>
              <a:t>Дополнительная информация</a:t>
            </a:r>
          </a:p>
        </p:txBody>
      </p:sp>
      <p:sp>
        <p:nvSpPr>
          <p:cNvPr id="12" name="Текст 22">
            <a:extLst>
              <a:ext uri="{FF2B5EF4-FFF2-40B4-BE49-F238E27FC236}">
                <a16:creationId xmlns:a16="http://schemas.microsoft.com/office/drawing/2014/main" id="{44CBDE23-1255-4248-A591-0CB7890C91CE}"/>
              </a:ext>
            </a:extLst>
          </p:cNvPr>
          <p:cNvSpPr>
            <a:spLocks noGrp="1"/>
          </p:cNvSpPr>
          <p:nvPr>
            <p:ph type="body" sz="quarter" idx="15" hasCustomPrompt="1"/>
          </p:nvPr>
        </p:nvSpPr>
        <p:spPr>
          <a:xfrm>
            <a:off x="417514" y="3984087"/>
            <a:ext cx="7468442" cy="827200"/>
          </a:xfrm>
          <a:prstGeom prst="rect">
            <a:avLst/>
          </a:prstGeom>
          <a:noFill/>
        </p:spPr>
        <p:txBody>
          <a:bodyPr wrap="none" lIns="0" tIns="108000" rIns="108000" bIns="0">
            <a:spAutoFit/>
          </a:bodyPr>
          <a:lstStyle>
            <a:lvl1pPr>
              <a:lnSpc>
                <a:spcPts val="5553"/>
              </a:lnSpc>
              <a:spcBef>
                <a:spcPts val="0"/>
              </a:spcBef>
              <a:defRPr sz="5289" b="0">
                <a:solidFill>
                  <a:schemeClr val="tx1"/>
                </a:solidFill>
                <a:latin typeface="Rostelecom Basis Medium" panose="020B0603030604040103" pitchFamily="34" charset="0"/>
              </a:defRPr>
            </a:lvl1pPr>
          </a:lstStyle>
          <a:p>
            <a:pPr lvl="0"/>
            <a:r>
              <a:rPr lang="ru-RU" dirty="0"/>
              <a:t>Название презентации</a:t>
            </a:r>
          </a:p>
        </p:txBody>
      </p:sp>
    </p:spTree>
    <p:extLst>
      <p:ext uri="{BB962C8B-B14F-4D97-AF65-F5344CB8AC3E}">
        <p14:creationId xmlns:p14="http://schemas.microsoft.com/office/powerpoint/2010/main" val="35955228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Обложка_1">
    <p:spTree>
      <p:nvGrpSpPr>
        <p:cNvPr id="1" name=""/>
        <p:cNvGrpSpPr/>
        <p:nvPr/>
      </p:nvGrpSpPr>
      <p:grpSpPr>
        <a:xfrm>
          <a:off x="0" y="0"/>
          <a:ext cx="0" cy="0"/>
          <a:chOff x="0" y="0"/>
          <a:chExt cx="0" cy="0"/>
        </a:xfrm>
      </p:grpSpPr>
      <p:sp>
        <p:nvSpPr>
          <p:cNvPr id="4" name="Рисунок 6">
            <a:extLst>
              <a:ext uri="{FF2B5EF4-FFF2-40B4-BE49-F238E27FC236}">
                <a16:creationId xmlns:a16="http://schemas.microsoft.com/office/drawing/2014/main" id="{F40241B0-432B-4D34-97BD-C530DED62828}"/>
              </a:ext>
            </a:extLst>
          </p:cNvPr>
          <p:cNvSpPr>
            <a:spLocks noGrp="1"/>
          </p:cNvSpPr>
          <p:nvPr>
            <p:ph type="pic" sz="quarter" idx="11"/>
          </p:nvPr>
        </p:nvSpPr>
        <p:spPr>
          <a:xfrm>
            <a:off x="0" y="0"/>
            <a:ext cx="12192000" cy="6858000"/>
          </a:xfrm>
          <a:prstGeom prst="rect">
            <a:avLst/>
          </a:prstGeom>
          <a:solidFill>
            <a:schemeClr val="tx2">
              <a:lumMod val="20000"/>
              <a:lumOff val="80000"/>
            </a:schemeClr>
          </a:solidFill>
        </p:spPr>
        <p:txBody>
          <a:bodyPr lIns="0" tIns="0" rIns="0" bIns="0" anchor="ctr"/>
          <a:lstStyle>
            <a:lvl1pPr algn="ctr">
              <a:defRPr>
                <a:solidFill>
                  <a:schemeClr val="tx1"/>
                </a:solidFill>
              </a:defRPr>
            </a:lvl1pPr>
          </a:lstStyle>
          <a:p>
            <a:endParaRPr lang="ru-RU" dirty="0"/>
          </a:p>
        </p:txBody>
      </p:sp>
      <p:sp>
        <p:nvSpPr>
          <p:cNvPr id="10" name="Текст 18">
            <a:extLst>
              <a:ext uri="{FF2B5EF4-FFF2-40B4-BE49-F238E27FC236}">
                <a16:creationId xmlns:a16="http://schemas.microsoft.com/office/drawing/2014/main" id="{5117F9EC-A302-430F-B64C-8E7880B91FB9}"/>
              </a:ext>
            </a:extLst>
          </p:cNvPr>
          <p:cNvSpPr>
            <a:spLocks noGrp="1"/>
          </p:cNvSpPr>
          <p:nvPr>
            <p:ph type="body" sz="quarter" idx="13" hasCustomPrompt="1"/>
          </p:nvPr>
        </p:nvSpPr>
        <p:spPr>
          <a:xfrm>
            <a:off x="417516" y="4852117"/>
            <a:ext cx="3911395" cy="339147"/>
          </a:xfrm>
          <a:prstGeom prst="rect">
            <a:avLst/>
          </a:prstGeom>
          <a:noFill/>
        </p:spPr>
        <p:txBody>
          <a:bodyPr wrap="none" lIns="0" tIns="36000" rIns="108000" bIns="0">
            <a:spAutoFit/>
          </a:bodyPr>
          <a:lstStyle>
            <a:lvl1pPr>
              <a:lnSpc>
                <a:spcPts val="2292"/>
              </a:lnSpc>
              <a:spcBef>
                <a:spcPts val="0"/>
              </a:spcBef>
              <a:defRPr sz="2116" b="0">
                <a:solidFill>
                  <a:schemeClr val="tx1"/>
                </a:solidFill>
                <a:latin typeface="Rostelecom Basis" panose="020B0503030604040103" pitchFamily="34" charset="0"/>
              </a:defRPr>
            </a:lvl1pPr>
          </a:lstStyle>
          <a:p>
            <a:pPr lvl="0"/>
            <a:r>
              <a:rPr lang="ru-RU" dirty="0"/>
              <a:t>Дополнительная информация</a:t>
            </a:r>
          </a:p>
        </p:txBody>
      </p:sp>
      <p:sp>
        <p:nvSpPr>
          <p:cNvPr id="12" name="Текст 22">
            <a:extLst>
              <a:ext uri="{FF2B5EF4-FFF2-40B4-BE49-F238E27FC236}">
                <a16:creationId xmlns:a16="http://schemas.microsoft.com/office/drawing/2014/main" id="{44CBDE23-1255-4248-A591-0CB7890C91CE}"/>
              </a:ext>
            </a:extLst>
          </p:cNvPr>
          <p:cNvSpPr>
            <a:spLocks noGrp="1"/>
          </p:cNvSpPr>
          <p:nvPr>
            <p:ph type="body" sz="quarter" idx="15" hasCustomPrompt="1"/>
          </p:nvPr>
        </p:nvSpPr>
        <p:spPr>
          <a:xfrm>
            <a:off x="417514" y="3984087"/>
            <a:ext cx="7468442" cy="827200"/>
          </a:xfrm>
          <a:prstGeom prst="rect">
            <a:avLst/>
          </a:prstGeom>
          <a:noFill/>
        </p:spPr>
        <p:txBody>
          <a:bodyPr wrap="none" lIns="0" tIns="108000" rIns="108000" bIns="0">
            <a:spAutoFit/>
          </a:bodyPr>
          <a:lstStyle>
            <a:lvl1pPr>
              <a:lnSpc>
                <a:spcPts val="5553"/>
              </a:lnSpc>
              <a:spcBef>
                <a:spcPts val="0"/>
              </a:spcBef>
              <a:defRPr sz="5289" b="0">
                <a:solidFill>
                  <a:schemeClr val="tx1"/>
                </a:solidFill>
                <a:latin typeface="Rostelecom Basis Medium" panose="020B0603030604040103" pitchFamily="34" charset="0"/>
              </a:defRPr>
            </a:lvl1pPr>
          </a:lstStyle>
          <a:p>
            <a:pPr lvl="0"/>
            <a:r>
              <a:rPr lang="ru-RU" dirty="0"/>
              <a:t>Название презентации</a:t>
            </a:r>
          </a:p>
        </p:txBody>
      </p:sp>
    </p:spTree>
    <p:extLst>
      <p:ext uri="{BB962C8B-B14F-4D97-AF65-F5344CB8AC3E}">
        <p14:creationId xmlns:p14="http://schemas.microsoft.com/office/powerpoint/2010/main" val="27730476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Обложка_1">
    <p:spTree>
      <p:nvGrpSpPr>
        <p:cNvPr id="1" name=""/>
        <p:cNvGrpSpPr/>
        <p:nvPr/>
      </p:nvGrpSpPr>
      <p:grpSpPr>
        <a:xfrm>
          <a:off x="0" y="0"/>
          <a:ext cx="0" cy="0"/>
          <a:chOff x="0" y="0"/>
          <a:chExt cx="0" cy="0"/>
        </a:xfrm>
      </p:grpSpPr>
      <p:sp>
        <p:nvSpPr>
          <p:cNvPr id="5" name="Рисунок 6">
            <a:extLst>
              <a:ext uri="{FF2B5EF4-FFF2-40B4-BE49-F238E27FC236}">
                <a16:creationId xmlns:a16="http://schemas.microsoft.com/office/drawing/2014/main" id="{8FF40B8C-B37B-4751-9C3A-050C17349F45}"/>
              </a:ext>
            </a:extLst>
          </p:cNvPr>
          <p:cNvSpPr>
            <a:spLocks noGrp="1"/>
          </p:cNvSpPr>
          <p:nvPr>
            <p:ph type="pic" sz="quarter" idx="11"/>
          </p:nvPr>
        </p:nvSpPr>
        <p:spPr>
          <a:xfrm>
            <a:off x="0" y="0"/>
            <a:ext cx="12192000" cy="6858000"/>
          </a:xfrm>
          <a:prstGeom prst="rect">
            <a:avLst/>
          </a:prstGeom>
          <a:solidFill>
            <a:schemeClr val="tx2">
              <a:lumMod val="50000"/>
            </a:schemeClr>
          </a:solidFill>
        </p:spPr>
        <p:txBody>
          <a:bodyPr lIns="0" tIns="0" rIns="0" bIns="0" anchor="ctr"/>
          <a:lstStyle>
            <a:lvl1pPr algn="ctr">
              <a:defRPr>
                <a:solidFill>
                  <a:schemeClr val="bg1"/>
                </a:solidFill>
              </a:defRPr>
            </a:lvl1pPr>
          </a:lstStyle>
          <a:p>
            <a:endParaRPr lang="ru-RU" dirty="0"/>
          </a:p>
        </p:txBody>
      </p:sp>
      <p:sp>
        <p:nvSpPr>
          <p:cNvPr id="10" name="Текст 18">
            <a:extLst>
              <a:ext uri="{FF2B5EF4-FFF2-40B4-BE49-F238E27FC236}">
                <a16:creationId xmlns:a16="http://schemas.microsoft.com/office/drawing/2014/main" id="{5117F9EC-A302-430F-B64C-8E7880B91FB9}"/>
              </a:ext>
            </a:extLst>
          </p:cNvPr>
          <p:cNvSpPr>
            <a:spLocks noGrp="1"/>
          </p:cNvSpPr>
          <p:nvPr>
            <p:ph type="body" sz="quarter" idx="13" hasCustomPrompt="1"/>
          </p:nvPr>
        </p:nvSpPr>
        <p:spPr>
          <a:xfrm>
            <a:off x="417515" y="4852117"/>
            <a:ext cx="5132943" cy="339147"/>
          </a:xfrm>
          <a:prstGeom prst="rect">
            <a:avLst/>
          </a:prstGeom>
          <a:noFill/>
        </p:spPr>
        <p:txBody>
          <a:bodyPr wrap="square" lIns="0" tIns="36000" rIns="108000" bIns="0">
            <a:spAutoFit/>
          </a:bodyPr>
          <a:lstStyle>
            <a:lvl1pPr>
              <a:lnSpc>
                <a:spcPts val="2292"/>
              </a:lnSpc>
              <a:spcBef>
                <a:spcPts val="0"/>
              </a:spcBef>
              <a:defRPr sz="2116" b="0">
                <a:solidFill>
                  <a:schemeClr val="bg1"/>
                </a:solidFill>
                <a:latin typeface="Rostelecom Basis" panose="020B0503030604040103" pitchFamily="34" charset="0"/>
              </a:defRPr>
            </a:lvl1pPr>
          </a:lstStyle>
          <a:p>
            <a:pPr lvl="0"/>
            <a:r>
              <a:rPr lang="ru-RU" dirty="0"/>
              <a:t>Дополнительная информация</a:t>
            </a:r>
          </a:p>
        </p:txBody>
      </p:sp>
      <p:sp>
        <p:nvSpPr>
          <p:cNvPr id="12" name="Текст 22">
            <a:extLst>
              <a:ext uri="{FF2B5EF4-FFF2-40B4-BE49-F238E27FC236}">
                <a16:creationId xmlns:a16="http://schemas.microsoft.com/office/drawing/2014/main" id="{44CBDE23-1255-4248-A591-0CB7890C91CE}"/>
              </a:ext>
            </a:extLst>
          </p:cNvPr>
          <p:cNvSpPr>
            <a:spLocks noGrp="1"/>
          </p:cNvSpPr>
          <p:nvPr>
            <p:ph type="body" sz="quarter" idx="15" hasCustomPrompt="1"/>
          </p:nvPr>
        </p:nvSpPr>
        <p:spPr>
          <a:xfrm>
            <a:off x="417515" y="3236941"/>
            <a:ext cx="5132943" cy="1581697"/>
          </a:xfrm>
          <a:prstGeom prst="rect">
            <a:avLst/>
          </a:prstGeom>
          <a:noFill/>
        </p:spPr>
        <p:txBody>
          <a:bodyPr wrap="square" lIns="0" tIns="108000" rIns="108000" bIns="0" anchor="b">
            <a:spAutoFit/>
          </a:bodyPr>
          <a:lstStyle>
            <a:lvl1pPr>
              <a:lnSpc>
                <a:spcPts val="5553"/>
              </a:lnSpc>
              <a:spcBef>
                <a:spcPts val="0"/>
              </a:spcBef>
              <a:defRPr sz="5289" b="0">
                <a:solidFill>
                  <a:schemeClr val="bg1"/>
                </a:solidFill>
                <a:latin typeface="Rostelecom Basis Medium" panose="020B0603030604040103" pitchFamily="34" charset="0"/>
              </a:defRPr>
            </a:lvl1pPr>
          </a:lstStyle>
          <a:p>
            <a:pPr lvl="0"/>
            <a:r>
              <a:rPr lang="ru-RU" dirty="0"/>
              <a:t>Название </a:t>
            </a:r>
            <a:br>
              <a:rPr lang="ru-RU" dirty="0"/>
            </a:br>
            <a:r>
              <a:rPr lang="ru-RU" dirty="0"/>
              <a:t>презентации</a:t>
            </a:r>
          </a:p>
        </p:txBody>
      </p:sp>
    </p:spTree>
    <p:extLst>
      <p:ext uri="{BB962C8B-B14F-4D97-AF65-F5344CB8AC3E}">
        <p14:creationId xmlns:p14="http://schemas.microsoft.com/office/powerpoint/2010/main" val="429343580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Обложка_2">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tx2">
              <a:lumMod val="50000"/>
            </a:schemeClr>
          </a:solidFill>
        </p:spPr>
        <p:txBody>
          <a:bodyPr lIns="0" tIns="0" rIns="0" bIns="0" anchor="ctr"/>
          <a:lstStyle>
            <a:lvl1pPr algn="ctr">
              <a:defRPr>
                <a:solidFill>
                  <a:schemeClr val="bg1"/>
                </a:solidFill>
              </a:defRPr>
            </a:lvl1pPr>
          </a:lstStyle>
          <a:p>
            <a:endParaRPr lang="ru-RU" dirty="0"/>
          </a:p>
        </p:txBody>
      </p:sp>
      <p:sp>
        <p:nvSpPr>
          <p:cNvPr id="10" name="Текст 18">
            <a:extLst>
              <a:ext uri="{FF2B5EF4-FFF2-40B4-BE49-F238E27FC236}">
                <a16:creationId xmlns:a16="http://schemas.microsoft.com/office/drawing/2014/main" id="{5117F9EC-A302-430F-B64C-8E7880B91FB9}"/>
              </a:ext>
            </a:extLst>
          </p:cNvPr>
          <p:cNvSpPr>
            <a:spLocks noGrp="1"/>
          </p:cNvSpPr>
          <p:nvPr>
            <p:ph type="body" sz="quarter" idx="13" hasCustomPrompt="1"/>
          </p:nvPr>
        </p:nvSpPr>
        <p:spPr>
          <a:xfrm>
            <a:off x="417517" y="4863323"/>
            <a:ext cx="3776743" cy="339147"/>
          </a:xfrm>
          <a:prstGeom prst="rect">
            <a:avLst/>
          </a:prstGeom>
          <a:noFill/>
        </p:spPr>
        <p:txBody>
          <a:bodyPr wrap="none" lIns="0" tIns="36000" rIns="108000" bIns="0">
            <a:spAutoFit/>
          </a:bodyPr>
          <a:lstStyle>
            <a:lvl1pPr>
              <a:lnSpc>
                <a:spcPts val="2292"/>
              </a:lnSpc>
              <a:spcBef>
                <a:spcPts val="0"/>
              </a:spcBef>
              <a:defRPr sz="2116" b="0">
                <a:solidFill>
                  <a:schemeClr val="bg1"/>
                </a:solidFill>
                <a:latin typeface="Rostelecom Basis" panose="020B0503030604040103" pitchFamily="34" charset="0"/>
              </a:defRPr>
            </a:lvl1pPr>
          </a:lstStyle>
          <a:p>
            <a:pPr lvl="0"/>
            <a:r>
              <a:rPr lang="ru-RU" dirty="0"/>
              <a:t>Дополнительна информация</a:t>
            </a:r>
          </a:p>
        </p:txBody>
      </p:sp>
      <p:sp>
        <p:nvSpPr>
          <p:cNvPr id="11" name="Текст 22">
            <a:extLst>
              <a:ext uri="{FF2B5EF4-FFF2-40B4-BE49-F238E27FC236}">
                <a16:creationId xmlns:a16="http://schemas.microsoft.com/office/drawing/2014/main" id="{E4FC0EDE-83CE-49C6-BD93-87272FE4EB33}"/>
              </a:ext>
            </a:extLst>
          </p:cNvPr>
          <p:cNvSpPr>
            <a:spLocks noGrp="1"/>
          </p:cNvSpPr>
          <p:nvPr>
            <p:ph type="body" sz="quarter" idx="14" hasCustomPrompt="1"/>
          </p:nvPr>
        </p:nvSpPr>
        <p:spPr>
          <a:xfrm>
            <a:off x="417515" y="3271794"/>
            <a:ext cx="4279016" cy="1581697"/>
          </a:xfrm>
          <a:prstGeom prst="rect">
            <a:avLst/>
          </a:prstGeom>
          <a:noFill/>
        </p:spPr>
        <p:txBody>
          <a:bodyPr wrap="none" lIns="0" tIns="108000" rIns="108000" bIns="0">
            <a:spAutoFit/>
          </a:bodyPr>
          <a:lstStyle>
            <a:lvl1pPr>
              <a:lnSpc>
                <a:spcPts val="5643"/>
              </a:lnSpc>
              <a:spcBef>
                <a:spcPts val="0"/>
              </a:spcBef>
              <a:defRPr sz="5289" b="0">
                <a:solidFill>
                  <a:schemeClr val="bg1"/>
                </a:solidFill>
                <a:latin typeface="Rostelecom Basis Medium" panose="020B0603030604040103" pitchFamily="34" charset="0"/>
              </a:defRPr>
            </a:lvl1pPr>
          </a:lstStyle>
          <a:p>
            <a:pPr lvl="0"/>
            <a:r>
              <a:rPr lang="ru-RU" dirty="0"/>
              <a:t>Название</a:t>
            </a:r>
            <a:br>
              <a:rPr lang="ru-RU" dirty="0"/>
            </a:br>
            <a:r>
              <a:rPr lang="ru-RU" dirty="0"/>
              <a:t>презентации</a:t>
            </a:r>
          </a:p>
        </p:txBody>
      </p:sp>
    </p:spTree>
    <p:extLst>
      <p:ext uri="{BB962C8B-B14F-4D97-AF65-F5344CB8AC3E}">
        <p14:creationId xmlns:p14="http://schemas.microsoft.com/office/powerpoint/2010/main" val="804714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1" y="457200"/>
            <a:ext cx="3932239"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90" y="987430"/>
            <a:ext cx="6172201" cy="4873625"/>
          </a:xfrm>
        </p:spPr>
        <p:txBody>
          <a:bodyPr/>
          <a:lstStyle>
            <a:lvl1pPr marL="0" indent="0">
              <a:buNone/>
              <a:defRPr sz="3200"/>
            </a:lvl1pPr>
            <a:lvl2pPr marL="457187" indent="0">
              <a:buNone/>
              <a:defRPr sz="2800"/>
            </a:lvl2pPr>
            <a:lvl3pPr marL="914377" indent="0">
              <a:buNone/>
              <a:defRPr sz="2400"/>
            </a:lvl3pPr>
            <a:lvl4pPr marL="1371566" indent="0">
              <a:buNone/>
              <a:defRPr sz="2000"/>
            </a:lvl4pPr>
            <a:lvl5pPr marL="1828756" indent="0">
              <a:buNone/>
              <a:defRPr sz="2000"/>
            </a:lvl5pPr>
            <a:lvl6pPr marL="2285943" indent="0">
              <a:buNone/>
              <a:defRPr sz="2000"/>
            </a:lvl6pPr>
            <a:lvl7pPr marL="2743133" indent="0">
              <a:buNone/>
              <a:defRPr sz="2000"/>
            </a:lvl7pPr>
            <a:lvl8pPr marL="3200320" indent="0">
              <a:buNone/>
              <a:defRPr sz="2000"/>
            </a:lvl8pPr>
            <a:lvl9pPr marL="3657507" indent="0">
              <a:buNone/>
              <a:defRPr sz="2000"/>
            </a:lvl9pPr>
          </a:lstStyle>
          <a:p>
            <a:endParaRPr lang="ru-RU" dirty="0"/>
          </a:p>
        </p:txBody>
      </p:sp>
      <p:sp>
        <p:nvSpPr>
          <p:cNvPr id="4" name="Текст 3"/>
          <p:cNvSpPr>
            <a:spLocks noGrp="1"/>
          </p:cNvSpPr>
          <p:nvPr>
            <p:ph type="body" sz="half" idx="2"/>
          </p:nvPr>
        </p:nvSpPr>
        <p:spPr>
          <a:xfrm>
            <a:off x="839791" y="2057401"/>
            <a:ext cx="3932239" cy="3811588"/>
          </a:xfrm>
        </p:spPr>
        <p:txBody>
          <a:bodyPr/>
          <a:lstStyle>
            <a:lvl1pPr marL="0" indent="0">
              <a:buNone/>
              <a:defRPr sz="1600"/>
            </a:lvl1pPr>
            <a:lvl2pPr marL="457187" indent="0">
              <a:buNone/>
              <a:defRPr sz="1401"/>
            </a:lvl2pPr>
            <a:lvl3pPr marL="914377" indent="0">
              <a:buNone/>
              <a:defRPr sz="1200"/>
            </a:lvl3pPr>
            <a:lvl4pPr marL="1371566" indent="0">
              <a:buNone/>
              <a:defRPr sz="1001"/>
            </a:lvl4pPr>
            <a:lvl5pPr marL="1828756" indent="0">
              <a:buNone/>
              <a:defRPr sz="1001"/>
            </a:lvl5pPr>
            <a:lvl6pPr marL="2285943" indent="0">
              <a:buNone/>
              <a:defRPr sz="1001"/>
            </a:lvl6pPr>
            <a:lvl7pPr marL="2743133" indent="0">
              <a:buNone/>
              <a:defRPr sz="1001"/>
            </a:lvl7pPr>
            <a:lvl8pPr marL="3200320" indent="0">
              <a:buNone/>
              <a:defRPr sz="1001"/>
            </a:lvl8pPr>
            <a:lvl9pPr marL="3657507" indent="0">
              <a:buNone/>
              <a:defRPr sz="1001"/>
            </a:lvl9pPr>
          </a:lstStyle>
          <a:p>
            <a:pPr lvl="0"/>
            <a:r>
              <a:rPr lang="ru-RU" smtClean="0"/>
              <a:t>Образец текста</a:t>
            </a:r>
          </a:p>
        </p:txBody>
      </p:sp>
      <p:sp>
        <p:nvSpPr>
          <p:cNvPr id="5" name="Дата 4"/>
          <p:cNvSpPr>
            <a:spLocks noGrp="1"/>
          </p:cNvSpPr>
          <p:nvPr>
            <p:ph type="dt" sz="half" idx="10"/>
          </p:nvPr>
        </p:nvSpPr>
        <p:spPr/>
        <p:txBody>
          <a:bodyPr/>
          <a:lstStyle/>
          <a:p>
            <a:fld id="{CDA2A6A1-50E0-479E-92B6-032F0B7E68E3}" type="datetimeFigureOut">
              <a:rPr lang="ru-RU" smtClean="0"/>
              <a:t>28.11.2022</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4556FB98-9F83-426D-A87F-0083BEB04A1A}" type="slidenum">
              <a:rPr lang="ru-RU" smtClean="0"/>
              <a:t>‹#›</a:t>
            </a:fld>
            <a:endParaRPr lang="ru-RU" dirty="0"/>
          </a:p>
        </p:txBody>
      </p:sp>
    </p:spTree>
    <p:extLst>
      <p:ext uri="{BB962C8B-B14F-4D97-AF65-F5344CB8AC3E}">
        <p14:creationId xmlns:p14="http://schemas.microsoft.com/office/powerpoint/2010/main" val="34522444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Обложка_2">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tx2">
              <a:lumMod val="20000"/>
              <a:lumOff val="80000"/>
            </a:schemeClr>
          </a:solidFill>
        </p:spPr>
        <p:txBody>
          <a:bodyPr lIns="0" tIns="0" rIns="0" bIns="0" anchor="ctr"/>
          <a:lstStyle>
            <a:lvl1pPr algn="ctr">
              <a:defRPr>
                <a:solidFill>
                  <a:schemeClr val="tx1"/>
                </a:solidFill>
              </a:defRPr>
            </a:lvl1pPr>
          </a:lstStyle>
          <a:p>
            <a:endParaRPr lang="ru-RU" dirty="0"/>
          </a:p>
        </p:txBody>
      </p:sp>
      <p:sp>
        <p:nvSpPr>
          <p:cNvPr id="10" name="Текст 18">
            <a:extLst>
              <a:ext uri="{FF2B5EF4-FFF2-40B4-BE49-F238E27FC236}">
                <a16:creationId xmlns:a16="http://schemas.microsoft.com/office/drawing/2014/main" id="{5117F9EC-A302-430F-B64C-8E7880B91FB9}"/>
              </a:ext>
            </a:extLst>
          </p:cNvPr>
          <p:cNvSpPr>
            <a:spLocks noGrp="1"/>
          </p:cNvSpPr>
          <p:nvPr>
            <p:ph type="body" sz="quarter" idx="13" hasCustomPrompt="1"/>
          </p:nvPr>
        </p:nvSpPr>
        <p:spPr>
          <a:xfrm>
            <a:off x="417517" y="4863323"/>
            <a:ext cx="3776743" cy="339147"/>
          </a:xfrm>
          <a:prstGeom prst="rect">
            <a:avLst/>
          </a:prstGeom>
          <a:noFill/>
        </p:spPr>
        <p:txBody>
          <a:bodyPr wrap="none" lIns="0" tIns="36000" rIns="108000" bIns="0">
            <a:spAutoFit/>
          </a:bodyPr>
          <a:lstStyle>
            <a:lvl1pPr>
              <a:lnSpc>
                <a:spcPts val="2292"/>
              </a:lnSpc>
              <a:spcBef>
                <a:spcPts val="0"/>
              </a:spcBef>
              <a:defRPr sz="2116" b="0">
                <a:solidFill>
                  <a:schemeClr val="tx1"/>
                </a:solidFill>
                <a:latin typeface="Rostelecom Basis" panose="020B0503030604040103" pitchFamily="34" charset="0"/>
              </a:defRPr>
            </a:lvl1pPr>
          </a:lstStyle>
          <a:p>
            <a:pPr lvl="0"/>
            <a:r>
              <a:rPr lang="ru-RU" dirty="0"/>
              <a:t>Дополнительна информация</a:t>
            </a:r>
          </a:p>
        </p:txBody>
      </p:sp>
      <p:sp>
        <p:nvSpPr>
          <p:cNvPr id="11" name="Текст 22">
            <a:extLst>
              <a:ext uri="{FF2B5EF4-FFF2-40B4-BE49-F238E27FC236}">
                <a16:creationId xmlns:a16="http://schemas.microsoft.com/office/drawing/2014/main" id="{E4FC0EDE-83CE-49C6-BD93-87272FE4EB33}"/>
              </a:ext>
            </a:extLst>
          </p:cNvPr>
          <p:cNvSpPr>
            <a:spLocks noGrp="1"/>
          </p:cNvSpPr>
          <p:nvPr>
            <p:ph type="body" sz="quarter" idx="14" hasCustomPrompt="1"/>
          </p:nvPr>
        </p:nvSpPr>
        <p:spPr>
          <a:xfrm>
            <a:off x="417515" y="3271794"/>
            <a:ext cx="4279016" cy="1581697"/>
          </a:xfrm>
          <a:prstGeom prst="rect">
            <a:avLst/>
          </a:prstGeom>
          <a:noFill/>
        </p:spPr>
        <p:txBody>
          <a:bodyPr wrap="none" lIns="0" tIns="108000" rIns="108000" bIns="0">
            <a:spAutoFit/>
          </a:bodyPr>
          <a:lstStyle>
            <a:lvl1pPr>
              <a:lnSpc>
                <a:spcPts val="5643"/>
              </a:lnSpc>
              <a:spcBef>
                <a:spcPts val="0"/>
              </a:spcBef>
              <a:defRPr sz="5289" b="0">
                <a:solidFill>
                  <a:schemeClr val="tx1"/>
                </a:solidFill>
                <a:latin typeface="Rostelecom Basis Medium" panose="020B0603030604040103" pitchFamily="34" charset="0"/>
              </a:defRPr>
            </a:lvl1pPr>
          </a:lstStyle>
          <a:p>
            <a:pPr lvl="0"/>
            <a:r>
              <a:rPr lang="ru-RU" dirty="0"/>
              <a:t>Название</a:t>
            </a:r>
            <a:br>
              <a:rPr lang="ru-RU" dirty="0"/>
            </a:br>
            <a:r>
              <a:rPr lang="ru-RU" dirty="0"/>
              <a:t>презентации</a:t>
            </a:r>
          </a:p>
        </p:txBody>
      </p:sp>
    </p:spTree>
    <p:extLst>
      <p:ext uri="{BB962C8B-B14F-4D97-AF65-F5344CB8AC3E}">
        <p14:creationId xmlns:p14="http://schemas.microsoft.com/office/powerpoint/2010/main" val="4809488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Обложка_2">
    <p:spTree>
      <p:nvGrpSpPr>
        <p:cNvPr id="1" name=""/>
        <p:cNvGrpSpPr/>
        <p:nvPr/>
      </p:nvGrpSpPr>
      <p:grpSpPr>
        <a:xfrm>
          <a:off x="0" y="0"/>
          <a:ext cx="0" cy="0"/>
          <a:chOff x="0" y="0"/>
          <a:chExt cx="0" cy="0"/>
        </a:xfrm>
      </p:grpSpPr>
      <p:sp>
        <p:nvSpPr>
          <p:cNvPr id="10" name="Текст 18">
            <a:extLst>
              <a:ext uri="{FF2B5EF4-FFF2-40B4-BE49-F238E27FC236}">
                <a16:creationId xmlns:a16="http://schemas.microsoft.com/office/drawing/2014/main" id="{5117F9EC-A302-430F-B64C-8E7880B91FB9}"/>
              </a:ext>
            </a:extLst>
          </p:cNvPr>
          <p:cNvSpPr>
            <a:spLocks noGrp="1"/>
          </p:cNvSpPr>
          <p:nvPr>
            <p:ph type="body" sz="quarter" idx="13" hasCustomPrompt="1"/>
          </p:nvPr>
        </p:nvSpPr>
        <p:spPr>
          <a:xfrm>
            <a:off x="417517" y="4863323"/>
            <a:ext cx="3776743" cy="339147"/>
          </a:xfrm>
          <a:prstGeom prst="rect">
            <a:avLst/>
          </a:prstGeom>
          <a:noFill/>
        </p:spPr>
        <p:txBody>
          <a:bodyPr wrap="none" lIns="0" tIns="36000" rIns="108000" bIns="0">
            <a:spAutoFit/>
          </a:bodyPr>
          <a:lstStyle>
            <a:lvl1pPr>
              <a:lnSpc>
                <a:spcPts val="2292"/>
              </a:lnSpc>
              <a:spcBef>
                <a:spcPts val="0"/>
              </a:spcBef>
              <a:defRPr sz="2116" b="0">
                <a:solidFill>
                  <a:schemeClr val="tx1"/>
                </a:solidFill>
                <a:latin typeface="Rostelecom Basis" panose="020B0503030604040103" pitchFamily="34" charset="0"/>
              </a:defRPr>
            </a:lvl1pPr>
          </a:lstStyle>
          <a:p>
            <a:pPr lvl="0"/>
            <a:r>
              <a:rPr lang="ru-RU" dirty="0"/>
              <a:t>Дополнительна информация</a:t>
            </a:r>
          </a:p>
        </p:txBody>
      </p:sp>
      <p:sp>
        <p:nvSpPr>
          <p:cNvPr id="11" name="Текст 22">
            <a:extLst>
              <a:ext uri="{FF2B5EF4-FFF2-40B4-BE49-F238E27FC236}">
                <a16:creationId xmlns:a16="http://schemas.microsoft.com/office/drawing/2014/main" id="{E4FC0EDE-83CE-49C6-BD93-87272FE4EB33}"/>
              </a:ext>
            </a:extLst>
          </p:cNvPr>
          <p:cNvSpPr>
            <a:spLocks noGrp="1"/>
          </p:cNvSpPr>
          <p:nvPr>
            <p:ph type="body" sz="quarter" idx="14" hasCustomPrompt="1"/>
          </p:nvPr>
        </p:nvSpPr>
        <p:spPr>
          <a:xfrm>
            <a:off x="417515" y="3271794"/>
            <a:ext cx="4279016" cy="1581697"/>
          </a:xfrm>
          <a:prstGeom prst="rect">
            <a:avLst/>
          </a:prstGeom>
          <a:noFill/>
        </p:spPr>
        <p:txBody>
          <a:bodyPr wrap="none" lIns="0" tIns="108000" rIns="108000" bIns="0">
            <a:spAutoFit/>
          </a:bodyPr>
          <a:lstStyle>
            <a:lvl1pPr>
              <a:lnSpc>
                <a:spcPts val="5643"/>
              </a:lnSpc>
              <a:spcBef>
                <a:spcPts val="0"/>
              </a:spcBef>
              <a:defRPr sz="5289" b="0">
                <a:solidFill>
                  <a:schemeClr val="tx1"/>
                </a:solidFill>
                <a:latin typeface="Rostelecom Basis Medium" panose="020B0603030604040103" pitchFamily="34" charset="0"/>
              </a:defRPr>
            </a:lvl1pPr>
          </a:lstStyle>
          <a:p>
            <a:pPr lvl="0"/>
            <a:r>
              <a:rPr lang="ru-RU" dirty="0"/>
              <a:t>Название</a:t>
            </a:r>
            <a:br>
              <a:rPr lang="ru-RU" dirty="0"/>
            </a:br>
            <a:r>
              <a:rPr lang="ru-RU" dirty="0"/>
              <a:t>презентации</a:t>
            </a:r>
          </a:p>
        </p:txBody>
      </p:sp>
    </p:spTree>
    <p:extLst>
      <p:ext uri="{BB962C8B-B14F-4D97-AF65-F5344CB8AC3E}">
        <p14:creationId xmlns:p14="http://schemas.microsoft.com/office/powerpoint/2010/main" val="29553886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Обложка_3">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tx2">
              <a:lumMod val="50000"/>
            </a:schemeClr>
          </a:solidFill>
        </p:spPr>
        <p:txBody>
          <a:bodyPr lIns="0" tIns="0" rIns="0" bIns="0" anchor="ctr"/>
          <a:lstStyle>
            <a:lvl1pPr algn="ctr">
              <a:defRPr>
                <a:solidFill>
                  <a:schemeClr val="bg1"/>
                </a:solidFill>
              </a:defRPr>
            </a:lvl1pPr>
          </a:lstStyle>
          <a:p>
            <a:endParaRPr lang="ru-RU" dirty="0"/>
          </a:p>
        </p:txBody>
      </p:sp>
      <p:sp>
        <p:nvSpPr>
          <p:cNvPr id="15" name="Текст 18">
            <a:extLst>
              <a:ext uri="{FF2B5EF4-FFF2-40B4-BE49-F238E27FC236}">
                <a16:creationId xmlns:a16="http://schemas.microsoft.com/office/drawing/2014/main" id="{ED3ACE08-9D0E-402B-971D-09EFBA0A9F7B}"/>
              </a:ext>
            </a:extLst>
          </p:cNvPr>
          <p:cNvSpPr>
            <a:spLocks noGrp="1"/>
          </p:cNvSpPr>
          <p:nvPr>
            <p:ph type="body" sz="quarter" idx="13" hasCustomPrompt="1"/>
          </p:nvPr>
        </p:nvSpPr>
        <p:spPr>
          <a:xfrm>
            <a:off x="417513" y="4885735"/>
            <a:ext cx="3911395" cy="339147"/>
          </a:xfrm>
          <a:prstGeom prst="rect">
            <a:avLst/>
          </a:prstGeom>
          <a:noFill/>
        </p:spPr>
        <p:txBody>
          <a:bodyPr wrap="none" lIns="0" tIns="36000" rIns="108000" bIns="0">
            <a:spAutoFit/>
          </a:bodyPr>
          <a:lstStyle>
            <a:lvl1pPr>
              <a:lnSpc>
                <a:spcPts val="2292"/>
              </a:lnSpc>
              <a:spcBef>
                <a:spcPts val="0"/>
              </a:spcBef>
              <a:defRPr sz="2116" b="0">
                <a:solidFill>
                  <a:schemeClr val="bg1"/>
                </a:solidFill>
                <a:latin typeface="Rostelecom Basis" panose="020B0503030604040103" pitchFamily="34" charset="0"/>
              </a:defRPr>
            </a:lvl1pPr>
          </a:lstStyle>
          <a:p>
            <a:pPr lvl="0"/>
            <a:r>
              <a:rPr lang="ru-RU" dirty="0"/>
              <a:t>Дополнительная информация</a:t>
            </a:r>
          </a:p>
        </p:txBody>
      </p:sp>
      <p:sp>
        <p:nvSpPr>
          <p:cNvPr id="17" name="Текст 22">
            <a:extLst>
              <a:ext uri="{FF2B5EF4-FFF2-40B4-BE49-F238E27FC236}">
                <a16:creationId xmlns:a16="http://schemas.microsoft.com/office/drawing/2014/main" id="{A91E123F-D1B0-4B04-A4F8-95C28096B20D}"/>
              </a:ext>
            </a:extLst>
          </p:cNvPr>
          <p:cNvSpPr>
            <a:spLocks noGrp="1"/>
          </p:cNvSpPr>
          <p:nvPr>
            <p:ph type="body" sz="quarter" idx="14" hasCustomPrompt="1"/>
          </p:nvPr>
        </p:nvSpPr>
        <p:spPr>
          <a:xfrm>
            <a:off x="417515" y="2570091"/>
            <a:ext cx="4279016" cy="2299843"/>
          </a:xfrm>
          <a:prstGeom prst="rect">
            <a:avLst/>
          </a:prstGeom>
          <a:noFill/>
        </p:spPr>
        <p:txBody>
          <a:bodyPr wrap="none" lIns="0" tIns="108000" rIns="108000" bIns="0">
            <a:spAutoFit/>
          </a:bodyPr>
          <a:lstStyle>
            <a:lvl1pPr>
              <a:lnSpc>
                <a:spcPts val="5643"/>
              </a:lnSpc>
              <a:spcBef>
                <a:spcPts val="0"/>
              </a:spcBef>
              <a:defRPr sz="5289" b="0">
                <a:solidFill>
                  <a:schemeClr val="bg1"/>
                </a:solidFill>
                <a:latin typeface="Rostelecom Basis Medium" panose="020B0603030604040103" pitchFamily="34" charset="0"/>
              </a:defRPr>
            </a:lvl1pPr>
          </a:lstStyle>
          <a:p>
            <a:pPr lvl="0"/>
            <a:r>
              <a:rPr lang="ru-RU" dirty="0"/>
              <a:t>Название</a:t>
            </a:r>
            <a:br>
              <a:rPr lang="ru-RU" dirty="0"/>
            </a:br>
            <a:r>
              <a:rPr lang="ru-RU" dirty="0"/>
              <a:t>презентации</a:t>
            </a:r>
            <a:br>
              <a:rPr lang="ru-RU" dirty="0"/>
            </a:br>
            <a:r>
              <a:rPr lang="ru-RU" dirty="0"/>
              <a:t>три строки</a:t>
            </a:r>
          </a:p>
        </p:txBody>
      </p:sp>
    </p:spTree>
    <p:extLst>
      <p:ext uri="{BB962C8B-B14F-4D97-AF65-F5344CB8AC3E}">
        <p14:creationId xmlns:p14="http://schemas.microsoft.com/office/powerpoint/2010/main" val="62353324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Обложка_3">
    <p:spTree>
      <p:nvGrpSpPr>
        <p:cNvPr id="1" name=""/>
        <p:cNvGrpSpPr/>
        <p:nvPr/>
      </p:nvGrpSpPr>
      <p:grpSpPr>
        <a:xfrm>
          <a:off x="0" y="0"/>
          <a:ext cx="0" cy="0"/>
          <a:chOff x="0" y="0"/>
          <a:chExt cx="0" cy="0"/>
        </a:xfrm>
      </p:grpSpPr>
      <p:sp>
        <p:nvSpPr>
          <p:cNvPr id="3" name="Рисунок 6">
            <a:extLst>
              <a:ext uri="{FF2B5EF4-FFF2-40B4-BE49-F238E27FC236}">
                <a16:creationId xmlns:a16="http://schemas.microsoft.com/office/drawing/2014/main" id="{D7881D8A-6FE6-49FC-9844-2C1D1A51651B}"/>
              </a:ext>
            </a:extLst>
          </p:cNvPr>
          <p:cNvSpPr>
            <a:spLocks noGrp="1"/>
          </p:cNvSpPr>
          <p:nvPr>
            <p:ph type="pic" sz="quarter" idx="11"/>
          </p:nvPr>
        </p:nvSpPr>
        <p:spPr>
          <a:xfrm>
            <a:off x="0" y="0"/>
            <a:ext cx="12192000" cy="6858000"/>
          </a:xfrm>
          <a:prstGeom prst="rect">
            <a:avLst/>
          </a:prstGeom>
          <a:solidFill>
            <a:schemeClr val="tx2">
              <a:lumMod val="20000"/>
              <a:lumOff val="80000"/>
            </a:schemeClr>
          </a:solidFill>
        </p:spPr>
        <p:txBody>
          <a:bodyPr lIns="0" tIns="0" rIns="0" bIns="0" anchor="ctr"/>
          <a:lstStyle>
            <a:lvl1pPr algn="ctr">
              <a:defRPr>
                <a:solidFill>
                  <a:schemeClr val="tx1"/>
                </a:solidFill>
              </a:defRPr>
            </a:lvl1pPr>
          </a:lstStyle>
          <a:p>
            <a:endParaRPr lang="ru-RU" dirty="0"/>
          </a:p>
        </p:txBody>
      </p:sp>
      <p:sp>
        <p:nvSpPr>
          <p:cNvPr id="15" name="Текст 18">
            <a:extLst>
              <a:ext uri="{FF2B5EF4-FFF2-40B4-BE49-F238E27FC236}">
                <a16:creationId xmlns:a16="http://schemas.microsoft.com/office/drawing/2014/main" id="{ED3ACE08-9D0E-402B-971D-09EFBA0A9F7B}"/>
              </a:ext>
            </a:extLst>
          </p:cNvPr>
          <p:cNvSpPr>
            <a:spLocks noGrp="1"/>
          </p:cNvSpPr>
          <p:nvPr>
            <p:ph type="body" sz="quarter" idx="13" hasCustomPrompt="1"/>
          </p:nvPr>
        </p:nvSpPr>
        <p:spPr>
          <a:xfrm>
            <a:off x="417513" y="4885735"/>
            <a:ext cx="3911395" cy="339147"/>
          </a:xfrm>
          <a:prstGeom prst="rect">
            <a:avLst/>
          </a:prstGeom>
          <a:noFill/>
        </p:spPr>
        <p:txBody>
          <a:bodyPr wrap="none" lIns="0" tIns="36000" rIns="108000" bIns="0">
            <a:spAutoFit/>
          </a:bodyPr>
          <a:lstStyle>
            <a:lvl1pPr>
              <a:lnSpc>
                <a:spcPts val="2292"/>
              </a:lnSpc>
              <a:spcBef>
                <a:spcPts val="0"/>
              </a:spcBef>
              <a:defRPr sz="2116" b="0">
                <a:solidFill>
                  <a:schemeClr val="tx1"/>
                </a:solidFill>
                <a:latin typeface="Rostelecom Basis" panose="020B0503030604040103" pitchFamily="34" charset="0"/>
              </a:defRPr>
            </a:lvl1pPr>
          </a:lstStyle>
          <a:p>
            <a:pPr lvl="0"/>
            <a:r>
              <a:rPr lang="ru-RU" dirty="0"/>
              <a:t>Дополнительная информация</a:t>
            </a:r>
          </a:p>
        </p:txBody>
      </p:sp>
      <p:sp>
        <p:nvSpPr>
          <p:cNvPr id="17" name="Текст 22">
            <a:extLst>
              <a:ext uri="{FF2B5EF4-FFF2-40B4-BE49-F238E27FC236}">
                <a16:creationId xmlns:a16="http://schemas.microsoft.com/office/drawing/2014/main" id="{A91E123F-D1B0-4B04-A4F8-95C28096B20D}"/>
              </a:ext>
            </a:extLst>
          </p:cNvPr>
          <p:cNvSpPr>
            <a:spLocks noGrp="1"/>
          </p:cNvSpPr>
          <p:nvPr>
            <p:ph type="body" sz="quarter" idx="14" hasCustomPrompt="1"/>
          </p:nvPr>
        </p:nvSpPr>
        <p:spPr>
          <a:xfrm>
            <a:off x="417515" y="2570091"/>
            <a:ext cx="4279016" cy="2299843"/>
          </a:xfrm>
          <a:prstGeom prst="rect">
            <a:avLst/>
          </a:prstGeom>
          <a:noFill/>
        </p:spPr>
        <p:txBody>
          <a:bodyPr wrap="none" lIns="0" tIns="108000" rIns="108000" bIns="0">
            <a:spAutoFit/>
          </a:bodyPr>
          <a:lstStyle>
            <a:lvl1pPr>
              <a:lnSpc>
                <a:spcPts val="5643"/>
              </a:lnSpc>
              <a:spcBef>
                <a:spcPts val="0"/>
              </a:spcBef>
              <a:defRPr sz="5289" b="0">
                <a:solidFill>
                  <a:schemeClr val="tx1"/>
                </a:solidFill>
                <a:latin typeface="Rostelecom Basis Medium" panose="020B0603030604040103" pitchFamily="34" charset="0"/>
              </a:defRPr>
            </a:lvl1pPr>
          </a:lstStyle>
          <a:p>
            <a:pPr lvl="0"/>
            <a:r>
              <a:rPr lang="ru-RU" dirty="0"/>
              <a:t>Название</a:t>
            </a:r>
            <a:br>
              <a:rPr lang="ru-RU" dirty="0"/>
            </a:br>
            <a:r>
              <a:rPr lang="ru-RU" dirty="0"/>
              <a:t>презентации</a:t>
            </a:r>
            <a:br>
              <a:rPr lang="ru-RU" dirty="0"/>
            </a:br>
            <a:r>
              <a:rPr lang="ru-RU" dirty="0"/>
              <a:t>три строки</a:t>
            </a:r>
          </a:p>
        </p:txBody>
      </p:sp>
    </p:spTree>
    <p:extLst>
      <p:ext uri="{BB962C8B-B14F-4D97-AF65-F5344CB8AC3E}">
        <p14:creationId xmlns:p14="http://schemas.microsoft.com/office/powerpoint/2010/main" val="28350737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Обложка_3">
    <p:spTree>
      <p:nvGrpSpPr>
        <p:cNvPr id="1" name=""/>
        <p:cNvGrpSpPr/>
        <p:nvPr/>
      </p:nvGrpSpPr>
      <p:grpSpPr>
        <a:xfrm>
          <a:off x="0" y="0"/>
          <a:ext cx="0" cy="0"/>
          <a:chOff x="0" y="0"/>
          <a:chExt cx="0" cy="0"/>
        </a:xfrm>
      </p:grpSpPr>
      <p:sp>
        <p:nvSpPr>
          <p:cNvPr id="15" name="Текст 18">
            <a:extLst>
              <a:ext uri="{FF2B5EF4-FFF2-40B4-BE49-F238E27FC236}">
                <a16:creationId xmlns:a16="http://schemas.microsoft.com/office/drawing/2014/main" id="{ED3ACE08-9D0E-402B-971D-09EFBA0A9F7B}"/>
              </a:ext>
            </a:extLst>
          </p:cNvPr>
          <p:cNvSpPr>
            <a:spLocks noGrp="1"/>
          </p:cNvSpPr>
          <p:nvPr>
            <p:ph type="body" sz="quarter" idx="13" hasCustomPrompt="1"/>
          </p:nvPr>
        </p:nvSpPr>
        <p:spPr>
          <a:xfrm>
            <a:off x="417513" y="4885735"/>
            <a:ext cx="3911395" cy="339147"/>
          </a:xfrm>
          <a:prstGeom prst="rect">
            <a:avLst/>
          </a:prstGeom>
          <a:noFill/>
        </p:spPr>
        <p:txBody>
          <a:bodyPr wrap="none" lIns="0" tIns="36000" rIns="108000" bIns="0">
            <a:spAutoFit/>
          </a:bodyPr>
          <a:lstStyle>
            <a:lvl1pPr>
              <a:lnSpc>
                <a:spcPts val="2292"/>
              </a:lnSpc>
              <a:spcBef>
                <a:spcPts val="0"/>
              </a:spcBef>
              <a:defRPr sz="2116" b="0">
                <a:solidFill>
                  <a:schemeClr val="tx1"/>
                </a:solidFill>
                <a:latin typeface="Rostelecom Basis" panose="020B0503030604040103" pitchFamily="34" charset="0"/>
              </a:defRPr>
            </a:lvl1pPr>
          </a:lstStyle>
          <a:p>
            <a:pPr lvl="0"/>
            <a:r>
              <a:rPr lang="ru-RU" dirty="0"/>
              <a:t>Дополнительная информация</a:t>
            </a:r>
          </a:p>
        </p:txBody>
      </p:sp>
      <p:sp>
        <p:nvSpPr>
          <p:cNvPr id="17" name="Текст 22">
            <a:extLst>
              <a:ext uri="{FF2B5EF4-FFF2-40B4-BE49-F238E27FC236}">
                <a16:creationId xmlns:a16="http://schemas.microsoft.com/office/drawing/2014/main" id="{A91E123F-D1B0-4B04-A4F8-95C28096B20D}"/>
              </a:ext>
            </a:extLst>
          </p:cNvPr>
          <p:cNvSpPr>
            <a:spLocks noGrp="1"/>
          </p:cNvSpPr>
          <p:nvPr>
            <p:ph type="body" sz="quarter" idx="14" hasCustomPrompt="1"/>
          </p:nvPr>
        </p:nvSpPr>
        <p:spPr>
          <a:xfrm>
            <a:off x="417515" y="2570091"/>
            <a:ext cx="4279016" cy="2299843"/>
          </a:xfrm>
          <a:prstGeom prst="rect">
            <a:avLst/>
          </a:prstGeom>
          <a:noFill/>
        </p:spPr>
        <p:txBody>
          <a:bodyPr wrap="none" lIns="0" tIns="108000" rIns="108000" bIns="0">
            <a:spAutoFit/>
          </a:bodyPr>
          <a:lstStyle>
            <a:lvl1pPr>
              <a:lnSpc>
                <a:spcPts val="5643"/>
              </a:lnSpc>
              <a:spcBef>
                <a:spcPts val="0"/>
              </a:spcBef>
              <a:defRPr sz="5289" b="0">
                <a:solidFill>
                  <a:schemeClr val="tx1"/>
                </a:solidFill>
                <a:latin typeface="Rostelecom Basis Medium" panose="020B0603030604040103" pitchFamily="34" charset="0"/>
              </a:defRPr>
            </a:lvl1pPr>
          </a:lstStyle>
          <a:p>
            <a:pPr lvl="0"/>
            <a:r>
              <a:rPr lang="ru-RU" dirty="0"/>
              <a:t>Название</a:t>
            </a:r>
            <a:br>
              <a:rPr lang="ru-RU" dirty="0"/>
            </a:br>
            <a:r>
              <a:rPr lang="ru-RU" dirty="0"/>
              <a:t>презентации</a:t>
            </a:r>
            <a:br>
              <a:rPr lang="ru-RU" dirty="0"/>
            </a:br>
            <a:r>
              <a:rPr lang="ru-RU" dirty="0"/>
              <a:t>три строки</a:t>
            </a:r>
          </a:p>
        </p:txBody>
      </p:sp>
    </p:spTree>
    <p:extLst>
      <p:ext uri="{BB962C8B-B14F-4D97-AF65-F5344CB8AC3E}">
        <p14:creationId xmlns:p14="http://schemas.microsoft.com/office/powerpoint/2010/main" val="14611419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Раздел">
    <p:spTree>
      <p:nvGrpSpPr>
        <p:cNvPr id="1" name=""/>
        <p:cNvGrpSpPr/>
        <p:nvPr/>
      </p:nvGrpSpPr>
      <p:grpSpPr>
        <a:xfrm>
          <a:off x="0" y="0"/>
          <a:ext cx="0" cy="0"/>
          <a:chOff x="0" y="0"/>
          <a:chExt cx="0" cy="0"/>
        </a:xfrm>
      </p:grpSpPr>
      <p:sp>
        <p:nvSpPr>
          <p:cNvPr id="4" name="Текст 22">
            <a:extLst>
              <a:ext uri="{FF2B5EF4-FFF2-40B4-BE49-F238E27FC236}">
                <a16:creationId xmlns:a16="http://schemas.microsoft.com/office/drawing/2014/main" id="{12943CF6-66E6-4AA1-91EC-143E712BA87B}"/>
              </a:ext>
            </a:extLst>
          </p:cNvPr>
          <p:cNvSpPr>
            <a:spLocks noGrp="1"/>
          </p:cNvSpPr>
          <p:nvPr>
            <p:ph type="body" sz="quarter" idx="14" hasCustomPrompt="1"/>
          </p:nvPr>
        </p:nvSpPr>
        <p:spPr>
          <a:xfrm>
            <a:off x="417515" y="2362421"/>
            <a:ext cx="6083498" cy="827200"/>
          </a:xfrm>
          <a:prstGeom prst="rect">
            <a:avLst/>
          </a:prstGeom>
          <a:solidFill>
            <a:schemeClr val="accent3"/>
          </a:solidFill>
        </p:spPr>
        <p:txBody>
          <a:bodyPr wrap="none" lIns="108000" tIns="108000" rIns="108000" bIns="0">
            <a:spAutoFit/>
          </a:bodyPr>
          <a:lstStyle>
            <a:lvl1pPr>
              <a:lnSpc>
                <a:spcPts val="5553"/>
              </a:lnSpc>
              <a:spcBef>
                <a:spcPts val="0"/>
              </a:spcBef>
              <a:defRPr sz="5289" b="0">
                <a:solidFill>
                  <a:schemeClr val="bg1"/>
                </a:solidFill>
                <a:latin typeface="Rostelecom Basis Medium" panose="020B0603030604040103" pitchFamily="34" charset="0"/>
              </a:defRPr>
            </a:lvl1pPr>
          </a:lstStyle>
          <a:p>
            <a:pPr lvl="0"/>
            <a:r>
              <a:rPr lang="ru-RU" dirty="0"/>
              <a:t>Название раздела</a:t>
            </a:r>
          </a:p>
        </p:txBody>
      </p:sp>
      <p:grpSp>
        <p:nvGrpSpPr>
          <p:cNvPr id="43" name="Рисунок 121">
            <a:extLst>
              <a:ext uri="{FF2B5EF4-FFF2-40B4-BE49-F238E27FC236}">
                <a16:creationId xmlns:a16="http://schemas.microsoft.com/office/drawing/2014/main" id="{B662993E-BB93-485F-9DCD-FF7CFE511C31}"/>
              </a:ext>
            </a:extLst>
          </p:cNvPr>
          <p:cNvGrpSpPr/>
          <p:nvPr userDrawn="1"/>
        </p:nvGrpSpPr>
        <p:grpSpPr>
          <a:xfrm>
            <a:off x="10223121" y="6227631"/>
            <a:ext cx="1551971" cy="397031"/>
            <a:chOff x="11596853" y="7057975"/>
            <a:chExt cx="1760516" cy="449969"/>
          </a:xfrm>
        </p:grpSpPr>
        <p:grpSp>
          <p:nvGrpSpPr>
            <p:cNvPr id="44" name="Рисунок 121">
              <a:extLst>
                <a:ext uri="{FF2B5EF4-FFF2-40B4-BE49-F238E27FC236}">
                  <a16:creationId xmlns:a16="http://schemas.microsoft.com/office/drawing/2014/main" id="{479588A0-ED06-4BA6-888F-A4DDDE23695A}"/>
                </a:ext>
              </a:extLst>
            </p:cNvPr>
            <p:cNvGrpSpPr/>
            <p:nvPr/>
          </p:nvGrpSpPr>
          <p:grpSpPr>
            <a:xfrm>
              <a:off x="11916748" y="7197855"/>
              <a:ext cx="1440620" cy="310088"/>
              <a:chOff x="11916748" y="7197855"/>
              <a:chExt cx="1440620" cy="310088"/>
            </a:xfrm>
            <a:solidFill>
              <a:srgbClr val="101828"/>
            </a:solidFill>
          </p:grpSpPr>
          <p:sp>
            <p:nvSpPr>
              <p:cNvPr id="48" name="Полилиния: фигура 47">
                <a:extLst>
                  <a:ext uri="{FF2B5EF4-FFF2-40B4-BE49-F238E27FC236}">
                    <a16:creationId xmlns:a16="http://schemas.microsoft.com/office/drawing/2014/main" id="{A8CE830A-AD22-4EBF-AB14-7E795976676A}"/>
                  </a:ext>
                </a:extLst>
              </p:cNvPr>
              <p:cNvSpPr/>
              <p:nvPr/>
            </p:nvSpPr>
            <p:spPr>
              <a:xfrm>
                <a:off x="11916748" y="7197855"/>
                <a:ext cx="1440441" cy="186806"/>
              </a:xfrm>
              <a:custGeom>
                <a:avLst/>
                <a:gdLst>
                  <a:gd name="connsiteX0" fmla="*/ 1068712 w 1440441"/>
                  <a:gd name="connsiteY0" fmla="*/ 113591 h 186806"/>
                  <a:gd name="connsiteX1" fmla="*/ 1129904 w 1440441"/>
                  <a:gd name="connsiteY1" fmla="*/ 183218 h 186806"/>
                  <a:gd name="connsiteX2" fmla="*/ 1090156 w 1440441"/>
                  <a:gd name="connsiteY2" fmla="*/ 183218 h 186806"/>
                  <a:gd name="connsiteX3" fmla="*/ 1042781 w 1440441"/>
                  <a:gd name="connsiteY3" fmla="*/ 129562 h 186806"/>
                  <a:gd name="connsiteX4" fmla="*/ 1042781 w 1440441"/>
                  <a:gd name="connsiteY4" fmla="*/ 183128 h 186806"/>
                  <a:gd name="connsiteX5" fmla="*/ 1009852 w 1440441"/>
                  <a:gd name="connsiteY5" fmla="*/ 183128 h 186806"/>
                  <a:gd name="connsiteX6" fmla="*/ 1009852 w 1440441"/>
                  <a:gd name="connsiteY6" fmla="*/ 53386 h 186806"/>
                  <a:gd name="connsiteX7" fmla="*/ 1042781 w 1440441"/>
                  <a:gd name="connsiteY7" fmla="*/ 53386 h 186806"/>
                  <a:gd name="connsiteX8" fmla="*/ 1042781 w 1440441"/>
                  <a:gd name="connsiteY8" fmla="*/ 100492 h 186806"/>
                  <a:gd name="connsiteX9" fmla="*/ 1089348 w 1440441"/>
                  <a:gd name="connsiteY9" fmla="*/ 53386 h 186806"/>
                  <a:gd name="connsiteX10" fmla="*/ 1128379 w 1440441"/>
                  <a:gd name="connsiteY10" fmla="*/ 53386 h 186806"/>
                  <a:gd name="connsiteX11" fmla="*/ 1068712 w 1440441"/>
                  <a:gd name="connsiteY11" fmla="*/ 113591 h 186806"/>
                  <a:gd name="connsiteX12" fmla="*/ 82188 w 1440441"/>
                  <a:gd name="connsiteY12" fmla="*/ 88469 h 186806"/>
                  <a:gd name="connsiteX13" fmla="*/ 117270 w 1440441"/>
                  <a:gd name="connsiteY13" fmla="*/ 59667 h 186806"/>
                  <a:gd name="connsiteX14" fmla="*/ 82188 w 1440441"/>
                  <a:gd name="connsiteY14" fmla="*/ 30865 h 186806"/>
                  <a:gd name="connsiteX15" fmla="*/ 34544 w 1440441"/>
                  <a:gd name="connsiteY15" fmla="*/ 30865 h 186806"/>
                  <a:gd name="connsiteX16" fmla="*/ 34544 w 1440441"/>
                  <a:gd name="connsiteY16" fmla="*/ 88469 h 186806"/>
                  <a:gd name="connsiteX17" fmla="*/ 82188 w 1440441"/>
                  <a:gd name="connsiteY17" fmla="*/ 88469 h 186806"/>
                  <a:gd name="connsiteX18" fmla="*/ 83175 w 1440441"/>
                  <a:gd name="connsiteY18" fmla="*/ 0 h 186806"/>
                  <a:gd name="connsiteX19" fmla="*/ 151725 w 1440441"/>
                  <a:gd name="connsiteY19" fmla="*/ 59667 h 186806"/>
                  <a:gd name="connsiteX20" fmla="*/ 83175 w 1440441"/>
                  <a:gd name="connsiteY20" fmla="*/ 119334 h 186806"/>
                  <a:gd name="connsiteX21" fmla="*/ 34544 w 1440441"/>
                  <a:gd name="connsiteY21" fmla="*/ 119334 h 186806"/>
                  <a:gd name="connsiteX22" fmla="*/ 34544 w 1440441"/>
                  <a:gd name="connsiteY22" fmla="*/ 183128 h 186806"/>
                  <a:gd name="connsiteX23" fmla="*/ 0 w 1440441"/>
                  <a:gd name="connsiteY23" fmla="*/ 183128 h 186806"/>
                  <a:gd name="connsiteX24" fmla="*/ 0 w 1440441"/>
                  <a:gd name="connsiteY24" fmla="*/ 0 h 186806"/>
                  <a:gd name="connsiteX25" fmla="*/ 83175 w 1440441"/>
                  <a:gd name="connsiteY25" fmla="*/ 0 h 186806"/>
                  <a:gd name="connsiteX26" fmla="*/ 229695 w 1440441"/>
                  <a:gd name="connsiteY26" fmla="*/ 155942 h 186806"/>
                  <a:gd name="connsiteX27" fmla="*/ 267111 w 1440441"/>
                  <a:gd name="connsiteY27" fmla="*/ 118257 h 186806"/>
                  <a:gd name="connsiteX28" fmla="*/ 229695 w 1440441"/>
                  <a:gd name="connsiteY28" fmla="*/ 80573 h 186806"/>
                  <a:gd name="connsiteX29" fmla="*/ 192280 w 1440441"/>
                  <a:gd name="connsiteY29" fmla="*/ 118257 h 186806"/>
                  <a:gd name="connsiteX30" fmla="*/ 229695 w 1440441"/>
                  <a:gd name="connsiteY30" fmla="*/ 155942 h 186806"/>
                  <a:gd name="connsiteX31" fmla="*/ 229695 w 1440441"/>
                  <a:gd name="connsiteY31" fmla="*/ 49707 h 186806"/>
                  <a:gd name="connsiteX32" fmla="*/ 300578 w 1440441"/>
                  <a:gd name="connsiteY32" fmla="*/ 118257 h 186806"/>
                  <a:gd name="connsiteX33" fmla="*/ 229695 w 1440441"/>
                  <a:gd name="connsiteY33" fmla="*/ 186807 h 186806"/>
                  <a:gd name="connsiteX34" fmla="*/ 158813 w 1440441"/>
                  <a:gd name="connsiteY34" fmla="*/ 118257 h 186806"/>
                  <a:gd name="connsiteX35" fmla="*/ 229695 w 1440441"/>
                  <a:gd name="connsiteY35" fmla="*/ 49707 h 186806"/>
                  <a:gd name="connsiteX36" fmla="*/ 384830 w 1440441"/>
                  <a:gd name="connsiteY36" fmla="*/ 155942 h 186806"/>
                  <a:gd name="connsiteX37" fmla="*/ 350286 w 1440441"/>
                  <a:gd name="connsiteY37" fmla="*/ 118257 h 186806"/>
                  <a:gd name="connsiteX38" fmla="*/ 384830 w 1440441"/>
                  <a:gd name="connsiteY38" fmla="*/ 80573 h 186806"/>
                  <a:gd name="connsiteX39" fmla="*/ 414887 w 1440441"/>
                  <a:gd name="connsiteY39" fmla="*/ 98338 h 186806"/>
                  <a:gd name="connsiteX40" fmla="*/ 443151 w 1440441"/>
                  <a:gd name="connsiteY40" fmla="*/ 82098 h 186806"/>
                  <a:gd name="connsiteX41" fmla="*/ 385099 w 1440441"/>
                  <a:gd name="connsiteY41" fmla="*/ 49618 h 186806"/>
                  <a:gd name="connsiteX42" fmla="*/ 316818 w 1440441"/>
                  <a:gd name="connsiteY42" fmla="*/ 118167 h 186806"/>
                  <a:gd name="connsiteX43" fmla="*/ 385099 w 1440441"/>
                  <a:gd name="connsiteY43" fmla="*/ 186717 h 186806"/>
                  <a:gd name="connsiteX44" fmla="*/ 444497 w 1440441"/>
                  <a:gd name="connsiteY44" fmla="*/ 151904 h 186806"/>
                  <a:gd name="connsiteX45" fmla="*/ 417310 w 1440441"/>
                  <a:gd name="connsiteY45" fmla="*/ 137010 h 186806"/>
                  <a:gd name="connsiteX46" fmla="*/ 384830 w 1440441"/>
                  <a:gd name="connsiteY46" fmla="*/ 155942 h 186806"/>
                  <a:gd name="connsiteX47" fmla="*/ 735833 w 1440441"/>
                  <a:gd name="connsiteY47" fmla="*/ 126871 h 186806"/>
                  <a:gd name="connsiteX48" fmla="*/ 723541 w 1440441"/>
                  <a:gd name="connsiteY48" fmla="*/ 151186 h 186806"/>
                  <a:gd name="connsiteX49" fmla="*/ 713491 w 1440441"/>
                  <a:gd name="connsiteY49" fmla="*/ 149840 h 186806"/>
                  <a:gd name="connsiteX50" fmla="*/ 713671 w 1440441"/>
                  <a:gd name="connsiteY50" fmla="*/ 183397 h 186806"/>
                  <a:gd name="connsiteX51" fmla="*/ 725335 w 1440441"/>
                  <a:gd name="connsiteY51" fmla="*/ 184653 h 186806"/>
                  <a:gd name="connsiteX52" fmla="*/ 766429 w 1440441"/>
                  <a:gd name="connsiteY52" fmla="*/ 128127 h 186806"/>
                  <a:gd name="connsiteX53" fmla="*/ 769569 w 1440441"/>
                  <a:gd name="connsiteY53" fmla="*/ 82906 h 186806"/>
                  <a:gd name="connsiteX54" fmla="*/ 806715 w 1440441"/>
                  <a:gd name="connsiteY54" fmla="*/ 82906 h 186806"/>
                  <a:gd name="connsiteX55" fmla="*/ 806715 w 1440441"/>
                  <a:gd name="connsiteY55" fmla="*/ 182859 h 186806"/>
                  <a:gd name="connsiteX56" fmla="*/ 839644 w 1440441"/>
                  <a:gd name="connsiteY56" fmla="*/ 182859 h 186806"/>
                  <a:gd name="connsiteX57" fmla="*/ 839644 w 1440441"/>
                  <a:gd name="connsiteY57" fmla="*/ 53386 h 186806"/>
                  <a:gd name="connsiteX58" fmla="*/ 741216 w 1440441"/>
                  <a:gd name="connsiteY58" fmla="*/ 53386 h 186806"/>
                  <a:gd name="connsiteX59" fmla="*/ 735833 w 1440441"/>
                  <a:gd name="connsiteY59" fmla="*/ 126871 h 186806"/>
                  <a:gd name="connsiteX60" fmla="*/ 675000 w 1440441"/>
                  <a:gd name="connsiteY60" fmla="*/ 101030 h 186806"/>
                  <a:gd name="connsiteX61" fmla="*/ 641263 w 1440441"/>
                  <a:gd name="connsiteY61" fmla="*/ 74830 h 186806"/>
                  <a:gd name="connsiteX62" fmla="*/ 606181 w 1440441"/>
                  <a:gd name="connsiteY62" fmla="*/ 101030 h 186806"/>
                  <a:gd name="connsiteX63" fmla="*/ 675000 w 1440441"/>
                  <a:gd name="connsiteY63" fmla="*/ 101030 h 186806"/>
                  <a:gd name="connsiteX64" fmla="*/ 642340 w 1440441"/>
                  <a:gd name="connsiteY64" fmla="*/ 49707 h 186806"/>
                  <a:gd name="connsiteX65" fmla="*/ 705685 w 1440441"/>
                  <a:gd name="connsiteY65" fmla="*/ 114578 h 186806"/>
                  <a:gd name="connsiteX66" fmla="*/ 705685 w 1440441"/>
                  <a:gd name="connsiteY66" fmla="*/ 126063 h 186806"/>
                  <a:gd name="connsiteX67" fmla="*/ 605732 w 1440441"/>
                  <a:gd name="connsiteY67" fmla="*/ 126063 h 186806"/>
                  <a:gd name="connsiteX68" fmla="*/ 641353 w 1440441"/>
                  <a:gd name="connsiteY68" fmla="*/ 158544 h 186806"/>
                  <a:gd name="connsiteX69" fmla="*/ 674282 w 1440441"/>
                  <a:gd name="connsiteY69" fmla="*/ 140778 h 186806"/>
                  <a:gd name="connsiteX70" fmla="*/ 700481 w 1440441"/>
                  <a:gd name="connsiteY70" fmla="*/ 153878 h 186806"/>
                  <a:gd name="connsiteX71" fmla="*/ 640814 w 1440441"/>
                  <a:gd name="connsiteY71" fmla="*/ 186807 h 186806"/>
                  <a:gd name="connsiteX72" fmla="*/ 574059 w 1440441"/>
                  <a:gd name="connsiteY72" fmla="*/ 118257 h 186806"/>
                  <a:gd name="connsiteX73" fmla="*/ 642340 w 1440441"/>
                  <a:gd name="connsiteY73" fmla="*/ 49707 h 186806"/>
                  <a:gd name="connsiteX74" fmla="*/ 959158 w 1440441"/>
                  <a:gd name="connsiteY74" fmla="*/ 101030 h 186806"/>
                  <a:gd name="connsiteX75" fmla="*/ 925421 w 1440441"/>
                  <a:gd name="connsiteY75" fmla="*/ 74830 h 186806"/>
                  <a:gd name="connsiteX76" fmla="*/ 890339 w 1440441"/>
                  <a:gd name="connsiteY76" fmla="*/ 101030 h 186806"/>
                  <a:gd name="connsiteX77" fmla="*/ 959158 w 1440441"/>
                  <a:gd name="connsiteY77" fmla="*/ 101030 h 186806"/>
                  <a:gd name="connsiteX78" fmla="*/ 926498 w 1440441"/>
                  <a:gd name="connsiteY78" fmla="*/ 49707 h 186806"/>
                  <a:gd name="connsiteX79" fmla="*/ 989844 w 1440441"/>
                  <a:gd name="connsiteY79" fmla="*/ 114578 h 186806"/>
                  <a:gd name="connsiteX80" fmla="*/ 989844 w 1440441"/>
                  <a:gd name="connsiteY80" fmla="*/ 126063 h 186806"/>
                  <a:gd name="connsiteX81" fmla="*/ 889890 w 1440441"/>
                  <a:gd name="connsiteY81" fmla="*/ 126063 h 186806"/>
                  <a:gd name="connsiteX82" fmla="*/ 925511 w 1440441"/>
                  <a:gd name="connsiteY82" fmla="*/ 158544 h 186806"/>
                  <a:gd name="connsiteX83" fmla="*/ 958440 w 1440441"/>
                  <a:gd name="connsiteY83" fmla="*/ 140778 h 186806"/>
                  <a:gd name="connsiteX84" fmla="*/ 984640 w 1440441"/>
                  <a:gd name="connsiteY84" fmla="*/ 153878 h 186806"/>
                  <a:gd name="connsiteX85" fmla="*/ 924973 w 1440441"/>
                  <a:gd name="connsiteY85" fmla="*/ 186807 h 186806"/>
                  <a:gd name="connsiteX86" fmla="*/ 858217 w 1440441"/>
                  <a:gd name="connsiteY86" fmla="*/ 118257 h 186806"/>
                  <a:gd name="connsiteX87" fmla="*/ 926498 w 1440441"/>
                  <a:gd name="connsiteY87" fmla="*/ 49707 h 186806"/>
                  <a:gd name="connsiteX88" fmla="*/ 454725 w 1440441"/>
                  <a:gd name="connsiteY88" fmla="*/ 82188 h 186806"/>
                  <a:gd name="connsiteX89" fmla="*/ 493486 w 1440441"/>
                  <a:gd name="connsiteY89" fmla="*/ 82188 h 186806"/>
                  <a:gd name="connsiteX90" fmla="*/ 493486 w 1440441"/>
                  <a:gd name="connsiteY90" fmla="*/ 183128 h 186806"/>
                  <a:gd name="connsiteX91" fmla="*/ 526415 w 1440441"/>
                  <a:gd name="connsiteY91" fmla="*/ 183128 h 186806"/>
                  <a:gd name="connsiteX92" fmla="*/ 526415 w 1440441"/>
                  <a:gd name="connsiteY92" fmla="*/ 82188 h 186806"/>
                  <a:gd name="connsiteX93" fmla="*/ 565176 w 1440441"/>
                  <a:gd name="connsiteY93" fmla="*/ 82188 h 186806"/>
                  <a:gd name="connsiteX94" fmla="*/ 565176 w 1440441"/>
                  <a:gd name="connsiteY94" fmla="*/ 53386 h 186806"/>
                  <a:gd name="connsiteX95" fmla="*/ 454725 w 1440441"/>
                  <a:gd name="connsiteY95" fmla="*/ 53386 h 186806"/>
                  <a:gd name="connsiteX96" fmla="*/ 454725 w 1440441"/>
                  <a:gd name="connsiteY96" fmla="*/ 82188 h 186806"/>
                  <a:gd name="connsiteX97" fmla="*/ 1195403 w 1440441"/>
                  <a:gd name="connsiteY97" fmla="*/ 155942 h 186806"/>
                  <a:gd name="connsiteX98" fmla="*/ 1232818 w 1440441"/>
                  <a:gd name="connsiteY98" fmla="*/ 118257 h 186806"/>
                  <a:gd name="connsiteX99" fmla="*/ 1195403 w 1440441"/>
                  <a:gd name="connsiteY99" fmla="*/ 80573 h 186806"/>
                  <a:gd name="connsiteX100" fmla="*/ 1157988 w 1440441"/>
                  <a:gd name="connsiteY100" fmla="*/ 118257 h 186806"/>
                  <a:gd name="connsiteX101" fmla="*/ 1195403 w 1440441"/>
                  <a:gd name="connsiteY101" fmla="*/ 155942 h 186806"/>
                  <a:gd name="connsiteX102" fmla="*/ 1195403 w 1440441"/>
                  <a:gd name="connsiteY102" fmla="*/ 49707 h 186806"/>
                  <a:gd name="connsiteX103" fmla="*/ 1266286 w 1440441"/>
                  <a:gd name="connsiteY103" fmla="*/ 118257 h 186806"/>
                  <a:gd name="connsiteX104" fmla="*/ 1195403 w 1440441"/>
                  <a:gd name="connsiteY104" fmla="*/ 186807 h 186806"/>
                  <a:gd name="connsiteX105" fmla="*/ 1124521 w 1440441"/>
                  <a:gd name="connsiteY105" fmla="*/ 118257 h 186806"/>
                  <a:gd name="connsiteX106" fmla="*/ 1195403 w 1440441"/>
                  <a:gd name="connsiteY106" fmla="*/ 49707 h 186806"/>
                  <a:gd name="connsiteX107" fmla="*/ 1397463 w 1440441"/>
                  <a:gd name="connsiteY107" fmla="*/ 53386 h 186806"/>
                  <a:gd name="connsiteX108" fmla="*/ 1361663 w 1440441"/>
                  <a:gd name="connsiteY108" fmla="*/ 144277 h 186806"/>
                  <a:gd name="connsiteX109" fmla="*/ 1325863 w 1440441"/>
                  <a:gd name="connsiteY109" fmla="*/ 53386 h 186806"/>
                  <a:gd name="connsiteX110" fmla="*/ 1282795 w 1440441"/>
                  <a:gd name="connsiteY110" fmla="*/ 53386 h 186806"/>
                  <a:gd name="connsiteX111" fmla="*/ 1282795 w 1440441"/>
                  <a:gd name="connsiteY111" fmla="*/ 182949 h 186806"/>
                  <a:gd name="connsiteX112" fmla="*/ 1314109 w 1440441"/>
                  <a:gd name="connsiteY112" fmla="*/ 182949 h 186806"/>
                  <a:gd name="connsiteX113" fmla="*/ 1314109 w 1440441"/>
                  <a:gd name="connsiteY113" fmla="*/ 100940 h 186806"/>
                  <a:gd name="connsiteX114" fmla="*/ 1348833 w 1440441"/>
                  <a:gd name="connsiteY114" fmla="*/ 182949 h 186806"/>
                  <a:gd name="connsiteX115" fmla="*/ 1374404 w 1440441"/>
                  <a:gd name="connsiteY115" fmla="*/ 182949 h 186806"/>
                  <a:gd name="connsiteX116" fmla="*/ 1409128 w 1440441"/>
                  <a:gd name="connsiteY116" fmla="*/ 100940 h 186806"/>
                  <a:gd name="connsiteX117" fmla="*/ 1409128 w 1440441"/>
                  <a:gd name="connsiteY117" fmla="*/ 182949 h 186806"/>
                  <a:gd name="connsiteX118" fmla="*/ 1440442 w 1440441"/>
                  <a:gd name="connsiteY118" fmla="*/ 182949 h 186806"/>
                  <a:gd name="connsiteX119" fmla="*/ 1440442 w 1440441"/>
                  <a:gd name="connsiteY119" fmla="*/ 53386 h 186806"/>
                  <a:gd name="connsiteX120" fmla="*/ 1397463 w 1440441"/>
                  <a:gd name="connsiteY120" fmla="*/ 53386 h 186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440441" h="186806">
                    <a:moveTo>
                      <a:pt x="1068712" y="113591"/>
                    </a:moveTo>
                    <a:lnTo>
                      <a:pt x="1129904" y="183218"/>
                    </a:lnTo>
                    <a:lnTo>
                      <a:pt x="1090156" y="183218"/>
                    </a:lnTo>
                    <a:lnTo>
                      <a:pt x="1042781" y="129562"/>
                    </a:lnTo>
                    <a:lnTo>
                      <a:pt x="1042781" y="183128"/>
                    </a:lnTo>
                    <a:lnTo>
                      <a:pt x="1009852" y="183128"/>
                    </a:lnTo>
                    <a:lnTo>
                      <a:pt x="1009852" y="53386"/>
                    </a:lnTo>
                    <a:lnTo>
                      <a:pt x="1042781" y="53386"/>
                    </a:lnTo>
                    <a:lnTo>
                      <a:pt x="1042781" y="100492"/>
                    </a:lnTo>
                    <a:lnTo>
                      <a:pt x="1089348" y="53386"/>
                    </a:lnTo>
                    <a:lnTo>
                      <a:pt x="1128379" y="53386"/>
                    </a:lnTo>
                    <a:lnTo>
                      <a:pt x="1068712" y="113591"/>
                    </a:lnTo>
                    <a:close/>
                    <a:moveTo>
                      <a:pt x="82188" y="88469"/>
                    </a:moveTo>
                    <a:cubicBezTo>
                      <a:pt x="106234" y="88469"/>
                      <a:pt x="117270" y="76984"/>
                      <a:pt x="117270" y="59667"/>
                    </a:cubicBezTo>
                    <a:cubicBezTo>
                      <a:pt x="117270" y="42440"/>
                      <a:pt x="106234" y="30865"/>
                      <a:pt x="82188" y="30865"/>
                    </a:cubicBezTo>
                    <a:lnTo>
                      <a:pt x="34544" y="30865"/>
                    </a:lnTo>
                    <a:lnTo>
                      <a:pt x="34544" y="88469"/>
                    </a:lnTo>
                    <a:lnTo>
                      <a:pt x="82188" y="88469"/>
                    </a:lnTo>
                    <a:moveTo>
                      <a:pt x="83175" y="0"/>
                    </a:moveTo>
                    <a:cubicBezTo>
                      <a:pt x="124538" y="0"/>
                      <a:pt x="151725" y="21175"/>
                      <a:pt x="151725" y="59667"/>
                    </a:cubicBezTo>
                    <a:cubicBezTo>
                      <a:pt x="151725" y="98159"/>
                      <a:pt x="124538" y="119334"/>
                      <a:pt x="83175" y="119334"/>
                    </a:cubicBezTo>
                    <a:lnTo>
                      <a:pt x="34544" y="119334"/>
                    </a:lnTo>
                    <a:lnTo>
                      <a:pt x="34544" y="183128"/>
                    </a:lnTo>
                    <a:lnTo>
                      <a:pt x="0" y="183128"/>
                    </a:lnTo>
                    <a:lnTo>
                      <a:pt x="0" y="0"/>
                    </a:lnTo>
                    <a:lnTo>
                      <a:pt x="83175" y="0"/>
                    </a:lnTo>
                    <a:moveTo>
                      <a:pt x="229695" y="155942"/>
                    </a:moveTo>
                    <a:cubicBezTo>
                      <a:pt x="249076" y="155942"/>
                      <a:pt x="267111" y="142034"/>
                      <a:pt x="267111" y="118257"/>
                    </a:cubicBezTo>
                    <a:cubicBezTo>
                      <a:pt x="267111" y="94480"/>
                      <a:pt x="249076" y="80573"/>
                      <a:pt x="229695" y="80573"/>
                    </a:cubicBezTo>
                    <a:cubicBezTo>
                      <a:pt x="210315" y="80573"/>
                      <a:pt x="192280" y="94480"/>
                      <a:pt x="192280" y="118257"/>
                    </a:cubicBezTo>
                    <a:cubicBezTo>
                      <a:pt x="192280" y="142124"/>
                      <a:pt x="210405" y="155942"/>
                      <a:pt x="229695" y="155942"/>
                    </a:cubicBezTo>
                    <a:moveTo>
                      <a:pt x="229695" y="49707"/>
                    </a:moveTo>
                    <a:cubicBezTo>
                      <a:pt x="265316" y="49707"/>
                      <a:pt x="300578" y="72767"/>
                      <a:pt x="300578" y="118257"/>
                    </a:cubicBezTo>
                    <a:cubicBezTo>
                      <a:pt x="300578" y="163748"/>
                      <a:pt x="265226" y="186807"/>
                      <a:pt x="229695" y="186807"/>
                    </a:cubicBezTo>
                    <a:cubicBezTo>
                      <a:pt x="194075" y="186807"/>
                      <a:pt x="158813" y="163748"/>
                      <a:pt x="158813" y="118257"/>
                    </a:cubicBezTo>
                    <a:cubicBezTo>
                      <a:pt x="158813" y="72767"/>
                      <a:pt x="194164" y="49707"/>
                      <a:pt x="229695" y="49707"/>
                    </a:cubicBezTo>
                    <a:moveTo>
                      <a:pt x="384830" y="155942"/>
                    </a:moveTo>
                    <a:cubicBezTo>
                      <a:pt x="364911" y="155942"/>
                      <a:pt x="350286" y="141586"/>
                      <a:pt x="350286" y="118257"/>
                    </a:cubicBezTo>
                    <a:cubicBezTo>
                      <a:pt x="350286" y="95198"/>
                      <a:pt x="365449" y="80573"/>
                      <a:pt x="384830" y="80573"/>
                    </a:cubicBezTo>
                    <a:cubicBezTo>
                      <a:pt x="396584" y="80573"/>
                      <a:pt x="406812" y="86046"/>
                      <a:pt x="414887" y="98338"/>
                    </a:cubicBezTo>
                    <a:lnTo>
                      <a:pt x="443151" y="82098"/>
                    </a:lnTo>
                    <a:cubicBezTo>
                      <a:pt x="433730" y="61910"/>
                      <a:pt x="413362" y="49618"/>
                      <a:pt x="385099" y="49618"/>
                    </a:cubicBezTo>
                    <a:cubicBezTo>
                      <a:pt x="348222" y="49618"/>
                      <a:pt x="316818" y="76804"/>
                      <a:pt x="316818" y="118167"/>
                    </a:cubicBezTo>
                    <a:cubicBezTo>
                      <a:pt x="316818" y="159531"/>
                      <a:pt x="346607" y="186717"/>
                      <a:pt x="385099" y="186717"/>
                    </a:cubicBezTo>
                    <a:cubicBezTo>
                      <a:pt x="412824" y="186717"/>
                      <a:pt x="431397" y="174156"/>
                      <a:pt x="444497" y="151904"/>
                    </a:cubicBezTo>
                    <a:lnTo>
                      <a:pt x="417310" y="137010"/>
                    </a:lnTo>
                    <a:cubicBezTo>
                      <a:pt x="409414" y="148135"/>
                      <a:pt x="401070" y="155942"/>
                      <a:pt x="384830" y="155942"/>
                    </a:cubicBezTo>
                    <a:moveTo>
                      <a:pt x="735833" y="126871"/>
                    </a:moveTo>
                    <a:cubicBezTo>
                      <a:pt x="734308" y="146790"/>
                      <a:pt x="730360" y="151186"/>
                      <a:pt x="723541" y="151186"/>
                    </a:cubicBezTo>
                    <a:cubicBezTo>
                      <a:pt x="718875" y="151186"/>
                      <a:pt x="716722" y="150648"/>
                      <a:pt x="713491" y="149840"/>
                    </a:cubicBezTo>
                    <a:lnTo>
                      <a:pt x="713671" y="183397"/>
                    </a:lnTo>
                    <a:cubicBezTo>
                      <a:pt x="713671" y="183397"/>
                      <a:pt x="717798" y="184653"/>
                      <a:pt x="725335" y="184653"/>
                    </a:cubicBezTo>
                    <a:cubicBezTo>
                      <a:pt x="753329" y="184653"/>
                      <a:pt x="763827" y="166619"/>
                      <a:pt x="766429" y="128127"/>
                    </a:cubicBezTo>
                    <a:lnTo>
                      <a:pt x="769569" y="82906"/>
                    </a:lnTo>
                    <a:lnTo>
                      <a:pt x="806715" y="82906"/>
                    </a:lnTo>
                    <a:lnTo>
                      <a:pt x="806715" y="182859"/>
                    </a:lnTo>
                    <a:lnTo>
                      <a:pt x="839644" y="182859"/>
                    </a:lnTo>
                    <a:lnTo>
                      <a:pt x="839644" y="53386"/>
                    </a:lnTo>
                    <a:lnTo>
                      <a:pt x="741216" y="53386"/>
                    </a:lnTo>
                    <a:lnTo>
                      <a:pt x="735833" y="126871"/>
                    </a:lnTo>
                    <a:close/>
                    <a:moveTo>
                      <a:pt x="675000" y="101030"/>
                    </a:moveTo>
                    <a:cubicBezTo>
                      <a:pt x="671859" y="84790"/>
                      <a:pt x="659567" y="74830"/>
                      <a:pt x="641263" y="74830"/>
                    </a:cubicBezTo>
                    <a:cubicBezTo>
                      <a:pt x="624036" y="74830"/>
                      <a:pt x="610936" y="86315"/>
                      <a:pt x="606181" y="101030"/>
                    </a:cubicBezTo>
                    <a:lnTo>
                      <a:pt x="675000" y="101030"/>
                    </a:lnTo>
                    <a:close/>
                    <a:moveTo>
                      <a:pt x="642340" y="49707"/>
                    </a:moveTo>
                    <a:cubicBezTo>
                      <a:pt x="679486" y="49707"/>
                      <a:pt x="705685" y="76625"/>
                      <a:pt x="705685" y="114578"/>
                    </a:cubicBezTo>
                    <a:lnTo>
                      <a:pt x="705685" y="126063"/>
                    </a:lnTo>
                    <a:lnTo>
                      <a:pt x="605732" y="126063"/>
                    </a:lnTo>
                    <a:cubicBezTo>
                      <a:pt x="607796" y="145982"/>
                      <a:pt x="621972" y="158544"/>
                      <a:pt x="641353" y="158544"/>
                    </a:cubicBezTo>
                    <a:cubicBezTo>
                      <a:pt x="658849" y="158544"/>
                      <a:pt x="666206" y="150917"/>
                      <a:pt x="674282" y="140778"/>
                    </a:cubicBezTo>
                    <a:lnTo>
                      <a:pt x="700481" y="153878"/>
                    </a:lnTo>
                    <a:cubicBezTo>
                      <a:pt x="687381" y="176130"/>
                      <a:pt x="669347" y="186807"/>
                      <a:pt x="640814" y="186807"/>
                    </a:cubicBezTo>
                    <a:cubicBezTo>
                      <a:pt x="604745" y="186807"/>
                      <a:pt x="574059" y="159351"/>
                      <a:pt x="574059" y="118257"/>
                    </a:cubicBezTo>
                    <a:cubicBezTo>
                      <a:pt x="574059" y="77163"/>
                      <a:pt x="604655" y="49707"/>
                      <a:pt x="642340" y="49707"/>
                    </a:cubicBezTo>
                    <a:moveTo>
                      <a:pt x="959158" y="101030"/>
                    </a:moveTo>
                    <a:cubicBezTo>
                      <a:pt x="956017" y="84790"/>
                      <a:pt x="943725" y="74830"/>
                      <a:pt x="925421" y="74830"/>
                    </a:cubicBezTo>
                    <a:cubicBezTo>
                      <a:pt x="908194" y="74830"/>
                      <a:pt x="895094" y="86315"/>
                      <a:pt x="890339" y="101030"/>
                    </a:cubicBezTo>
                    <a:lnTo>
                      <a:pt x="959158" y="101030"/>
                    </a:lnTo>
                    <a:close/>
                    <a:moveTo>
                      <a:pt x="926498" y="49707"/>
                    </a:moveTo>
                    <a:cubicBezTo>
                      <a:pt x="963644" y="49707"/>
                      <a:pt x="989844" y="76625"/>
                      <a:pt x="989844" y="114578"/>
                    </a:cubicBezTo>
                    <a:lnTo>
                      <a:pt x="989844" y="126063"/>
                    </a:lnTo>
                    <a:lnTo>
                      <a:pt x="889890" y="126063"/>
                    </a:lnTo>
                    <a:cubicBezTo>
                      <a:pt x="891954" y="145982"/>
                      <a:pt x="906131" y="158544"/>
                      <a:pt x="925511" y="158544"/>
                    </a:cubicBezTo>
                    <a:cubicBezTo>
                      <a:pt x="943007" y="158544"/>
                      <a:pt x="950365" y="150917"/>
                      <a:pt x="958440" y="140778"/>
                    </a:cubicBezTo>
                    <a:lnTo>
                      <a:pt x="984640" y="153878"/>
                    </a:lnTo>
                    <a:cubicBezTo>
                      <a:pt x="971540" y="176130"/>
                      <a:pt x="953505" y="186807"/>
                      <a:pt x="924973" y="186807"/>
                    </a:cubicBezTo>
                    <a:cubicBezTo>
                      <a:pt x="888903" y="186807"/>
                      <a:pt x="858217" y="159351"/>
                      <a:pt x="858217" y="118257"/>
                    </a:cubicBezTo>
                    <a:cubicBezTo>
                      <a:pt x="858128" y="77163"/>
                      <a:pt x="888814" y="49707"/>
                      <a:pt x="926498" y="49707"/>
                    </a:cubicBezTo>
                    <a:moveTo>
                      <a:pt x="454725" y="82188"/>
                    </a:moveTo>
                    <a:lnTo>
                      <a:pt x="493486" y="82188"/>
                    </a:lnTo>
                    <a:lnTo>
                      <a:pt x="493486" y="183128"/>
                    </a:lnTo>
                    <a:lnTo>
                      <a:pt x="526415" y="183128"/>
                    </a:lnTo>
                    <a:lnTo>
                      <a:pt x="526415" y="82188"/>
                    </a:lnTo>
                    <a:lnTo>
                      <a:pt x="565176" y="82188"/>
                    </a:lnTo>
                    <a:lnTo>
                      <a:pt x="565176" y="53386"/>
                    </a:lnTo>
                    <a:lnTo>
                      <a:pt x="454725" y="53386"/>
                    </a:lnTo>
                    <a:lnTo>
                      <a:pt x="454725" y="82188"/>
                    </a:lnTo>
                    <a:close/>
                    <a:moveTo>
                      <a:pt x="1195403" y="155942"/>
                    </a:moveTo>
                    <a:cubicBezTo>
                      <a:pt x="1214784" y="155942"/>
                      <a:pt x="1232818" y="142034"/>
                      <a:pt x="1232818" y="118257"/>
                    </a:cubicBezTo>
                    <a:cubicBezTo>
                      <a:pt x="1232818" y="94480"/>
                      <a:pt x="1214784" y="80573"/>
                      <a:pt x="1195403" y="80573"/>
                    </a:cubicBezTo>
                    <a:cubicBezTo>
                      <a:pt x="1176023" y="80573"/>
                      <a:pt x="1157988" y="94480"/>
                      <a:pt x="1157988" y="118257"/>
                    </a:cubicBezTo>
                    <a:cubicBezTo>
                      <a:pt x="1157988" y="142124"/>
                      <a:pt x="1176023" y="155942"/>
                      <a:pt x="1195403" y="155942"/>
                    </a:cubicBezTo>
                    <a:moveTo>
                      <a:pt x="1195403" y="49707"/>
                    </a:moveTo>
                    <a:cubicBezTo>
                      <a:pt x="1231024" y="49707"/>
                      <a:pt x="1266286" y="72767"/>
                      <a:pt x="1266286" y="118257"/>
                    </a:cubicBezTo>
                    <a:cubicBezTo>
                      <a:pt x="1266286" y="163748"/>
                      <a:pt x="1230934" y="186807"/>
                      <a:pt x="1195403" y="186807"/>
                    </a:cubicBezTo>
                    <a:cubicBezTo>
                      <a:pt x="1159782" y="186807"/>
                      <a:pt x="1124521" y="163748"/>
                      <a:pt x="1124521" y="118257"/>
                    </a:cubicBezTo>
                    <a:cubicBezTo>
                      <a:pt x="1124521" y="72767"/>
                      <a:pt x="1159782" y="49707"/>
                      <a:pt x="1195403" y="49707"/>
                    </a:cubicBezTo>
                    <a:moveTo>
                      <a:pt x="1397463" y="53386"/>
                    </a:moveTo>
                    <a:lnTo>
                      <a:pt x="1361663" y="144277"/>
                    </a:lnTo>
                    <a:lnTo>
                      <a:pt x="1325863" y="53386"/>
                    </a:lnTo>
                    <a:lnTo>
                      <a:pt x="1282795" y="53386"/>
                    </a:lnTo>
                    <a:lnTo>
                      <a:pt x="1282795" y="182949"/>
                    </a:lnTo>
                    <a:lnTo>
                      <a:pt x="1314109" y="182949"/>
                    </a:lnTo>
                    <a:lnTo>
                      <a:pt x="1314109" y="100940"/>
                    </a:lnTo>
                    <a:lnTo>
                      <a:pt x="1348833" y="182949"/>
                    </a:lnTo>
                    <a:lnTo>
                      <a:pt x="1374404" y="182949"/>
                    </a:lnTo>
                    <a:lnTo>
                      <a:pt x="1409128" y="100940"/>
                    </a:lnTo>
                    <a:lnTo>
                      <a:pt x="1409128" y="182949"/>
                    </a:lnTo>
                    <a:lnTo>
                      <a:pt x="1440442" y="182949"/>
                    </a:lnTo>
                    <a:lnTo>
                      <a:pt x="1440442" y="53386"/>
                    </a:lnTo>
                    <a:lnTo>
                      <a:pt x="1397463" y="53386"/>
                    </a:lnTo>
                    <a:close/>
                  </a:path>
                </a:pathLst>
              </a:custGeom>
              <a:solidFill>
                <a:srgbClr val="101828"/>
              </a:solidFill>
              <a:ln w="893" cap="flat">
                <a:noFill/>
                <a:prstDash val="solid"/>
                <a:miter/>
              </a:ln>
            </p:spPr>
            <p:txBody>
              <a:bodyPr rtlCol="0" anchor="ctr"/>
              <a:lstStyle/>
              <a:p>
                <a:endParaRPr lang="ru-RU" sz="1587" dirty="0"/>
              </a:p>
            </p:txBody>
          </p:sp>
          <p:sp>
            <p:nvSpPr>
              <p:cNvPr id="49" name="Полилиния: фигура 48">
                <a:extLst>
                  <a:ext uri="{FF2B5EF4-FFF2-40B4-BE49-F238E27FC236}">
                    <a16:creationId xmlns:a16="http://schemas.microsoft.com/office/drawing/2014/main" id="{CEE1E922-2194-43DB-BB7D-B6963AECFEFE}"/>
                  </a:ext>
                </a:extLst>
              </p:cNvPr>
              <p:cNvSpPr/>
              <p:nvPr/>
            </p:nvSpPr>
            <p:spPr>
              <a:xfrm>
                <a:off x="11916748" y="7420552"/>
                <a:ext cx="1440620" cy="87391"/>
              </a:xfrm>
              <a:custGeom>
                <a:avLst/>
                <a:gdLst>
                  <a:gd name="connsiteX0" fmla="*/ 65948 w 1440620"/>
                  <a:gd name="connsiteY0" fmla="*/ 0 h 87391"/>
                  <a:gd name="connsiteX1" fmla="*/ 65948 w 1440620"/>
                  <a:gd name="connsiteY1" fmla="*/ 12113 h 87391"/>
                  <a:gd name="connsiteX2" fmla="*/ 39479 w 1440620"/>
                  <a:gd name="connsiteY2" fmla="*/ 12113 h 87391"/>
                  <a:gd name="connsiteX3" fmla="*/ 39479 w 1440620"/>
                  <a:gd name="connsiteY3" fmla="*/ 85687 h 87391"/>
                  <a:gd name="connsiteX4" fmla="*/ 26289 w 1440620"/>
                  <a:gd name="connsiteY4" fmla="*/ 85687 h 87391"/>
                  <a:gd name="connsiteX5" fmla="*/ 26289 w 1440620"/>
                  <a:gd name="connsiteY5" fmla="*/ 12113 h 87391"/>
                  <a:gd name="connsiteX6" fmla="*/ 0 w 1440620"/>
                  <a:gd name="connsiteY6" fmla="*/ 12113 h 87391"/>
                  <a:gd name="connsiteX7" fmla="*/ 0 w 1440620"/>
                  <a:gd name="connsiteY7" fmla="*/ 0 h 87391"/>
                  <a:gd name="connsiteX8" fmla="*/ 65948 w 1440620"/>
                  <a:gd name="connsiteY8" fmla="*/ 0 h 87391"/>
                  <a:gd name="connsiteX9" fmla="*/ 67652 w 1440620"/>
                  <a:gd name="connsiteY9" fmla="*/ 48092 h 87391"/>
                  <a:gd name="connsiteX10" fmla="*/ 86136 w 1440620"/>
                  <a:gd name="connsiteY10" fmla="*/ 33198 h 87391"/>
                  <a:gd name="connsiteX11" fmla="*/ 103722 w 1440620"/>
                  <a:gd name="connsiteY11" fmla="*/ 48092 h 87391"/>
                  <a:gd name="connsiteX12" fmla="*/ 67652 w 1440620"/>
                  <a:gd name="connsiteY12" fmla="*/ 48092 h 87391"/>
                  <a:gd name="connsiteX13" fmla="*/ 86136 w 1440620"/>
                  <a:gd name="connsiteY13" fmla="*/ 76535 h 87391"/>
                  <a:gd name="connsiteX14" fmla="*/ 67383 w 1440620"/>
                  <a:gd name="connsiteY14" fmla="*/ 58052 h 87391"/>
                  <a:gd name="connsiteX15" fmla="*/ 115835 w 1440620"/>
                  <a:gd name="connsiteY15" fmla="*/ 58052 h 87391"/>
                  <a:gd name="connsiteX16" fmla="*/ 115835 w 1440620"/>
                  <a:gd name="connsiteY16" fmla="*/ 53655 h 87391"/>
                  <a:gd name="connsiteX17" fmla="*/ 86495 w 1440620"/>
                  <a:gd name="connsiteY17" fmla="*/ 23328 h 87391"/>
                  <a:gd name="connsiteX18" fmla="*/ 55181 w 1440620"/>
                  <a:gd name="connsiteY18" fmla="*/ 55360 h 87391"/>
                  <a:gd name="connsiteX19" fmla="*/ 85867 w 1440620"/>
                  <a:gd name="connsiteY19" fmla="*/ 87392 h 87391"/>
                  <a:gd name="connsiteX20" fmla="*/ 113233 w 1440620"/>
                  <a:gd name="connsiteY20" fmla="*/ 72228 h 87391"/>
                  <a:gd name="connsiteX21" fmla="*/ 103363 w 1440620"/>
                  <a:gd name="connsiteY21" fmla="*/ 66935 h 87391"/>
                  <a:gd name="connsiteX22" fmla="*/ 86136 w 1440620"/>
                  <a:gd name="connsiteY22" fmla="*/ 76535 h 87391"/>
                  <a:gd name="connsiteX23" fmla="*/ 154775 w 1440620"/>
                  <a:gd name="connsiteY23" fmla="*/ 25033 h 87391"/>
                  <a:gd name="connsiteX24" fmla="*/ 143111 w 1440620"/>
                  <a:gd name="connsiteY24" fmla="*/ 43516 h 87391"/>
                  <a:gd name="connsiteX25" fmla="*/ 131447 w 1440620"/>
                  <a:gd name="connsiteY25" fmla="*/ 25033 h 87391"/>
                  <a:gd name="connsiteX26" fmla="*/ 117091 w 1440620"/>
                  <a:gd name="connsiteY26" fmla="*/ 25033 h 87391"/>
                  <a:gd name="connsiteX27" fmla="*/ 136202 w 1440620"/>
                  <a:gd name="connsiteY27" fmla="*/ 53566 h 87391"/>
                  <a:gd name="connsiteX28" fmla="*/ 114040 w 1440620"/>
                  <a:gd name="connsiteY28" fmla="*/ 85777 h 87391"/>
                  <a:gd name="connsiteX29" fmla="*/ 128755 w 1440620"/>
                  <a:gd name="connsiteY29" fmla="*/ 85777 h 87391"/>
                  <a:gd name="connsiteX30" fmla="*/ 143111 w 1440620"/>
                  <a:gd name="connsiteY30" fmla="*/ 63346 h 87391"/>
                  <a:gd name="connsiteX31" fmla="*/ 157288 w 1440620"/>
                  <a:gd name="connsiteY31" fmla="*/ 85777 h 87391"/>
                  <a:gd name="connsiteX32" fmla="*/ 171823 w 1440620"/>
                  <a:gd name="connsiteY32" fmla="*/ 85777 h 87391"/>
                  <a:gd name="connsiteX33" fmla="*/ 150558 w 1440620"/>
                  <a:gd name="connsiteY33" fmla="*/ 53207 h 87391"/>
                  <a:gd name="connsiteX34" fmla="*/ 169131 w 1440620"/>
                  <a:gd name="connsiteY34" fmla="*/ 25033 h 87391"/>
                  <a:gd name="connsiteX35" fmla="*/ 154775 w 1440620"/>
                  <a:gd name="connsiteY35" fmla="*/ 25033 h 87391"/>
                  <a:gd name="connsiteX36" fmla="*/ 217044 w 1440620"/>
                  <a:gd name="connsiteY36" fmla="*/ 25033 h 87391"/>
                  <a:gd name="connsiteX37" fmla="*/ 217044 w 1440620"/>
                  <a:gd name="connsiteY37" fmla="*/ 48631 h 87391"/>
                  <a:gd name="connsiteX38" fmla="*/ 188781 w 1440620"/>
                  <a:gd name="connsiteY38" fmla="*/ 48631 h 87391"/>
                  <a:gd name="connsiteX39" fmla="*/ 188781 w 1440620"/>
                  <a:gd name="connsiteY39" fmla="*/ 25033 h 87391"/>
                  <a:gd name="connsiteX40" fmla="*/ 176219 w 1440620"/>
                  <a:gd name="connsiteY40" fmla="*/ 25033 h 87391"/>
                  <a:gd name="connsiteX41" fmla="*/ 176219 w 1440620"/>
                  <a:gd name="connsiteY41" fmla="*/ 85687 h 87391"/>
                  <a:gd name="connsiteX42" fmla="*/ 188781 w 1440620"/>
                  <a:gd name="connsiteY42" fmla="*/ 85687 h 87391"/>
                  <a:gd name="connsiteX43" fmla="*/ 188781 w 1440620"/>
                  <a:gd name="connsiteY43" fmla="*/ 59667 h 87391"/>
                  <a:gd name="connsiteX44" fmla="*/ 217044 w 1440620"/>
                  <a:gd name="connsiteY44" fmla="*/ 59667 h 87391"/>
                  <a:gd name="connsiteX45" fmla="*/ 217044 w 1440620"/>
                  <a:gd name="connsiteY45" fmla="*/ 85687 h 87391"/>
                  <a:gd name="connsiteX46" fmla="*/ 229606 w 1440620"/>
                  <a:gd name="connsiteY46" fmla="*/ 85687 h 87391"/>
                  <a:gd name="connsiteX47" fmla="*/ 229606 w 1440620"/>
                  <a:gd name="connsiteY47" fmla="*/ 25033 h 87391"/>
                  <a:gd name="connsiteX48" fmla="*/ 217044 w 1440620"/>
                  <a:gd name="connsiteY48" fmla="*/ 25033 h 87391"/>
                  <a:gd name="connsiteX49" fmla="*/ 290170 w 1440620"/>
                  <a:gd name="connsiteY49" fmla="*/ 55360 h 87391"/>
                  <a:gd name="connsiteX50" fmla="*/ 270610 w 1440620"/>
                  <a:gd name="connsiteY50" fmla="*/ 75817 h 87391"/>
                  <a:gd name="connsiteX51" fmla="*/ 250870 w 1440620"/>
                  <a:gd name="connsiteY51" fmla="*/ 55360 h 87391"/>
                  <a:gd name="connsiteX52" fmla="*/ 270610 w 1440620"/>
                  <a:gd name="connsiteY52" fmla="*/ 34903 h 87391"/>
                  <a:gd name="connsiteX53" fmla="*/ 290170 w 1440620"/>
                  <a:gd name="connsiteY53" fmla="*/ 55360 h 87391"/>
                  <a:gd name="connsiteX54" fmla="*/ 270610 w 1440620"/>
                  <a:gd name="connsiteY54" fmla="*/ 87392 h 87391"/>
                  <a:gd name="connsiteX55" fmla="*/ 303001 w 1440620"/>
                  <a:gd name="connsiteY55" fmla="*/ 55360 h 87391"/>
                  <a:gd name="connsiteX56" fmla="*/ 270610 w 1440620"/>
                  <a:gd name="connsiteY56" fmla="*/ 23328 h 87391"/>
                  <a:gd name="connsiteX57" fmla="*/ 238040 w 1440620"/>
                  <a:gd name="connsiteY57" fmla="*/ 55360 h 87391"/>
                  <a:gd name="connsiteX58" fmla="*/ 270610 w 1440620"/>
                  <a:gd name="connsiteY58" fmla="*/ 87392 h 87391"/>
                  <a:gd name="connsiteX59" fmla="*/ 304526 w 1440620"/>
                  <a:gd name="connsiteY59" fmla="*/ 85687 h 87391"/>
                  <a:gd name="connsiteX60" fmla="*/ 309550 w 1440620"/>
                  <a:gd name="connsiteY60" fmla="*/ 86584 h 87391"/>
                  <a:gd name="connsiteX61" fmla="*/ 326957 w 1440620"/>
                  <a:gd name="connsiteY61" fmla="*/ 61641 h 87391"/>
                  <a:gd name="connsiteX62" fmla="*/ 328303 w 1440620"/>
                  <a:gd name="connsiteY62" fmla="*/ 36428 h 87391"/>
                  <a:gd name="connsiteX63" fmla="*/ 349837 w 1440620"/>
                  <a:gd name="connsiteY63" fmla="*/ 36428 h 87391"/>
                  <a:gd name="connsiteX64" fmla="*/ 349837 w 1440620"/>
                  <a:gd name="connsiteY64" fmla="*/ 85777 h 87391"/>
                  <a:gd name="connsiteX65" fmla="*/ 362398 w 1440620"/>
                  <a:gd name="connsiteY65" fmla="*/ 85777 h 87391"/>
                  <a:gd name="connsiteX66" fmla="*/ 362398 w 1440620"/>
                  <a:gd name="connsiteY66" fmla="*/ 25033 h 87391"/>
                  <a:gd name="connsiteX67" fmla="*/ 317267 w 1440620"/>
                  <a:gd name="connsiteY67" fmla="*/ 25033 h 87391"/>
                  <a:gd name="connsiteX68" fmla="*/ 315293 w 1440620"/>
                  <a:gd name="connsiteY68" fmla="*/ 61103 h 87391"/>
                  <a:gd name="connsiteX69" fmla="*/ 308833 w 1440620"/>
                  <a:gd name="connsiteY69" fmla="*/ 75279 h 87391"/>
                  <a:gd name="connsiteX70" fmla="*/ 304526 w 1440620"/>
                  <a:gd name="connsiteY70" fmla="*/ 74561 h 87391"/>
                  <a:gd name="connsiteX71" fmla="*/ 304526 w 1440620"/>
                  <a:gd name="connsiteY71" fmla="*/ 85687 h 87391"/>
                  <a:gd name="connsiteX72" fmla="*/ 422963 w 1440620"/>
                  <a:gd name="connsiteY72" fmla="*/ 55360 h 87391"/>
                  <a:gd name="connsiteX73" fmla="*/ 403403 w 1440620"/>
                  <a:gd name="connsiteY73" fmla="*/ 75817 h 87391"/>
                  <a:gd name="connsiteX74" fmla="*/ 383663 w 1440620"/>
                  <a:gd name="connsiteY74" fmla="*/ 55360 h 87391"/>
                  <a:gd name="connsiteX75" fmla="*/ 403403 w 1440620"/>
                  <a:gd name="connsiteY75" fmla="*/ 34903 h 87391"/>
                  <a:gd name="connsiteX76" fmla="*/ 422963 w 1440620"/>
                  <a:gd name="connsiteY76" fmla="*/ 55360 h 87391"/>
                  <a:gd name="connsiteX77" fmla="*/ 403403 w 1440620"/>
                  <a:gd name="connsiteY77" fmla="*/ 87392 h 87391"/>
                  <a:gd name="connsiteX78" fmla="*/ 435793 w 1440620"/>
                  <a:gd name="connsiteY78" fmla="*/ 55360 h 87391"/>
                  <a:gd name="connsiteX79" fmla="*/ 403403 w 1440620"/>
                  <a:gd name="connsiteY79" fmla="*/ 23328 h 87391"/>
                  <a:gd name="connsiteX80" fmla="*/ 370832 w 1440620"/>
                  <a:gd name="connsiteY80" fmla="*/ 55360 h 87391"/>
                  <a:gd name="connsiteX81" fmla="*/ 403403 w 1440620"/>
                  <a:gd name="connsiteY81" fmla="*/ 87392 h 87391"/>
                  <a:gd name="connsiteX82" fmla="*/ 444227 w 1440620"/>
                  <a:gd name="connsiteY82" fmla="*/ 25033 h 87391"/>
                  <a:gd name="connsiteX83" fmla="*/ 444227 w 1440620"/>
                  <a:gd name="connsiteY83" fmla="*/ 85687 h 87391"/>
                  <a:gd name="connsiteX84" fmla="*/ 456789 w 1440620"/>
                  <a:gd name="connsiteY84" fmla="*/ 85687 h 87391"/>
                  <a:gd name="connsiteX85" fmla="*/ 456789 w 1440620"/>
                  <a:gd name="connsiteY85" fmla="*/ 36339 h 87391"/>
                  <a:gd name="connsiteX86" fmla="*/ 483706 w 1440620"/>
                  <a:gd name="connsiteY86" fmla="*/ 36339 h 87391"/>
                  <a:gd name="connsiteX87" fmla="*/ 483706 w 1440620"/>
                  <a:gd name="connsiteY87" fmla="*/ 25033 h 87391"/>
                  <a:gd name="connsiteX88" fmla="*/ 444227 w 1440620"/>
                  <a:gd name="connsiteY88" fmla="*/ 25033 h 87391"/>
                  <a:gd name="connsiteX89" fmla="*/ 533145 w 1440620"/>
                  <a:gd name="connsiteY89" fmla="*/ 25033 h 87391"/>
                  <a:gd name="connsiteX90" fmla="*/ 504164 w 1440620"/>
                  <a:gd name="connsiteY90" fmla="*/ 68819 h 87391"/>
                  <a:gd name="connsiteX91" fmla="*/ 504164 w 1440620"/>
                  <a:gd name="connsiteY91" fmla="*/ 25033 h 87391"/>
                  <a:gd name="connsiteX92" fmla="*/ 492051 w 1440620"/>
                  <a:gd name="connsiteY92" fmla="*/ 25033 h 87391"/>
                  <a:gd name="connsiteX93" fmla="*/ 492051 w 1440620"/>
                  <a:gd name="connsiteY93" fmla="*/ 85687 h 87391"/>
                  <a:gd name="connsiteX94" fmla="*/ 505420 w 1440620"/>
                  <a:gd name="connsiteY94" fmla="*/ 85687 h 87391"/>
                  <a:gd name="connsiteX95" fmla="*/ 534401 w 1440620"/>
                  <a:gd name="connsiteY95" fmla="*/ 41901 h 87391"/>
                  <a:gd name="connsiteX96" fmla="*/ 534401 w 1440620"/>
                  <a:gd name="connsiteY96" fmla="*/ 85687 h 87391"/>
                  <a:gd name="connsiteX97" fmla="*/ 546514 w 1440620"/>
                  <a:gd name="connsiteY97" fmla="*/ 85687 h 87391"/>
                  <a:gd name="connsiteX98" fmla="*/ 546514 w 1440620"/>
                  <a:gd name="connsiteY98" fmla="*/ 25033 h 87391"/>
                  <a:gd name="connsiteX99" fmla="*/ 533145 w 1440620"/>
                  <a:gd name="connsiteY99" fmla="*/ 25033 h 87391"/>
                  <a:gd name="connsiteX100" fmla="*/ 599003 w 1440620"/>
                  <a:gd name="connsiteY100" fmla="*/ 25033 h 87391"/>
                  <a:gd name="connsiteX101" fmla="*/ 570021 w 1440620"/>
                  <a:gd name="connsiteY101" fmla="*/ 68819 h 87391"/>
                  <a:gd name="connsiteX102" fmla="*/ 570021 w 1440620"/>
                  <a:gd name="connsiteY102" fmla="*/ 25033 h 87391"/>
                  <a:gd name="connsiteX103" fmla="*/ 557909 w 1440620"/>
                  <a:gd name="connsiteY103" fmla="*/ 25033 h 87391"/>
                  <a:gd name="connsiteX104" fmla="*/ 557909 w 1440620"/>
                  <a:gd name="connsiteY104" fmla="*/ 85687 h 87391"/>
                  <a:gd name="connsiteX105" fmla="*/ 571278 w 1440620"/>
                  <a:gd name="connsiteY105" fmla="*/ 85687 h 87391"/>
                  <a:gd name="connsiteX106" fmla="*/ 600259 w 1440620"/>
                  <a:gd name="connsiteY106" fmla="*/ 41901 h 87391"/>
                  <a:gd name="connsiteX107" fmla="*/ 600259 w 1440620"/>
                  <a:gd name="connsiteY107" fmla="*/ 85687 h 87391"/>
                  <a:gd name="connsiteX108" fmla="*/ 612372 w 1440620"/>
                  <a:gd name="connsiteY108" fmla="*/ 85687 h 87391"/>
                  <a:gd name="connsiteX109" fmla="*/ 612372 w 1440620"/>
                  <a:gd name="connsiteY109" fmla="*/ 25033 h 87391"/>
                  <a:gd name="connsiteX110" fmla="*/ 599003 w 1440620"/>
                  <a:gd name="connsiteY110" fmla="*/ 25033 h 87391"/>
                  <a:gd name="connsiteX111" fmla="*/ 666924 w 1440620"/>
                  <a:gd name="connsiteY111" fmla="*/ 75817 h 87391"/>
                  <a:gd name="connsiteX112" fmla="*/ 666924 w 1440620"/>
                  <a:gd name="connsiteY112" fmla="*/ 59039 h 87391"/>
                  <a:gd name="connsiteX113" fmla="*/ 681998 w 1440620"/>
                  <a:gd name="connsiteY113" fmla="*/ 59039 h 87391"/>
                  <a:gd name="connsiteX114" fmla="*/ 691778 w 1440620"/>
                  <a:gd name="connsiteY114" fmla="*/ 67383 h 87391"/>
                  <a:gd name="connsiteX115" fmla="*/ 681998 w 1440620"/>
                  <a:gd name="connsiteY115" fmla="*/ 75817 h 87391"/>
                  <a:gd name="connsiteX116" fmla="*/ 666924 w 1440620"/>
                  <a:gd name="connsiteY116" fmla="*/ 75817 h 87391"/>
                  <a:gd name="connsiteX117" fmla="*/ 666924 w 1440620"/>
                  <a:gd name="connsiteY117" fmla="*/ 49259 h 87391"/>
                  <a:gd name="connsiteX118" fmla="*/ 666924 w 1440620"/>
                  <a:gd name="connsiteY118" fmla="*/ 34903 h 87391"/>
                  <a:gd name="connsiteX119" fmla="*/ 681280 w 1440620"/>
                  <a:gd name="connsiteY119" fmla="*/ 34903 h 87391"/>
                  <a:gd name="connsiteX120" fmla="*/ 690253 w 1440620"/>
                  <a:gd name="connsiteY120" fmla="*/ 41991 h 87391"/>
                  <a:gd name="connsiteX121" fmla="*/ 681190 w 1440620"/>
                  <a:gd name="connsiteY121" fmla="*/ 49169 h 87391"/>
                  <a:gd name="connsiteX122" fmla="*/ 666924 w 1440620"/>
                  <a:gd name="connsiteY122" fmla="*/ 49169 h 87391"/>
                  <a:gd name="connsiteX123" fmla="*/ 654363 w 1440620"/>
                  <a:gd name="connsiteY123" fmla="*/ 85687 h 87391"/>
                  <a:gd name="connsiteX124" fmla="*/ 682626 w 1440620"/>
                  <a:gd name="connsiteY124" fmla="*/ 85687 h 87391"/>
                  <a:gd name="connsiteX125" fmla="*/ 704250 w 1440620"/>
                  <a:gd name="connsiteY125" fmla="*/ 68191 h 87391"/>
                  <a:gd name="connsiteX126" fmla="*/ 692855 w 1440620"/>
                  <a:gd name="connsiteY126" fmla="*/ 53655 h 87391"/>
                  <a:gd name="connsiteX127" fmla="*/ 702007 w 1440620"/>
                  <a:gd name="connsiteY127" fmla="*/ 40107 h 87391"/>
                  <a:gd name="connsiteX128" fmla="*/ 681819 w 1440620"/>
                  <a:gd name="connsiteY128" fmla="*/ 25033 h 87391"/>
                  <a:gd name="connsiteX129" fmla="*/ 654273 w 1440620"/>
                  <a:gd name="connsiteY129" fmla="*/ 25033 h 87391"/>
                  <a:gd name="connsiteX130" fmla="*/ 654273 w 1440620"/>
                  <a:gd name="connsiteY130" fmla="*/ 85687 h 87391"/>
                  <a:gd name="connsiteX131" fmla="*/ 760597 w 1440620"/>
                  <a:gd name="connsiteY131" fmla="*/ 55360 h 87391"/>
                  <a:gd name="connsiteX132" fmla="*/ 741037 w 1440620"/>
                  <a:gd name="connsiteY132" fmla="*/ 75817 h 87391"/>
                  <a:gd name="connsiteX133" fmla="*/ 721297 w 1440620"/>
                  <a:gd name="connsiteY133" fmla="*/ 55360 h 87391"/>
                  <a:gd name="connsiteX134" fmla="*/ 741037 w 1440620"/>
                  <a:gd name="connsiteY134" fmla="*/ 34903 h 87391"/>
                  <a:gd name="connsiteX135" fmla="*/ 760597 w 1440620"/>
                  <a:gd name="connsiteY135" fmla="*/ 55360 h 87391"/>
                  <a:gd name="connsiteX136" fmla="*/ 741037 w 1440620"/>
                  <a:gd name="connsiteY136" fmla="*/ 87392 h 87391"/>
                  <a:gd name="connsiteX137" fmla="*/ 773428 w 1440620"/>
                  <a:gd name="connsiteY137" fmla="*/ 55360 h 87391"/>
                  <a:gd name="connsiteX138" fmla="*/ 741037 w 1440620"/>
                  <a:gd name="connsiteY138" fmla="*/ 23328 h 87391"/>
                  <a:gd name="connsiteX139" fmla="*/ 708467 w 1440620"/>
                  <a:gd name="connsiteY139" fmla="*/ 55360 h 87391"/>
                  <a:gd name="connsiteX140" fmla="*/ 741037 w 1440620"/>
                  <a:gd name="connsiteY140" fmla="*/ 87392 h 87391"/>
                  <a:gd name="connsiteX141" fmla="*/ 828608 w 1440620"/>
                  <a:gd name="connsiteY141" fmla="*/ 68101 h 87391"/>
                  <a:gd name="connsiteX142" fmla="*/ 815867 w 1440620"/>
                  <a:gd name="connsiteY142" fmla="*/ 53655 h 87391"/>
                  <a:gd name="connsiteX143" fmla="*/ 826186 w 1440620"/>
                  <a:gd name="connsiteY143" fmla="*/ 39569 h 87391"/>
                  <a:gd name="connsiteX144" fmla="*/ 804024 w 1440620"/>
                  <a:gd name="connsiteY144" fmla="*/ 23328 h 87391"/>
                  <a:gd name="connsiteX145" fmla="*/ 780875 w 1440620"/>
                  <a:gd name="connsiteY145" fmla="*/ 40376 h 87391"/>
                  <a:gd name="connsiteX146" fmla="*/ 781951 w 1440620"/>
                  <a:gd name="connsiteY146" fmla="*/ 46208 h 87391"/>
                  <a:gd name="connsiteX147" fmla="*/ 792718 w 1440620"/>
                  <a:gd name="connsiteY147" fmla="*/ 42619 h 87391"/>
                  <a:gd name="connsiteX148" fmla="*/ 792359 w 1440620"/>
                  <a:gd name="connsiteY148" fmla="*/ 40017 h 87391"/>
                  <a:gd name="connsiteX149" fmla="*/ 803844 w 1440620"/>
                  <a:gd name="connsiteY149" fmla="*/ 33288 h 87391"/>
                  <a:gd name="connsiteX150" fmla="*/ 814252 w 1440620"/>
                  <a:gd name="connsiteY150" fmla="*/ 40735 h 87391"/>
                  <a:gd name="connsiteX151" fmla="*/ 803485 w 1440620"/>
                  <a:gd name="connsiteY151" fmla="*/ 48900 h 87391"/>
                  <a:gd name="connsiteX152" fmla="*/ 798550 w 1440620"/>
                  <a:gd name="connsiteY152" fmla="*/ 48900 h 87391"/>
                  <a:gd name="connsiteX153" fmla="*/ 798550 w 1440620"/>
                  <a:gd name="connsiteY153" fmla="*/ 59129 h 87391"/>
                  <a:gd name="connsiteX154" fmla="*/ 803665 w 1440620"/>
                  <a:gd name="connsiteY154" fmla="*/ 59129 h 87391"/>
                  <a:gd name="connsiteX155" fmla="*/ 816137 w 1440620"/>
                  <a:gd name="connsiteY155" fmla="*/ 67652 h 87391"/>
                  <a:gd name="connsiteX156" fmla="*/ 802947 w 1440620"/>
                  <a:gd name="connsiteY156" fmla="*/ 77343 h 87391"/>
                  <a:gd name="connsiteX157" fmla="*/ 790565 w 1440620"/>
                  <a:gd name="connsiteY157" fmla="*/ 68281 h 87391"/>
                  <a:gd name="connsiteX158" fmla="*/ 791193 w 1440620"/>
                  <a:gd name="connsiteY158" fmla="*/ 65140 h 87391"/>
                  <a:gd name="connsiteX159" fmla="*/ 780516 w 1440620"/>
                  <a:gd name="connsiteY159" fmla="*/ 61551 h 87391"/>
                  <a:gd name="connsiteX160" fmla="*/ 779080 w 1440620"/>
                  <a:gd name="connsiteY160" fmla="*/ 68370 h 87391"/>
                  <a:gd name="connsiteX161" fmla="*/ 802947 w 1440620"/>
                  <a:gd name="connsiteY161" fmla="*/ 87302 h 87391"/>
                  <a:gd name="connsiteX162" fmla="*/ 828608 w 1440620"/>
                  <a:gd name="connsiteY162" fmla="*/ 68101 h 87391"/>
                  <a:gd name="connsiteX163" fmla="*/ 889531 w 1440620"/>
                  <a:gd name="connsiteY163" fmla="*/ 25033 h 87391"/>
                  <a:gd name="connsiteX164" fmla="*/ 871676 w 1440620"/>
                  <a:gd name="connsiteY164" fmla="*/ 71152 h 87391"/>
                  <a:gd name="connsiteX165" fmla="*/ 853821 w 1440620"/>
                  <a:gd name="connsiteY165" fmla="*/ 25033 h 87391"/>
                  <a:gd name="connsiteX166" fmla="*/ 836684 w 1440620"/>
                  <a:gd name="connsiteY166" fmla="*/ 25033 h 87391"/>
                  <a:gd name="connsiteX167" fmla="*/ 836684 w 1440620"/>
                  <a:gd name="connsiteY167" fmla="*/ 85687 h 87391"/>
                  <a:gd name="connsiteX168" fmla="*/ 848796 w 1440620"/>
                  <a:gd name="connsiteY168" fmla="*/ 85687 h 87391"/>
                  <a:gd name="connsiteX169" fmla="*/ 848796 w 1440620"/>
                  <a:gd name="connsiteY169" fmla="*/ 42619 h 87391"/>
                  <a:gd name="connsiteX170" fmla="*/ 866382 w 1440620"/>
                  <a:gd name="connsiteY170" fmla="*/ 85687 h 87391"/>
                  <a:gd name="connsiteX171" fmla="*/ 877060 w 1440620"/>
                  <a:gd name="connsiteY171" fmla="*/ 85687 h 87391"/>
                  <a:gd name="connsiteX172" fmla="*/ 894556 w 1440620"/>
                  <a:gd name="connsiteY172" fmla="*/ 42709 h 87391"/>
                  <a:gd name="connsiteX173" fmla="*/ 894556 w 1440620"/>
                  <a:gd name="connsiteY173" fmla="*/ 85687 h 87391"/>
                  <a:gd name="connsiteX174" fmla="*/ 906759 w 1440620"/>
                  <a:gd name="connsiteY174" fmla="*/ 85687 h 87391"/>
                  <a:gd name="connsiteX175" fmla="*/ 906759 w 1440620"/>
                  <a:gd name="connsiteY175" fmla="*/ 25033 h 87391"/>
                  <a:gd name="connsiteX176" fmla="*/ 889531 w 1440620"/>
                  <a:gd name="connsiteY176" fmla="*/ 25033 h 87391"/>
                  <a:gd name="connsiteX177" fmla="*/ 967323 w 1440620"/>
                  <a:gd name="connsiteY177" fmla="*/ 55360 h 87391"/>
                  <a:gd name="connsiteX178" fmla="*/ 947763 w 1440620"/>
                  <a:gd name="connsiteY178" fmla="*/ 75817 h 87391"/>
                  <a:gd name="connsiteX179" fmla="*/ 928023 w 1440620"/>
                  <a:gd name="connsiteY179" fmla="*/ 55360 h 87391"/>
                  <a:gd name="connsiteX180" fmla="*/ 947763 w 1440620"/>
                  <a:gd name="connsiteY180" fmla="*/ 34903 h 87391"/>
                  <a:gd name="connsiteX181" fmla="*/ 967323 w 1440620"/>
                  <a:gd name="connsiteY181" fmla="*/ 55360 h 87391"/>
                  <a:gd name="connsiteX182" fmla="*/ 947763 w 1440620"/>
                  <a:gd name="connsiteY182" fmla="*/ 87392 h 87391"/>
                  <a:gd name="connsiteX183" fmla="*/ 980153 w 1440620"/>
                  <a:gd name="connsiteY183" fmla="*/ 55360 h 87391"/>
                  <a:gd name="connsiteX184" fmla="*/ 947763 w 1440620"/>
                  <a:gd name="connsiteY184" fmla="*/ 23328 h 87391"/>
                  <a:gd name="connsiteX185" fmla="*/ 915193 w 1440620"/>
                  <a:gd name="connsiteY185" fmla="*/ 55360 h 87391"/>
                  <a:gd name="connsiteX186" fmla="*/ 947763 w 1440620"/>
                  <a:gd name="connsiteY186" fmla="*/ 87392 h 87391"/>
                  <a:gd name="connsiteX187" fmla="*/ 1051305 w 1440620"/>
                  <a:gd name="connsiteY187" fmla="*/ 25033 h 87391"/>
                  <a:gd name="connsiteX188" fmla="*/ 1032014 w 1440620"/>
                  <a:gd name="connsiteY188" fmla="*/ 48541 h 87391"/>
                  <a:gd name="connsiteX189" fmla="*/ 1032014 w 1440620"/>
                  <a:gd name="connsiteY189" fmla="*/ 25033 h 87391"/>
                  <a:gd name="connsiteX190" fmla="*/ 1019453 w 1440620"/>
                  <a:gd name="connsiteY190" fmla="*/ 25033 h 87391"/>
                  <a:gd name="connsiteX191" fmla="*/ 1019453 w 1440620"/>
                  <a:gd name="connsiteY191" fmla="*/ 48631 h 87391"/>
                  <a:gd name="connsiteX192" fmla="*/ 999983 w 1440620"/>
                  <a:gd name="connsiteY192" fmla="*/ 25033 h 87391"/>
                  <a:gd name="connsiteX193" fmla="*/ 983742 w 1440620"/>
                  <a:gd name="connsiteY193" fmla="*/ 25033 h 87391"/>
                  <a:gd name="connsiteX194" fmla="*/ 1008686 w 1440620"/>
                  <a:gd name="connsiteY194" fmla="*/ 53566 h 87391"/>
                  <a:gd name="connsiteX195" fmla="*/ 983384 w 1440620"/>
                  <a:gd name="connsiteY195" fmla="*/ 85777 h 87391"/>
                  <a:gd name="connsiteX196" fmla="*/ 998637 w 1440620"/>
                  <a:gd name="connsiteY196" fmla="*/ 85777 h 87391"/>
                  <a:gd name="connsiteX197" fmla="*/ 1019273 w 1440620"/>
                  <a:gd name="connsiteY197" fmla="*/ 58949 h 87391"/>
                  <a:gd name="connsiteX198" fmla="*/ 1019273 w 1440620"/>
                  <a:gd name="connsiteY198" fmla="*/ 85777 h 87391"/>
                  <a:gd name="connsiteX199" fmla="*/ 1031835 w 1440620"/>
                  <a:gd name="connsiteY199" fmla="*/ 85777 h 87391"/>
                  <a:gd name="connsiteX200" fmla="*/ 1031835 w 1440620"/>
                  <a:gd name="connsiteY200" fmla="*/ 59129 h 87391"/>
                  <a:gd name="connsiteX201" fmla="*/ 1052472 w 1440620"/>
                  <a:gd name="connsiteY201" fmla="*/ 85687 h 87391"/>
                  <a:gd name="connsiteX202" fmla="*/ 1067725 w 1440620"/>
                  <a:gd name="connsiteY202" fmla="*/ 85687 h 87391"/>
                  <a:gd name="connsiteX203" fmla="*/ 1042422 w 1440620"/>
                  <a:gd name="connsiteY203" fmla="*/ 53476 h 87391"/>
                  <a:gd name="connsiteX204" fmla="*/ 1067366 w 1440620"/>
                  <a:gd name="connsiteY204" fmla="*/ 24943 h 87391"/>
                  <a:gd name="connsiteX205" fmla="*/ 1051305 w 1440620"/>
                  <a:gd name="connsiteY205" fmla="*/ 24943 h 87391"/>
                  <a:gd name="connsiteX206" fmla="*/ 1115279 w 1440620"/>
                  <a:gd name="connsiteY206" fmla="*/ 25033 h 87391"/>
                  <a:gd name="connsiteX207" fmla="*/ 1115279 w 1440620"/>
                  <a:gd name="connsiteY207" fmla="*/ 48631 h 87391"/>
                  <a:gd name="connsiteX208" fmla="*/ 1087016 w 1440620"/>
                  <a:gd name="connsiteY208" fmla="*/ 48631 h 87391"/>
                  <a:gd name="connsiteX209" fmla="*/ 1087016 w 1440620"/>
                  <a:gd name="connsiteY209" fmla="*/ 25033 h 87391"/>
                  <a:gd name="connsiteX210" fmla="*/ 1074454 w 1440620"/>
                  <a:gd name="connsiteY210" fmla="*/ 25033 h 87391"/>
                  <a:gd name="connsiteX211" fmla="*/ 1074454 w 1440620"/>
                  <a:gd name="connsiteY211" fmla="*/ 85687 h 87391"/>
                  <a:gd name="connsiteX212" fmla="*/ 1087016 w 1440620"/>
                  <a:gd name="connsiteY212" fmla="*/ 85687 h 87391"/>
                  <a:gd name="connsiteX213" fmla="*/ 1087016 w 1440620"/>
                  <a:gd name="connsiteY213" fmla="*/ 59667 h 87391"/>
                  <a:gd name="connsiteX214" fmla="*/ 1115279 w 1440620"/>
                  <a:gd name="connsiteY214" fmla="*/ 59667 h 87391"/>
                  <a:gd name="connsiteX215" fmla="*/ 1115279 w 1440620"/>
                  <a:gd name="connsiteY215" fmla="*/ 85687 h 87391"/>
                  <a:gd name="connsiteX216" fmla="*/ 1127840 w 1440620"/>
                  <a:gd name="connsiteY216" fmla="*/ 85687 h 87391"/>
                  <a:gd name="connsiteX217" fmla="*/ 1127840 w 1440620"/>
                  <a:gd name="connsiteY217" fmla="*/ 25033 h 87391"/>
                  <a:gd name="connsiteX218" fmla="*/ 1115279 w 1440620"/>
                  <a:gd name="connsiteY218" fmla="*/ 25033 h 87391"/>
                  <a:gd name="connsiteX219" fmla="*/ 1188405 w 1440620"/>
                  <a:gd name="connsiteY219" fmla="*/ 55360 h 87391"/>
                  <a:gd name="connsiteX220" fmla="*/ 1168845 w 1440620"/>
                  <a:gd name="connsiteY220" fmla="*/ 75817 h 87391"/>
                  <a:gd name="connsiteX221" fmla="*/ 1149105 w 1440620"/>
                  <a:gd name="connsiteY221" fmla="*/ 55360 h 87391"/>
                  <a:gd name="connsiteX222" fmla="*/ 1168845 w 1440620"/>
                  <a:gd name="connsiteY222" fmla="*/ 34903 h 87391"/>
                  <a:gd name="connsiteX223" fmla="*/ 1188405 w 1440620"/>
                  <a:gd name="connsiteY223" fmla="*/ 55360 h 87391"/>
                  <a:gd name="connsiteX224" fmla="*/ 1168845 w 1440620"/>
                  <a:gd name="connsiteY224" fmla="*/ 87392 h 87391"/>
                  <a:gd name="connsiteX225" fmla="*/ 1201235 w 1440620"/>
                  <a:gd name="connsiteY225" fmla="*/ 55360 h 87391"/>
                  <a:gd name="connsiteX226" fmla="*/ 1168845 w 1440620"/>
                  <a:gd name="connsiteY226" fmla="*/ 23328 h 87391"/>
                  <a:gd name="connsiteX227" fmla="*/ 1136275 w 1440620"/>
                  <a:gd name="connsiteY227" fmla="*/ 55360 h 87391"/>
                  <a:gd name="connsiteX228" fmla="*/ 1168845 w 1440620"/>
                  <a:gd name="connsiteY228" fmla="*/ 87392 h 87391"/>
                  <a:gd name="connsiteX229" fmla="*/ 1237753 w 1440620"/>
                  <a:gd name="connsiteY229" fmla="*/ 87392 h 87391"/>
                  <a:gd name="connsiteX230" fmla="*/ 1264760 w 1440620"/>
                  <a:gd name="connsiteY230" fmla="*/ 71600 h 87391"/>
                  <a:gd name="connsiteX231" fmla="*/ 1254622 w 1440620"/>
                  <a:gd name="connsiteY231" fmla="*/ 65858 h 87391"/>
                  <a:gd name="connsiteX232" fmla="*/ 1237753 w 1440620"/>
                  <a:gd name="connsiteY232" fmla="*/ 75638 h 87391"/>
                  <a:gd name="connsiteX233" fmla="*/ 1219180 w 1440620"/>
                  <a:gd name="connsiteY233" fmla="*/ 55360 h 87391"/>
                  <a:gd name="connsiteX234" fmla="*/ 1237753 w 1440620"/>
                  <a:gd name="connsiteY234" fmla="*/ 35082 h 87391"/>
                  <a:gd name="connsiteX235" fmla="*/ 1253904 w 1440620"/>
                  <a:gd name="connsiteY235" fmla="*/ 44773 h 87391"/>
                  <a:gd name="connsiteX236" fmla="*/ 1264401 w 1440620"/>
                  <a:gd name="connsiteY236" fmla="*/ 38671 h 87391"/>
                  <a:gd name="connsiteX237" fmla="*/ 1237753 w 1440620"/>
                  <a:gd name="connsiteY237" fmla="*/ 23418 h 87391"/>
                  <a:gd name="connsiteX238" fmla="*/ 1206170 w 1440620"/>
                  <a:gd name="connsiteY238" fmla="*/ 55450 h 87391"/>
                  <a:gd name="connsiteX239" fmla="*/ 1237753 w 1440620"/>
                  <a:gd name="connsiteY239" fmla="*/ 87392 h 87391"/>
                  <a:gd name="connsiteX240" fmla="*/ 1265837 w 1440620"/>
                  <a:gd name="connsiteY240" fmla="*/ 25033 h 87391"/>
                  <a:gd name="connsiteX241" fmla="*/ 1265837 w 1440620"/>
                  <a:gd name="connsiteY241" fmla="*/ 36428 h 87391"/>
                  <a:gd name="connsiteX242" fmla="*/ 1284948 w 1440620"/>
                  <a:gd name="connsiteY242" fmla="*/ 36428 h 87391"/>
                  <a:gd name="connsiteX243" fmla="*/ 1284948 w 1440620"/>
                  <a:gd name="connsiteY243" fmla="*/ 85777 h 87391"/>
                  <a:gd name="connsiteX244" fmla="*/ 1297510 w 1440620"/>
                  <a:gd name="connsiteY244" fmla="*/ 85777 h 87391"/>
                  <a:gd name="connsiteX245" fmla="*/ 1297510 w 1440620"/>
                  <a:gd name="connsiteY245" fmla="*/ 36428 h 87391"/>
                  <a:gd name="connsiteX246" fmla="*/ 1316442 w 1440620"/>
                  <a:gd name="connsiteY246" fmla="*/ 36428 h 87391"/>
                  <a:gd name="connsiteX247" fmla="*/ 1316442 w 1440620"/>
                  <a:gd name="connsiteY247" fmla="*/ 25033 h 87391"/>
                  <a:gd name="connsiteX248" fmla="*/ 1265837 w 1440620"/>
                  <a:gd name="connsiteY248" fmla="*/ 25033 h 87391"/>
                  <a:gd name="connsiteX249" fmla="*/ 1329452 w 1440620"/>
                  <a:gd name="connsiteY249" fmla="*/ 48092 h 87391"/>
                  <a:gd name="connsiteX250" fmla="*/ 1347935 w 1440620"/>
                  <a:gd name="connsiteY250" fmla="*/ 33198 h 87391"/>
                  <a:gd name="connsiteX251" fmla="*/ 1365521 w 1440620"/>
                  <a:gd name="connsiteY251" fmla="*/ 48092 h 87391"/>
                  <a:gd name="connsiteX252" fmla="*/ 1329452 w 1440620"/>
                  <a:gd name="connsiteY252" fmla="*/ 48092 h 87391"/>
                  <a:gd name="connsiteX253" fmla="*/ 1347935 w 1440620"/>
                  <a:gd name="connsiteY253" fmla="*/ 76535 h 87391"/>
                  <a:gd name="connsiteX254" fmla="*/ 1329183 w 1440620"/>
                  <a:gd name="connsiteY254" fmla="*/ 58052 h 87391"/>
                  <a:gd name="connsiteX255" fmla="*/ 1377634 w 1440620"/>
                  <a:gd name="connsiteY255" fmla="*/ 58052 h 87391"/>
                  <a:gd name="connsiteX256" fmla="*/ 1377634 w 1440620"/>
                  <a:gd name="connsiteY256" fmla="*/ 53655 h 87391"/>
                  <a:gd name="connsiteX257" fmla="*/ 1348294 w 1440620"/>
                  <a:gd name="connsiteY257" fmla="*/ 23328 h 87391"/>
                  <a:gd name="connsiteX258" fmla="*/ 1316980 w 1440620"/>
                  <a:gd name="connsiteY258" fmla="*/ 55360 h 87391"/>
                  <a:gd name="connsiteX259" fmla="*/ 1347666 w 1440620"/>
                  <a:gd name="connsiteY259" fmla="*/ 87392 h 87391"/>
                  <a:gd name="connsiteX260" fmla="*/ 1375032 w 1440620"/>
                  <a:gd name="connsiteY260" fmla="*/ 72228 h 87391"/>
                  <a:gd name="connsiteX261" fmla="*/ 1365162 w 1440620"/>
                  <a:gd name="connsiteY261" fmla="*/ 66935 h 87391"/>
                  <a:gd name="connsiteX262" fmla="*/ 1347935 w 1440620"/>
                  <a:gd name="connsiteY262" fmla="*/ 76535 h 87391"/>
                  <a:gd name="connsiteX263" fmla="*/ 1400065 w 1440620"/>
                  <a:gd name="connsiteY263" fmla="*/ 3230 h 87391"/>
                  <a:gd name="connsiteX264" fmla="*/ 1413255 w 1440620"/>
                  <a:gd name="connsiteY264" fmla="*/ 16420 h 87391"/>
                  <a:gd name="connsiteX265" fmla="*/ 1426624 w 1440620"/>
                  <a:gd name="connsiteY265" fmla="*/ 3230 h 87391"/>
                  <a:gd name="connsiteX266" fmla="*/ 1418100 w 1440620"/>
                  <a:gd name="connsiteY266" fmla="*/ 3230 h 87391"/>
                  <a:gd name="connsiteX267" fmla="*/ 1413345 w 1440620"/>
                  <a:gd name="connsiteY267" fmla="*/ 8524 h 87391"/>
                  <a:gd name="connsiteX268" fmla="*/ 1408679 w 1440620"/>
                  <a:gd name="connsiteY268" fmla="*/ 3230 h 87391"/>
                  <a:gd name="connsiteX269" fmla="*/ 1400065 w 1440620"/>
                  <a:gd name="connsiteY269" fmla="*/ 3230 h 87391"/>
                  <a:gd name="connsiteX270" fmla="*/ 1386158 w 1440620"/>
                  <a:gd name="connsiteY270" fmla="*/ 85687 h 87391"/>
                  <a:gd name="connsiteX271" fmla="*/ 1399527 w 1440620"/>
                  <a:gd name="connsiteY271" fmla="*/ 85687 h 87391"/>
                  <a:gd name="connsiteX272" fmla="*/ 1428508 w 1440620"/>
                  <a:gd name="connsiteY272" fmla="*/ 41901 h 87391"/>
                  <a:gd name="connsiteX273" fmla="*/ 1428508 w 1440620"/>
                  <a:gd name="connsiteY273" fmla="*/ 85687 h 87391"/>
                  <a:gd name="connsiteX274" fmla="*/ 1440621 w 1440620"/>
                  <a:gd name="connsiteY274" fmla="*/ 85687 h 87391"/>
                  <a:gd name="connsiteX275" fmla="*/ 1440621 w 1440620"/>
                  <a:gd name="connsiteY275" fmla="*/ 25033 h 87391"/>
                  <a:gd name="connsiteX276" fmla="*/ 1427252 w 1440620"/>
                  <a:gd name="connsiteY276" fmla="*/ 25033 h 87391"/>
                  <a:gd name="connsiteX277" fmla="*/ 1398271 w 1440620"/>
                  <a:gd name="connsiteY277" fmla="*/ 68819 h 87391"/>
                  <a:gd name="connsiteX278" fmla="*/ 1398271 w 1440620"/>
                  <a:gd name="connsiteY278" fmla="*/ 25033 h 87391"/>
                  <a:gd name="connsiteX279" fmla="*/ 1386158 w 1440620"/>
                  <a:gd name="connsiteY279" fmla="*/ 25033 h 87391"/>
                  <a:gd name="connsiteX280" fmla="*/ 1386158 w 1440620"/>
                  <a:gd name="connsiteY280" fmla="*/ 85687 h 8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Lst>
                <a:rect l="l" t="t" r="r" b="b"/>
                <a:pathLst>
                  <a:path w="1440620" h="87391">
                    <a:moveTo>
                      <a:pt x="65948" y="0"/>
                    </a:moveTo>
                    <a:lnTo>
                      <a:pt x="65948" y="12113"/>
                    </a:lnTo>
                    <a:lnTo>
                      <a:pt x="39479" y="12113"/>
                    </a:lnTo>
                    <a:lnTo>
                      <a:pt x="39479" y="85687"/>
                    </a:lnTo>
                    <a:lnTo>
                      <a:pt x="26289" y="85687"/>
                    </a:lnTo>
                    <a:lnTo>
                      <a:pt x="26289" y="12113"/>
                    </a:lnTo>
                    <a:lnTo>
                      <a:pt x="0" y="12113"/>
                    </a:lnTo>
                    <a:lnTo>
                      <a:pt x="0" y="0"/>
                    </a:lnTo>
                    <a:lnTo>
                      <a:pt x="65948" y="0"/>
                    </a:lnTo>
                    <a:close/>
                    <a:moveTo>
                      <a:pt x="67652" y="48092"/>
                    </a:moveTo>
                    <a:cubicBezTo>
                      <a:pt x="69716" y="39658"/>
                      <a:pt x="76804" y="33198"/>
                      <a:pt x="86136" y="33198"/>
                    </a:cubicBezTo>
                    <a:cubicBezTo>
                      <a:pt x="95467" y="33198"/>
                      <a:pt x="102735" y="38582"/>
                      <a:pt x="103722" y="48092"/>
                    </a:cubicBezTo>
                    <a:lnTo>
                      <a:pt x="67652" y="48092"/>
                    </a:lnTo>
                    <a:moveTo>
                      <a:pt x="86136" y="76535"/>
                    </a:moveTo>
                    <a:cubicBezTo>
                      <a:pt x="75459" y="76535"/>
                      <a:pt x="68281" y="68819"/>
                      <a:pt x="67383" y="58052"/>
                    </a:cubicBezTo>
                    <a:lnTo>
                      <a:pt x="115835" y="58052"/>
                    </a:lnTo>
                    <a:lnTo>
                      <a:pt x="115835" y="53655"/>
                    </a:lnTo>
                    <a:cubicBezTo>
                      <a:pt x="115835" y="35890"/>
                      <a:pt x="104081" y="23328"/>
                      <a:pt x="86495" y="23328"/>
                    </a:cubicBezTo>
                    <a:cubicBezTo>
                      <a:pt x="69088" y="23328"/>
                      <a:pt x="55181" y="36428"/>
                      <a:pt x="55181" y="55360"/>
                    </a:cubicBezTo>
                    <a:cubicBezTo>
                      <a:pt x="55181" y="74472"/>
                      <a:pt x="69088" y="87392"/>
                      <a:pt x="85867" y="87392"/>
                    </a:cubicBezTo>
                    <a:cubicBezTo>
                      <a:pt x="99325" y="87392"/>
                      <a:pt x="107670" y="81739"/>
                      <a:pt x="113233" y="72228"/>
                    </a:cubicBezTo>
                    <a:lnTo>
                      <a:pt x="103363" y="66935"/>
                    </a:lnTo>
                    <a:cubicBezTo>
                      <a:pt x="99505" y="72318"/>
                      <a:pt x="95557" y="76535"/>
                      <a:pt x="86136" y="76535"/>
                    </a:cubicBezTo>
                    <a:moveTo>
                      <a:pt x="154775" y="25033"/>
                    </a:moveTo>
                    <a:lnTo>
                      <a:pt x="143111" y="43516"/>
                    </a:lnTo>
                    <a:lnTo>
                      <a:pt x="131447" y="25033"/>
                    </a:lnTo>
                    <a:lnTo>
                      <a:pt x="117091" y="25033"/>
                    </a:lnTo>
                    <a:lnTo>
                      <a:pt x="136202" y="53566"/>
                    </a:lnTo>
                    <a:lnTo>
                      <a:pt x="114040" y="85777"/>
                    </a:lnTo>
                    <a:lnTo>
                      <a:pt x="128755" y="85777"/>
                    </a:lnTo>
                    <a:lnTo>
                      <a:pt x="143111" y="63346"/>
                    </a:lnTo>
                    <a:lnTo>
                      <a:pt x="157288" y="85777"/>
                    </a:lnTo>
                    <a:lnTo>
                      <a:pt x="171823" y="85777"/>
                    </a:lnTo>
                    <a:lnTo>
                      <a:pt x="150558" y="53207"/>
                    </a:lnTo>
                    <a:lnTo>
                      <a:pt x="169131" y="25033"/>
                    </a:lnTo>
                    <a:lnTo>
                      <a:pt x="154775" y="25033"/>
                    </a:lnTo>
                    <a:close/>
                    <a:moveTo>
                      <a:pt x="217044" y="25033"/>
                    </a:moveTo>
                    <a:lnTo>
                      <a:pt x="217044" y="48631"/>
                    </a:lnTo>
                    <a:lnTo>
                      <a:pt x="188781" y="48631"/>
                    </a:lnTo>
                    <a:lnTo>
                      <a:pt x="188781" y="25033"/>
                    </a:lnTo>
                    <a:lnTo>
                      <a:pt x="176219" y="25033"/>
                    </a:lnTo>
                    <a:lnTo>
                      <a:pt x="176219" y="85687"/>
                    </a:lnTo>
                    <a:lnTo>
                      <a:pt x="188781" y="85687"/>
                    </a:lnTo>
                    <a:lnTo>
                      <a:pt x="188781" y="59667"/>
                    </a:lnTo>
                    <a:lnTo>
                      <a:pt x="217044" y="59667"/>
                    </a:lnTo>
                    <a:lnTo>
                      <a:pt x="217044" y="85687"/>
                    </a:lnTo>
                    <a:lnTo>
                      <a:pt x="229606" y="85687"/>
                    </a:lnTo>
                    <a:lnTo>
                      <a:pt x="229606" y="25033"/>
                    </a:lnTo>
                    <a:lnTo>
                      <a:pt x="217044" y="25033"/>
                    </a:lnTo>
                    <a:close/>
                    <a:moveTo>
                      <a:pt x="290170" y="55360"/>
                    </a:moveTo>
                    <a:cubicBezTo>
                      <a:pt x="290170" y="67832"/>
                      <a:pt x="281108" y="75817"/>
                      <a:pt x="270610" y="75817"/>
                    </a:cubicBezTo>
                    <a:cubicBezTo>
                      <a:pt x="259933" y="75817"/>
                      <a:pt x="250870" y="67832"/>
                      <a:pt x="250870" y="55360"/>
                    </a:cubicBezTo>
                    <a:cubicBezTo>
                      <a:pt x="250870" y="42888"/>
                      <a:pt x="259933" y="34903"/>
                      <a:pt x="270610" y="34903"/>
                    </a:cubicBezTo>
                    <a:cubicBezTo>
                      <a:pt x="281108" y="34903"/>
                      <a:pt x="290170" y="42888"/>
                      <a:pt x="290170" y="55360"/>
                    </a:cubicBezTo>
                    <a:moveTo>
                      <a:pt x="270610" y="87392"/>
                    </a:moveTo>
                    <a:cubicBezTo>
                      <a:pt x="287119" y="87392"/>
                      <a:pt x="303001" y="76266"/>
                      <a:pt x="303001" y="55360"/>
                    </a:cubicBezTo>
                    <a:cubicBezTo>
                      <a:pt x="303001" y="34454"/>
                      <a:pt x="287119" y="23328"/>
                      <a:pt x="270610" y="23328"/>
                    </a:cubicBezTo>
                    <a:cubicBezTo>
                      <a:pt x="254011" y="23328"/>
                      <a:pt x="238040" y="34454"/>
                      <a:pt x="238040" y="55360"/>
                    </a:cubicBezTo>
                    <a:cubicBezTo>
                      <a:pt x="238040" y="76266"/>
                      <a:pt x="254011" y="87392"/>
                      <a:pt x="270610" y="87392"/>
                    </a:cubicBezTo>
                    <a:moveTo>
                      <a:pt x="304526" y="85687"/>
                    </a:moveTo>
                    <a:cubicBezTo>
                      <a:pt x="304526" y="85687"/>
                      <a:pt x="306948" y="86584"/>
                      <a:pt x="309550" y="86584"/>
                    </a:cubicBezTo>
                    <a:cubicBezTo>
                      <a:pt x="321663" y="86584"/>
                      <a:pt x="326060" y="78958"/>
                      <a:pt x="326957" y="61641"/>
                    </a:cubicBezTo>
                    <a:lnTo>
                      <a:pt x="328303" y="36428"/>
                    </a:lnTo>
                    <a:lnTo>
                      <a:pt x="349837" y="36428"/>
                    </a:lnTo>
                    <a:lnTo>
                      <a:pt x="349837" y="85777"/>
                    </a:lnTo>
                    <a:lnTo>
                      <a:pt x="362398" y="85777"/>
                    </a:lnTo>
                    <a:lnTo>
                      <a:pt x="362398" y="25033"/>
                    </a:lnTo>
                    <a:lnTo>
                      <a:pt x="317267" y="25033"/>
                    </a:lnTo>
                    <a:lnTo>
                      <a:pt x="315293" y="61103"/>
                    </a:lnTo>
                    <a:cubicBezTo>
                      <a:pt x="314575" y="72856"/>
                      <a:pt x="312691" y="75279"/>
                      <a:pt x="308833" y="75279"/>
                    </a:cubicBezTo>
                    <a:cubicBezTo>
                      <a:pt x="306141" y="75279"/>
                      <a:pt x="304526" y="74561"/>
                      <a:pt x="304526" y="74561"/>
                    </a:cubicBezTo>
                    <a:lnTo>
                      <a:pt x="304526" y="85687"/>
                    </a:lnTo>
                    <a:moveTo>
                      <a:pt x="422963" y="55360"/>
                    </a:moveTo>
                    <a:cubicBezTo>
                      <a:pt x="422963" y="67832"/>
                      <a:pt x="413900" y="75817"/>
                      <a:pt x="403403" y="75817"/>
                    </a:cubicBezTo>
                    <a:cubicBezTo>
                      <a:pt x="392725" y="75817"/>
                      <a:pt x="383663" y="67832"/>
                      <a:pt x="383663" y="55360"/>
                    </a:cubicBezTo>
                    <a:cubicBezTo>
                      <a:pt x="383663" y="42888"/>
                      <a:pt x="392725" y="34903"/>
                      <a:pt x="403403" y="34903"/>
                    </a:cubicBezTo>
                    <a:cubicBezTo>
                      <a:pt x="413900" y="34903"/>
                      <a:pt x="422963" y="42888"/>
                      <a:pt x="422963" y="55360"/>
                    </a:cubicBezTo>
                    <a:moveTo>
                      <a:pt x="403403" y="87392"/>
                    </a:moveTo>
                    <a:cubicBezTo>
                      <a:pt x="419912" y="87392"/>
                      <a:pt x="435793" y="76266"/>
                      <a:pt x="435793" y="55360"/>
                    </a:cubicBezTo>
                    <a:cubicBezTo>
                      <a:pt x="435793" y="34454"/>
                      <a:pt x="419912" y="23328"/>
                      <a:pt x="403403" y="23328"/>
                    </a:cubicBezTo>
                    <a:cubicBezTo>
                      <a:pt x="386803" y="23328"/>
                      <a:pt x="370832" y="34454"/>
                      <a:pt x="370832" y="55360"/>
                    </a:cubicBezTo>
                    <a:cubicBezTo>
                      <a:pt x="370832" y="76266"/>
                      <a:pt x="386714" y="87392"/>
                      <a:pt x="403403" y="87392"/>
                    </a:cubicBezTo>
                    <a:moveTo>
                      <a:pt x="444227" y="25033"/>
                    </a:moveTo>
                    <a:lnTo>
                      <a:pt x="444227" y="85687"/>
                    </a:lnTo>
                    <a:lnTo>
                      <a:pt x="456789" y="85687"/>
                    </a:lnTo>
                    <a:lnTo>
                      <a:pt x="456789" y="36339"/>
                    </a:lnTo>
                    <a:lnTo>
                      <a:pt x="483706" y="36339"/>
                    </a:lnTo>
                    <a:lnTo>
                      <a:pt x="483706" y="25033"/>
                    </a:lnTo>
                    <a:lnTo>
                      <a:pt x="444227" y="25033"/>
                    </a:lnTo>
                    <a:close/>
                    <a:moveTo>
                      <a:pt x="533145" y="25033"/>
                    </a:moveTo>
                    <a:lnTo>
                      <a:pt x="504164" y="68819"/>
                    </a:lnTo>
                    <a:lnTo>
                      <a:pt x="504164" y="25033"/>
                    </a:lnTo>
                    <a:lnTo>
                      <a:pt x="492051" y="25033"/>
                    </a:lnTo>
                    <a:lnTo>
                      <a:pt x="492051" y="85687"/>
                    </a:lnTo>
                    <a:lnTo>
                      <a:pt x="505420" y="85687"/>
                    </a:lnTo>
                    <a:lnTo>
                      <a:pt x="534401" y="41901"/>
                    </a:lnTo>
                    <a:lnTo>
                      <a:pt x="534401" y="85687"/>
                    </a:lnTo>
                    <a:lnTo>
                      <a:pt x="546514" y="85687"/>
                    </a:lnTo>
                    <a:lnTo>
                      <a:pt x="546514" y="25033"/>
                    </a:lnTo>
                    <a:lnTo>
                      <a:pt x="533145" y="25033"/>
                    </a:lnTo>
                    <a:close/>
                    <a:moveTo>
                      <a:pt x="599003" y="25033"/>
                    </a:moveTo>
                    <a:lnTo>
                      <a:pt x="570021" y="68819"/>
                    </a:lnTo>
                    <a:lnTo>
                      <a:pt x="570021" y="25033"/>
                    </a:lnTo>
                    <a:lnTo>
                      <a:pt x="557909" y="25033"/>
                    </a:lnTo>
                    <a:lnTo>
                      <a:pt x="557909" y="85687"/>
                    </a:lnTo>
                    <a:lnTo>
                      <a:pt x="571278" y="85687"/>
                    </a:lnTo>
                    <a:lnTo>
                      <a:pt x="600259" y="41901"/>
                    </a:lnTo>
                    <a:lnTo>
                      <a:pt x="600259" y="85687"/>
                    </a:lnTo>
                    <a:lnTo>
                      <a:pt x="612372" y="85687"/>
                    </a:lnTo>
                    <a:lnTo>
                      <a:pt x="612372" y="25033"/>
                    </a:lnTo>
                    <a:lnTo>
                      <a:pt x="599003" y="25033"/>
                    </a:lnTo>
                    <a:close/>
                    <a:moveTo>
                      <a:pt x="666924" y="75817"/>
                    </a:moveTo>
                    <a:lnTo>
                      <a:pt x="666924" y="59039"/>
                    </a:lnTo>
                    <a:lnTo>
                      <a:pt x="681998" y="59039"/>
                    </a:lnTo>
                    <a:cubicBezTo>
                      <a:pt x="688458" y="59039"/>
                      <a:pt x="691778" y="62179"/>
                      <a:pt x="691778" y="67383"/>
                    </a:cubicBezTo>
                    <a:cubicBezTo>
                      <a:pt x="691778" y="72498"/>
                      <a:pt x="688458" y="75817"/>
                      <a:pt x="681998" y="75817"/>
                    </a:cubicBezTo>
                    <a:lnTo>
                      <a:pt x="666924" y="75817"/>
                    </a:lnTo>
                    <a:close/>
                    <a:moveTo>
                      <a:pt x="666924" y="49259"/>
                    </a:moveTo>
                    <a:lnTo>
                      <a:pt x="666924" y="34903"/>
                    </a:lnTo>
                    <a:lnTo>
                      <a:pt x="681280" y="34903"/>
                    </a:lnTo>
                    <a:cubicBezTo>
                      <a:pt x="686753" y="34903"/>
                      <a:pt x="690253" y="37146"/>
                      <a:pt x="690253" y="41991"/>
                    </a:cubicBezTo>
                    <a:cubicBezTo>
                      <a:pt x="690253" y="47016"/>
                      <a:pt x="686843" y="49169"/>
                      <a:pt x="681190" y="49169"/>
                    </a:cubicBezTo>
                    <a:lnTo>
                      <a:pt x="666924" y="49169"/>
                    </a:lnTo>
                    <a:close/>
                    <a:moveTo>
                      <a:pt x="654363" y="85687"/>
                    </a:moveTo>
                    <a:lnTo>
                      <a:pt x="682626" y="85687"/>
                    </a:lnTo>
                    <a:cubicBezTo>
                      <a:pt x="695367" y="85687"/>
                      <a:pt x="704250" y="78509"/>
                      <a:pt x="704250" y="68191"/>
                    </a:cubicBezTo>
                    <a:cubicBezTo>
                      <a:pt x="704250" y="60385"/>
                      <a:pt x="699225" y="55629"/>
                      <a:pt x="692855" y="53655"/>
                    </a:cubicBezTo>
                    <a:cubicBezTo>
                      <a:pt x="698328" y="51233"/>
                      <a:pt x="702007" y="47016"/>
                      <a:pt x="702007" y="40107"/>
                    </a:cubicBezTo>
                    <a:cubicBezTo>
                      <a:pt x="702007" y="31763"/>
                      <a:pt x="694829" y="25033"/>
                      <a:pt x="681819" y="25033"/>
                    </a:cubicBezTo>
                    <a:lnTo>
                      <a:pt x="654273" y="25033"/>
                    </a:lnTo>
                    <a:lnTo>
                      <a:pt x="654273" y="85687"/>
                    </a:lnTo>
                    <a:close/>
                    <a:moveTo>
                      <a:pt x="760597" y="55360"/>
                    </a:moveTo>
                    <a:cubicBezTo>
                      <a:pt x="760597" y="67832"/>
                      <a:pt x="751535" y="75817"/>
                      <a:pt x="741037" y="75817"/>
                    </a:cubicBezTo>
                    <a:cubicBezTo>
                      <a:pt x="730360" y="75817"/>
                      <a:pt x="721297" y="67832"/>
                      <a:pt x="721297" y="55360"/>
                    </a:cubicBezTo>
                    <a:cubicBezTo>
                      <a:pt x="721297" y="42888"/>
                      <a:pt x="730360" y="34903"/>
                      <a:pt x="741037" y="34903"/>
                    </a:cubicBezTo>
                    <a:cubicBezTo>
                      <a:pt x="751535" y="34903"/>
                      <a:pt x="760597" y="42888"/>
                      <a:pt x="760597" y="55360"/>
                    </a:cubicBezTo>
                    <a:moveTo>
                      <a:pt x="741037" y="87392"/>
                    </a:moveTo>
                    <a:cubicBezTo>
                      <a:pt x="757546" y="87392"/>
                      <a:pt x="773428" y="76266"/>
                      <a:pt x="773428" y="55360"/>
                    </a:cubicBezTo>
                    <a:cubicBezTo>
                      <a:pt x="773428" y="34454"/>
                      <a:pt x="757546" y="23328"/>
                      <a:pt x="741037" y="23328"/>
                    </a:cubicBezTo>
                    <a:cubicBezTo>
                      <a:pt x="724438" y="23328"/>
                      <a:pt x="708467" y="34454"/>
                      <a:pt x="708467" y="55360"/>
                    </a:cubicBezTo>
                    <a:cubicBezTo>
                      <a:pt x="708467" y="76266"/>
                      <a:pt x="724348" y="87392"/>
                      <a:pt x="741037" y="87392"/>
                    </a:cubicBezTo>
                    <a:moveTo>
                      <a:pt x="828608" y="68101"/>
                    </a:moveTo>
                    <a:cubicBezTo>
                      <a:pt x="828608" y="60385"/>
                      <a:pt x="823315" y="55719"/>
                      <a:pt x="815867" y="53655"/>
                    </a:cubicBezTo>
                    <a:cubicBezTo>
                      <a:pt x="822328" y="51233"/>
                      <a:pt x="826186" y="46567"/>
                      <a:pt x="826186" y="39569"/>
                    </a:cubicBezTo>
                    <a:cubicBezTo>
                      <a:pt x="826186" y="30417"/>
                      <a:pt x="819367" y="23328"/>
                      <a:pt x="804024" y="23328"/>
                    </a:cubicBezTo>
                    <a:cubicBezTo>
                      <a:pt x="789488" y="23328"/>
                      <a:pt x="780875" y="30776"/>
                      <a:pt x="780875" y="40376"/>
                    </a:cubicBezTo>
                    <a:cubicBezTo>
                      <a:pt x="780875" y="43068"/>
                      <a:pt x="781503" y="45042"/>
                      <a:pt x="781951" y="46208"/>
                    </a:cubicBezTo>
                    <a:lnTo>
                      <a:pt x="792718" y="42619"/>
                    </a:lnTo>
                    <a:cubicBezTo>
                      <a:pt x="792629" y="42171"/>
                      <a:pt x="792359" y="41363"/>
                      <a:pt x="792359" y="40017"/>
                    </a:cubicBezTo>
                    <a:cubicBezTo>
                      <a:pt x="792359" y="36339"/>
                      <a:pt x="796666" y="33288"/>
                      <a:pt x="803844" y="33288"/>
                    </a:cubicBezTo>
                    <a:cubicBezTo>
                      <a:pt x="810663" y="33288"/>
                      <a:pt x="814252" y="36249"/>
                      <a:pt x="814252" y="40735"/>
                    </a:cubicBezTo>
                    <a:cubicBezTo>
                      <a:pt x="814252" y="45401"/>
                      <a:pt x="810933" y="48900"/>
                      <a:pt x="803485" y="48900"/>
                    </a:cubicBezTo>
                    <a:lnTo>
                      <a:pt x="798550" y="48900"/>
                    </a:lnTo>
                    <a:lnTo>
                      <a:pt x="798550" y="59129"/>
                    </a:lnTo>
                    <a:lnTo>
                      <a:pt x="803665" y="59129"/>
                    </a:lnTo>
                    <a:cubicBezTo>
                      <a:pt x="811650" y="59129"/>
                      <a:pt x="816137" y="62269"/>
                      <a:pt x="816137" y="67652"/>
                    </a:cubicBezTo>
                    <a:cubicBezTo>
                      <a:pt x="816137" y="73305"/>
                      <a:pt x="811471" y="77343"/>
                      <a:pt x="802947" y="77343"/>
                    </a:cubicBezTo>
                    <a:cubicBezTo>
                      <a:pt x="796577" y="77343"/>
                      <a:pt x="790565" y="74292"/>
                      <a:pt x="790565" y="68281"/>
                    </a:cubicBezTo>
                    <a:cubicBezTo>
                      <a:pt x="790565" y="66935"/>
                      <a:pt x="790834" y="65948"/>
                      <a:pt x="791193" y="65140"/>
                    </a:cubicBezTo>
                    <a:lnTo>
                      <a:pt x="780516" y="61551"/>
                    </a:lnTo>
                    <a:cubicBezTo>
                      <a:pt x="779888" y="62897"/>
                      <a:pt x="779080" y="65589"/>
                      <a:pt x="779080" y="68370"/>
                    </a:cubicBezTo>
                    <a:cubicBezTo>
                      <a:pt x="779080" y="79227"/>
                      <a:pt x="787784" y="87302"/>
                      <a:pt x="802947" y="87302"/>
                    </a:cubicBezTo>
                    <a:cubicBezTo>
                      <a:pt x="819726" y="87392"/>
                      <a:pt x="828608" y="78958"/>
                      <a:pt x="828608" y="68101"/>
                    </a:cubicBezTo>
                    <a:moveTo>
                      <a:pt x="889531" y="25033"/>
                    </a:moveTo>
                    <a:lnTo>
                      <a:pt x="871676" y="71152"/>
                    </a:lnTo>
                    <a:lnTo>
                      <a:pt x="853821" y="25033"/>
                    </a:lnTo>
                    <a:lnTo>
                      <a:pt x="836684" y="25033"/>
                    </a:lnTo>
                    <a:lnTo>
                      <a:pt x="836684" y="85687"/>
                    </a:lnTo>
                    <a:lnTo>
                      <a:pt x="848796" y="85687"/>
                    </a:lnTo>
                    <a:lnTo>
                      <a:pt x="848796" y="42619"/>
                    </a:lnTo>
                    <a:lnTo>
                      <a:pt x="866382" y="85687"/>
                    </a:lnTo>
                    <a:lnTo>
                      <a:pt x="877060" y="85687"/>
                    </a:lnTo>
                    <a:lnTo>
                      <a:pt x="894556" y="42709"/>
                    </a:lnTo>
                    <a:lnTo>
                      <a:pt x="894556" y="85687"/>
                    </a:lnTo>
                    <a:lnTo>
                      <a:pt x="906759" y="85687"/>
                    </a:lnTo>
                    <a:lnTo>
                      <a:pt x="906759" y="25033"/>
                    </a:lnTo>
                    <a:lnTo>
                      <a:pt x="889531" y="25033"/>
                    </a:lnTo>
                    <a:close/>
                    <a:moveTo>
                      <a:pt x="967323" y="55360"/>
                    </a:moveTo>
                    <a:cubicBezTo>
                      <a:pt x="967323" y="67832"/>
                      <a:pt x="958261" y="75817"/>
                      <a:pt x="947763" y="75817"/>
                    </a:cubicBezTo>
                    <a:cubicBezTo>
                      <a:pt x="937086" y="75817"/>
                      <a:pt x="928023" y="67832"/>
                      <a:pt x="928023" y="55360"/>
                    </a:cubicBezTo>
                    <a:cubicBezTo>
                      <a:pt x="928023" y="42888"/>
                      <a:pt x="937086" y="34903"/>
                      <a:pt x="947763" y="34903"/>
                    </a:cubicBezTo>
                    <a:cubicBezTo>
                      <a:pt x="958261" y="34903"/>
                      <a:pt x="967323" y="42888"/>
                      <a:pt x="967323" y="55360"/>
                    </a:cubicBezTo>
                    <a:moveTo>
                      <a:pt x="947763" y="87392"/>
                    </a:moveTo>
                    <a:cubicBezTo>
                      <a:pt x="964272" y="87392"/>
                      <a:pt x="980153" y="76266"/>
                      <a:pt x="980153" y="55360"/>
                    </a:cubicBezTo>
                    <a:cubicBezTo>
                      <a:pt x="980153" y="34454"/>
                      <a:pt x="964272" y="23328"/>
                      <a:pt x="947763" y="23328"/>
                    </a:cubicBezTo>
                    <a:cubicBezTo>
                      <a:pt x="931074" y="23328"/>
                      <a:pt x="915193" y="34454"/>
                      <a:pt x="915193" y="55360"/>
                    </a:cubicBezTo>
                    <a:cubicBezTo>
                      <a:pt x="915193" y="76266"/>
                      <a:pt x="931164" y="87392"/>
                      <a:pt x="947763" y="87392"/>
                    </a:cubicBezTo>
                    <a:moveTo>
                      <a:pt x="1051305" y="25033"/>
                    </a:moveTo>
                    <a:lnTo>
                      <a:pt x="1032014" y="48541"/>
                    </a:lnTo>
                    <a:lnTo>
                      <a:pt x="1032014" y="25033"/>
                    </a:lnTo>
                    <a:lnTo>
                      <a:pt x="1019453" y="25033"/>
                    </a:lnTo>
                    <a:lnTo>
                      <a:pt x="1019453" y="48631"/>
                    </a:lnTo>
                    <a:lnTo>
                      <a:pt x="999983" y="25033"/>
                    </a:lnTo>
                    <a:lnTo>
                      <a:pt x="983742" y="25033"/>
                    </a:lnTo>
                    <a:lnTo>
                      <a:pt x="1008686" y="53566"/>
                    </a:lnTo>
                    <a:lnTo>
                      <a:pt x="983384" y="85777"/>
                    </a:lnTo>
                    <a:lnTo>
                      <a:pt x="998637" y="85777"/>
                    </a:lnTo>
                    <a:lnTo>
                      <a:pt x="1019273" y="58949"/>
                    </a:lnTo>
                    <a:lnTo>
                      <a:pt x="1019273" y="85777"/>
                    </a:lnTo>
                    <a:lnTo>
                      <a:pt x="1031835" y="85777"/>
                    </a:lnTo>
                    <a:lnTo>
                      <a:pt x="1031835" y="59129"/>
                    </a:lnTo>
                    <a:lnTo>
                      <a:pt x="1052472" y="85687"/>
                    </a:lnTo>
                    <a:lnTo>
                      <a:pt x="1067725" y="85687"/>
                    </a:lnTo>
                    <a:lnTo>
                      <a:pt x="1042422" y="53476"/>
                    </a:lnTo>
                    <a:lnTo>
                      <a:pt x="1067366" y="24943"/>
                    </a:lnTo>
                    <a:lnTo>
                      <a:pt x="1051305" y="24943"/>
                    </a:lnTo>
                    <a:close/>
                    <a:moveTo>
                      <a:pt x="1115279" y="25033"/>
                    </a:moveTo>
                    <a:lnTo>
                      <a:pt x="1115279" y="48631"/>
                    </a:lnTo>
                    <a:lnTo>
                      <a:pt x="1087016" y="48631"/>
                    </a:lnTo>
                    <a:lnTo>
                      <a:pt x="1087016" y="25033"/>
                    </a:lnTo>
                    <a:lnTo>
                      <a:pt x="1074454" y="25033"/>
                    </a:lnTo>
                    <a:lnTo>
                      <a:pt x="1074454" y="85687"/>
                    </a:lnTo>
                    <a:lnTo>
                      <a:pt x="1087016" y="85687"/>
                    </a:lnTo>
                    <a:lnTo>
                      <a:pt x="1087016" y="59667"/>
                    </a:lnTo>
                    <a:lnTo>
                      <a:pt x="1115279" y="59667"/>
                    </a:lnTo>
                    <a:lnTo>
                      <a:pt x="1115279" y="85687"/>
                    </a:lnTo>
                    <a:lnTo>
                      <a:pt x="1127840" y="85687"/>
                    </a:lnTo>
                    <a:lnTo>
                      <a:pt x="1127840" y="25033"/>
                    </a:lnTo>
                    <a:lnTo>
                      <a:pt x="1115279" y="25033"/>
                    </a:lnTo>
                    <a:close/>
                    <a:moveTo>
                      <a:pt x="1188405" y="55360"/>
                    </a:moveTo>
                    <a:cubicBezTo>
                      <a:pt x="1188405" y="67832"/>
                      <a:pt x="1179342" y="75817"/>
                      <a:pt x="1168845" y="75817"/>
                    </a:cubicBezTo>
                    <a:cubicBezTo>
                      <a:pt x="1158167" y="75817"/>
                      <a:pt x="1149105" y="67832"/>
                      <a:pt x="1149105" y="55360"/>
                    </a:cubicBezTo>
                    <a:cubicBezTo>
                      <a:pt x="1149105" y="42888"/>
                      <a:pt x="1158167" y="34903"/>
                      <a:pt x="1168845" y="34903"/>
                    </a:cubicBezTo>
                    <a:cubicBezTo>
                      <a:pt x="1179342" y="34903"/>
                      <a:pt x="1188405" y="42888"/>
                      <a:pt x="1188405" y="55360"/>
                    </a:cubicBezTo>
                    <a:moveTo>
                      <a:pt x="1168845" y="87392"/>
                    </a:moveTo>
                    <a:cubicBezTo>
                      <a:pt x="1185354" y="87392"/>
                      <a:pt x="1201235" y="76266"/>
                      <a:pt x="1201235" y="55360"/>
                    </a:cubicBezTo>
                    <a:cubicBezTo>
                      <a:pt x="1201235" y="34454"/>
                      <a:pt x="1185354" y="23328"/>
                      <a:pt x="1168845" y="23328"/>
                    </a:cubicBezTo>
                    <a:cubicBezTo>
                      <a:pt x="1152156" y="23328"/>
                      <a:pt x="1136275" y="34454"/>
                      <a:pt x="1136275" y="55360"/>
                    </a:cubicBezTo>
                    <a:cubicBezTo>
                      <a:pt x="1136275" y="76266"/>
                      <a:pt x="1152246" y="87392"/>
                      <a:pt x="1168845" y="87392"/>
                    </a:cubicBezTo>
                    <a:moveTo>
                      <a:pt x="1237753" y="87392"/>
                    </a:moveTo>
                    <a:cubicBezTo>
                      <a:pt x="1250494" y="87392"/>
                      <a:pt x="1259018" y="81380"/>
                      <a:pt x="1264760" y="71600"/>
                    </a:cubicBezTo>
                    <a:lnTo>
                      <a:pt x="1254622" y="65858"/>
                    </a:lnTo>
                    <a:cubicBezTo>
                      <a:pt x="1250674" y="71600"/>
                      <a:pt x="1246187" y="75638"/>
                      <a:pt x="1237753" y="75638"/>
                    </a:cubicBezTo>
                    <a:cubicBezTo>
                      <a:pt x="1226986" y="75638"/>
                      <a:pt x="1219180" y="67832"/>
                      <a:pt x="1219180" y="55360"/>
                    </a:cubicBezTo>
                    <a:cubicBezTo>
                      <a:pt x="1219180" y="42888"/>
                      <a:pt x="1227345" y="35082"/>
                      <a:pt x="1237753" y="35082"/>
                    </a:cubicBezTo>
                    <a:cubicBezTo>
                      <a:pt x="1244213" y="35082"/>
                      <a:pt x="1249866" y="38133"/>
                      <a:pt x="1253904" y="44773"/>
                    </a:cubicBezTo>
                    <a:lnTo>
                      <a:pt x="1264401" y="38671"/>
                    </a:lnTo>
                    <a:cubicBezTo>
                      <a:pt x="1260005" y="29161"/>
                      <a:pt x="1250853" y="23418"/>
                      <a:pt x="1237753" y="23418"/>
                    </a:cubicBezTo>
                    <a:cubicBezTo>
                      <a:pt x="1220706" y="23418"/>
                      <a:pt x="1206170" y="36428"/>
                      <a:pt x="1206170" y="55450"/>
                    </a:cubicBezTo>
                    <a:cubicBezTo>
                      <a:pt x="1206170" y="74472"/>
                      <a:pt x="1219719" y="87392"/>
                      <a:pt x="1237753" y="87392"/>
                    </a:cubicBezTo>
                    <a:moveTo>
                      <a:pt x="1265837" y="25033"/>
                    </a:moveTo>
                    <a:lnTo>
                      <a:pt x="1265837" y="36428"/>
                    </a:lnTo>
                    <a:lnTo>
                      <a:pt x="1284948" y="36428"/>
                    </a:lnTo>
                    <a:lnTo>
                      <a:pt x="1284948" y="85777"/>
                    </a:lnTo>
                    <a:lnTo>
                      <a:pt x="1297510" y="85777"/>
                    </a:lnTo>
                    <a:lnTo>
                      <a:pt x="1297510" y="36428"/>
                    </a:lnTo>
                    <a:lnTo>
                      <a:pt x="1316442" y="36428"/>
                    </a:lnTo>
                    <a:lnTo>
                      <a:pt x="1316442" y="25033"/>
                    </a:lnTo>
                    <a:lnTo>
                      <a:pt x="1265837" y="25033"/>
                    </a:lnTo>
                    <a:close/>
                    <a:moveTo>
                      <a:pt x="1329452" y="48092"/>
                    </a:moveTo>
                    <a:cubicBezTo>
                      <a:pt x="1331516" y="39658"/>
                      <a:pt x="1338604" y="33198"/>
                      <a:pt x="1347935" y="33198"/>
                    </a:cubicBezTo>
                    <a:cubicBezTo>
                      <a:pt x="1357267" y="33198"/>
                      <a:pt x="1364624" y="38582"/>
                      <a:pt x="1365521" y="48092"/>
                    </a:cubicBezTo>
                    <a:lnTo>
                      <a:pt x="1329452" y="48092"/>
                    </a:lnTo>
                    <a:moveTo>
                      <a:pt x="1347935" y="76535"/>
                    </a:moveTo>
                    <a:cubicBezTo>
                      <a:pt x="1337258" y="76535"/>
                      <a:pt x="1330080" y="68819"/>
                      <a:pt x="1329183" y="58052"/>
                    </a:cubicBezTo>
                    <a:lnTo>
                      <a:pt x="1377634" y="58052"/>
                    </a:lnTo>
                    <a:lnTo>
                      <a:pt x="1377634" y="53655"/>
                    </a:lnTo>
                    <a:cubicBezTo>
                      <a:pt x="1377634" y="35890"/>
                      <a:pt x="1365880" y="23328"/>
                      <a:pt x="1348294" y="23328"/>
                    </a:cubicBezTo>
                    <a:cubicBezTo>
                      <a:pt x="1330888" y="23328"/>
                      <a:pt x="1316980" y="36428"/>
                      <a:pt x="1316980" y="55360"/>
                    </a:cubicBezTo>
                    <a:cubicBezTo>
                      <a:pt x="1316980" y="74472"/>
                      <a:pt x="1330888" y="87392"/>
                      <a:pt x="1347666" y="87392"/>
                    </a:cubicBezTo>
                    <a:cubicBezTo>
                      <a:pt x="1361125" y="87392"/>
                      <a:pt x="1369469" y="81739"/>
                      <a:pt x="1375032" y="72228"/>
                    </a:cubicBezTo>
                    <a:lnTo>
                      <a:pt x="1365162" y="66935"/>
                    </a:lnTo>
                    <a:cubicBezTo>
                      <a:pt x="1361304" y="72318"/>
                      <a:pt x="1357356" y="76535"/>
                      <a:pt x="1347935" y="76535"/>
                    </a:cubicBezTo>
                    <a:moveTo>
                      <a:pt x="1400065" y="3230"/>
                    </a:moveTo>
                    <a:cubicBezTo>
                      <a:pt x="1400065" y="10946"/>
                      <a:pt x="1405359" y="16420"/>
                      <a:pt x="1413255" y="16420"/>
                    </a:cubicBezTo>
                    <a:cubicBezTo>
                      <a:pt x="1421151" y="16420"/>
                      <a:pt x="1426624" y="10946"/>
                      <a:pt x="1426624" y="3230"/>
                    </a:cubicBezTo>
                    <a:lnTo>
                      <a:pt x="1418100" y="3230"/>
                    </a:lnTo>
                    <a:cubicBezTo>
                      <a:pt x="1418100" y="6281"/>
                      <a:pt x="1416395" y="8524"/>
                      <a:pt x="1413345" y="8524"/>
                    </a:cubicBezTo>
                    <a:cubicBezTo>
                      <a:pt x="1410384" y="8524"/>
                      <a:pt x="1408679" y="6281"/>
                      <a:pt x="1408679" y="3230"/>
                    </a:cubicBezTo>
                    <a:lnTo>
                      <a:pt x="1400065" y="3230"/>
                    </a:lnTo>
                    <a:moveTo>
                      <a:pt x="1386158" y="85687"/>
                    </a:moveTo>
                    <a:lnTo>
                      <a:pt x="1399527" y="85687"/>
                    </a:lnTo>
                    <a:lnTo>
                      <a:pt x="1428508" y="41901"/>
                    </a:lnTo>
                    <a:lnTo>
                      <a:pt x="1428508" y="85687"/>
                    </a:lnTo>
                    <a:lnTo>
                      <a:pt x="1440621" y="85687"/>
                    </a:lnTo>
                    <a:lnTo>
                      <a:pt x="1440621" y="25033"/>
                    </a:lnTo>
                    <a:lnTo>
                      <a:pt x="1427252" y="25033"/>
                    </a:lnTo>
                    <a:lnTo>
                      <a:pt x="1398271" y="68819"/>
                    </a:lnTo>
                    <a:lnTo>
                      <a:pt x="1398271" y="25033"/>
                    </a:lnTo>
                    <a:lnTo>
                      <a:pt x="1386158" y="25033"/>
                    </a:lnTo>
                    <a:lnTo>
                      <a:pt x="1386158" y="85687"/>
                    </a:lnTo>
                    <a:close/>
                  </a:path>
                </a:pathLst>
              </a:custGeom>
              <a:solidFill>
                <a:srgbClr val="101828"/>
              </a:solidFill>
              <a:ln w="893" cap="flat">
                <a:noFill/>
                <a:prstDash val="solid"/>
                <a:miter/>
              </a:ln>
            </p:spPr>
            <p:txBody>
              <a:bodyPr rtlCol="0" anchor="ctr"/>
              <a:lstStyle/>
              <a:p>
                <a:endParaRPr lang="ru-RU" sz="1587" dirty="0"/>
              </a:p>
            </p:txBody>
          </p:sp>
        </p:grpSp>
        <p:grpSp>
          <p:nvGrpSpPr>
            <p:cNvPr id="45" name="Рисунок 121">
              <a:extLst>
                <a:ext uri="{FF2B5EF4-FFF2-40B4-BE49-F238E27FC236}">
                  <a16:creationId xmlns:a16="http://schemas.microsoft.com/office/drawing/2014/main" id="{1D4C6A90-BD62-4E26-90E9-42266D88ABED}"/>
                </a:ext>
              </a:extLst>
            </p:cNvPr>
            <p:cNvGrpSpPr/>
            <p:nvPr/>
          </p:nvGrpSpPr>
          <p:grpSpPr>
            <a:xfrm>
              <a:off x="11596853" y="7057975"/>
              <a:ext cx="269201" cy="448623"/>
              <a:chOff x="11596853" y="7057975"/>
              <a:chExt cx="269201" cy="448623"/>
            </a:xfrm>
          </p:grpSpPr>
          <p:sp>
            <p:nvSpPr>
              <p:cNvPr id="46" name="Полилиния: фигура 45">
                <a:extLst>
                  <a:ext uri="{FF2B5EF4-FFF2-40B4-BE49-F238E27FC236}">
                    <a16:creationId xmlns:a16="http://schemas.microsoft.com/office/drawing/2014/main" id="{20FDE4F3-5543-4A6B-99C5-AA87EBC9DA9C}"/>
                  </a:ext>
                </a:extLst>
              </p:cNvPr>
              <p:cNvSpPr/>
              <p:nvPr/>
            </p:nvSpPr>
            <p:spPr>
              <a:xfrm>
                <a:off x="11607018" y="7388969"/>
                <a:ext cx="204034" cy="117629"/>
              </a:xfrm>
              <a:custGeom>
                <a:avLst/>
                <a:gdLst>
                  <a:gd name="connsiteX0" fmla="*/ 204034 w 204034"/>
                  <a:gd name="connsiteY0" fmla="*/ 117629 h 117629"/>
                  <a:gd name="connsiteX1" fmla="*/ 20996 w 204034"/>
                  <a:gd name="connsiteY1" fmla="*/ 117629 h 117629"/>
                  <a:gd name="connsiteX2" fmla="*/ 0 w 204034"/>
                  <a:gd name="connsiteY2" fmla="*/ 95467 h 117629"/>
                  <a:gd name="connsiteX3" fmla="*/ 6460 w 204034"/>
                  <a:gd name="connsiteY3" fmla="*/ 79855 h 117629"/>
                  <a:gd name="connsiteX4" fmla="*/ 86315 w 204034"/>
                  <a:gd name="connsiteY4" fmla="*/ 0 h 117629"/>
                  <a:gd name="connsiteX5" fmla="*/ 204034 w 204034"/>
                  <a:gd name="connsiteY5" fmla="*/ 117629 h 11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034" h="117629">
                    <a:moveTo>
                      <a:pt x="204034" y="117629"/>
                    </a:moveTo>
                    <a:lnTo>
                      <a:pt x="20996" y="117629"/>
                    </a:lnTo>
                    <a:cubicBezTo>
                      <a:pt x="7806" y="117629"/>
                      <a:pt x="0" y="105785"/>
                      <a:pt x="0" y="95467"/>
                    </a:cubicBezTo>
                    <a:cubicBezTo>
                      <a:pt x="0" y="89366"/>
                      <a:pt x="2512" y="83803"/>
                      <a:pt x="6460" y="79855"/>
                    </a:cubicBezTo>
                    <a:lnTo>
                      <a:pt x="86315" y="0"/>
                    </a:lnTo>
                    <a:lnTo>
                      <a:pt x="204034" y="117629"/>
                    </a:lnTo>
                    <a:close/>
                  </a:path>
                </a:pathLst>
              </a:custGeom>
              <a:solidFill>
                <a:srgbClr val="FF4F12"/>
              </a:solidFill>
              <a:ln w="893" cap="flat">
                <a:noFill/>
                <a:prstDash val="solid"/>
                <a:miter/>
              </a:ln>
            </p:spPr>
            <p:txBody>
              <a:bodyPr rtlCol="0" anchor="ctr"/>
              <a:lstStyle/>
              <a:p>
                <a:endParaRPr lang="ru-RU" sz="1587" dirty="0"/>
              </a:p>
            </p:txBody>
          </p:sp>
          <p:sp>
            <p:nvSpPr>
              <p:cNvPr id="47" name="Полилиния: фигура 46">
                <a:extLst>
                  <a:ext uri="{FF2B5EF4-FFF2-40B4-BE49-F238E27FC236}">
                    <a16:creationId xmlns:a16="http://schemas.microsoft.com/office/drawing/2014/main" id="{9B490202-C69C-44D0-879E-4A4B8008AC82}"/>
                  </a:ext>
                </a:extLst>
              </p:cNvPr>
              <p:cNvSpPr/>
              <p:nvPr/>
            </p:nvSpPr>
            <p:spPr>
              <a:xfrm>
                <a:off x="11596853" y="7057975"/>
                <a:ext cx="269201" cy="448623"/>
              </a:xfrm>
              <a:custGeom>
                <a:avLst/>
                <a:gdLst>
                  <a:gd name="connsiteX0" fmla="*/ 31161 w 269201"/>
                  <a:gd name="connsiteY0" fmla="*/ 448624 h 448623"/>
                  <a:gd name="connsiteX1" fmla="*/ 27 w 269201"/>
                  <a:gd name="connsiteY1" fmla="*/ 415605 h 448623"/>
                  <a:gd name="connsiteX2" fmla="*/ 27 w 269201"/>
                  <a:gd name="connsiteY2" fmla="*/ 169490 h 448623"/>
                  <a:gd name="connsiteX3" fmla="*/ 22099 w 269201"/>
                  <a:gd name="connsiteY3" fmla="*/ 89097 h 448623"/>
                  <a:gd name="connsiteX4" fmla="*/ 111196 w 269201"/>
                  <a:gd name="connsiteY4" fmla="*/ 0 h 448623"/>
                  <a:gd name="connsiteX5" fmla="*/ 269201 w 269201"/>
                  <a:gd name="connsiteY5" fmla="*/ 158274 h 448623"/>
                  <a:gd name="connsiteX6" fmla="*/ 16626 w 269201"/>
                  <a:gd name="connsiteY6" fmla="*/ 410849 h 448623"/>
                  <a:gd name="connsiteX7" fmla="*/ 10166 w 269201"/>
                  <a:gd name="connsiteY7" fmla="*/ 426462 h 448623"/>
                  <a:gd name="connsiteX8" fmla="*/ 31161 w 269201"/>
                  <a:gd name="connsiteY8" fmla="*/ 448624 h 44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201" h="448623">
                    <a:moveTo>
                      <a:pt x="31161" y="448624"/>
                    </a:moveTo>
                    <a:cubicBezTo>
                      <a:pt x="17344" y="448624"/>
                      <a:pt x="27" y="437587"/>
                      <a:pt x="27" y="415605"/>
                    </a:cubicBezTo>
                    <a:lnTo>
                      <a:pt x="27" y="169490"/>
                    </a:lnTo>
                    <a:cubicBezTo>
                      <a:pt x="27" y="136202"/>
                      <a:pt x="-1678" y="112874"/>
                      <a:pt x="22099" y="89097"/>
                    </a:cubicBezTo>
                    <a:lnTo>
                      <a:pt x="111196" y="0"/>
                    </a:lnTo>
                    <a:lnTo>
                      <a:pt x="269201" y="158274"/>
                    </a:lnTo>
                    <a:lnTo>
                      <a:pt x="16626" y="410849"/>
                    </a:lnTo>
                    <a:cubicBezTo>
                      <a:pt x="12588" y="414887"/>
                      <a:pt x="10166" y="420360"/>
                      <a:pt x="10166" y="426462"/>
                    </a:cubicBezTo>
                    <a:cubicBezTo>
                      <a:pt x="10166" y="436780"/>
                      <a:pt x="17972" y="448624"/>
                      <a:pt x="31161" y="448624"/>
                    </a:cubicBezTo>
                    <a:close/>
                  </a:path>
                </a:pathLst>
              </a:custGeom>
              <a:solidFill>
                <a:schemeClr val="tx2"/>
              </a:solidFill>
              <a:ln w="893"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2385706547"/>
      </p:ext>
    </p:extLst>
  </p:cSld>
  <p:clrMapOvr>
    <a:masterClrMapping/>
  </p:clrMapOvr>
  <p:extLst mod="1">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Раздел_2">
    <p:spTree>
      <p:nvGrpSpPr>
        <p:cNvPr id="1" name=""/>
        <p:cNvGrpSpPr/>
        <p:nvPr/>
      </p:nvGrpSpPr>
      <p:grpSpPr>
        <a:xfrm>
          <a:off x="0" y="0"/>
          <a:ext cx="0" cy="0"/>
          <a:chOff x="0" y="0"/>
          <a:chExt cx="0" cy="0"/>
        </a:xfrm>
      </p:grpSpPr>
      <p:sp>
        <p:nvSpPr>
          <p:cNvPr id="5" name="Рисунок 4">
            <a:extLst>
              <a:ext uri="{FF2B5EF4-FFF2-40B4-BE49-F238E27FC236}">
                <a16:creationId xmlns:a16="http://schemas.microsoft.com/office/drawing/2014/main" id="{9FE934AB-2F90-4873-83EC-50F14DDA54B5}"/>
              </a:ext>
            </a:extLst>
          </p:cNvPr>
          <p:cNvSpPr>
            <a:spLocks noGrp="1"/>
          </p:cNvSpPr>
          <p:nvPr>
            <p:ph type="pic" sz="quarter" idx="10"/>
          </p:nvPr>
        </p:nvSpPr>
        <p:spPr>
          <a:xfrm>
            <a:off x="0" y="0"/>
            <a:ext cx="12192000" cy="6858000"/>
          </a:xfrm>
          <a:prstGeom prst="rect">
            <a:avLst/>
          </a:prstGeom>
          <a:solidFill>
            <a:schemeClr val="bg1">
              <a:lumMod val="95000"/>
            </a:schemeClr>
          </a:solidFill>
        </p:spPr>
        <p:txBody>
          <a:bodyPr anchor="ctr"/>
          <a:lstStyle>
            <a:lvl1pPr algn="ctr">
              <a:defRPr sz="1411"/>
            </a:lvl1pPr>
          </a:lstStyle>
          <a:p>
            <a:endParaRPr lang="ru-RU" dirty="0"/>
          </a:p>
        </p:txBody>
      </p:sp>
      <p:sp>
        <p:nvSpPr>
          <p:cNvPr id="4" name="Текст 22">
            <a:extLst>
              <a:ext uri="{FF2B5EF4-FFF2-40B4-BE49-F238E27FC236}">
                <a16:creationId xmlns:a16="http://schemas.microsoft.com/office/drawing/2014/main" id="{63D3910B-1E2F-47ED-A3FB-DC7776F803EA}"/>
              </a:ext>
            </a:extLst>
          </p:cNvPr>
          <p:cNvSpPr>
            <a:spLocks noGrp="1"/>
          </p:cNvSpPr>
          <p:nvPr>
            <p:ph type="body" sz="quarter" idx="14" hasCustomPrompt="1"/>
          </p:nvPr>
        </p:nvSpPr>
        <p:spPr>
          <a:xfrm>
            <a:off x="417515" y="2362421"/>
            <a:ext cx="6083498" cy="827200"/>
          </a:xfrm>
          <a:prstGeom prst="rect">
            <a:avLst/>
          </a:prstGeom>
          <a:solidFill>
            <a:schemeClr val="accent3"/>
          </a:solidFill>
        </p:spPr>
        <p:txBody>
          <a:bodyPr wrap="none" lIns="108000" tIns="108000" rIns="108000" bIns="0">
            <a:spAutoFit/>
          </a:bodyPr>
          <a:lstStyle>
            <a:lvl1pPr>
              <a:lnSpc>
                <a:spcPts val="5553"/>
              </a:lnSpc>
              <a:spcBef>
                <a:spcPts val="0"/>
              </a:spcBef>
              <a:defRPr sz="5289" b="0">
                <a:solidFill>
                  <a:schemeClr val="bg1"/>
                </a:solidFill>
                <a:latin typeface="Rostelecom Basis Medium" panose="020B0603030604040103" pitchFamily="34" charset="0"/>
              </a:defRPr>
            </a:lvl1pPr>
          </a:lstStyle>
          <a:p>
            <a:pPr lvl="0"/>
            <a:r>
              <a:rPr lang="ru-RU" dirty="0"/>
              <a:t>Название раздела</a:t>
            </a:r>
          </a:p>
        </p:txBody>
      </p:sp>
    </p:spTree>
    <p:extLst>
      <p:ext uri="{BB962C8B-B14F-4D97-AF65-F5344CB8AC3E}">
        <p14:creationId xmlns:p14="http://schemas.microsoft.com/office/powerpoint/2010/main" val="33471743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Раздел_2">
    <p:spTree>
      <p:nvGrpSpPr>
        <p:cNvPr id="1" name=""/>
        <p:cNvGrpSpPr/>
        <p:nvPr/>
      </p:nvGrpSpPr>
      <p:grpSpPr>
        <a:xfrm>
          <a:off x="0" y="0"/>
          <a:ext cx="0" cy="0"/>
          <a:chOff x="0" y="0"/>
          <a:chExt cx="0" cy="0"/>
        </a:xfrm>
      </p:grpSpPr>
      <p:sp>
        <p:nvSpPr>
          <p:cNvPr id="6" name="Рисунок 6">
            <a:extLst>
              <a:ext uri="{FF2B5EF4-FFF2-40B4-BE49-F238E27FC236}">
                <a16:creationId xmlns:a16="http://schemas.microsoft.com/office/drawing/2014/main" id="{F882923D-96BF-4044-89D7-2598C615672F}"/>
              </a:ext>
            </a:extLst>
          </p:cNvPr>
          <p:cNvSpPr>
            <a:spLocks noGrp="1"/>
          </p:cNvSpPr>
          <p:nvPr>
            <p:ph type="pic" sz="quarter" idx="11"/>
          </p:nvPr>
        </p:nvSpPr>
        <p:spPr>
          <a:xfrm>
            <a:off x="0" y="0"/>
            <a:ext cx="12192000" cy="6858000"/>
          </a:xfrm>
          <a:prstGeom prst="rect">
            <a:avLst/>
          </a:prstGeom>
          <a:solidFill>
            <a:schemeClr val="tx2">
              <a:lumMod val="50000"/>
            </a:schemeClr>
          </a:solidFill>
        </p:spPr>
        <p:txBody>
          <a:bodyPr lIns="0" tIns="0" rIns="0" bIns="0" anchor="ctr"/>
          <a:lstStyle>
            <a:lvl1pPr algn="ctr">
              <a:defRPr>
                <a:solidFill>
                  <a:schemeClr val="bg1"/>
                </a:solidFill>
              </a:defRPr>
            </a:lvl1pPr>
          </a:lstStyle>
          <a:p>
            <a:endParaRPr lang="ru-RU" dirty="0"/>
          </a:p>
        </p:txBody>
      </p:sp>
      <p:sp>
        <p:nvSpPr>
          <p:cNvPr id="4" name="Текст 22">
            <a:extLst>
              <a:ext uri="{FF2B5EF4-FFF2-40B4-BE49-F238E27FC236}">
                <a16:creationId xmlns:a16="http://schemas.microsoft.com/office/drawing/2014/main" id="{63D3910B-1E2F-47ED-A3FB-DC7776F803EA}"/>
              </a:ext>
            </a:extLst>
          </p:cNvPr>
          <p:cNvSpPr>
            <a:spLocks noGrp="1"/>
          </p:cNvSpPr>
          <p:nvPr>
            <p:ph type="body" sz="quarter" idx="14" hasCustomPrompt="1"/>
          </p:nvPr>
        </p:nvSpPr>
        <p:spPr>
          <a:xfrm>
            <a:off x="417515" y="2362421"/>
            <a:ext cx="6083498" cy="827200"/>
          </a:xfrm>
          <a:prstGeom prst="rect">
            <a:avLst/>
          </a:prstGeom>
          <a:solidFill>
            <a:schemeClr val="accent3"/>
          </a:solidFill>
        </p:spPr>
        <p:txBody>
          <a:bodyPr wrap="none" lIns="108000" tIns="108000" rIns="108000" bIns="0">
            <a:spAutoFit/>
          </a:bodyPr>
          <a:lstStyle>
            <a:lvl1pPr>
              <a:lnSpc>
                <a:spcPts val="5553"/>
              </a:lnSpc>
              <a:spcBef>
                <a:spcPts val="0"/>
              </a:spcBef>
              <a:defRPr sz="5289" b="0">
                <a:solidFill>
                  <a:schemeClr val="bg1"/>
                </a:solidFill>
                <a:latin typeface="Rostelecom Basis Medium" panose="020B0603030604040103" pitchFamily="34" charset="0"/>
              </a:defRPr>
            </a:lvl1pPr>
          </a:lstStyle>
          <a:p>
            <a:pPr lvl="0"/>
            <a:r>
              <a:rPr lang="ru-RU" dirty="0"/>
              <a:t>Название раздела</a:t>
            </a:r>
          </a:p>
        </p:txBody>
      </p:sp>
    </p:spTree>
    <p:extLst>
      <p:ext uri="{BB962C8B-B14F-4D97-AF65-F5344CB8AC3E}">
        <p14:creationId xmlns:p14="http://schemas.microsoft.com/office/powerpoint/2010/main" val="22370573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КЦ_1">
    <p:bg>
      <p:bgPr>
        <a:solidFill>
          <a:srgbClr val="3F4653"/>
        </a:solidFill>
        <a:effectLst/>
      </p:bgPr>
    </p:bg>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7" y="419101"/>
            <a:ext cx="9366011" cy="521276"/>
          </a:xfrm>
          <a:prstGeom prst="rect">
            <a:avLst/>
          </a:prstGeom>
        </p:spPr>
        <p:txBody>
          <a:bodyPr lIns="0" tIns="0" rIns="0" bIns="0"/>
          <a:lstStyle>
            <a:lvl1pPr>
              <a:lnSpc>
                <a:spcPts val="3703"/>
              </a:lnSpc>
              <a:defRPr sz="3527">
                <a:solidFill>
                  <a:schemeClr val="bg1"/>
                </a:solidFill>
              </a:defRPr>
            </a:lvl1pPr>
          </a:lstStyle>
          <a:p>
            <a:r>
              <a:rPr lang="ru-RU" dirty="0"/>
              <a:t>Команда</a:t>
            </a:r>
          </a:p>
        </p:txBody>
      </p:sp>
      <p:sp>
        <p:nvSpPr>
          <p:cNvPr id="40" name="Рисунок 48">
            <a:extLst>
              <a:ext uri="{FF2B5EF4-FFF2-40B4-BE49-F238E27FC236}">
                <a16:creationId xmlns:a16="http://schemas.microsoft.com/office/drawing/2014/main" id="{1B842BF3-8088-486F-B7A2-5DC54AD48DF7}"/>
              </a:ext>
            </a:extLst>
          </p:cNvPr>
          <p:cNvSpPr>
            <a:spLocks noGrp="1"/>
          </p:cNvSpPr>
          <p:nvPr>
            <p:ph type="pic" sz="quarter" idx="97"/>
          </p:nvPr>
        </p:nvSpPr>
        <p:spPr>
          <a:xfrm>
            <a:off x="405841" y="3216639"/>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1" name="Текст 4">
            <a:extLst>
              <a:ext uri="{FF2B5EF4-FFF2-40B4-BE49-F238E27FC236}">
                <a16:creationId xmlns:a16="http://schemas.microsoft.com/office/drawing/2014/main" id="{9C5BC014-5508-4329-9A93-DBBCF44F7B05}"/>
              </a:ext>
            </a:extLst>
          </p:cNvPr>
          <p:cNvSpPr>
            <a:spLocks noGrp="1"/>
          </p:cNvSpPr>
          <p:nvPr>
            <p:ph type="body" sz="quarter" idx="98" hasCustomPrompt="1"/>
          </p:nvPr>
        </p:nvSpPr>
        <p:spPr>
          <a:xfrm>
            <a:off x="1533753" y="3189481"/>
            <a:ext cx="2742967"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2" name="Текст 14">
            <a:extLst>
              <a:ext uri="{FF2B5EF4-FFF2-40B4-BE49-F238E27FC236}">
                <a16:creationId xmlns:a16="http://schemas.microsoft.com/office/drawing/2014/main" id="{FF9C33AD-7B7E-47A9-AAE7-66D23F519E07}"/>
              </a:ext>
            </a:extLst>
          </p:cNvPr>
          <p:cNvSpPr>
            <a:spLocks noGrp="1"/>
          </p:cNvSpPr>
          <p:nvPr>
            <p:ph type="body" sz="quarter" idx="99" hasCustomPrompt="1"/>
          </p:nvPr>
        </p:nvSpPr>
        <p:spPr>
          <a:xfrm>
            <a:off x="1533753" y="3493494"/>
            <a:ext cx="2742967"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Tree>
    <p:extLst>
      <p:ext uri="{BB962C8B-B14F-4D97-AF65-F5344CB8AC3E}">
        <p14:creationId xmlns:p14="http://schemas.microsoft.com/office/powerpoint/2010/main" val="1853369134"/>
      </p:ext>
    </p:extLst>
  </p:cSld>
  <p:clrMapOvr>
    <a:masterClrMapping/>
  </p:clrMapOvr>
  <p:extLst mod="1">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КЦ_2">
    <p:bg>
      <p:bgPr>
        <a:solidFill>
          <a:srgbClr val="3F4653"/>
        </a:solidFill>
        <a:effectLst/>
      </p:bgPr>
    </p:bg>
    <p:spTree>
      <p:nvGrpSpPr>
        <p:cNvPr id="1" name=""/>
        <p:cNvGrpSpPr/>
        <p:nvPr/>
      </p:nvGrpSpPr>
      <p:grpSpPr>
        <a:xfrm>
          <a:off x="0" y="0"/>
          <a:ext cx="0" cy="0"/>
          <a:chOff x="0" y="0"/>
          <a:chExt cx="0" cy="0"/>
        </a:xfrm>
      </p:grpSpPr>
      <p:sp>
        <p:nvSpPr>
          <p:cNvPr id="13" name="Заголовок 1">
            <a:extLst>
              <a:ext uri="{FF2B5EF4-FFF2-40B4-BE49-F238E27FC236}">
                <a16:creationId xmlns:a16="http://schemas.microsoft.com/office/drawing/2014/main" id="{FE581997-38F8-42C4-9A00-B04CE3B79269}"/>
              </a:ext>
            </a:extLst>
          </p:cNvPr>
          <p:cNvSpPr>
            <a:spLocks noGrp="1"/>
          </p:cNvSpPr>
          <p:nvPr>
            <p:ph type="title" hasCustomPrompt="1"/>
          </p:nvPr>
        </p:nvSpPr>
        <p:spPr>
          <a:xfrm>
            <a:off x="417517" y="419101"/>
            <a:ext cx="9366011" cy="521276"/>
          </a:xfrm>
          <a:prstGeom prst="rect">
            <a:avLst/>
          </a:prstGeom>
        </p:spPr>
        <p:txBody>
          <a:bodyPr lIns="0" tIns="0" rIns="0" bIns="0"/>
          <a:lstStyle>
            <a:lvl1pPr>
              <a:lnSpc>
                <a:spcPts val="3703"/>
              </a:lnSpc>
              <a:defRPr sz="3527">
                <a:solidFill>
                  <a:schemeClr val="bg1"/>
                </a:solidFill>
              </a:defRPr>
            </a:lvl1pPr>
          </a:lstStyle>
          <a:p>
            <a:r>
              <a:rPr lang="ru-RU" dirty="0"/>
              <a:t>Команда</a:t>
            </a:r>
          </a:p>
        </p:txBody>
      </p:sp>
      <p:sp>
        <p:nvSpPr>
          <p:cNvPr id="40" name="Рисунок 48">
            <a:extLst>
              <a:ext uri="{FF2B5EF4-FFF2-40B4-BE49-F238E27FC236}">
                <a16:creationId xmlns:a16="http://schemas.microsoft.com/office/drawing/2014/main" id="{1B842BF3-8088-486F-B7A2-5DC54AD48DF7}"/>
              </a:ext>
            </a:extLst>
          </p:cNvPr>
          <p:cNvSpPr>
            <a:spLocks noGrp="1"/>
          </p:cNvSpPr>
          <p:nvPr>
            <p:ph type="pic" sz="quarter" idx="97"/>
          </p:nvPr>
        </p:nvSpPr>
        <p:spPr>
          <a:xfrm>
            <a:off x="405841" y="3216639"/>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41" name="Текст 4">
            <a:extLst>
              <a:ext uri="{FF2B5EF4-FFF2-40B4-BE49-F238E27FC236}">
                <a16:creationId xmlns:a16="http://schemas.microsoft.com/office/drawing/2014/main" id="{9C5BC014-5508-4329-9A93-DBBCF44F7B05}"/>
              </a:ext>
            </a:extLst>
          </p:cNvPr>
          <p:cNvSpPr>
            <a:spLocks noGrp="1"/>
          </p:cNvSpPr>
          <p:nvPr>
            <p:ph type="body" sz="quarter" idx="98" hasCustomPrompt="1"/>
          </p:nvPr>
        </p:nvSpPr>
        <p:spPr>
          <a:xfrm>
            <a:off x="1533751" y="3189481"/>
            <a:ext cx="2728692"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42" name="Текст 14">
            <a:extLst>
              <a:ext uri="{FF2B5EF4-FFF2-40B4-BE49-F238E27FC236}">
                <a16:creationId xmlns:a16="http://schemas.microsoft.com/office/drawing/2014/main" id="{FF9C33AD-7B7E-47A9-AAE7-66D23F519E07}"/>
              </a:ext>
            </a:extLst>
          </p:cNvPr>
          <p:cNvSpPr>
            <a:spLocks noGrp="1"/>
          </p:cNvSpPr>
          <p:nvPr>
            <p:ph type="body" sz="quarter" idx="99" hasCustomPrompt="1"/>
          </p:nvPr>
        </p:nvSpPr>
        <p:spPr>
          <a:xfrm>
            <a:off x="1533751" y="3493494"/>
            <a:ext cx="2728692"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
        <p:nvSpPr>
          <p:cNvPr id="47" name="Рисунок 48">
            <a:extLst>
              <a:ext uri="{FF2B5EF4-FFF2-40B4-BE49-F238E27FC236}">
                <a16:creationId xmlns:a16="http://schemas.microsoft.com/office/drawing/2014/main" id="{AC044DB6-81CE-4F01-9D9E-C7943F7781DB}"/>
              </a:ext>
            </a:extLst>
          </p:cNvPr>
          <p:cNvSpPr>
            <a:spLocks noGrp="1"/>
          </p:cNvSpPr>
          <p:nvPr>
            <p:ph type="pic" sz="quarter" idx="103"/>
          </p:nvPr>
        </p:nvSpPr>
        <p:spPr>
          <a:xfrm>
            <a:off x="5984325" y="3216639"/>
            <a:ext cx="983803" cy="984176"/>
          </a:xfrm>
          <a:custGeom>
            <a:avLst/>
            <a:gdLst>
              <a:gd name="connsiteX0" fmla="*/ 539561 w 1079500"/>
              <a:gd name="connsiteY0" fmla="*/ 0 h 1115399"/>
              <a:gd name="connsiteX1" fmla="*/ 1068649 w 1079500"/>
              <a:gd name="connsiteY1" fmla="*/ 445544 h 1115399"/>
              <a:gd name="connsiteX2" fmla="*/ 1079500 w 1079500"/>
              <a:gd name="connsiteY2" fmla="*/ 556760 h 1115399"/>
              <a:gd name="connsiteX3" fmla="*/ 1079500 w 1079500"/>
              <a:gd name="connsiteY3" fmla="*/ 559240 h 1115399"/>
              <a:gd name="connsiteX4" fmla="*/ 1068649 w 1079500"/>
              <a:gd name="connsiteY4" fmla="*/ 670457 h 1115399"/>
              <a:gd name="connsiteX5" fmla="*/ 648402 w 1079500"/>
              <a:gd name="connsiteY5" fmla="*/ 1104664 h 1115399"/>
              <a:gd name="connsiteX6" fmla="*/ 545331 w 1079500"/>
              <a:gd name="connsiteY6" fmla="*/ 1115399 h 1115399"/>
              <a:gd name="connsiteX7" fmla="*/ 533791 w 1079500"/>
              <a:gd name="connsiteY7" fmla="*/ 1115399 h 1115399"/>
              <a:gd name="connsiteX8" fmla="*/ 430720 w 1079500"/>
              <a:gd name="connsiteY8" fmla="*/ 1104664 h 1115399"/>
              <a:gd name="connsiteX9" fmla="*/ 10473 w 1079500"/>
              <a:gd name="connsiteY9" fmla="*/ 670457 h 1115399"/>
              <a:gd name="connsiteX10" fmla="*/ 0 w 1079500"/>
              <a:gd name="connsiteY10" fmla="*/ 563115 h 1115399"/>
              <a:gd name="connsiteX11" fmla="*/ 0 w 1079500"/>
              <a:gd name="connsiteY11" fmla="*/ 552886 h 1115399"/>
              <a:gd name="connsiteX12" fmla="*/ 10473 w 1079500"/>
              <a:gd name="connsiteY12" fmla="*/ 445544 h 1115399"/>
              <a:gd name="connsiteX13" fmla="*/ 539561 w 1079500"/>
              <a:gd name="connsiteY13" fmla="*/ 0 h 1115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9500" h="1115399">
                <a:moveTo>
                  <a:pt x="539561" y="0"/>
                </a:moveTo>
                <a:cubicBezTo>
                  <a:pt x="800545" y="0"/>
                  <a:pt x="1018290" y="191272"/>
                  <a:pt x="1068649" y="445544"/>
                </a:cubicBezTo>
                <a:lnTo>
                  <a:pt x="1079500" y="556760"/>
                </a:lnTo>
                <a:lnTo>
                  <a:pt x="1079500" y="559240"/>
                </a:lnTo>
                <a:lnTo>
                  <a:pt x="1068649" y="670457"/>
                </a:lnTo>
                <a:cubicBezTo>
                  <a:pt x="1025484" y="888403"/>
                  <a:pt x="859342" y="1060065"/>
                  <a:pt x="648402" y="1104664"/>
                </a:cubicBezTo>
                <a:lnTo>
                  <a:pt x="545331" y="1115399"/>
                </a:lnTo>
                <a:lnTo>
                  <a:pt x="533791" y="1115399"/>
                </a:lnTo>
                <a:lnTo>
                  <a:pt x="430720" y="1104664"/>
                </a:lnTo>
                <a:cubicBezTo>
                  <a:pt x="219780" y="1060065"/>
                  <a:pt x="53638" y="888403"/>
                  <a:pt x="10473" y="670457"/>
                </a:cubicBezTo>
                <a:lnTo>
                  <a:pt x="0" y="563115"/>
                </a:lnTo>
                <a:lnTo>
                  <a:pt x="0" y="552886"/>
                </a:lnTo>
                <a:lnTo>
                  <a:pt x="10473" y="445544"/>
                </a:lnTo>
                <a:cubicBezTo>
                  <a:pt x="60832" y="191272"/>
                  <a:pt x="278577" y="0"/>
                  <a:pt x="539561" y="0"/>
                </a:cubicBezTo>
                <a:close/>
              </a:path>
            </a:pathLst>
          </a:custGeom>
          <a:solidFill>
            <a:schemeClr val="tx2">
              <a:lumMod val="75000"/>
            </a:schemeClr>
          </a:solidFill>
        </p:spPr>
        <p:txBody>
          <a:bodyPr wrap="square" anchor="ctr">
            <a:noAutofit/>
          </a:bodyPr>
          <a:lstStyle>
            <a:lvl1pPr algn="ctr">
              <a:defRPr>
                <a:solidFill>
                  <a:schemeClr val="bg2"/>
                </a:solidFill>
              </a:defRPr>
            </a:lvl1pPr>
          </a:lstStyle>
          <a:p>
            <a:endParaRPr lang="ru-RU" dirty="0"/>
          </a:p>
        </p:txBody>
      </p:sp>
      <p:sp>
        <p:nvSpPr>
          <p:cNvPr id="54" name="Текст 4">
            <a:extLst>
              <a:ext uri="{FF2B5EF4-FFF2-40B4-BE49-F238E27FC236}">
                <a16:creationId xmlns:a16="http://schemas.microsoft.com/office/drawing/2014/main" id="{0E00D19C-EC6B-499E-A6AB-B77B4092A9EB}"/>
              </a:ext>
            </a:extLst>
          </p:cNvPr>
          <p:cNvSpPr>
            <a:spLocks noGrp="1"/>
          </p:cNvSpPr>
          <p:nvPr>
            <p:ph type="body" sz="quarter" idx="104" hasCustomPrompt="1"/>
          </p:nvPr>
        </p:nvSpPr>
        <p:spPr>
          <a:xfrm>
            <a:off x="7112235" y="3189481"/>
            <a:ext cx="2728692" cy="283001"/>
          </a:xfrm>
          <a:prstGeom prst="rect">
            <a:avLst/>
          </a:prstGeom>
        </p:spPr>
        <p:txBody>
          <a:bodyPr lIns="0" tIns="0" rIns="0" bIns="0"/>
          <a:lstStyle>
            <a:lvl1pPr>
              <a:lnSpc>
                <a:spcPct val="100000"/>
              </a:lnSpc>
              <a:spcBef>
                <a:spcPts val="0"/>
              </a:spcBef>
              <a:defRPr sz="1587" b="0">
                <a:solidFill>
                  <a:schemeClr val="bg1"/>
                </a:solidFill>
                <a:latin typeface="+mj-lt"/>
              </a:defRPr>
            </a:lvl1pPr>
          </a:lstStyle>
          <a:p>
            <a:pPr algn="l"/>
            <a:r>
              <a:rPr lang="ru-RU" sz="1587" dirty="0"/>
              <a:t>Имя Фамилия</a:t>
            </a:r>
          </a:p>
        </p:txBody>
      </p:sp>
      <p:sp>
        <p:nvSpPr>
          <p:cNvPr id="60" name="Текст 14">
            <a:extLst>
              <a:ext uri="{FF2B5EF4-FFF2-40B4-BE49-F238E27FC236}">
                <a16:creationId xmlns:a16="http://schemas.microsoft.com/office/drawing/2014/main" id="{8686DE69-9A25-4A66-9D41-69B2996DD835}"/>
              </a:ext>
            </a:extLst>
          </p:cNvPr>
          <p:cNvSpPr>
            <a:spLocks noGrp="1"/>
          </p:cNvSpPr>
          <p:nvPr>
            <p:ph type="body" sz="quarter" idx="105" hasCustomPrompt="1"/>
          </p:nvPr>
        </p:nvSpPr>
        <p:spPr>
          <a:xfrm>
            <a:off x="7112235" y="3493494"/>
            <a:ext cx="2728692" cy="758711"/>
          </a:xfrm>
          <a:prstGeom prst="rect">
            <a:avLst/>
          </a:prstGeom>
        </p:spPr>
        <p:txBody>
          <a:bodyPr lIns="0" tIns="0" rIns="0" bIns="0"/>
          <a:lstStyle>
            <a:lvl1pPr>
              <a:lnSpc>
                <a:spcPts val="1481"/>
              </a:lnSpc>
              <a:spcBef>
                <a:spcPts val="0"/>
              </a:spcBef>
              <a:defRPr sz="1235" b="0" strike="noStrike">
                <a:solidFill>
                  <a:srgbClr val="979799"/>
                </a:solidFill>
                <a:latin typeface="+mn-lt"/>
                <a:ea typeface="Rostelecom Basis" panose="020B0503040504020204" pitchFamily="34" charset="-52"/>
              </a:defRPr>
            </a:lvl1pPr>
          </a:lstStyle>
          <a:p>
            <a:pPr marL="0" marR="0" lvl="0" indent="0" algn="l" defTabSz="806024" rtl="0" eaLnBrk="1" fontAlgn="auto" latinLnBrk="0" hangingPunct="1">
              <a:lnSpc>
                <a:spcPct val="100000"/>
              </a:lnSpc>
              <a:spcBef>
                <a:spcPts val="0"/>
              </a:spcBef>
              <a:spcAft>
                <a:spcPts val="0"/>
              </a:spcAft>
              <a:buClrTx/>
              <a:buSzTx/>
              <a:buFont typeface="Arial" panose="020B0604020202020204" pitchFamily="34" charset="0"/>
              <a:buNone/>
              <a:tabLst/>
              <a:defRPr/>
            </a:pPr>
            <a:r>
              <a:rPr lang="ru-RU" dirty="0"/>
              <a:t>Должность руководителя</a:t>
            </a:r>
            <a:br>
              <a:rPr lang="ru-RU" dirty="0"/>
            </a:br>
            <a:r>
              <a:rPr lang="ru-RU" dirty="0"/>
              <a:t>одна</a:t>
            </a:r>
            <a:r>
              <a:rPr lang="en-US" dirty="0"/>
              <a:t>-</a:t>
            </a:r>
            <a:r>
              <a:rPr lang="ru-RU" dirty="0"/>
              <a:t>три строки</a:t>
            </a:r>
            <a:br>
              <a:rPr lang="ru-RU" dirty="0"/>
            </a:br>
            <a:r>
              <a:rPr lang="ru-RU" dirty="0"/>
              <a:t>+7 000 000 00 00</a:t>
            </a:r>
            <a:br>
              <a:rPr lang="ru-RU" dirty="0"/>
            </a:br>
            <a:r>
              <a:rPr lang="en-US" dirty="0"/>
              <a:t>mail@rt.ru</a:t>
            </a:r>
            <a:endParaRPr lang="ru-RU" dirty="0"/>
          </a:p>
        </p:txBody>
      </p:sp>
    </p:spTree>
    <p:extLst>
      <p:ext uri="{BB962C8B-B14F-4D97-AF65-F5344CB8AC3E}">
        <p14:creationId xmlns:p14="http://schemas.microsoft.com/office/powerpoint/2010/main" val="3688113989"/>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 Type="http://schemas.openxmlformats.org/officeDocument/2006/relationships/slideLayout" Target="../slideLayouts/slideLayout18.xml"/><Relationship Id="rId71"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34" Type="http://schemas.openxmlformats.org/officeDocument/2006/relationships/theme" Target="../theme/theme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slideLayout" Target="../slideLayouts/slideLayout140.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8" Type="http://schemas.openxmlformats.org/officeDocument/2006/relationships/slideLayout" Target="../slideLayouts/slideLayout11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theme" Target="../theme/theme5.xml"/><Relationship Id="rId8" Type="http://schemas.openxmlformats.org/officeDocument/2006/relationships/slideLayout" Target="../slideLayouts/slideLayout152.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04.xml"/><Relationship Id="rId21" Type="http://schemas.openxmlformats.org/officeDocument/2006/relationships/slideLayout" Target="../slideLayouts/slideLayout199.xml"/><Relationship Id="rId42" Type="http://schemas.openxmlformats.org/officeDocument/2006/relationships/slideLayout" Target="../slideLayouts/slideLayout220.xml"/><Relationship Id="rId47" Type="http://schemas.openxmlformats.org/officeDocument/2006/relationships/slideLayout" Target="../slideLayouts/slideLayout225.xml"/><Relationship Id="rId63" Type="http://schemas.openxmlformats.org/officeDocument/2006/relationships/slideLayout" Target="../slideLayouts/slideLayout241.xml"/><Relationship Id="rId68" Type="http://schemas.openxmlformats.org/officeDocument/2006/relationships/slideLayout" Target="../slideLayouts/slideLayout246.xml"/><Relationship Id="rId16" Type="http://schemas.openxmlformats.org/officeDocument/2006/relationships/slideLayout" Target="../slideLayouts/slideLayout194.xml"/><Relationship Id="rId11" Type="http://schemas.openxmlformats.org/officeDocument/2006/relationships/slideLayout" Target="../slideLayouts/slideLayout189.xml"/><Relationship Id="rId32" Type="http://schemas.openxmlformats.org/officeDocument/2006/relationships/slideLayout" Target="../slideLayouts/slideLayout210.xml"/><Relationship Id="rId37" Type="http://schemas.openxmlformats.org/officeDocument/2006/relationships/slideLayout" Target="../slideLayouts/slideLayout215.xml"/><Relationship Id="rId53" Type="http://schemas.openxmlformats.org/officeDocument/2006/relationships/slideLayout" Target="../slideLayouts/slideLayout231.xml"/><Relationship Id="rId58" Type="http://schemas.openxmlformats.org/officeDocument/2006/relationships/slideLayout" Target="../slideLayouts/slideLayout236.xml"/><Relationship Id="rId74" Type="http://schemas.openxmlformats.org/officeDocument/2006/relationships/slideLayout" Target="../slideLayouts/slideLayout252.xml"/><Relationship Id="rId79" Type="http://schemas.openxmlformats.org/officeDocument/2006/relationships/vmlDrawing" Target="../drawings/vmlDrawing1.vml"/><Relationship Id="rId5" Type="http://schemas.openxmlformats.org/officeDocument/2006/relationships/slideLayout" Target="../slideLayouts/slideLayout183.xml"/><Relationship Id="rId61" Type="http://schemas.openxmlformats.org/officeDocument/2006/relationships/slideLayout" Target="../slideLayouts/slideLayout239.xml"/><Relationship Id="rId82" Type="http://schemas.openxmlformats.org/officeDocument/2006/relationships/image" Target="../media/image6.emf"/><Relationship Id="rId19" Type="http://schemas.openxmlformats.org/officeDocument/2006/relationships/slideLayout" Target="../slideLayouts/slideLayout197.xml"/><Relationship Id="rId14" Type="http://schemas.openxmlformats.org/officeDocument/2006/relationships/slideLayout" Target="../slideLayouts/slideLayout192.xml"/><Relationship Id="rId22" Type="http://schemas.openxmlformats.org/officeDocument/2006/relationships/slideLayout" Target="../slideLayouts/slideLayout200.xml"/><Relationship Id="rId27" Type="http://schemas.openxmlformats.org/officeDocument/2006/relationships/slideLayout" Target="../slideLayouts/slideLayout205.xml"/><Relationship Id="rId30" Type="http://schemas.openxmlformats.org/officeDocument/2006/relationships/slideLayout" Target="../slideLayouts/slideLayout208.xml"/><Relationship Id="rId35" Type="http://schemas.openxmlformats.org/officeDocument/2006/relationships/slideLayout" Target="../slideLayouts/slideLayout213.xml"/><Relationship Id="rId43" Type="http://schemas.openxmlformats.org/officeDocument/2006/relationships/slideLayout" Target="../slideLayouts/slideLayout221.xml"/><Relationship Id="rId48" Type="http://schemas.openxmlformats.org/officeDocument/2006/relationships/slideLayout" Target="../slideLayouts/slideLayout226.xml"/><Relationship Id="rId56" Type="http://schemas.openxmlformats.org/officeDocument/2006/relationships/slideLayout" Target="../slideLayouts/slideLayout234.xml"/><Relationship Id="rId64" Type="http://schemas.openxmlformats.org/officeDocument/2006/relationships/slideLayout" Target="../slideLayouts/slideLayout242.xml"/><Relationship Id="rId69" Type="http://schemas.openxmlformats.org/officeDocument/2006/relationships/slideLayout" Target="../slideLayouts/slideLayout247.xml"/><Relationship Id="rId77" Type="http://schemas.openxmlformats.org/officeDocument/2006/relationships/slideLayout" Target="../slideLayouts/slideLayout255.xml"/><Relationship Id="rId8" Type="http://schemas.openxmlformats.org/officeDocument/2006/relationships/slideLayout" Target="../slideLayouts/slideLayout186.xml"/><Relationship Id="rId51" Type="http://schemas.openxmlformats.org/officeDocument/2006/relationships/slideLayout" Target="../slideLayouts/slideLayout229.xml"/><Relationship Id="rId72" Type="http://schemas.openxmlformats.org/officeDocument/2006/relationships/slideLayout" Target="../slideLayouts/slideLayout250.xml"/><Relationship Id="rId80" Type="http://schemas.openxmlformats.org/officeDocument/2006/relationships/tags" Target="../tags/tag1.xml"/><Relationship Id="rId3" Type="http://schemas.openxmlformats.org/officeDocument/2006/relationships/slideLayout" Target="../slideLayouts/slideLayout181.xml"/><Relationship Id="rId12" Type="http://schemas.openxmlformats.org/officeDocument/2006/relationships/slideLayout" Target="../slideLayouts/slideLayout190.xml"/><Relationship Id="rId17" Type="http://schemas.openxmlformats.org/officeDocument/2006/relationships/slideLayout" Target="../slideLayouts/slideLayout195.xml"/><Relationship Id="rId25" Type="http://schemas.openxmlformats.org/officeDocument/2006/relationships/slideLayout" Target="../slideLayouts/slideLayout203.xml"/><Relationship Id="rId33" Type="http://schemas.openxmlformats.org/officeDocument/2006/relationships/slideLayout" Target="../slideLayouts/slideLayout211.xml"/><Relationship Id="rId38" Type="http://schemas.openxmlformats.org/officeDocument/2006/relationships/slideLayout" Target="../slideLayouts/slideLayout216.xml"/><Relationship Id="rId46" Type="http://schemas.openxmlformats.org/officeDocument/2006/relationships/slideLayout" Target="../slideLayouts/slideLayout224.xml"/><Relationship Id="rId59" Type="http://schemas.openxmlformats.org/officeDocument/2006/relationships/slideLayout" Target="../slideLayouts/slideLayout237.xml"/><Relationship Id="rId67" Type="http://schemas.openxmlformats.org/officeDocument/2006/relationships/slideLayout" Target="../slideLayouts/slideLayout245.xml"/><Relationship Id="rId20" Type="http://schemas.openxmlformats.org/officeDocument/2006/relationships/slideLayout" Target="../slideLayouts/slideLayout198.xml"/><Relationship Id="rId41" Type="http://schemas.openxmlformats.org/officeDocument/2006/relationships/slideLayout" Target="../slideLayouts/slideLayout219.xml"/><Relationship Id="rId54" Type="http://schemas.openxmlformats.org/officeDocument/2006/relationships/slideLayout" Target="../slideLayouts/slideLayout232.xml"/><Relationship Id="rId62" Type="http://schemas.openxmlformats.org/officeDocument/2006/relationships/slideLayout" Target="../slideLayouts/slideLayout240.xml"/><Relationship Id="rId70" Type="http://schemas.openxmlformats.org/officeDocument/2006/relationships/slideLayout" Target="../slideLayouts/slideLayout248.xml"/><Relationship Id="rId75" Type="http://schemas.openxmlformats.org/officeDocument/2006/relationships/slideLayout" Target="../slideLayouts/slideLayout253.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5" Type="http://schemas.openxmlformats.org/officeDocument/2006/relationships/slideLayout" Target="../slideLayouts/slideLayout193.xml"/><Relationship Id="rId23" Type="http://schemas.openxmlformats.org/officeDocument/2006/relationships/slideLayout" Target="../slideLayouts/slideLayout201.xml"/><Relationship Id="rId28" Type="http://schemas.openxmlformats.org/officeDocument/2006/relationships/slideLayout" Target="../slideLayouts/slideLayout206.xml"/><Relationship Id="rId36" Type="http://schemas.openxmlformats.org/officeDocument/2006/relationships/slideLayout" Target="../slideLayouts/slideLayout214.xml"/><Relationship Id="rId49" Type="http://schemas.openxmlformats.org/officeDocument/2006/relationships/slideLayout" Target="../slideLayouts/slideLayout227.xml"/><Relationship Id="rId57" Type="http://schemas.openxmlformats.org/officeDocument/2006/relationships/slideLayout" Target="../slideLayouts/slideLayout235.xml"/><Relationship Id="rId10" Type="http://schemas.openxmlformats.org/officeDocument/2006/relationships/slideLayout" Target="../slideLayouts/slideLayout188.xml"/><Relationship Id="rId31" Type="http://schemas.openxmlformats.org/officeDocument/2006/relationships/slideLayout" Target="../slideLayouts/slideLayout209.xml"/><Relationship Id="rId44" Type="http://schemas.openxmlformats.org/officeDocument/2006/relationships/slideLayout" Target="../slideLayouts/slideLayout222.xml"/><Relationship Id="rId52" Type="http://schemas.openxmlformats.org/officeDocument/2006/relationships/slideLayout" Target="../slideLayouts/slideLayout230.xml"/><Relationship Id="rId60" Type="http://schemas.openxmlformats.org/officeDocument/2006/relationships/slideLayout" Target="../slideLayouts/slideLayout238.xml"/><Relationship Id="rId65" Type="http://schemas.openxmlformats.org/officeDocument/2006/relationships/slideLayout" Target="../slideLayouts/slideLayout243.xml"/><Relationship Id="rId73" Type="http://schemas.openxmlformats.org/officeDocument/2006/relationships/slideLayout" Target="../slideLayouts/slideLayout251.xml"/><Relationship Id="rId78" Type="http://schemas.openxmlformats.org/officeDocument/2006/relationships/theme" Target="../theme/theme6.xml"/><Relationship Id="rId81" Type="http://schemas.openxmlformats.org/officeDocument/2006/relationships/oleObject" Target="../embeddings/oleObject1.bin"/><Relationship Id="rId4" Type="http://schemas.openxmlformats.org/officeDocument/2006/relationships/slideLayout" Target="../slideLayouts/slideLayout182.xml"/><Relationship Id="rId9" Type="http://schemas.openxmlformats.org/officeDocument/2006/relationships/slideLayout" Target="../slideLayouts/slideLayout187.xml"/><Relationship Id="rId13" Type="http://schemas.openxmlformats.org/officeDocument/2006/relationships/slideLayout" Target="../slideLayouts/slideLayout191.xml"/><Relationship Id="rId18" Type="http://schemas.openxmlformats.org/officeDocument/2006/relationships/slideLayout" Target="../slideLayouts/slideLayout196.xml"/><Relationship Id="rId39" Type="http://schemas.openxmlformats.org/officeDocument/2006/relationships/slideLayout" Target="../slideLayouts/slideLayout217.xml"/><Relationship Id="rId34" Type="http://schemas.openxmlformats.org/officeDocument/2006/relationships/slideLayout" Target="../slideLayouts/slideLayout212.xml"/><Relationship Id="rId50" Type="http://schemas.openxmlformats.org/officeDocument/2006/relationships/slideLayout" Target="../slideLayouts/slideLayout228.xml"/><Relationship Id="rId55" Type="http://schemas.openxmlformats.org/officeDocument/2006/relationships/slideLayout" Target="../slideLayouts/slideLayout233.xml"/><Relationship Id="rId76" Type="http://schemas.openxmlformats.org/officeDocument/2006/relationships/slideLayout" Target="../slideLayouts/slideLayout254.xml"/><Relationship Id="rId7" Type="http://schemas.openxmlformats.org/officeDocument/2006/relationships/slideLayout" Target="../slideLayouts/slideLayout185.xml"/><Relationship Id="rId71" Type="http://schemas.openxmlformats.org/officeDocument/2006/relationships/slideLayout" Target="../slideLayouts/slideLayout249.xml"/><Relationship Id="rId2" Type="http://schemas.openxmlformats.org/officeDocument/2006/relationships/slideLayout" Target="../slideLayouts/slideLayout180.xml"/><Relationship Id="rId29" Type="http://schemas.openxmlformats.org/officeDocument/2006/relationships/slideLayout" Target="../slideLayouts/slideLayout207.xml"/><Relationship Id="rId24" Type="http://schemas.openxmlformats.org/officeDocument/2006/relationships/slideLayout" Target="../slideLayouts/slideLayout202.xml"/><Relationship Id="rId40" Type="http://schemas.openxmlformats.org/officeDocument/2006/relationships/slideLayout" Target="../slideLayouts/slideLayout218.xml"/><Relationship Id="rId45" Type="http://schemas.openxmlformats.org/officeDocument/2006/relationships/slideLayout" Target="../slideLayouts/slideLayout223.xml"/><Relationship Id="rId66" Type="http://schemas.openxmlformats.org/officeDocument/2006/relationships/slideLayout" Target="../slideLayouts/slideLayout24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theme" Target="../theme/theme7.xml"/><Relationship Id="rId3" Type="http://schemas.openxmlformats.org/officeDocument/2006/relationships/slideLayout" Target="../slideLayouts/slideLayout258.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10" Type="http://schemas.openxmlformats.org/officeDocument/2006/relationships/slideLayout" Target="../slideLayouts/slideLayout265.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oleObject" Target="../embeddings/oleObject6.bin"/><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tags" Target="../tags/tag8.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vmlDrawing" Target="../drawings/vmlDrawing6.vml"/><Relationship Id="rId40" Type="http://schemas.openxmlformats.org/officeDocument/2006/relationships/image" Target="../media/image6.emf"/><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theme" Target="../theme/theme9.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slideLayout" Target="../slideLayouts/slideLayout324.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slideLayout" Target="../slideLayouts/slideLayout328.xml"/><Relationship Id="rId8" Type="http://schemas.openxmlformats.org/officeDocument/2006/relationships/slideLayout" Target="../slideLayouts/slideLayout301.xml"/><Relationship Id="rId3" Type="http://schemas.openxmlformats.org/officeDocument/2006/relationships/slideLayout" Target="../slideLayouts/slideLayout29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01" y="6356355"/>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DA2A6A1-50E0-479E-92B6-032F0B7E68E3}" type="datetimeFigureOut">
              <a:rPr lang="ru-RU" smtClean="0"/>
              <a:t>28.11.2022</a:t>
            </a:fld>
            <a:endParaRPr lang="ru-RU" dirty="0"/>
          </a:p>
        </p:txBody>
      </p:sp>
      <p:sp>
        <p:nvSpPr>
          <p:cNvPr id="5" name="Нижний колонтитул 4"/>
          <p:cNvSpPr>
            <a:spLocks noGrp="1"/>
          </p:cNvSpPr>
          <p:nvPr>
            <p:ph type="ftr" sz="quarter" idx="3"/>
          </p:nvPr>
        </p:nvSpPr>
        <p:spPr>
          <a:xfrm>
            <a:off x="4038601" y="6356355"/>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8610601" y="635635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6FB98-9F83-426D-A87F-0083BEB04A1A}" type="slidenum">
              <a:rPr lang="ru-RU" smtClean="0"/>
              <a:t>‹#›</a:t>
            </a:fld>
            <a:endParaRPr lang="ru-RU" dirty="0"/>
          </a:p>
        </p:txBody>
      </p:sp>
    </p:spTree>
    <p:extLst>
      <p:ext uri="{BB962C8B-B14F-4D97-AF65-F5344CB8AC3E}">
        <p14:creationId xmlns:p14="http://schemas.microsoft.com/office/powerpoint/2010/main" val="13679067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6" indent="-228596" algn="l" defTabSz="914377" rtl="0" eaLnBrk="1" latinLnBrk="0" hangingPunct="1">
        <a:lnSpc>
          <a:spcPct val="90000"/>
        </a:lnSpc>
        <a:spcBef>
          <a:spcPts val="1001"/>
        </a:spcBef>
        <a:buFont typeface="Arial" panose="020B0604020202020204" pitchFamily="34" charset="0"/>
        <a:buChar char="•"/>
        <a:defRPr sz="2800" kern="1200">
          <a:solidFill>
            <a:schemeClr val="tx1"/>
          </a:solidFill>
          <a:latin typeface="+mn-lt"/>
          <a:ea typeface="+mn-ea"/>
          <a:cs typeface="+mn-cs"/>
        </a:defRPr>
      </a:lvl1pPr>
      <a:lvl2pPr marL="685786" indent="-228596"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3" indent="-228596"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1" indent="-228596"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4pPr>
      <a:lvl5pPr marL="2057350" indent="-228596"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5pPr>
      <a:lvl6pPr marL="2514537" indent="-228596"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726" indent="-228596"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8916" indent="-228596"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106" indent="-228596" algn="l" defTabSz="914377"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ru-RU"/>
      </a:defPPr>
      <a:lvl1pPr marL="0" algn="l" defTabSz="914377" rtl="0" eaLnBrk="1" latinLnBrk="0" hangingPunct="1">
        <a:defRPr sz="1801" kern="1200">
          <a:solidFill>
            <a:schemeClr val="tx1"/>
          </a:solidFill>
          <a:latin typeface="+mn-lt"/>
          <a:ea typeface="+mn-ea"/>
          <a:cs typeface="+mn-cs"/>
        </a:defRPr>
      </a:lvl1pPr>
      <a:lvl2pPr marL="457187" algn="l" defTabSz="914377" rtl="0" eaLnBrk="1" latinLnBrk="0" hangingPunct="1">
        <a:defRPr sz="1801" kern="1200">
          <a:solidFill>
            <a:schemeClr val="tx1"/>
          </a:solidFill>
          <a:latin typeface="+mn-lt"/>
          <a:ea typeface="+mn-ea"/>
          <a:cs typeface="+mn-cs"/>
        </a:defRPr>
      </a:lvl2pPr>
      <a:lvl3pPr marL="914377" algn="l" defTabSz="914377" rtl="0" eaLnBrk="1" latinLnBrk="0" hangingPunct="1">
        <a:defRPr sz="1801" kern="1200">
          <a:solidFill>
            <a:schemeClr val="tx1"/>
          </a:solidFill>
          <a:latin typeface="+mn-lt"/>
          <a:ea typeface="+mn-ea"/>
          <a:cs typeface="+mn-cs"/>
        </a:defRPr>
      </a:lvl3pPr>
      <a:lvl4pPr marL="1371566" algn="l" defTabSz="914377" rtl="0" eaLnBrk="1" latinLnBrk="0" hangingPunct="1">
        <a:defRPr sz="1801" kern="1200">
          <a:solidFill>
            <a:schemeClr val="tx1"/>
          </a:solidFill>
          <a:latin typeface="+mn-lt"/>
          <a:ea typeface="+mn-ea"/>
          <a:cs typeface="+mn-cs"/>
        </a:defRPr>
      </a:lvl4pPr>
      <a:lvl5pPr marL="1828756" algn="l" defTabSz="914377" rtl="0" eaLnBrk="1" latinLnBrk="0" hangingPunct="1">
        <a:defRPr sz="1801" kern="1200">
          <a:solidFill>
            <a:schemeClr val="tx1"/>
          </a:solidFill>
          <a:latin typeface="+mn-lt"/>
          <a:ea typeface="+mn-ea"/>
          <a:cs typeface="+mn-cs"/>
        </a:defRPr>
      </a:lvl5pPr>
      <a:lvl6pPr marL="2285943" algn="l" defTabSz="914377" rtl="0" eaLnBrk="1" latinLnBrk="0" hangingPunct="1">
        <a:defRPr sz="1801" kern="1200">
          <a:solidFill>
            <a:schemeClr val="tx1"/>
          </a:solidFill>
          <a:latin typeface="+mn-lt"/>
          <a:ea typeface="+mn-ea"/>
          <a:cs typeface="+mn-cs"/>
        </a:defRPr>
      </a:lvl6pPr>
      <a:lvl7pPr marL="2743133" algn="l" defTabSz="914377" rtl="0" eaLnBrk="1" latinLnBrk="0" hangingPunct="1">
        <a:defRPr sz="1801" kern="1200">
          <a:solidFill>
            <a:schemeClr val="tx1"/>
          </a:solidFill>
          <a:latin typeface="+mn-lt"/>
          <a:ea typeface="+mn-ea"/>
          <a:cs typeface="+mn-cs"/>
        </a:defRPr>
      </a:lvl7pPr>
      <a:lvl8pPr marL="3200320" algn="l" defTabSz="914377" rtl="0" eaLnBrk="1" latinLnBrk="0" hangingPunct="1">
        <a:defRPr sz="1801" kern="1200">
          <a:solidFill>
            <a:schemeClr val="tx1"/>
          </a:solidFill>
          <a:latin typeface="+mn-lt"/>
          <a:ea typeface="+mn-ea"/>
          <a:cs typeface="+mn-cs"/>
        </a:defRPr>
      </a:lvl8pPr>
      <a:lvl9pPr marL="3657507" algn="l" defTabSz="914377"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Рисунок 2">
            <a:extLst>
              <a:ext uri="{FF2B5EF4-FFF2-40B4-BE49-F238E27FC236}">
                <a16:creationId xmlns:a16="http://schemas.microsoft.com/office/drawing/2014/main" id="{BF5F927C-F5E1-4C2E-8ED6-C1A08D4A84A8}"/>
              </a:ext>
            </a:extLst>
          </p:cNvPr>
          <p:cNvGrpSpPr/>
          <p:nvPr/>
        </p:nvGrpSpPr>
        <p:grpSpPr>
          <a:xfrm>
            <a:off x="10223337" y="6227346"/>
            <a:ext cx="1551376" cy="395231"/>
            <a:chOff x="11597098" y="7057657"/>
            <a:chExt cx="1759842" cy="447927"/>
          </a:xfrm>
        </p:grpSpPr>
        <p:grpSp>
          <p:nvGrpSpPr>
            <p:cNvPr id="4" name="Рисунок 2">
              <a:extLst>
                <a:ext uri="{FF2B5EF4-FFF2-40B4-BE49-F238E27FC236}">
                  <a16:creationId xmlns:a16="http://schemas.microsoft.com/office/drawing/2014/main" id="{BF5F927C-F5E1-4C2E-8ED6-C1A08D4A84A8}"/>
                </a:ext>
              </a:extLst>
            </p:cNvPr>
            <p:cNvGrpSpPr/>
            <p:nvPr/>
          </p:nvGrpSpPr>
          <p:grpSpPr>
            <a:xfrm>
              <a:off x="11917650" y="7266670"/>
              <a:ext cx="1439289" cy="186690"/>
              <a:chOff x="11917650" y="7266670"/>
              <a:chExt cx="1439289" cy="186690"/>
            </a:xfrm>
            <a:solidFill>
              <a:srgbClr val="101828"/>
            </a:solidFill>
          </p:grpSpPr>
          <p:sp>
            <p:nvSpPr>
              <p:cNvPr id="5" name="Полилиния: фигура 4">
                <a:extLst>
                  <a:ext uri="{FF2B5EF4-FFF2-40B4-BE49-F238E27FC236}">
                    <a16:creationId xmlns:a16="http://schemas.microsoft.com/office/drawing/2014/main" id="{952BE9ED-AD84-49BD-9763-642681C3C071}"/>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solidFill>
                <a:srgbClr val="101828"/>
              </a:solidFill>
              <a:ln w="5901" cap="flat">
                <a:noFill/>
                <a:prstDash val="solid"/>
                <a:miter/>
              </a:ln>
            </p:spPr>
            <p:txBody>
              <a:bodyPr rtlCol="0" anchor="ctr"/>
              <a:lstStyle/>
              <a:p>
                <a:endParaRPr lang="ru-RU" sz="1587" dirty="0"/>
              </a:p>
            </p:txBody>
          </p:sp>
          <p:sp>
            <p:nvSpPr>
              <p:cNvPr id="6" name="Полилиния: фигура 5">
                <a:extLst>
                  <a:ext uri="{FF2B5EF4-FFF2-40B4-BE49-F238E27FC236}">
                    <a16:creationId xmlns:a16="http://schemas.microsoft.com/office/drawing/2014/main" id="{3EDCCA92-6F5E-4B30-9CFA-67DF94CB95DB}"/>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solidFill>
                <a:srgbClr val="101828"/>
              </a:solidFill>
              <a:ln w="5901" cap="flat">
                <a:noFill/>
                <a:prstDash val="solid"/>
                <a:miter/>
              </a:ln>
            </p:spPr>
            <p:txBody>
              <a:bodyPr rtlCol="0" anchor="ctr"/>
              <a:lstStyle/>
              <a:p>
                <a:endParaRPr lang="ru-RU" sz="1587" dirty="0"/>
              </a:p>
            </p:txBody>
          </p:sp>
          <p:sp>
            <p:nvSpPr>
              <p:cNvPr id="7" name="Полилиния: фигура 6">
                <a:extLst>
                  <a:ext uri="{FF2B5EF4-FFF2-40B4-BE49-F238E27FC236}">
                    <a16:creationId xmlns:a16="http://schemas.microsoft.com/office/drawing/2014/main" id="{0C54FA16-752C-4003-8449-0D8FA017A6FA}"/>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solidFill>
                <a:srgbClr val="101828"/>
              </a:solidFill>
              <a:ln w="5901" cap="flat">
                <a:noFill/>
                <a:prstDash val="solid"/>
                <a:miter/>
              </a:ln>
            </p:spPr>
            <p:txBody>
              <a:bodyPr rtlCol="0" anchor="ctr"/>
              <a:lstStyle/>
              <a:p>
                <a:endParaRPr lang="ru-RU" sz="1587" dirty="0"/>
              </a:p>
            </p:txBody>
          </p:sp>
          <p:sp>
            <p:nvSpPr>
              <p:cNvPr id="8" name="Полилиния: фигура 7">
                <a:extLst>
                  <a:ext uri="{FF2B5EF4-FFF2-40B4-BE49-F238E27FC236}">
                    <a16:creationId xmlns:a16="http://schemas.microsoft.com/office/drawing/2014/main" id="{06AA6842-15AB-427C-9904-9E34C7D30990}"/>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solidFill>
                <a:srgbClr val="101828"/>
              </a:solidFill>
              <a:ln w="5901" cap="flat">
                <a:noFill/>
                <a:prstDash val="solid"/>
                <a:miter/>
              </a:ln>
            </p:spPr>
            <p:txBody>
              <a:bodyPr rtlCol="0" anchor="ctr"/>
              <a:lstStyle/>
              <a:p>
                <a:endParaRPr lang="ru-RU" sz="1587" dirty="0"/>
              </a:p>
            </p:txBody>
          </p:sp>
          <p:sp>
            <p:nvSpPr>
              <p:cNvPr id="9" name="Полилиния: фигура 8">
                <a:extLst>
                  <a:ext uri="{FF2B5EF4-FFF2-40B4-BE49-F238E27FC236}">
                    <a16:creationId xmlns:a16="http://schemas.microsoft.com/office/drawing/2014/main" id="{AF28F6E9-67BF-4EF0-B041-BAA9988DA30B}"/>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solidFill>
                <a:srgbClr val="101828"/>
              </a:solidFill>
              <a:ln w="5901" cap="flat">
                <a:noFill/>
                <a:prstDash val="solid"/>
                <a:miter/>
              </a:ln>
            </p:spPr>
            <p:txBody>
              <a:bodyPr rtlCol="0" anchor="ctr"/>
              <a:lstStyle/>
              <a:p>
                <a:endParaRPr lang="ru-RU" sz="1587" dirty="0"/>
              </a:p>
            </p:txBody>
          </p:sp>
          <p:sp>
            <p:nvSpPr>
              <p:cNvPr id="10" name="Полилиния: фигура 9">
                <a:extLst>
                  <a:ext uri="{FF2B5EF4-FFF2-40B4-BE49-F238E27FC236}">
                    <a16:creationId xmlns:a16="http://schemas.microsoft.com/office/drawing/2014/main" id="{CC925E57-F380-4093-BF93-2781EBCA12C1}"/>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solidFill>
                <a:srgbClr val="101828"/>
              </a:solidFill>
              <a:ln w="5901" cap="flat">
                <a:noFill/>
                <a:prstDash val="solid"/>
                <a:miter/>
              </a:ln>
            </p:spPr>
            <p:txBody>
              <a:bodyPr rtlCol="0" anchor="ctr"/>
              <a:lstStyle/>
              <a:p>
                <a:endParaRPr lang="ru-RU" sz="1587" dirty="0"/>
              </a:p>
            </p:txBody>
          </p:sp>
          <p:sp>
            <p:nvSpPr>
              <p:cNvPr id="11" name="Полилиния: фигура 10">
                <a:extLst>
                  <a:ext uri="{FF2B5EF4-FFF2-40B4-BE49-F238E27FC236}">
                    <a16:creationId xmlns:a16="http://schemas.microsoft.com/office/drawing/2014/main" id="{D5A712B5-20C6-493C-8CC1-B647E1517862}"/>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solidFill>
                <a:srgbClr val="101828"/>
              </a:solidFill>
              <a:ln w="5901" cap="flat">
                <a:noFill/>
                <a:prstDash val="solid"/>
                <a:miter/>
              </a:ln>
            </p:spPr>
            <p:txBody>
              <a:bodyPr rtlCol="0" anchor="ctr"/>
              <a:lstStyle/>
              <a:p>
                <a:endParaRPr lang="ru-RU" sz="1587" dirty="0"/>
              </a:p>
            </p:txBody>
          </p:sp>
          <p:sp>
            <p:nvSpPr>
              <p:cNvPr id="12" name="Полилиния: фигура 11">
                <a:extLst>
                  <a:ext uri="{FF2B5EF4-FFF2-40B4-BE49-F238E27FC236}">
                    <a16:creationId xmlns:a16="http://schemas.microsoft.com/office/drawing/2014/main" id="{52AB0E86-CD32-4EB1-B6F6-74F53225142C}"/>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solidFill>
                <a:srgbClr val="101828"/>
              </a:solidFill>
              <a:ln w="5901" cap="flat">
                <a:noFill/>
                <a:prstDash val="solid"/>
                <a:miter/>
              </a:ln>
            </p:spPr>
            <p:txBody>
              <a:bodyPr rtlCol="0" anchor="ctr"/>
              <a:lstStyle/>
              <a:p>
                <a:endParaRPr lang="ru-RU" sz="1587" dirty="0"/>
              </a:p>
            </p:txBody>
          </p:sp>
          <p:sp>
            <p:nvSpPr>
              <p:cNvPr id="13" name="Полилиния: фигура 12">
                <a:extLst>
                  <a:ext uri="{FF2B5EF4-FFF2-40B4-BE49-F238E27FC236}">
                    <a16:creationId xmlns:a16="http://schemas.microsoft.com/office/drawing/2014/main" id="{DFF04EBA-2BDE-45E6-8DB6-40B3577BED32}"/>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solidFill>
                <a:srgbClr val="101828"/>
              </a:solidFill>
              <a:ln w="5901" cap="flat">
                <a:noFill/>
                <a:prstDash val="solid"/>
                <a:miter/>
              </a:ln>
            </p:spPr>
            <p:txBody>
              <a:bodyPr rtlCol="0" anchor="ctr"/>
              <a:lstStyle/>
              <a:p>
                <a:endParaRPr lang="ru-RU" sz="1587" dirty="0"/>
              </a:p>
            </p:txBody>
          </p:sp>
          <p:sp>
            <p:nvSpPr>
              <p:cNvPr id="14" name="Полилиния: фигура 13">
                <a:extLst>
                  <a:ext uri="{FF2B5EF4-FFF2-40B4-BE49-F238E27FC236}">
                    <a16:creationId xmlns:a16="http://schemas.microsoft.com/office/drawing/2014/main" id="{A45753D4-941F-4A3E-9737-7A26AD04DF29}"/>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solidFill>
                <a:srgbClr val="101828"/>
              </a:solidFill>
              <a:ln w="5901" cap="flat">
                <a:noFill/>
                <a:prstDash val="solid"/>
                <a:miter/>
              </a:ln>
            </p:spPr>
            <p:txBody>
              <a:bodyPr rtlCol="0" anchor="ctr"/>
              <a:lstStyle/>
              <a:p>
                <a:endParaRPr lang="ru-RU" sz="1587" dirty="0"/>
              </a:p>
            </p:txBody>
          </p:sp>
        </p:grpSp>
        <p:grpSp>
          <p:nvGrpSpPr>
            <p:cNvPr id="15" name="Рисунок 2">
              <a:extLst>
                <a:ext uri="{FF2B5EF4-FFF2-40B4-BE49-F238E27FC236}">
                  <a16:creationId xmlns:a16="http://schemas.microsoft.com/office/drawing/2014/main" id="{BF5F927C-F5E1-4C2E-8ED6-C1A08D4A84A8}"/>
                </a:ext>
              </a:extLst>
            </p:cNvPr>
            <p:cNvGrpSpPr/>
            <p:nvPr/>
          </p:nvGrpSpPr>
          <p:grpSpPr>
            <a:xfrm>
              <a:off x="11597098" y="7057657"/>
              <a:ext cx="269927" cy="447927"/>
              <a:chOff x="11597098" y="7057657"/>
              <a:chExt cx="269927" cy="447927"/>
            </a:xfrm>
          </p:grpSpPr>
          <p:sp>
            <p:nvSpPr>
              <p:cNvPr id="16" name="Полилиния: фигура 15">
                <a:extLst>
                  <a:ext uri="{FF2B5EF4-FFF2-40B4-BE49-F238E27FC236}">
                    <a16:creationId xmlns:a16="http://schemas.microsoft.com/office/drawing/2014/main" id="{BE466691-8CF6-4CE8-9588-CD7D8BC373A7}"/>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endParaRPr lang="ru-RU" sz="1587" dirty="0"/>
              </a:p>
            </p:txBody>
          </p:sp>
          <p:sp>
            <p:nvSpPr>
              <p:cNvPr id="17" name="Полилиния: фигура 16">
                <a:extLst>
                  <a:ext uri="{FF2B5EF4-FFF2-40B4-BE49-F238E27FC236}">
                    <a16:creationId xmlns:a16="http://schemas.microsoft.com/office/drawing/2014/main" id="{09DD932A-A070-4D5C-BE39-BE35BC44011F}"/>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7700FF"/>
              </a:solidFill>
              <a:ln w="5901" cap="flat">
                <a:noFill/>
                <a:prstDash val="solid"/>
                <a:miter/>
              </a:ln>
            </p:spPr>
            <p:txBody>
              <a:bodyPr rtlCol="0" anchor="ctr"/>
              <a:lstStyle/>
              <a:p>
                <a:endParaRPr lang="ru-RU" sz="1587" dirty="0"/>
              </a:p>
            </p:txBody>
          </p:sp>
        </p:grpSp>
      </p:grpSp>
    </p:spTree>
    <p:extLst>
      <p:ext uri="{BB962C8B-B14F-4D97-AF65-F5344CB8AC3E}">
        <p14:creationId xmlns:p14="http://schemas.microsoft.com/office/powerpoint/2010/main" val="27484993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Lst>
  <p:txStyles>
    <p:titleStyle>
      <a:lvl1pPr algn="l" defTabSz="80602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24" rtl="0" eaLnBrk="1" latinLnBrk="0" hangingPunct="1">
        <a:lnSpc>
          <a:spcPct val="90000"/>
        </a:lnSpc>
        <a:spcBef>
          <a:spcPts val="883"/>
        </a:spcBef>
        <a:buFont typeface="Rostelecom Basis" panose="020B0604020202020204" pitchFamily="34" charset="0"/>
        <a:buNone/>
        <a:defRPr sz="1235" b="1" kern="1200">
          <a:solidFill>
            <a:schemeClr val="tx1"/>
          </a:solidFill>
          <a:latin typeface="Rostelecom Basis Medium" panose="020B0603030604040103" pitchFamily="34" charset="0"/>
          <a:ea typeface="+mn-ea"/>
          <a:cs typeface="+mn-cs"/>
        </a:defRPr>
      </a:lvl1pPr>
      <a:lvl2pPr marL="604518" indent="-201506" algn="l" defTabSz="80602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29" indent="-201506" algn="l" defTabSz="80602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39"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52"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566"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576"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588"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00"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24" rtl="0" eaLnBrk="1" latinLnBrk="0" hangingPunct="1">
        <a:defRPr sz="1587" kern="1200">
          <a:solidFill>
            <a:schemeClr val="tx1"/>
          </a:solidFill>
          <a:latin typeface="+mn-lt"/>
          <a:ea typeface="+mn-ea"/>
          <a:cs typeface="+mn-cs"/>
        </a:defRPr>
      </a:lvl1pPr>
      <a:lvl2pPr marL="403013" algn="l" defTabSz="806024" rtl="0" eaLnBrk="1" latinLnBrk="0" hangingPunct="1">
        <a:defRPr sz="1587" kern="1200">
          <a:solidFill>
            <a:schemeClr val="tx1"/>
          </a:solidFill>
          <a:latin typeface="+mn-lt"/>
          <a:ea typeface="+mn-ea"/>
          <a:cs typeface="+mn-cs"/>
        </a:defRPr>
      </a:lvl2pPr>
      <a:lvl3pPr marL="806024" algn="l" defTabSz="806024" rtl="0" eaLnBrk="1" latinLnBrk="0" hangingPunct="1">
        <a:defRPr sz="1587" kern="1200">
          <a:solidFill>
            <a:schemeClr val="tx1"/>
          </a:solidFill>
          <a:latin typeface="+mn-lt"/>
          <a:ea typeface="+mn-ea"/>
          <a:cs typeface="+mn-cs"/>
        </a:defRPr>
      </a:lvl3pPr>
      <a:lvl4pPr marL="1209034" algn="l" defTabSz="806024" rtl="0" eaLnBrk="1" latinLnBrk="0" hangingPunct="1">
        <a:defRPr sz="1587" kern="1200">
          <a:solidFill>
            <a:schemeClr val="tx1"/>
          </a:solidFill>
          <a:latin typeface="+mn-lt"/>
          <a:ea typeface="+mn-ea"/>
          <a:cs typeface="+mn-cs"/>
        </a:defRPr>
      </a:lvl4pPr>
      <a:lvl5pPr marL="1612048" algn="l" defTabSz="806024" rtl="0" eaLnBrk="1" latinLnBrk="0" hangingPunct="1">
        <a:defRPr sz="1587" kern="1200">
          <a:solidFill>
            <a:schemeClr val="tx1"/>
          </a:solidFill>
          <a:latin typeface="+mn-lt"/>
          <a:ea typeface="+mn-ea"/>
          <a:cs typeface="+mn-cs"/>
        </a:defRPr>
      </a:lvl5pPr>
      <a:lvl6pPr marL="2015058" algn="l" defTabSz="806024" rtl="0" eaLnBrk="1" latinLnBrk="0" hangingPunct="1">
        <a:defRPr sz="1587" kern="1200">
          <a:solidFill>
            <a:schemeClr val="tx1"/>
          </a:solidFill>
          <a:latin typeface="+mn-lt"/>
          <a:ea typeface="+mn-ea"/>
          <a:cs typeface="+mn-cs"/>
        </a:defRPr>
      </a:lvl6pPr>
      <a:lvl7pPr marL="2418070" algn="l" defTabSz="806024" rtl="0" eaLnBrk="1" latinLnBrk="0" hangingPunct="1">
        <a:defRPr sz="1587" kern="1200">
          <a:solidFill>
            <a:schemeClr val="tx1"/>
          </a:solidFill>
          <a:latin typeface="+mn-lt"/>
          <a:ea typeface="+mn-ea"/>
          <a:cs typeface="+mn-cs"/>
        </a:defRPr>
      </a:lvl7pPr>
      <a:lvl8pPr marL="2821083" algn="l" defTabSz="806024" rtl="0" eaLnBrk="1" latinLnBrk="0" hangingPunct="1">
        <a:defRPr sz="1587" kern="1200">
          <a:solidFill>
            <a:schemeClr val="tx1"/>
          </a:solidFill>
          <a:latin typeface="+mn-lt"/>
          <a:ea typeface="+mn-ea"/>
          <a:cs typeface="+mn-cs"/>
        </a:defRPr>
      </a:lvl8pPr>
      <a:lvl9pPr marL="3224094" algn="l" defTabSz="806024" rtl="0" eaLnBrk="1" latinLnBrk="0" hangingPunct="1">
        <a:defRPr sz="158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9" userDrawn="1">
          <p15:clr>
            <a:srgbClr val="F26B43"/>
          </p15:clr>
        </p15:guide>
        <p15:guide id="2" pos="3747" userDrawn="1">
          <p15:clr>
            <a:srgbClr val="F26B43"/>
          </p15:clr>
        </p15:guide>
        <p15:guide id="3" pos="4271" userDrawn="1">
          <p15:clr>
            <a:srgbClr val="F26B43"/>
          </p15:clr>
        </p15:guide>
        <p15:guide id="4" pos="4435" userDrawn="1">
          <p15:clr>
            <a:srgbClr val="F26B43"/>
          </p15:clr>
        </p15:guide>
        <p15:guide id="5" pos="1515" userDrawn="1">
          <p15:clr>
            <a:srgbClr val="F26B43"/>
          </p15:clr>
        </p15:guide>
        <p15:guide id="6" pos="5127" userDrawn="1">
          <p15:clr>
            <a:srgbClr val="F26B43"/>
          </p15:clr>
        </p15:guide>
        <p15:guide id="7" pos="4961" userDrawn="1">
          <p15:clr>
            <a:srgbClr val="F26B43"/>
          </p15:clr>
        </p15:guide>
        <p15:guide id="8" pos="5651" userDrawn="1">
          <p15:clr>
            <a:srgbClr val="F26B43"/>
          </p15:clr>
        </p15:guide>
        <p15:guide id="9" pos="2895" userDrawn="1">
          <p15:clr>
            <a:srgbClr val="F26B43"/>
          </p15:clr>
        </p15:guide>
        <p15:guide id="11" pos="3585" userDrawn="1">
          <p15:clr>
            <a:srgbClr val="F26B43"/>
          </p15:clr>
        </p15:guide>
        <p15:guide id="12" pos="2207" userDrawn="1">
          <p15:clr>
            <a:srgbClr val="F26B43"/>
          </p15:clr>
        </p15:guide>
        <p15:guide id="13" pos="2371" userDrawn="1">
          <p15:clr>
            <a:srgbClr val="F26B43"/>
          </p15:clr>
        </p15:guide>
        <p15:guide id="14" pos="1680" userDrawn="1">
          <p15:clr>
            <a:srgbClr val="F26B43"/>
          </p15:clr>
        </p15:guide>
        <p15:guide id="15" pos="3056" userDrawn="1">
          <p15:clr>
            <a:srgbClr val="F26B43"/>
          </p15:clr>
        </p15:guide>
        <p15:guide id="16" pos="6343" userDrawn="1">
          <p15:clr>
            <a:srgbClr val="F26B43"/>
          </p15:clr>
        </p15:guide>
        <p15:guide id="17" pos="5815" userDrawn="1">
          <p15:clr>
            <a:srgbClr val="F26B43"/>
          </p15:clr>
        </p15:guide>
        <p15:guide id="18" pos="6507" userDrawn="1">
          <p15:clr>
            <a:srgbClr val="F26B43"/>
          </p15:clr>
        </p15:guide>
        <p15:guide id="19" pos="7721" userDrawn="1">
          <p15:clr>
            <a:srgbClr val="F26B43"/>
          </p15:clr>
        </p15:guide>
        <p15:guide id="20" pos="7033" userDrawn="1">
          <p15:clr>
            <a:srgbClr val="F26B43"/>
          </p15:clr>
        </p15:guide>
        <p15:guide id="21" pos="7195" userDrawn="1">
          <p15:clr>
            <a:srgbClr val="F26B43"/>
          </p15:clr>
        </p15:guide>
        <p15:guide id="22" pos="8415" userDrawn="1">
          <p15:clr>
            <a:srgbClr val="F26B43"/>
          </p15:clr>
        </p15:guide>
        <p15:guide id="24" pos="7887" userDrawn="1">
          <p15:clr>
            <a:srgbClr val="F26B43"/>
          </p15:clr>
        </p15:guide>
        <p15:guide id="25" pos="991" userDrawn="1">
          <p15:clr>
            <a:srgbClr val="F26B43"/>
          </p15:clr>
        </p15:guide>
        <p15:guide id="26" pos="827" userDrawn="1">
          <p15:clr>
            <a:srgbClr val="F26B43"/>
          </p15:clr>
        </p15:guide>
        <p15:guide id="27" orient="horz" pos="299" userDrawn="1">
          <p15:clr>
            <a:srgbClr val="F26B43"/>
          </p15:clr>
        </p15:guide>
        <p15:guide id="28" orient="horz" pos="679" userDrawn="1">
          <p15:clr>
            <a:srgbClr val="F26B43"/>
          </p15:clr>
        </p15:guide>
        <p15:guide id="29" orient="horz" pos="833" userDrawn="1">
          <p15:clr>
            <a:srgbClr val="F26B43"/>
          </p15:clr>
        </p15:guide>
        <p15:guide id="30" orient="horz" pos="1213" userDrawn="1">
          <p15:clr>
            <a:srgbClr val="F26B43"/>
          </p15:clr>
        </p15:guide>
        <p15:guide id="31" orient="horz" pos="1368" userDrawn="1">
          <p15:clr>
            <a:srgbClr val="F26B43"/>
          </p15:clr>
        </p15:guide>
        <p15:guide id="32" orient="horz" pos="1744" userDrawn="1">
          <p15:clr>
            <a:srgbClr val="F26B43"/>
          </p15:clr>
        </p15:guide>
        <p15:guide id="33" orient="horz" pos="1899" userDrawn="1">
          <p15:clr>
            <a:srgbClr val="F26B43"/>
          </p15:clr>
        </p15:guide>
        <p15:guide id="34" orient="horz" pos="2277" userDrawn="1">
          <p15:clr>
            <a:srgbClr val="F26B43"/>
          </p15:clr>
        </p15:guide>
        <p15:guide id="35" orient="horz" pos="2433" userDrawn="1">
          <p15:clr>
            <a:srgbClr val="F26B43"/>
          </p15:clr>
        </p15:guide>
        <p15:guide id="36" orient="horz" pos="4032" userDrawn="1">
          <p15:clr>
            <a:srgbClr val="F26B43"/>
          </p15:clr>
        </p15:guide>
        <p15:guide id="37" orient="horz" pos="2963" userDrawn="1">
          <p15:clr>
            <a:srgbClr val="F26B43"/>
          </p15:clr>
        </p15:guide>
        <p15:guide id="38" orient="horz" pos="4407" userDrawn="1">
          <p15:clr>
            <a:srgbClr val="F26B43"/>
          </p15:clr>
        </p15:guide>
        <p15:guide id="39" orient="horz" pos="3875" userDrawn="1">
          <p15:clr>
            <a:srgbClr val="F26B43"/>
          </p15:clr>
        </p15:guide>
        <p15:guide id="40" orient="horz" pos="2808" userDrawn="1">
          <p15:clr>
            <a:srgbClr val="F26B43"/>
          </p15:clr>
        </p15:guide>
        <p15:guide id="41" orient="horz" pos="3499" userDrawn="1">
          <p15:clr>
            <a:srgbClr val="F26B43"/>
          </p15:clr>
        </p15:guide>
        <p15:guide id="42" orient="horz" pos="3341" userDrawn="1">
          <p15:clr>
            <a:srgbClr val="F26B43"/>
          </p15:clr>
        </p15:guide>
        <p15:guide id="43" orient="horz" pos="465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275798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Lst>
  <p:txStyles>
    <p:titleStyle>
      <a:lvl1pPr algn="l" defTabSz="80602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24" rtl="0" eaLnBrk="1" latinLnBrk="0" hangingPunct="1">
        <a:lnSpc>
          <a:spcPct val="90000"/>
        </a:lnSpc>
        <a:spcBef>
          <a:spcPts val="883"/>
        </a:spcBef>
        <a:buFont typeface="Arial" panose="020B0604020202020204" pitchFamily="34" charset="0"/>
        <a:buNone/>
        <a:defRPr sz="1235" b="1" kern="1200">
          <a:solidFill>
            <a:schemeClr val="tx1"/>
          </a:solidFill>
          <a:latin typeface="Rostelecom Basis Medium" panose="020B0603030604040103" pitchFamily="34" charset="0"/>
          <a:ea typeface="+mn-ea"/>
          <a:cs typeface="+mn-cs"/>
        </a:defRPr>
      </a:lvl1pPr>
      <a:lvl2pPr marL="604518" indent="-201506" algn="l" defTabSz="806024" rtl="0" eaLnBrk="1" latinLnBrk="0" hangingPunct="1">
        <a:lnSpc>
          <a:spcPct val="90000"/>
        </a:lnSpc>
        <a:spcBef>
          <a:spcPts val="441"/>
        </a:spcBef>
        <a:buFont typeface="Arial" panose="020B0604020202020204" pitchFamily="34" charset="0"/>
        <a:buChar char="•"/>
        <a:defRPr sz="2116" kern="1200">
          <a:solidFill>
            <a:schemeClr val="tx1"/>
          </a:solidFill>
          <a:latin typeface="+mn-lt"/>
          <a:ea typeface="+mn-ea"/>
          <a:cs typeface="+mn-cs"/>
        </a:defRPr>
      </a:lvl2pPr>
      <a:lvl3pPr marL="1007529" indent="-201506" algn="l" defTabSz="806024" rtl="0" eaLnBrk="1" latinLnBrk="0" hangingPunct="1">
        <a:lnSpc>
          <a:spcPct val="90000"/>
        </a:lnSpc>
        <a:spcBef>
          <a:spcPts val="441"/>
        </a:spcBef>
        <a:buFont typeface="Arial" panose="020B0604020202020204" pitchFamily="34" charset="0"/>
        <a:buChar char="•"/>
        <a:defRPr sz="1763" kern="1200">
          <a:solidFill>
            <a:schemeClr val="tx1"/>
          </a:solidFill>
          <a:latin typeface="+mn-lt"/>
          <a:ea typeface="+mn-ea"/>
          <a:cs typeface="+mn-cs"/>
        </a:defRPr>
      </a:lvl3pPr>
      <a:lvl4pPr marL="1410539" indent="-201506" algn="l" defTabSz="80602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4pPr>
      <a:lvl5pPr marL="1813552" indent="-201506" algn="l" defTabSz="80602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5pPr>
      <a:lvl6pPr marL="2216566" indent="-201506" algn="l" defTabSz="80602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6pPr>
      <a:lvl7pPr marL="2619576" indent="-201506" algn="l" defTabSz="80602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7pPr>
      <a:lvl8pPr marL="3022588" indent="-201506" algn="l" defTabSz="80602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8pPr>
      <a:lvl9pPr marL="3425600" indent="-201506" algn="l" defTabSz="806024" rtl="0" eaLnBrk="1" latinLnBrk="0" hangingPunct="1">
        <a:lnSpc>
          <a:spcPct val="90000"/>
        </a:lnSpc>
        <a:spcBef>
          <a:spcPts val="441"/>
        </a:spcBef>
        <a:buFont typeface="Arial"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24" rtl="0" eaLnBrk="1" latinLnBrk="0" hangingPunct="1">
        <a:defRPr sz="1587" kern="1200">
          <a:solidFill>
            <a:schemeClr val="tx1"/>
          </a:solidFill>
          <a:latin typeface="+mn-lt"/>
          <a:ea typeface="+mn-ea"/>
          <a:cs typeface="+mn-cs"/>
        </a:defRPr>
      </a:lvl1pPr>
      <a:lvl2pPr marL="403013" algn="l" defTabSz="806024" rtl="0" eaLnBrk="1" latinLnBrk="0" hangingPunct="1">
        <a:defRPr sz="1587" kern="1200">
          <a:solidFill>
            <a:schemeClr val="tx1"/>
          </a:solidFill>
          <a:latin typeface="+mn-lt"/>
          <a:ea typeface="+mn-ea"/>
          <a:cs typeface="+mn-cs"/>
        </a:defRPr>
      </a:lvl2pPr>
      <a:lvl3pPr marL="806024" algn="l" defTabSz="806024" rtl="0" eaLnBrk="1" latinLnBrk="0" hangingPunct="1">
        <a:defRPr sz="1587" kern="1200">
          <a:solidFill>
            <a:schemeClr val="tx1"/>
          </a:solidFill>
          <a:latin typeface="+mn-lt"/>
          <a:ea typeface="+mn-ea"/>
          <a:cs typeface="+mn-cs"/>
        </a:defRPr>
      </a:lvl3pPr>
      <a:lvl4pPr marL="1209034" algn="l" defTabSz="806024" rtl="0" eaLnBrk="1" latinLnBrk="0" hangingPunct="1">
        <a:defRPr sz="1587" kern="1200">
          <a:solidFill>
            <a:schemeClr val="tx1"/>
          </a:solidFill>
          <a:latin typeface="+mn-lt"/>
          <a:ea typeface="+mn-ea"/>
          <a:cs typeface="+mn-cs"/>
        </a:defRPr>
      </a:lvl4pPr>
      <a:lvl5pPr marL="1612048" algn="l" defTabSz="806024" rtl="0" eaLnBrk="1" latinLnBrk="0" hangingPunct="1">
        <a:defRPr sz="1587" kern="1200">
          <a:solidFill>
            <a:schemeClr val="tx1"/>
          </a:solidFill>
          <a:latin typeface="+mn-lt"/>
          <a:ea typeface="+mn-ea"/>
          <a:cs typeface="+mn-cs"/>
        </a:defRPr>
      </a:lvl5pPr>
      <a:lvl6pPr marL="2015058" algn="l" defTabSz="806024" rtl="0" eaLnBrk="1" latinLnBrk="0" hangingPunct="1">
        <a:defRPr sz="1587" kern="1200">
          <a:solidFill>
            <a:schemeClr val="tx1"/>
          </a:solidFill>
          <a:latin typeface="+mn-lt"/>
          <a:ea typeface="+mn-ea"/>
          <a:cs typeface="+mn-cs"/>
        </a:defRPr>
      </a:lvl6pPr>
      <a:lvl7pPr marL="2418070" algn="l" defTabSz="806024" rtl="0" eaLnBrk="1" latinLnBrk="0" hangingPunct="1">
        <a:defRPr sz="1587" kern="1200">
          <a:solidFill>
            <a:schemeClr val="tx1"/>
          </a:solidFill>
          <a:latin typeface="+mn-lt"/>
          <a:ea typeface="+mn-ea"/>
          <a:cs typeface="+mn-cs"/>
        </a:defRPr>
      </a:lvl7pPr>
      <a:lvl8pPr marL="2821083" algn="l" defTabSz="806024" rtl="0" eaLnBrk="1" latinLnBrk="0" hangingPunct="1">
        <a:defRPr sz="1587" kern="1200">
          <a:solidFill>
            <a:schemeClr val="tx1"/>
          </a:solidFill>
          <a:latin typeface="+mn-lt"/>
          <a:ea typeface="+mn-ea"/>
          <a:cs typeface="+mn-cs"/>
        </a:defRPr>
      </a:lvl8pPr>
      <a:lvl9pPr marL="3224094" algn="l" defTabSz="806024" rtl="0" eaLnBrk="1" latinLnBrk="0" hangingPunct="1">
        <a:defRPr sz="158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9" userDrawn="1">
          <p15:clr>
            <a:srgbClr val="F26B43"/>
          </p15:clr>
        </p15:guide>
        <p15:guide id="2" pos="3747" userDrawn="1">
          <p15:clr>
            <a:srgbClr val="F26B43"/>
          </p15:clr>
        </p15:guide>
        <p15:guide id="3" pos="4271" userDrawn="1">
          <p15:clr>
            <a:srgbClr val="F26B43"/>
          </p15:clr>
        </p15:guide>
        <p15:guide id="4" pos="4435" userDrawn="1">
          <p15:clr>
            <a:srgbClr val="F26B43"/>
          </p15:clr>
        </p15:guide>
        <p15:guide id="5" pos="1515" userDrawn="1">
          <p15:clr>
            <a:srgbClr val="F26B43"/>
          </p15:clr>
        </p15:guide>
        <p15:guide id="6" pos="5127" userDrawn="1">
          <p15:clr>
            <a:srgbClr val="F26B43"/>
          </p15:clr>
        </p15:guide>
        <p15:guide id="7" pos="4961" userDrawn="1">
          <p15:clr>
            <a:srgbClr val="F26B43"/>
          </p15:clr>
        </p15:guide>
        <p15:guide id="8" pos="5651" userDrawn="1">
          <p15:clr>
            <a:srgbClr val="F26B43"/>
          </p15:clr>
        </p15:guide>
        <p15:guide id="9" pos="2895" userDrawn="1">
          <p15:clr>
            <a:srgbClr val="F26B43"/>
          </p15:clr>
        </p15:guide>
        <p15:guide id="11" pos="3585" userDrawn="1">
          <p15:clr>
            <a:srgbClr val="F26B43"/>
          </p15:clr>
        </p15:guide>
        <p15:guide id="12" pos="2207" userDrawn="1">
          <p15:clr>
            <a:srgbClr val="F26B43"/>
          </p15:clr>
        </p15:guide>
        <p15:guide id="13" pos="2371" userDrawn="1">
          <p15:clr>
            <a:srgbClr val="F26B43"/>
          </p15:clr>
        </p15:guide>
        <p15:guide id="14" pos="1680" userDrawn="1">
          <p15:clr>
            <a:srgbClr val="F26B43"/>
          </p15:clr>
        </p15:guide>
        <p15:guide id="15" pos="3056" userDrawn="1">
          <p15:clr>
            <a:srgbClr val="F26B43"/>
          </p15:clr>
        </p15:guide>
        <p15:guide id="16" pos="6343" userDrawn="1">
          <p15:clr>
            <a:srgbClr val="F26B43"/>
          </p15:clr>
        </p15:guide>
        <p15:guide id="17" pos="5815" userDrawn="1">
          <p15:clr>
            <a:srgbClr val="F26B43"/>
          </p15:clr>
        </p15:guide>
        <p15:guide id="18" pos="6507" userDrawn="1">
          <p15:clr>
            <a:srgbClr val="F26B43"/>
          </p15:clr>
        </p15:guide>
        <p15:guide id="19" pos="7721" userDrawn="1">
          <p15:clr>
            <a:srgbClr val="F26B43"/>
          </p15:clr>
        </p15:guide>
        <p15:guide id="20" pos="7033" userDrawn="1">
          <p15:clr>
            <a:srgbClr val="F26B43"/>
          </p15:clr>
        </p15:guide>
        <p15:guide id="21" pos="7195" userDrawn="1">
          <p15:clr>
            <a:srgbClr val="F26B43"/>
          </p15:clr>
        </p15:guide>
        <p15:guide id="22" pos="8415" userDrawn="1">
          <p15:clr>
            <a:srgbClr val="F26B43"/>
          </p15:clr>
        </p15:guide>
        <p15:guide id="24" pos="7887" userDrawn="1">
          <p15:clr>
            <a:srgbClr val="F26B43"/>
          </p15:clr>
        </p15:guide>
        <p15:guide id="25" pos="991" userDrawn="1">
          <p15:clr>
            <a:srgbClr val="F26B43"/>
          </p15:clr>
        </p15:guide>
        <p15:guide id="26" pos="827" userDrawn="1">
          <p15:clr>
            <a:srgbClr val="F26B43"/>
          </p15:clr>
        </p15:guide>
        <p15:guide id="27" orient="horz" pos="299" userDrawn="1">
          <p15:clr>
            <a:srgbClr val="F26B43"/>
          </p15:clr>
        </p15:guide>
        <p15:guide id="28" orient="horz" pos="679" userDrawn="1">
          <p15:clr>
            <a:srgbClr val="F26B43"/>
          </p15:clr>
        </p15:guide>
        <p15:guide id="29" orient="horz" pos="833" userDrawn="1">
          <p15:clr>
            <a:srgbClr val="F26B43"/>
          </p15:clr>
        </p15:guide>
        <p15:guide id="30" orient="horz" pos="1213" userDrawn="1">
          <p15:clr>
            <a:srgbClr val="F26B43"/>
          </p15:clr>
        </p15:guide>
        <p15:guide id="31" orient="horz" pos="1368" userDrawn="1">
          <p15:clr>
            <a:srgbClr val="F26B43"/>
          </p15:clr>
        </p15:guide>
        <p15:guide id="32" orient="horz" pos="1745" userDrawn="1">
          <p15:clr>
            <a:srgbClr val="F26B43"/>
          </p15:clr>
        </p15:guide>
        <p15:guide id="33" orient="horz" pos="1899" userDrawn="1">
          <p15:clr>
            <a:srgbClr val="F26B43"/>
          </p15:clr>
        </p15:guide>
        <p15:guide id="34" orient="horz" pos="2277" userDrawn="1">
          <p15:clr>
            <a:srgbClr val="F26B43"/>
          </p15:clr>
        </p15:guide>
        <p15:guide id="35" orient="horz" pos="2433" userDrawn="1">
          <p15:clr>
            <a:srgbClr val="F26B43"/>
          </p15:clr>
        </p15:guide>
        <p15:guide id="36" orient="horz" pos="4032" userDrawn="1">
          <p15:clr>
            <a:srgbClr val="F26B43"/>
          </p15:clr>
        </p15:guide>
        <p15:guide id="37" orient="horz" pos="2963" userDrawn="1">
          <p15:clr>
            <a:srgbClr val="F26B43"/>
          </p15:clr>
        </p15:guide>
        <p15:guide id="38" orient="horz" pos="4407" userDrawn="1">
          <p15:clr>
            <a:srgbClr val="F26B43"/>
          </p15:clr>
        </p15:guide>
        <p15:guide id="39" orient="horz" pos="3875" userDrawn="1">
          <p15:clr>
            <a:srgbClr val="F26B43"/>
          </p15:clr>
        </p15:guide>
        <p15:guide id="40" orient="horz" pos="2808" userDrawn="1">
          <p15:clr>
            <a:srgbClr val="F26B43"/>
          </p15:clr>
        </p15:guide>
        <p15:guide id="41" orient="horz" pos="3499" userDrawn="1">
          <p15:clr>
            <a:srgbClr val="F26B43"/>
          </p15:clr>
        </p15:guide>
        <p15:guide id="42" orient="horz" pos="3341" userDrawn="1">
          <p15:clr>
            <a:srgbClr val="F26B43"/>
          </p15:clr>
        </p15:guide>
        <p15:guide id="43" orient="horz" pos="465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255386"/>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 id="2147483795" r:id="rId33"/>
  </p:sldLayoutIdLst>
  <p:txStyles>
    <p:titleStyle>
      <a:lvl1pPr algn="l" defTabSz="80602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24" rtl="0" eaLnBrk="1" latinLnBrk="0" hangingPunct="1">
        <a:lnSpc>
          <a:spcPct val="90000"/>
        </a:lnSpc>
        <a:spcBef>
          <a:spcPts val="883"/>
        </a:spcBef>
        <a:buFont typeface="Rostelecom Basis" panose="020B0604020202020204" pitchFamily="34" charset="0"/>
        <a:buNone/>
        <a:defRPr sz="1235" b="1" kern="1200">
          <a:solidFill>
            <a:schemeClr val="tx1"/>
          </a:solidFill>
          <a:latin typeface="Rostelecom Basis Medium" panose="020B0603030604040103" pitchFamily="34" charset="0"/>
          <a:ea typeface="+mn-ea"/>
          <a:cs typeface="+mn-cs"/>
        </a:defRPr>
      </a:lvl1pPr>
      <a:lvl2pPr marL="604518" indent="-201506" algn="l" defTabSz="80602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29" indent="-201506" algn="l" defTabSz="80602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39"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52"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566"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576"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588"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00" indent="-201506" algn="l" defTabSz="80602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24" rtl="0" eaLnBrk="1" latinLnBrk="0" hangingPunct="1">
        <a:defRPr sz="1587" kern="1200">
          <a:solidFill>
            <a:schemeClr val="tx1"/>
          </a:solidFill>
          <a:latin typeface="+mn-lt"/>
          <a:ea typeface="+mn-ea"/>
          <a:cs typeface="+mn-cs"/>
        </a:defRPr>
      </a:lvl1pPr>
      <a:lvl2pPr marL="403013" algn="l" defTabSz="806024" rtl="0" eaLnBrk="1" latinLnBrk="0" hangingPunct="1">
        <a:defRPr sz="1587" kern="1200">
          <a:solidFill>
            <a:schemeClr val="tx1"/>
          </a:solidFill>
          <a:latin typeface="+mn-lt"/>
          <a:ea typeface="+mn-ea"/>
          <a:cs typeface="+mn-cs"/>
        </a:defRPr>
      </a:lvl2pPr>
      <a:lvl3pPr marL="806024" algn="l" defTabSz="806024" rtl="0" eaLnBrk="1" latinLnBrk="0" hangingPunct="1">
        <a:defRPr sz="1587" kern="1200">
          <a:solidFill>
            <a:schemeClr val="tx1"/>
          </a:solidFill>
          <a:latin typeface="+mn-lt"/>
          <a:ea typeface="+mn-ea"/>
          <a:cs typeface="+mn-cs"/>
        </a:defRPr>
      </a:lvl3pPr>
      <a:lvl4pPr marL="1209034" algn="l" defTabSz="806024" rtl="0" eaLnBrk="1" latinLnBrk="0" hangingPunct="1">
        <a:defRPr sz="1587" kern="1200">
          <a:solidFill>
            <a:schemeClr val="tx1"/>
          </a:solidFill>
          <a:latin typeface="+mn-lt"/>
          <a:ea typeface="+mn-ea"/>
          <a:cs typeface="+mn-cs"/>
        </a:defRPr>
      </a:lvl4pPr>
      <a:lvl5pPr marL="1612048" algn="l" defTabSz="806024" rtl="0" eaLnBrk="1" latinLnBrk="0" hangingPunct="1">
        <a:defRPr sz="1587" kern="1200">
          <a:solidFill>
            <a:schemeClr val="tx1"/>
          </a:solidFill>
          <a:latin typeface="+mn-lt"/>
          <a:ea typeface="+mn-ea"/>
          <a:cs typeface="+mn-cs"/>
        </a:defRPr>
      </a:lvl5pPr>
      <a:lvl6pPr marL="2015058" algn="l" defTabSz="806024" rtl="0" eaLnBrk="1" latinLnBrk="0" hangingPunct="1">
        <a:defRPr sz="1587" kern="1200">
          <a:solidFill>
            <a:schemeClr val="tx1"/>
          </a:solidFill>
          <a:latin typeface="+mn-lt"/>
          <a:ea typeface="+mn-ea"/>
          <a:cs typeface="+mn-cs"/>
        </a:defRPr>
      </a:lvl6pPr>
      <a:lvl7pPr marL="2418070" algn="l" defTabSz="806024" rtl="0" eaLnBrk="1" latinLnBrk="0" hangingPunct="1">
        <a:defRPr sz="1587" kern="1200">
          <a:solidFill>
            <a:schemeClr val="tx1"/>
          </a:solidFill>
          <a:latin typeface="+mn-lt"/>
          <a:ea typeface="+mn-ea"/>
          <a:cs typeface="+mn-cs"/>
        </a:defRPr>
      </a:lvl7pPr>
      <a:lvl8pPr marL="2821083" algn="l" defTabSz="806024" rtl="0" eaLnBrk="1" latinLnBrk="0" hangingPunct="1">
        <a:defRPr sz="1587" kern="1200">
          <a:solidFill>
            <a:schemeClr val="tx1"/>
          </a:solidFill>
          <a:latin typeface="+mn-lt"/>
          <a:ea typeface="+mn-ea"/>
          <a:cs typeface="+mn-cs"/>
        </a:defRPr>
      </a:lvl8pPr>
      <a:lvl9pPr marL="3224094" algn="l" defTabSz="806024" rtl="0" eaLnBrk="1" latinLnBrk="0" hangingPunct="1">
        <a:defRPr sz="158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9" userDrawn="1">
          <p15:clr>
            <a:srgbClr val="F26B43"/>
          </p15:clr>
        </p15:guide>
        <p15:guide id="2" pos="3747" userDrawn="1">
          <p15:clr>
            <a:srgbClr val="F26B43"/>
          </p15:clr>
        </p15:guide>
        <p15:guide id="3" pos="4271" userDrawn="1">
          <p15:clr>
            <a:srgbClr val="F26B43"/>
          </p15:clr>
        </p15:guide>
        <p15:guide id="4" pos="4435" userDrawn="1">
          <p15:clr>
            <a:srgbClr val="F26B43"/>
          </p15:clr>
        </p15:guide>
        <p15:guide id="5" pos="1515" userDrawn="1">
          <p15:clr>
            <a:srgbClr val="F26B43"/>
          </p15:clr>
        </p15:guide>
        <p15:guide id="6" pos="5127" userDrawn="1">
          <p15:clr>
            <a:srgbClr val="F26B43"/>
          </p15:clr>
        </p15:guide>
        <p15:guide id="7" pos="4961" userDrawn="1">
          <p15:clr>
            <a:srgbClr val="F26B43"/>
          </p15:clr>
        </p15:guide>
        <p15:guide id="8" pos="5651" userDrawn="1">
          <p15:clr>
            <a:srgbClr val="F26B43"/>
          </p15:clr>
        </p15:guide>
        <p15:guide id="9" pos="2895" userDrawn="1">
          <p15:clr>
            <a:srgbClr val="F26B43"/>
          </p15:clr>
        </p15:guide>
        <p15:guide id="11" pos="3585" userDrawn="1">
          <p15:clr>
            <a:srgbClr val="F26B43"/>
          </p15:clr>
        </p15:guide>
        <p15:guide id="12" pos="2207" userDrawn="1">
          <p15:clr>
            <a:srgbClr val="F26B43"/>
          </p15:clr>
        </p15:guide>
        <p15:guide id="13" pos="2371" userDrawn="1">
          <p15:clr>
            <a:srgbClr val="F26B43"/>
          </p15:clr>
        </p15:guide>
        <p15:guide id="14" pos="1680" userDrawn="1">
          <p15:clr>
            <a:srgbClr val="F26B43"/>
          </p15:clr>
        </p15:guide>
        <p15:guide id="15" pos="3056" userDrawn="1">
          <p15:clr>
            <a:srgbClr val="F26B43"/>
          </p15:clr>
        </p15:guide>
        <p15:guide id="16" pos="6343" userDrawn="1">
          <p15:clr>
            <a:srgbClr val="F26B43"/>
          </p15:clr>
        </p15:guide>
        <p15:guide id="17" pos="5815" userDrawn="1">
          <p15:clr>
            <a:srgbClr val="F26B43"/>
          </p15:clr>
        </p15:guide>
        <p15:guide id="18" pos="6507" userDrawn="1">
          <p15:clr>
            <a:srgbClr val="F26B43"/>
          </p15:clr>
        </p15:guide>
        <p15:guide id="19" pos="7721" userDrawn="1">
          <p15:clr>
            <a:srgbClr val="F26B43"/>
          </p15:clr>
        </p15:guide>
        <p15:guide id="20" pos="7033" userDrawn="1">
          <p15:clr>
            <a:srgbClr val="F26B43"/>
          </p15:clr>
        </p15:guide>
        <p15:guide id="21" pos="7195" userDrawn="1">
          <p15:clr>
            <a:srgbClr val="F26B43"/>
          </p15:clr>
        </p15:guide>
        <p15:guide id="22" pos="8415" userDrawn="1">
          <p15:clr>
            <a:srgbClr val="F26B43"/>
          </p15:clr>
        </p15:guide>
        <p15:guide id="24" pos="7887" userDrawn="1">
          <p15:clr>
            <a:srgbClr val="F26B43"/>
          </p15:clr>
        </p15:guide>
        <p15:guide id="25" pos="991" userDrawn="1">
          <p15:clr>
            <a:srgbClr val="F26B43"/>
          </p15:clr>
        </p15:guide>
        <p15:guide id="26" pos="827" userDrawn="1">
          <p15:clr>
            <a:srgbClr val="F26B43"/>
          </p15:clr>
        </p15:guide>
        <p15:guide id="27" orient="horz" pos="299" userDrawn="1">
          <p15:clr>
            <a:srgbClr val="F26B43"/>
          </p15:clr>
        </p15:guide>
        <p15:guide id="28" orient="horz" pos="679" userDrawn="1">
          <p15:clr>
            <a:srgbClr val="F26B43"/>
          </p15:clr>
        </p15:guide>
        <p15:guide id="29" orient="horz" pos="833" userDrawn="1">
          <p15:clr>
            <a:srgbClr val="F26B43"/>
          </p15:clr>
        </p15:guide>
        <p15:guide id="30" orient="horz" pos="1213" userDrawn="1">
          <p15:clr>
            <a:srgbClr val="F26B43"/>
          </p15:clr>
        </p15:guide>
        <p15:guide id="31" orient="horz" pos="1368" userDrawn="1">
          <p15:clr>
            <a:srgbClr val="F26B43"/>
          </p15:clr>
        </p15:guide>
        <p15:guide id="32" orient="horz" pos="1744" userDrawn="1">
          <p15:clr>
            <a:srgbClr val="F26B43"/>
          </p15:clr>
        </p15:guide>
        <p15:guide id="33" orient="horz" pos="1899" userDrawn="1">
          <p15:clr>
            <a:srgbClr val="F26B43"/>
          </p15:clr>
        </p15:guide>
        <p15:guide id="34" orient="horz" pos="2277" userDrawn="1">
          <p15:clr>
            <a:srgbClr val="F26B43"/>
          </p15:clr>
        </p15:guide>
        <p15:guide id="35" orient="horz" pos="2433" userDrawn="1">
          <p15:clr>
            <a:srgbClr val="F26B43"/>
          </p15:clr>
        </p15:guide>
        <p15:guide id="36" orient="horz" pos="4032" userDrawn="1">
          <p15:clr>
            <a:srgbClr val="F26B43"/>
          </p15:clr>
        </p15:guide>
        <p15:guide id="37" orient="horz" pos="2963" userDrawn="1">
          <p15:clr>
            <a:srgbClr val="F26B43"/>
          </p15:clr>
        </p15:guide>
        <p15:guide id="38" orient="horz" pos="4407" userDrawn="1">
          <p15:clr>
            <a:srgbClr val="F26B43"/>
          </p15:clr>
        </p15:guide>
        <p15:guide id="39" orient="horz" pos="3875" userDrawn="1">
          <p15:clr>
            <a:srgbClr val="F26B43"/>
          </p15:clr>
        </p15:guide>
        <p15:guide id="40" orient="horz" pos="2808" userDrawn="1">
          <p15:clr>
            <a:srgbClr val="F26B43"/>
          </p15:clr>
        </p15:guide>
        <p15:guide id="41" orient="horz" pos="3499" userDrawn="1">
          <p15:clr>
            <a:srgbClr val="F26B43"/>
          </p15:clr>
        </p15:guide>
        <p15:guide id="42" orient="horz" pos="3341" userDrawn="1">
          <p15:clr>
            <a:srgbClr val="F26B43"/>
          </p15:clr>
        </p15:guide>
        <p15:guide id="43" orient="horz" pos="465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7248809"/>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 id="2147483808" r:id="rId12"/>
    <p:sldLayoutId id="2147483809" r:id="rId13"/>
    <p:sldLayoutId id="2147483810" r:id="rId14"/>
    <p:sldLayoutId id="2147483811" r:id="rId15"/>
    <p:sldLayoutId id="2147483812" r:id="rId16"/>
    <p:sldLayoutId id="2147483813" r:id="rId17"/>
    <p:sldLayoutId id="2147483814" r:id="rId18"/>
    <p:sldLayoutId id="2147483815" r:id="rId19"/>
    <p:sldLayoutId id="2147483816" r:id="rId20"/>
    <p:sldLayoutId id="2147483817" r:id="rId21"/>
    <p:sldLayoutId id="2147483818" r:id="rId22"/>
    <p:sldLayoutId id="2147483819" r:id="rId23"/>
    <p:sldLayoutId id="2147483820" r:id="rId24"/>
    <p:sldLayoutId id="2147483821" r:id="rId25"/>
    <p:sldLayoutId id="2147483822" r:id="rId26"/>
    <p:sldLayoutId id="2147483823" r:id="rId27"/>
    <p:sldLayoutId id="2147483824" r:id="rId28"/>
    <p:sldLayoutId id="2147483825" r:id="rId29"/>
    <p:sldLayoutId id="2147483826" r:id="rId30"/>
    <p:sldLayoutId id="2147483827" r:id="rId31"/>
    <p:sldLayoutId id="2147483828" r:id="rId32"/>
    <p:sldLayoutId id="2147483829" r:id="rId33"/>
    <p:sldLayoutId id="2147483984" r:id="rId34"/>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Rostelecom Basis"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E339EEFF-84C8-4B0A-A199-81219875E3DB}"/>
              </a:ext>
            </a:extLst>
          </p:cNvPr>
          <p:cNvGraphicFramePr>
            <a:graphicFrameLocks noChangeAspect="1"/>
          </p:cNvGraphicFramePr>
          <p:nvPr userDrawn="1">
            <p:custDataLst>
              <p:tags r:id="rId80"/>
            </p:custDataLst>
            <p:extLst/>
          </p:nvPr>
        </p:nvGraphicFramePr>
        <p:xfrm>
          <a:off x="1400" y="1401"/>
          <a:ext cx="1400" cy="1401"/>
        </p:xfrm>
        <a:graphic>
          <a:graphicData uri="http://schemas.openxmlformats.org/presentationml/2006/ole">
            <mc:AlternateContent xmlns:mc="http://schemas.openxmlformats.org/markup-compatibility/2006">
              <mc:Choice xmlns:v="urn:schemas-microsoft-com:vml" Requires="v">
                <p:oleObj spid="_x0000_s1105" name="Слайд think-cell" r:id="rId81" imgW="473" imgH="473" progId="TCLayout.ActiveDocument.1">
                  <p:embed/>
                </p:oleObj>
              </mc:Choice>
              <mc:Fallback>
                <p:oleObj name="Слайд think-cell" r:id="rId81" imgW="473" imgH="473" progId="TCLayout.ActiveDocument.1">
                  <p:embed/>
                  <p:pic>
                    <p:nvPicPr>
                      <p:cNvPr id="18" name="Object 17" hidden="1">
                        <a:extLst>
                          <a:ext uri="{FF2B5EF4-FFF2-40B4-BE49-F238E27FC236}">
                            <a16:creationId xmlns:a16="http://schemas.microsoft.com/office/drawing/2014/main" id="{E339EEFF-84C8-4B0A-A199-81219875E3DB}"/>
                          </a:ext>
                        </a:extLst>
                      </p:cNvPr>
                      <p:cNvPicPr/>
                      <p:nvPr/>
                    </p:nvPicPr>
                    <p:blipFill>
                      <a:blip r:embed="rId82"/>
                      <a:stretch>
                        <a:fillRect/>
                      </a:stretch>
                    </p:blipFill>
                    <p:spPr>
                      <a:xfrm>
                        <a:off x="1400" y="1401"/>
                        <a:ext cx="1400" cy="1401"/>
                      </a:xfrm>
                      <a:prstGeom prst="rect">
                        <a:avLst/>
                      </a:prstGeom>
                    </p:spPr>
                  </p:pic>
                </p:oleObj>
              </mc:Fallback>
            </mc:AlternateContent>
          </a:graphicData>
        </a:graphic>
      </p:graphicFrame>
      <p:grpSp>
        <p:nvGrpSpPr>
          <p:cNvPr id="4" name="Рисунок 2">
            <a:extLst>
              <a:ext uri="{FF2B5EF4-FFF2-40B4-BE49-F238E27FC236}">
                <a16:creationId xmlns:a16="http://schemas.microsoft.com/office/drawing/2014/main" id="{BF5F927C-F5E1-4C2E-8ED6-C1A08D4A84A8}"/>
              </a:ext>
            </a:extLst>
          </p:cNvPr>
          <p:cNvGrpSpPr>
            <a:grpSpLocks/>
          </p:cNvGrpSpPr>
          <p:nvPr/>
        </p:nvGrpSpPr>
        <p:grpSpPr>
          <a:xfrm>
            <a:off x="10547251" y="6601347"/>
            <a:ext cx="1268795" cy="164726"/>
            <a:chOff x="11917650" y="7266670"/>
            <a:chExt cx="1439289" cy="186690"/>
          </a:xfrm>
          <a:solidFill>
            <a:srgbClr val="101828"/>
          </a:solidFill>
        </p:grpSpPr>
        <p:sp>
          <p:nvSpPr>
            <p:cNvPr id="5" name="Полилиния: фигура 4">
              <a:extLst>
                <a:ext uri="{FF2B5EF4-FFF2-40B4-BE49-F238E27FC236}">
                  <a16:creationId xmlns:a16="http://schemas.microsoft.com/office/drawing/2014/main" id="{952BE9ED-AD84-49BD-9763-642681C3C071}"/>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solidFill>
              <a:srgbClr val="101828"/>
            </a:solidFill>
            <a:ln w="5901" cap="flat">
              <a:noFill/>
              <a:prstDash val="solid"/>
              <a:miter/>
            </a:ln>
          </p:spPr>
          <p:txBody>
            <a:bodyPr rtlCol="0" anchor="ctr"/>
            <a:lstStyle/>
            <a:p>
              <a:endParaRPr lang="ru-RU" sz="1587"/>
            </a:p>
          </p:txBody>
        </p:sp>
        <p:sp>
          <p:nvSpPr>
            <p:cNvPr id="6" name="Полилиния: фигура 5">
              <a:extLst>
                <a:ext uri="{FF2B5EF4-FFF2-40B4-BE49-F238E27FC236}">
                  <a16:creationId xmlns:a16="http://schemas.microsoft.com/office/drawing/2014/main" id="{3EDCCA92-6F5E-4B30-9CFA-67DF94CB95DB}"/>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solidFill>
              <a:srgbClr val="101828"/>
            </a:solidFill>
            <a:ln w="5901" cap="flat">
              <a:noFill/>
              <a:prstDash val="solid"/>
              <a:miter/>
            </a:ln>
          </p:spPr>
          <p:txBody>
            <a:bodyPr rtlCol="0" anchor="ctr"/>
            <a:lstStyle/>
            <a:p>
              <a:endParaRPr lang="ru-RU" sz="1587"/>
            </a:p>
          </p:txBody>
        </p:sp>
        <p:sp>
          <p:nvSpPr>
            <p:cNvPr id="7" name="Полилиния: фигура 6">
              <a:extLst>
                <a:ext uri="{FF2B5EF4-FFF2-40B4-BE49-F238E27FC236}">
                  <a16:creationId xmlns:a16="http://schemas.microsoft.com/office/drawing/2014/main" id="{0C54FA16-752C-4003-8449-0D8FA017A6FA}"/>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solidFill>
              <a:srgbClr val="101828"/>
            </a:solidFill>
            <a:ln w="5901" cap="flat">
              <a:noFill/>
              <a:prstDash val="solid"/>
              <a:miter/>
            </a:ln>
          </p:spPr>
          <p:txBody>
            <a:bodyPr rtlCol="0" anchor="ctr"/>
            <a:lstStyle/>
            <a:p>
              <a:endParaRPr lang="ru-RU" sz="1587"/>
            </a:p>
          </p:txBody>
        </p:sp>
        <p:sp>
          <p:nvSpPr>
            <p:cNvPr id="8" name="Полилиния: фигура 7">
              <a:extLst>
                <a:ext uri="{FF2B5EF4-FFF2-40B4-BE49-F238E27FC236}">
                  <a16:creationId xmlns:a16="http://schemas.microsoft.com/office/drawing/2014/main" id="{06AA6842-15AB-427C-9904-9E34C7D30990}"/>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solidFill>
              <a:srgbClr val="101828"/>
            </a:solidFill>
            <a:ln w="5901" cap="flat">
              <a:noFill/>
              <a:prstDash val="solid"/>
              <a:miter/>
            </a:ln>
          </p:spPr>
          <p:txBody>
            <a:bodyPr rtlCol="0" anchor="ctr"/>
            <a:lstStyle/>
            <a:p>
              <a:endParaRPr lang="ru-RU" sz="1587"/>
            </a:p>
          </p:txBody>
        </p:sp>
        <p:sp>
          <p:nvSpPr>
            <p:cNvPr id="9" name="Полилиния: фигура 8">
              <a:extLst>
                <a:ext uri="{FF2B5EF4-FFF2-40B4-BE49-F238E27FC236}">
                  <a16:creationId xmlns:a16="http://schemas.microsoft.com/office/drawing/2014/main" id="{AF28F6E9-67BF-4EF0-B041-BAA9988DA30B}"/>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solidFill>
              <a:srgbClr val="101828"/>
            </a:solidFill>
            <a:ln w="5901" cap="flat">
              <a:noFill/>
              <a:prstDash val="solid"/>
              <a:miter/>
            </a:ln>
          </p:spPr>
          <p:txBody>
            <a:bodyPr rtlCol="0" anchor="ctr"/>
            <a:lstStyle/>
            <a:p>
              <a:endParaRPr lang="ru-RU" sz="1587"/>
            </a:p>
          </p:txBody>
        </p:sp>
        <p:sp>
          <p:nvSpPr>
            <p:cNvPr id="10" name="Полилиния: фигура 9">
              <a:extLst>
                <a:ext uri="{FF2B5EF4-FFF2-40B4-BE49-F238E27FC236}">
                  <a16:creationId xmlns:a16="http://schemas.microsoft.com/office/drawing/2014/main" id="{CC925E57-F380-4093-BF93-2781EBCA12C1}"/>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solidFill>
              <a:srgbClr val="101828"/>
            </a:solidFill>
            <a:ln w="5901" cap="flat">
              <a:noFill/>
              <a:prstDash val="solid"/>
              <a:miter/>
            </a:ln>
          </p:spPr>
          <p:txBody>
            <a:bodyPr rtlCol="0" anchor="ctr"/>
            <a:lstStyle/>
            <a:p>
              <a:endParaRPr lang="ru-RU" sz="1587"/>
            </a:p>
          </p:txBody>
        </p:sp>
        <p:sp>
          <p:nvSpPr>
            <p:cNvPr id="11" name="Полилиния: фигура 10">
              <a:extLst>
                <a:ext uri="{FF2B5EF4-FFF2-40B4-BE49-F238E27FC236}">
                  <a16:creationId xmlns:a16="http://schemas.microsoft.com/office/drawing/2014/main" id="{D5A712B5-20C6-493C-8CC1-B647E1517862}"/>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solidFill>
              <a:srgbClr val="101828"/>
            </a:solidFill>
            <a:ln w="5901" cap="flat">
              <a:noFill/>
              <a:prstDash val="solid"/>
              <a:miter/>
            </a:ln>
          </p:spPr>
          <p:txBody>
            <a:bodyPr rtlCol="0" anchor="ctr"/>
            <a:lstStyle/>
            <a:p>
              <a:endParaRPr lang="ru-RU" sz="1587"/>
            </a:p>
          </p:txBody>
        </p:sp>
        <p:sp>
          <p:nvSpPr>
            <p:cNvPr id="12" name="Полилиния: фигура 11">
              <a:extLst>
                <a:ext uri="{FF2B5EF4-FFF2-40B4-BE49-F238E27FC236}">
                  <a16:creationId xmlns:a16="http://schemas.microsoft.com/office/drawing/2014/main" id="{52AB0E86-CD32-4EB1-B6F6-74F53225142C}"/>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solidFill>
              <a:srgbClr val="101828"/>
            </a:solidFill>
            <a:ln w="5901" cap="flat">
              <a:noFill/>
              <a:prstDash val="solid"/>
              <a:miter/>
            </a:ln>
          </p:spPr>
          <p:txBody>
            <a:bodyPr rtlCol="0" anchor="ctr"/>
            <a:lstStyle/>
            <a:p>
              <a:endParaRPr lang="ru-RU" sz="1587"/>
            </a:p>
          </p:txBody>
        </p:sp>
        <p:sp>
          <p:nvSpPr>
            <p:cNvPr id="13" name="Полилиния: фигура 12">
              <a:extLst>
                <a:ext uri="{FF2B5EF4-FFF2-40B4-BE49-F238E27FC236}">
                  <a16:creationId xmlns:a16="http://schemas.microsoft.com/office/drawing/2014/main" id="{DFF04EBA-2BDE-45E6-8DB6-40B3577BED32}"/>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solidFill>
              <a:srgbClr val="101828"/>
            </a:solidFill>
            <a:ln w="5901" cap="flat">
              <a:noFill/>
              <a:prstDash val="solid"/>
              <a:miter/>
            </a:ln>
          </p:spPr>
          <p:txBody>
            <a:bodyPr rtlCol="0" anchor="ctr"/>
            <a:lstStyle/>
            <a:p>
              <a:endParaRPr lang="ru-RU" sz="1587"/>
            </a:p>
          </p:txBody>
        </p:sp>
        <p:sp>
          <p:nvSpPr>
            <p:cNvPr id="14" name="Полилиния: фигура 13">
              <a:extLst>
                <a:ext uri="{FF2B5EF4-FFF2-40B4-BE49-F238E27FC236}">
                  <a16:creationId xmlns:a16="http://schemas.microsoft.com/office/drawing/2014/main" id="{A45753D4-941F-4A3E-9737-7A26AD04DF29}"/>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solidFill>
              <a:srgbClr val="101828"/>
            </a:solidFill>
            <a:ln w="5901" cap="flat">
              <a:noFill/>
              <a:prstDash val="solid"/>
              <a:miter/>
            </a:ln>
          </p:spPr>
          <p:txBody>
            <a:bodyPr rtlCol="0" anchor="ctr"/>
            <a:lstStyle/>
            <a:p>
              <a:endParaRPr lang="ru-RU" sz="1587"/>
            </a:p>
          </p:txBody>
        </p:sp>
      </p:grpSp>
      <p:grpSp>
        <p:nvGrpSpPr>
          <p:cNvPr id="15" name="Рисунок 2">
            <a:extLst>
              <a:ext uri="{FF2B5EF4-FFF2-40B4-BE49-F238E27FC236}">
                <a16:creationId xmlns:a16="http://schemas.microsoft.com/office/drawing/2014/main" id="{BF5F927C-F5E1-4C2E-8ED6-C1A08D4A84A8}"/>
              </a:ext>
            </a:extLst>
          </p:cNvPr>
          <p:cNvGrpSpPr/>
          <p:nvPr/>
        </p:nvGrpSpPr>
        <p:grpSpPr>
          <a:xfrm>
            <a:off x="10264671" y="6416924"/>
            <a:ext cx="237952" cy="395230"/>
            <a:chOff x="11597098" y="7057657"/>
            <a:chExt cx="269927" cy="447927"/>
          </a:xfrm>
        </p:grpSpPr>
        <p:sp>
          <p:nvSpPr>
            <p:cNvPr id="16" name="Полилиния: фигура 15">
              <a:extLst>
                <a:ext uri="{FF2B5EF4-FFF2-40B4-BE49-F238E27FC236}">
                  <a16:creationId xmlns:a16="http://schemas.microsoft.com/office/drawing/2014/main" id="{BE466691-8CF6-4CE8-9588-CD7D8BC373A7}"/>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endParaRPr lang="ru-RU" sz="1587"/>
            </a:p>
          </p:txBody>
        </p:sp>
        <p:sp>
          <p:nvSpPr>
            <p:cNvPr id="17" name="Полилиния: фигура 16">
              <a:extLst>
                <a:ext uri="{FF2B5EF4-FFF2-40B4-BE49-F238E27FC236}">
                  <a16:creationId xmlns:a16="http://schemas.microsoft.com/office/drawing/2014/main" id="{09DD932A-A070-4D5C-BE39-BE35BC44011F}"/>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7700FF"/>
            </a:solidFill>
            <a:ln w="5901" cap="flat">
              <a:noFill/>
              <a:prstDash val="solid"/>
              <a:miter/>
            </a:ln>
          </p:spPr>
          <p:txBody>
            <a:bodyPr rtlCol="0" anchor="ctr"/>
            <a:lstStyle/>
            <a:p>
              <a:endParaRPr lang="ru-RU" sz="1587"/>
            </a:p>
          </p:txBody>
        </p:sp>
      </p:grpSp>
      <p:sp>
        <p:nvSpPr>
          <p:cNvPr id="19" name="Text Placeholder 18">
            <a:extLst>
              <a:ext uri="{FF2B5EF4-FFF2-40B4-BE49-F238E27FC236}">
                <a16:creationId xmlns:a16="http://schemas.microsoft.com/office/drawing/2014/main" id="{ED4A58CE-2027-408E-A69E-AC8F29F55842}"/>
              </a:ext>
            </a:extLst>
          </p:cNvPr>
          <p:cNvSpPr>
            <a:spLocks noGrp="1"/>
          </p:cNvSpPr>
          <p:nvPr>
            <p:ph type="body" idx="1"/>
          </p:nvPr>
        </p:nvSpPr>
        <p:spPr>
          <a:xfrm>
            <a:off x="838271" y="1825159"/>
            <a:ext cx="10515460" cy="1290851"/>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Rectangle 13">
            <a:extLst>
              <a:ext uri="{FF2B5EF4-FFF2-40B4-BE49-F238E27FC236}">
                <a16:creationId xmlns:a16="http://schemas.microsoft.com/office/drawing/2014/main" id="{0A670F2B-033E-4BCC-90DF-5A47C6D209F0}"/>
              </a:ext>
            </a:extLst>
          </p:cNvPr>
          <p:cNvSpPr/>
          <p:nvPr userDrawn="1"/>
        </p:nvSpPr>
        <p:spPr>
          <a:xfrm>
            <a:off x="11924806" y="6568876"/>
            <a:ext cx="267194" cy="289124"/>
          </a:xfrm>
          <a:prstGeom prst="rect">
            <a:avLst/>
          </a:prstGeom>
          <a:solidFill>
            <a:schemeClr val="accent6"/>
          </a:solidFill>
          <a:ln>
            <a:noFill/>
          </a:ln>
        </p:spPr>
        <p:txBody>
          <a:bodyPr vert="horz" wrap="square" lIns="93212" tIns="46605" rIns="93212" bIns="46605" numCol="1" anchor="t" anchorCtr="0" compatLnSpc="1">
            <a:prstTxWarp prst="textNoShape">
              <a:avLst/>
            </a:prstTxWarp>
          </a:bodyPr>
          <a:lstStyle/>
          <a:p>
            <a:endParaRPr lang="ru-RU" sz="2080">
              <a:solidFill>
                <a:schemeClr val="tx1"/>
              </a:solidFill>
              <a:latin typeface="+mn-lt"/>
              <a:ea typeface="+mn-ea"/>
              <a:cs typeface="+mn-cs"/>
            </a:endParaRPr>
          </a:p>
        </p:txBody>
      </p:sp>
      <p:sp>
        <p:nvSpPr>
          <p:cNvPr id="21" name="Slide Number"/>
          <p:cNvSpPr txBox="1">
            <a:spLocks/>
          </p:cNvSpPr>
          <p:nvPr userDrawn="1"/>
        </p:nvSpPr>
        <p:spPr bwMode="gray">
          <a:xfrm>
            <a:off x="11988672" y="6640564"/>
            <a:ext cx="139462" cy="125419"/>
          </a:xfrm>
          <a:prstGeom prst="rect">
            <a:avLst/>
          </a:prstGeom>
        </p:spPr>
        <p:txBody>
          <a:bodyPr vert="horz" wrap="none" lIns="0" tIns="0" rIns="0" bIns="0" rtlCol="0" anchor="ctr">
            <a:spAutoFit/>
          </a:bodyPr>
          <a:lstStyle>
            <a:defPPr>
              <a:defRPr lang="ru-RU"/>
            </a:defPPr>
            <a:lvl1pPr>
              <a:defRPr sz="1000" baseline="0">
                <a:latin typeface="+mn-lt"/>
              </a:defRPr>
            </a:lvl1pPr>
          </a:lstStyle>
          <a:p>
            <a:pPr lvl="0" algn="ctr"/>
            <a:fld id="{42C328C1-A84F-4A39-A664-DBA00541A8C6}" type="slidenum">
              <a:rPr lang="ru-RU" sz="815" smtClean="0">
                <a:solidFill>
                  <a:schemeClr val="bg1"/>
                </a:solidFill>
                <a:latin typeface="+mn-lt"/>
                <a:ea typeface="+mn-ea"/>
                <a:cs typeface="+mn-cs"/>
              </a:rPr>
              <a:pPr lvl="0" algn="ctr"/>
              <a:t>‹#›</a:t>
            </a:fld>
            <a:endParaRPr lang="ru-RU" sz="815" dirty="0">
              <a:solidFill>
                <a:schemeClr val="bg1"/>
              </a:solidFill>
              <a:latin typeface="+mn-lt"/>
              <a:ea typeface="+mn-ea"/>
              <a:cs typeface="+mn-cs"/>
            </a:endParaRPr>
          </a:p>
        </p:txBody>
      </p:sp>
    </p:spTree>
    <p:extLst>
      <p:ext uri="{BB962C8B-B14F-4D97-AF65-F5344CB8AC3E}">
        <p14:creationId xmlns:p14="http://schemas.microsoft.com/office/powerpoint/2010/main" val="4031878399"/>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 id="2147483871" r:id="rId41"/>
    <p:sldLayoutId id="2147483872" r:id="rId42"/>
    <p:sldLayoutId id="2147483873" r:id="rId43"/>
    <p:sldLayoutId id="2147483874" r:id="rId44"/>
    <p:sldLayoutId id="2147483875" r:id="rId45"/>
    <p:sldLayoutId id="2147483876" r:id="rId46"/>
    <p:sldLayoutId id="2147483877" r:id="rId47"/>
    <p:sldLayoutId id="2147483878" r:id="rId48"/>
    <p:sldLayoutId id="2147483879" r:id="rId49"/>
    <p:sldLayoutId id="2147483880" r:id="rId50"/>
    <p:sldLayoutId id="2147483881" r:id="rId51"/>
    <p:sldLayoutId id="2147483882" r:id="rId52"/>
    <p:sldLayoutId id="2147483883" r:id="rId53"/>
    <p:sldLayoutId id="2147483884" r:id="rId54"/>
    <p:sldLayoutId id="2147483885" r:id="rId55"/>
    <p:sldLayoutId id="2147483886" r:id="rId56"/>
    <p:sldLayoutId id="2147483887" r:id="rId57"/>
    <p:sldLayoutId id="2147483888" r:id="rId58"/>
    <p:sldLayoutId id="2147483889" r:id="rId59"/>
    <p:sldLayoutId id="2147483890" r:id="rId60"/>
    <p:sldLayoutId id="2147483891" r:id="rId61"/>
    <p:sldLayoutId id="2147483892" r:id="rId62"/>
    <p:sldLayoutId id="2147483893" r:id="rId63"/>
    <p:sldLayoutId id="2147483894" r:id="rId64"/>
    <p:sldLayoutId id="2147483895" r:id="rId65"/>
    <p:sldLayoutId id="2147483896" r:id="rId66"/>
    <p:sldLayoutId id="2147483897" r:id="rId67"/>
    <p:sldLayoutId id="2147483898" r:id="rId68"/>
    <p:sldLayoutId id="2147483899" r:id="rId69"/>
    <p:sldLayoutId id="2147483900" r:id="rId70"/>
    <p:sldLayoutId id="2147483901" r:id="rId71"/>
    <p:sldLayoutId id="2147483902" r:id="rId72"/>
    <p:sldLayoutId id="2147483903" r:id="rId73"/>
    <p:sldLayoutId id="2147483904" r:id="rId74"/>
    <p:sldLayoutId id="2147483905" r:id="rId75"/>
    <p:sldLayoutId id="2147483906" r:id="rId76"/>
    <p:sldLayoutId id="2147483907" r:id="rId77"/>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Rostelecom Basis" panose="020B0604020202020204" pitchFamily="34" charset="0"/>
        <a:buNone/>
        <a:defRPr sz="1410"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1410"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410"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410"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410"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10805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Lst>
  <p:transition spd="med"/>
  <p:hf hdr="0"/>
  <p:txStyles>
    <p:titleStyle>
      <a:lvl1pPr marL="0" marR="0" indent="0"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1pPr>
      <a:lvl2pPr marL="0" marR="0" indent="114297"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2pPr>
      <a:lvl3pPr marL="0" marR="0" indent="228594"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3pPr>
      <a:lvl4pPr marL="0" marR="0" indent="342891"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4pPr>
      <a:lvl5pPr marL="0" marR="0" indent="457189"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5pPr>
      <a:lvl6pPr marL="0" marR="0" indent="571486"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6pPr>
      <a:lvl7pPr marL="0" marR="0" indent="685783"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7pPr>
      <a:lvl8pPr marL="0" marR="0" indent="800080"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8pPr>
      <a:lvl9pPr marL="0" marR="0" indent="914377" algn="ctr" defTabSz="412740"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9pPr>
    </p:titleStyle>
    <p:bodyStyle>
      <a:lvl1pPr marL="317492"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1pPr>
      <a:lvl2pPr marL="634984"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2pPr>
      <a:lvl3pPr marL="952476"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3pPr>
      <a:lvl4pPr marL="1269968"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4pPr>
      <a:lvl5pPr marL="1587460"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5pPr>
      <a:lvl6pPr marL="1904952"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6pPr>
      <a:lvl7pPr marL="2222444"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7pPr>
      <a:lvl8pPr marL="2539937"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8pPr>
      <a:lvl9pPr marL="2857429" marR="0" indent="-317492" algn="l" defTabSz="412740" eaLnBrk="1" latinLnBrk="0" hangingPunct="1">
        <a:lnSpc>
          <a:spcPct val="100000"/>
        </a:lnSpc>
        <a:spcBef>
          <a:spcPts val="2951"/>
        </a:spcBef>
        <a:spcAft>
          <a:spcPts val="0"/>
        </a:spcAft>
        <a:buClrTx/>
        <a:buSzPct val="125000"/>
        <a:buFontTx/>
        <a:buChar char="•"/>
        <a:tabLst/>
        <a:defRPr sz="26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297"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594"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891"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189"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486"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783"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080"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377" algn="ctr" defTabSz="41274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696716"/>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Lst>
  <p:hf hdr="0"/>
  <p:txStyles>
    <p:titleStyle>
      <a:lvl1pPr algn="l" defTabSz="457189" rtl="0" eaLnBrk="1" latinLnBrk="0" hangingPunct="1">
        <a:lnSpc>
          <a:spcPct val="90000"/>
        </a:lnSpc>
        <a:spcBef>
          <a:spcPct val="0"/>
        </a:spcBef>
        <a:buNone/>
        <a:defRPr sz="2200" kern="1200">
          <a:solidFill>
            <a:schemeClr val="tx1"/>
          </a:solidFill>
          <a:latin typeface="+mj-lt"/>
          <a:ea typeface="+mj-ea"/>
          <a:cs typeface="+mj-cs"/>
        </a:defRPr>
      </a:lvl1pPr>
    </p:titleStyle>
    <p:bodyStyle>
      <a:lvl1pPr marL="114297" indent="-114297" algn="l" defTabSz="457189" rtl="0" eaLnBrk="1" latinLnBrk="0" hangingPunct="1">
        <a:lnSpc>
          <a:spcPct val="90000"/>
        </a:lnSpc>
        <a:spcBef>
          <a:spcPts val="500"/>
        </a:spcBef>
        <a:buFont typeface="Arial"/>
        <a:buChar char="•"/>
        <a:defRPr sz="1400" kern="1200">
          <a:solidFill>
            <a:schemeClr val="tx1"/>
          </a:solidFill>
          <a:latin typeface="+mn-lt"/>
          <a:ea typeface="+mn-ea"/>
          <a:cs typeface="+mn-cs"/>
        </a:defRPr>
      </a:lvl1pPr>
      <a:lvl2pPr marL="342891" indent="-114297" algn="l" defTabSz="457189" rtl="0" eaLnBrk="1" latinLnBrk="0" hangingPunct="1">
        <a:lnSpc>
          <a:spcPct val="90000"/>
        </a:lnSpc>
        <a:spcBef>
          <a:spcPts val="251"/>
        </a:spcBef>
        <a:buFont typeface="Arial"/>
        <a:buChar char="•"/>
        <a:defRPr sz="1200" kern="1200">
          <a:solidFill>
            <a:schemeClr val="tx1"/>
          </a:solidFill>
          <a:latin typeface="+mn-lt"/>
          <a:ea typeface="+mn-ea"/>
          <a:cs typeface="+mn-cs"/>
        </a:defRPr>
      </a:lvl2pPr>
      <a:lvl3pPr marL="571486" indent="-114297" algn="l" defTabSz="457189" rtl="0" eaLnBrk="1" latinLnBrk="0" hangingPunct="1">
        <a:lnSpc>
          <a:spcPct val="90000"/>
        </a:lnSpc>
        <a:spcBef>
          <a:spcPts val="251"/>
        </a:spcBef>
        <a:buFont typeface="Arial"/>
        <a:buChar char="•"/>
        <a:defRPr sz="1000" kern="1200">
          <a:solidFill>
            <a:schemeClr val="tx1"/>
          </a:solidFill>
          <a:latin typeface="+mn-lt"/>
          <a:ea typeface="+mn-ea"/>
          <a:cs typeface="+mn-cs"/>
        </a:defRPr>
      </a:lvl3pPr>
      <a:lvl4pPr marL="800080" indent="-114297" algn="l" defTabSz="457189" rtl="0" eaLnBrk="1" latinLnBrk="0" hangingPunct="1">
        <a:lnSpc>
          <a:spcPct val="90000"/>
        </a:lnSpc>
        <a:spcBef>
          <a:spcPts val="251"/>
        </a:spcBef>
        <a:buFont typeface="Arial"/>
        <a:buChar char="•"/>
        <a:defRPr sz="900" kern="1200">
          <a:solidFill>
            <a:schemeClr val="tx1"/>
          </a:solidFill>
          <a:latin typeface="+mn-lt"/>
          <a:ea typeface="+mn-ea"/>
          <a:cs typeface="+mn-cs"/>
        </a:defRPr>
      </a:lvl4pPr>
      <a:lvl5pPr marL="1028674" indent="-114297" algn="l" defTabSz="457189" rtl="0" eaLnBrk="1" latinLnBrk="0" hangingPunct="1">
        <a:lnSpc>
          <a:spcPct val="90000"/>
        </a:lnSpc>
        <a:spcBef>
          <a:spcPts val="251"/>
        </a:spcBef>
        <a:buFont typeface="Arial"/>
        <a:buChar char="•"/>
        <a:defRPr sz="900" kern="1200">
          <a:solidFill>
            <a:schemeClr val="tx1"/>
          </a:solidFill>
          <a:latin typeface="+mn-lt"/>
          <a:ea typeface="+mn-ea"/>
          <a:cs typeface="+mn-cs"/>
        </a:defRPr>
      </a:lvl5pPr>
      <a:lvl6pPr marL="1257269" indent="-114297" algn="l" defTabSz="457189" rtl="0" eaLnBrk="1" latinLnBrk="0" hangingPunct="1">
        <a:lnSpc>
          <a:spcPct val="90000"/>
        </a:lnSpc>
        <a:spcBef>
          <a:spcPts val="251"/>
        </a:spcBef>
        <a:buFont typeface="Arial"/>
        <a:buChar char="•"/>
        <a:defRPr sz="900" kern="1200">
          <a:solidFill>
            <a:schemeClr val="tx1"/>
          </a:solidFill>
          <a:latin typeface="+mn-lt"/>
          <a:ea typeface="+mn-ea"/>
          <a:cs typeface="+mn-cs"/>
        </a:defRPr>
      </a:lvl6pPr>
      <a:lvl7pPr marL="1485863" indent="-114297" algn="l" defTabSz="457189" rtl="0" eaLnBrk="1" latinLnBrk="0" hangingPunct="1">
        <a:lnSpc>
          <a:spcPct val="90000"/>
        </a:lnSpc>
        <a:spcBef>
          <a:spcPts val="251"/>
        </a:spcBef>
        <a:buFont typeface="Arial"/>
        <a:buChar char="•"/>
        <a:defRPr sz="900" kern="1200">
          <a:solidFill>
            <a:schemeClr val="tx1"/>
          </a:solidFill>
          <a:latin typeface="+mn-lt"/>
          <a:ea typeface="+mn-ea"/>
          <a:cs typeface="+mn-cs"/>
        </a:defRPr>
      </a:lvl7pPr>
      <a:lvl8pPr marL="1714457" indent="-114297" algn="l" defTabSz="457189" rtl="0" eaLnBrk="1" latinLnBrk="0" hangingPunct="1">
        <a:lnSpc>
          <a:spcPct val="90000"/>
        </a:lnSpc>
        <a:spcBef>
          <a:spcPts val="251"/>
        </a:spcBef>
        <a:buFont typeface="Arial"/>
        <a:buChar char="•"/>
        <a:defRPr sz="900" kern="1200">
          <a:solidFill>
            <a:schemeClr val="tx1"/>
          </a:solidFill>
          <a:latin typeface="+mn-lt"/>
          <a:ea typeface="+mn-ea"/>
          <a:cs typeface="+mn-cs"/>
        </a:defRPr>
      </a:lvl8pPr>
      <a:lvl9pPr marL="1943051" indent="-114297" algn="l" defTabSz="457189" rtl="0" eaLnBrk="1" latinLnBrk="0" hangingPunct="1">
        <a:lnSpc>
          <a:spcPct val="90000"/>
        </a:lnSpc>
        <a:spcBef>
          <a:spcPts val="251"/>
        </a:spcBef>
        <a:buFont typeface="Arial"/>
        <a:buChar char="•"/>
        <a:defRPr sz="900" kern="1200">
          <a:solidFill>
            <a:schemeClr val="tx1"/>
          </a:solidFill>
          <a:latin typeface="+mn-lt"/>
          <a:ea typeface="+mn-ea"/>
          <a:cs typeface="+mn-cs"/>
        </a:defRPr>
      </a:lvl9pPr>
    </p:bodyStyle>
    <p:otherStyle>
      <a:defPPr>
        <a:defRPr lang="en-US"/>
      </a:defPPr>
      <a:lvl1pPr marL="0" algn="l" defTabSz="457189" rtl="0" eaLnBrk="1" latinLnBrk="0" hangingPunct="1">
        <a:defRPr sz="900" kern="1200">
          <a:solidFill>
            <a:schemeClr val="tx1"/>
          </a:solidFill>
          <a:latin typeface="+mn-lt"/>
          <a:ea typeface="+mn-ea"/>
          <a:cs typeface="+mn-cs"/>
        </a:defRPr>
      </a:lvl1pPr>
      <a:lvl2pPr marL="228594" algn="l" defTabSz="457189" rtl="0" eaLnBrk="1" latinLnBrk="0" hangingPunct="1">
        <a:defRPr sz="900" kern="1200">
          <a:solidFill>
            <a:schemeClr val="tx1"/>
          </a:solidFill>
          <a:latin typeface="+mn-lt"/>
          <a:ea typeface="+mn-ea"/>
          <a:cs typeface="+mn-cs"/>
        </a:defRPr>
      </a:lvl2pPr>
      <a:lvl3pPr marL="457189" algn="l" defTabSz="457189" rtl="0" eaLnBrk="1" latinLnBrk="0" hangingPunct="1">
        <a:defRPr sz="900" kern="1200">
          <a:solidFill>
            <a:schemeClr val="tx1"/>
          </a:solidFill>
          <a:latin typeface="+mn-lt"/>
          <a:ea typeface="+mn-ea"/>
          <a:cs typeface="+mn-cs"/>
        </a:defRPr>
      </a:lvl3pPr>
      <a:lvl4pPr marL="685783" algn="l" defTabSz="457189" rtl="0" eaLnBrk="1" latinLnBrk="0" hangingPunct="1">
        <a:defRPr sz="900" kern="1200">
          <a:solidFill>
            <a:schemeClr val="tx1"/>
          </a:solidFill>
          <a:latin typeface="+mn-lt"/>
          <a:ea typeface="+mn-ea"/>
          <a:cs typeface="+mn-cs"/>
        </a:defRPr>
      </a:lvl4pPr>
      <a:lvl5pPr marL="914377" algn="l" defTabSz="457189" rtl="0" eaLnBrk="1" latinLnBrk="0" hangingPunct="1">
        <a:defRPr sz="900" kern="1200">
          <a:solidFill>
            <a:schemeClr val="tx1"/>
          </a:solidFill>
          <a:latin typeface="+mn-lt"/>
          <a:ea typeface="+mn-ea"/>
          <a:cs typeface="+mn-cs"/>
        </a:defRPr>
      </a:lvl5pPr>
      <a:lvl6pPr marL="1142971" algn="l" defTabSz="457189" rtl="0" eaLnBrk="1" latinLnBrk="0" hangingPunct="1">
        <a:defRPr sz="900" kern="1200">
          <a:solidFill>
            <a:schemeClr val="tx1"/>
          </a:solidFill>
          <a:latin typeface="+mn-lt"/>
          <a:ea typeface="+mn-ea"/>
          <a:cs typeface="+mn-cs"/>
        </a:defRPr>
      </a:lvl6pPr>
      <a:lvl7pPr marL="1371566" algn="l" defTabSz="457189" rtl="0" eaLnBrk="1" latinLnBrk="0" hangingPunct="1">
        <a:defRPr sz="900" kern="1200">
          <a:solidFill>
            <a:schemeClr val="tx1"/>
          </a:solidFill>
          <a:latin typeface="+mn-lt"/>
          <a:ea typeface="+mn-ea"/>
          <a:cs typeface="+mn-cs"/>
        </a:defRPr>
      </a:lvl7pPr>
      <a:lvl8pPr marL="1600160" algn="l" defTabSz="457189" rtl="0" eaLnBrk="1" latinLnBrk="0" hangingPunct="1">
        <a:defRPr sz="900" kern="1200">
          <a:solidFill>
            <a:schemeClr val="tx1"/>
          </a:solidFill>
          <a:latin typeface="+mn-lt"/>
          <a:ea typeface="+mn-ea"/>
          <a:cs typeface="+mn-cs"/>
        </a:defRPr>
      </a:lvl8pPr>
      <a:lvl9pPr marL="1828754" algn="l" defTabSz="457189" rtl="0" eaLnBrk="1" latinLnBrk="0" hangingPunct="1">
        <a:defRPr sz="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530A15-CBA6-4020-BCAB-FF348BFB739D}"/>
              </a:ext>
            </a:extLst>
          </p:cNvPr>
          <p:cNvGraphicFramePr>
            <a:graphicFrameLocks noChangeAspect="1"/>
          </p:cNvGraphicFramePr>
          <p:nvPr userDrawn="1">
            <p:custDataLst>
              <p:tags r:id="rId38"/>
            </p:custDataLst>
            <p:extLst/>
          </p:nvPr>
        </p:nvGraphicFramePr>
        <p:xfrm>
          <a:off x="1400" y="1401"/>
          <a:ext cx="1400" cy="1401"/>
        </p:xfrm>
        <a:graphic>
          <a:graphicData uri="http://schemas.openxmlformats.org/presentationml/2006/ole">
            <mc:AlternateContent xmlns:mc="http://schemas.openxmlformats.org/markup-compatibility/2006">
              <mc:Choice xmlns:v="urn:schemas-microsoft-com:vml" Requires="v">
                <p:oleObj spid="_x0000_s14361" name="Слайд think-cell" r:id="rId39" imgW="473" imgH="473" progId="TCLayout.ActiveDocument.1">
                  <p:embed/>
                </p:oleObj>
              </mc:Choice>
              <mc:Fallback>
                <p:oleObj name="Слайд think-cell" r:id="rId39" imgW="473" imgH="473" progId="TCLayout.ActiveDocument.1">
                  <p:embed/>
                  <p:pic>
                    <p:nvPicPr>
                      <p:cNvPr id="3" name="Object 2" hidden="1">
                        <a:extLst>
                          <a:ext uri="{FF2B5EF4-FFF2-40B4-BE49-F238E27FC236}">
                            <a16:creationId xmlns:a16="http://schemas.microsoft.com/office/drawing/2014/main" id="{94530A15-CBA6-4020-BCAB-FF348BFB739D}"/>
                          </a:ext>
                        </a:extLst>
                      </p:cNvPr>
                      <p:cNvPicPr/>
                      <p:nvPr/>
                    </p:nvPicPr>
                    <p:blipFill>
                      <a:blip r:embed="rId40"/>
                      <a:stretch>
                        <a:fillRect/>
                      </a:stretch>
                    </p:blipFill>
                    <p:spPr>
                      <a:xfrm>
                        <a:off x="1400" y="1401"/>
                        <a:ext cx="1400" cy="1401"/>
                      </a:xfrm>
                      <a:prstGeom prst="rect">
                        <a:avLst/>
                      </a:prstGeom>
                    </p:spPr>
                  </p:pic>
                </p:oleObj>
              </mc:Fallback>
            </mc:AlternateContent>
          </a:graphicData>
        </a:graphic>
      </p:graphicFrame>
      <p:sp>
        <p:nvSpPr>
          <p:cNvPr id="4" name="Rectangle 13">
            <a:extLst>
              <a:ext uri="{FF2B5EF4-FFF2-40B4-BE49-F238E27FC236}">
                <a16:creationId xmlns:a16="http://schemas.microsoft.com/office/drawing/2014/main" id="{0A670F2B-033E-4BCC-90DF-5A47C6D209F0}"/>
              </a:ext>
            </a:extLst>
          </p:cNvPr>
          <p:cNvSpPr/>
          <p:nvPr userDrawn="1"/>
        </p:nvSpPr>
        <p:spPr>
          <a:xfrm>
            <a:off x="11924806" y="6568876"/>
            <a:ext cx="267194" cy="289124"/>
          </a:xfrm>
          <a:prstGeom prst="rect">
            <a:avLst/>
          </a:prstGeom>
          <a:solidFill>
            <a:schemeClr val="accent6"/>
          </a:solidFill>
          <a:ln>
            <a:noFill/>
          </a:ln>
        </p:spPr>
        <p:txBody>
          <a:bodyPr vert="horz" wrap="square" lIns="93212" tIns="46605" rIns="93212" bIns="46605" numCol="1" anchor="t" anchorCtr="0" compatLnSpc="1">
            <a:prstTxWarp prst="textNoShape">
              <a:avLst/>
            </a:prstTxWarp>
          </a:bodyPr>
          <a:lstStyle/>
          <a:p>
            <a:endParaRPr lang="ru-RU" sz="2080">
              <a:solidFill>
                <a:schemeClr val="tx1"/>
              </a:solidFill>
              <a:latin typeface="+mn-lt"/>
              <a:ea typeface="+mn-ea"/>
              <a:cs typeface="+mn-cs"/>
            </a:endParaRPr>
          </a:p>
        </p:txBody>
      </p:sp>
      <p:sp>
        <p:nvSpPr>
          <p:cNvPr id="5" name="Slide Number"/>
          <p:cNvSpPr txBox="1">
            <a:spLocks/>
          </p:cNvSpPr>
          <p:nvPr userDrawn="1"/>
        </p:nvSpPr>
        <p:spPr bwMode="gray">
          <a:xfrm>
            <a:off x="11988672" y="6640564"/>
            <a:ext cx="139462" cy="125419"/>
          </a:xfrm>
          <a:prstGeom prst="rect">
            <a:avLst/>
          </a:prstGeom>
        </p:spPr>
        <p:txBody>
          <a:bodyPr vert="horz" wrap="none" lIns="0" tIns="0" rIns="0" bIns="0" rtlCol="0" anchor="ctr">
            <a:spAutoFit/>
          </a:bodyPr>
          <a:lstStyle>
            <a:defPPr>
              <a:defRPr lang="ru-RU"/>
            </a:defPPr>
            <a:lvl1pPr>
              <a:defRPr sz="1000" baseline="0">
                <a:latin typeface="+mn-lt"/>
              </a:defRPr>
            </a:lvl1pPr>
          </a:lstStyle>
          <a:p>
            <a:pPr lvl="0" algn="ctr"/>
            <a:fld id="{42C328C1-A84F-4A39-A664-DBA00541A8C6}" type="slidenum">
              <a:rPr lang="ru-RU" sz="815" smtClean="0">
                <a:solidFill>
                  <a:schemeClr val="bg1"/>
                </a:solidFill>
                <a:latin typeface="+mn-lt"/>
                <a:ea typeface="+mn-ea"/>
                <a:cs typeface="+mn-cs"/>
              </a:rPr>
              <a:pPr lvl="0" algn="ctr"/>
              <a:t>‹#›</a:t>
            </a:fld>
            <a:endParaRPr lang="ru-RU" sz="815" dirty="0">
              <a:solidFill>
                <a:schemeClr val="bg1"/>
              </a:solidFill>
              <a:latin typeface="+mn-lt"/>
              <a:ea typeface="+mn-ea"/>
              <a:cs typeface="+mn-cs"/>
            </a:endParaRPr>
          </a:p>
        </p:txBody>
      </p:sp>
    </p:spTree>
    <p:extLst>
      <p:ext uri="{BB962C8B-B14F-4D97-AF65-F5344CB8AC3E}">
        <p14:creationId xmlns:p14="http://schemas.microsoft.com/office/powerpoint/2010/main" val="1546688868"/>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 id="2147483970" r:id="rId22"/>
    <p:sldLayoutId id="2147483971" r:id="rId23"/>
    <p:sldLayoutId id="2147483972" r:id="rId24"/>
    <p:sldLayoutId id="2147483973" r:id="rId25"/>
    <p:sldLayoutId id="2147483974" r:id="rId26"/>
    <p:sldLayoutId id="2147483975" r:id="rId27"/>
    <p:sldLayoutId id="2147483976" r:id="rId28"/>
    <p:sldLayoutId id="2147483977" r:id="rId29"/>
    <p:sldLayoutId id="2147483978" r:id="rId30"/>
    <p:sldLayoutId id="2147483979" r:id="rId31"/>
    <p:sldLayoutId id="2147483980" r:id="rId32"/>
    <p:sldLayoutId id="2147483981" r:id="rId33"/>
    <p:sldLayoutId id="2147483982" r:id="rId34"/>
    <p:sldLayoutId id="2147483983" r:id="rId35"/>
  </p:sldLayoutIdLst>
  <p:txStyles>
    <p:titleStyle>
      <a:lvl1pPr algn="l" defTabSz="806044" rtl="0" eaLnBrk="1" latinLnBrk="0" hangingPunct="1">
        <a:lnSpc>
          <a:spcPct val="90000"/>
        </a:lnSpc>
        <a:spcBef>
          <a:spcPct val="0"/>
        </a:spcBef>
        <a:buNone/>
        <a:defRPr sz="3879" kern="1200">
          <a:solidFill>
            <a:schemeClr val="tx1"/>
          </a:solidFill>
          <a:latin typeface="+mj-lt"/>
          <a:ea typeface="+mj-ea"/>
          <a:cs typeface="+mj-cs"/>
        </a:defRPr>
      </a:lvl1pPr>
    </p:titleStyle>
    <p:bodyStyle>
      <a:lvl1pPr marL="0" indent="0" algn="l" defTabSz="806044" rtl="0" eaLnBrk="1" latinLnBrk="0" hangingPunct="1">
        <a:lnSpc>
          <a:spcPct val="90000"/>
        </a:lnSpc>
        <a:spcBef>
          <a:spcPts val="882"/>
        </a:spcBef>
        <a:buFont typeface="Rostelecom Basis" panose="020B0604020202020204" pitchFamily="34" charset="0"/>
        <a:buNone/>
        <a:defRPr sz="1234" b="1" kern="1200">
          <a:solidFill>
            <a:schemeClr val="tx1"/>
          </a:solidFill>
          <a:latin typeface="Rostelecom Basis Medium" panose="020B0603030604040103" pitchFamily="34" charset="0"/>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p:bodyStyle>
    <p:otherStyle>
      <a:defPPr>
        <a:defRPr lang="ru-RU"/>
      </a:defPPr>
      <a:lvl1pPr marL="0" algn="l" defTabSz="806044" rtl="0" eaLnBrk="1" latinLnBrk="0" hangingPunct="1">
        <a:defRPr sz="1587" kern="1200">
          <a:solidFill>
            <a:schemeClr val="tx1"/>
          </a:solidFill>
          <a:latin typeface="+mn-lt"/>
          <a:ea typeface="+mn-ea"/>
          <a:cs typeface="+mn-cs"/>
        </a:defRPr>
      </a:lvl1pPr>
      <a:lvl2pPr marL="403022" algn="l" defTabSz="806044" rtl="0" eaLnBrk="1" latinLnBrk="0" hangingPunct="1">
        <a:defRPr sz="1587" kern="1200">
          <a:solidFill>
            <a:schemeClr val="tx1"/>
          </a:solidFill>
          <a:latin typeface="+mn-lt"/>
          <a:ea typeface="+mn-ea"/>
          <a:cs typeface="+mn-cs"/>
        </a:defRPr>
      </a:lvl2pPr>
      <a:lvl3pPr marL="806044" algn="l" defTabSz="806044" rtl="0" eaLnBrk="1" latinLnBrk="0" hangingPunct="1">
        <a:defRPr sz="1587" kern="1200">
          <a:solidFill>
            <a:schemeClr val="tx1"/>
          </a:solidFill>
          <a:latin typeface="+mn-lt"/>
          <a:ea typeface="+mn-ea"/>
          <a:cs typeface="+mn-cs"/>
        </a:defRPr>
      </a:lvl3pPr>
      <a:lvl4pPr marL="1209065" algn="l" defTabSz="806044" rtl="0" eaLnBrk="1" latinLnBrk="0" hangingPunct="1">
        <a:defRPr sz="1587" kern="1200">
          <a:solidFill>
            <a:schemeClr val="tx1"/>
          </a:solidFill>
          <a:latin typeface="+mn-lt"/>
          <a:ea typeface="+mn-ea"/>
          <a:cs typeface="+mn-cs"/>
        </a:defRPr>
      </a:lvl4pPr>
      <a:lvl5pPr marL="1612087" algn="l" defTabSz="806044" rtl="0" eaLnBrk="1" latinLnBrk="0" hangingPunct="1">
        <a:defRPr sz="1587" kern="1200">
          <a:solidFill>
            <a:schemeClr val="tx1"/>
          </a:solidFill>
          <a:latin typeface="+mn-lt"/>
          <a:ea typeface="+mn-ea"/>
          <a:cs typeface="+mn-cs"/>
        </a:defRPr>
      </a:lvl5pPr>
      <a:lvl6pPr marL="2015109" algn="l" defTabSz="806044" rtl="0" eaLnBrk="1" latinLnBrk="0" hangingPunct="1">
        <a:defRPr sz="1587" kern="1200">
          <a:solidFill>
            <a:schemeClr val="tx1"/>
          </a:solidFill>
          <a:latin typeface="+mn-lt"/>
          <a:ea typeface="+mn-ea"/>
          <a:cs typeface="+mn-cs"/>
        </a:defRPr>
      </a:lvl6pPr>
      <a:lvl7pPr marL="2418131" algn="l" defTabSz="806044" rtl="0" eaLnBrk="1" latinLnBrk="0" hangingPunct="1">
        <a:defRPr sz="1587" kern="1200">
          <a:solidFill>
            <a:schemeClr val="tx1"/>
          </a:solidFill>
          <a:latin typeface="+mn-lt"/>
          <a:ea typeface="+mn-ea"/>
          <a:cs typeface="+mn-cs"/>
        </a:defRPr>
      </a:lvl7pPr>
      <a:lvl8pPr marL="2821153" algn="l" defTabSz="806044" rtl="0" eaLnBrk="1" latinLnBrk="0" hangingPunct="1">
        <a:defRPr sz="1587" kern="1200">
          <a:solidFill>
            <a:schemeClr val="tx1"/>
          </a:solidFill>
          <a:latin typeface="+mn-lt"/>
          <a:ea typeface="+mn-ea"/>
          <a:cs typeface="+mn-cs"/>
        </a:defRPr>
      </a:lvl8pPr>
      <a:lvl9pPr marL="3224174" algn="l" defTabSz="806044" rtl="0" eaLnBrk="1" latinLnBrk="0" hangingPunct="1">
        <a:defRPr sz="158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8">
          <p15:clr>
            <a:srgbClr val="F26B43"/>
          </p15:clr>
        </p15:guide>
        <p15:guide id="2" pos="3746">
          <p15:clr>
            <a:srgbClr val="F26B43"/>
          </p15:clr>
        </p15:guide>
        <p15:guide id="3" pos="4271">
          <p15:clr>
            <a:srgbClr val="F26B43"/>
          </p15:clr>
        </p15:guide>
        <p15:guide id="4" pos="4434">
          <p15:clr>
            <a:srgbClr val="F26B43"/>
          </p15:clr>
        </p15:guide>
        <p15:guide id="5" pos="1514">
          <p15:clr>
            <a:srgbClr val="F26B43"/>
          </p15:clr>
        </p15:guide>
        <p15:guide id="6" pos="5127">
          <p15:clr>
            <a:srgbClr val="F26B43"/>
          </p15:clr>
        </p15:guide>
        <p15:guide id="7" pos="4961">
          <p15:clr>
            <a:srgbClr val="F26B43"/>
          </p15:clr>
        </p15:guide>
        <p15:guide id="8" pos="5651">
          <p15:clr>
            <a:srgbClr val="F26B43"/>
          </p15:clr>
        </p15:guide>
        <p15:guide id="9" pos="2893">
          <p15:clr>
            <a:srgbClr val="F26B43"/>
          </p15:clr>
        </p15:guide>
        <p15:guide id="11" pos="3585">
          <p15:clr>
            <a:srgbClr val="F26B43"/>
          </p15:clr>
        </p15:guide>
        <p15:guide id="12" pos="2207">
          <p15:clr>
            <a:srgbClr val="F26B43"/>
          </p15:clr>
        </p15:guide>
        <p15:guide id="13" pos="2371">
          <p15:clr>
            <a:srgbClr val="F26B43"/>
          </p15:clr>
        </p15:guide>
        <p15:guide id="14" pos="1680">
          <p15:clr>
            <a:srgbClr val="F26B43"/>
          </p15:clr>
        </p15:guide>
        <p15:guide id="15" pos="3056">
          <p15:clr>
            <a:srgbClr val="F26B43"/>
          </p15:clr>
        </p15:guide>
        <p15:guide id="16" pos="6343">
          <p15:clr>
            <a:srgbClr val="F26B43"/>
          </p15:clr>
        </p15:guide>
        <p15:guide id="17" pos="5815">
          <p15:clr>
            <a:srgbClr val="F26B43"/>
          </p15:clr>
        </p15:guide>
        <p15:guide id="18" pos="6506">
          <p15:clr>
            <a:srgbClr val="F26B43"/>
          </p15:clr>
        </p15:guide>
        <p15:guide id="19" pos="7721">
          <p15:clr>
            <a:srgbClr val="F26B43"/>
          </p15:clr>
        </p15:guide>
        <p15:guide id="20" pos="7032">
          <p15:clr>
            <a:srgbClr val="F26B43"/>
          </p15:clr>
        </p15:guide>
        <p15:guide id="21" pos="7194">
          <p15:clr>
            <a:srgbClr val="F26B43"/>
          </p15:clr>
        </p15:guide>
        <p15:guide id="22" pos="8413">
          <p15:clr>
            <a:srgbClr val="F26B43"/>
          </p15:clr>
        </p15:guide>
        <p15:guide id="24" pos="7885">
          <p15:clr>
            <a:srgbClr val="F26B43"/>
          </p15:clr>
        </p15:guide>
        <p15:guide id="25" pos="990">
          <p15:clr>
            <a:srgbClr val="F26B43"/>
          </p15:clr>
        </p15:guide>
        <p15:guide id="26" pos="827">
          <p15:clr>
            <a:srgbClr val="F26B43"/>
          </p15:clr>
        </p15:guide>
        <p15:guide id="27" orient="horz" pos="299">
          <p15:clr>
            <a:srgbClr val="F26B43"/>
          </p15:clr>
        </p15:guide>
        <p15:guide id="28" orient="horz" pos="679">
          <p15:clr>
            <a:srgbClr val="F26B43"/>
          </p15:clr>
        </p15:guide>
        <p15:guide id="29" orient="horz" pos="833">
          <p15:clr>
            <a:srgbClr val="F26B43"/>
          </p15:clr>
        </p15:guide>
        <p15:guide id="30" orient="horz" pos="1213">
          <p15:clr>
            <a:srgbClr val="F26B43"/>
          </p15:clr>
        </p15:guide>
        <p15:guide id="31" orient="horz" pos="1368">
          <p15:clr>
            <a:srgbClr val="F26B43"/>
          </p15:clr>
        </p15:guide>
        <p15:guide id="32" orient="horz" pos="1744">
          <p15:clr>
            <a:srgbClr val="F26B43"/>
          </p15:clr>
        </p15:guide>
        <p15:guide id="33" orient="horz" pos="1899">
          <p15:clr>
            <a:srgbClr val="F26B43"/>
          </p15:clr>
        </p15:guide>
        <p15:guide id="34" orient="horz" pos="2277">
          <p15:clr>
            <a:srgbClr val="F26B43"/>
          </p15:clr>
        </p15:guide>
        <p15:guide id="35" orient="horz" pos="2433">
          <p15:clr>
            <a:srgbClr val="F26B43"/>
          </p15:clr>
        </p15:guide>
        <p15:guide id="36" orient="horz" pos="4032">
          <p15:clr>
            <a:srgbClr val="F26B43"/>
          </p15:clr>
        </p15:guide>
        <p15:guide id="37" orient="horz" pos="2963">
          <p15:clr>
            <a:srgbClr val="F26B43"/>
          </p15:clr>
        </p15:guide>
        <p15:guide id="38" orient="horz" pos="4406">
          <p15:clr>
            <a:srgbClr val="F26B43"/>
          </p15:clr>
        </p15:guide>
        <p15:guide id="39" orient="horz" pos="3875">
          <p15:clr>
            <a:srgbClr val="F26B43"/>
          </p15:clr>
        </p15:guide>
        <p15:guide id="40" orient="horz" pos="2808">
          <p15:clr>
            <a:srgbClr val="F26B43"/>
          </p15:clr>
        </p15:guide>
        <p15:guide id="41" orient="horz" pos="3499">
          <p15:clr>
            <a:srgbClr val="F26B43"/>
          </p15:clr>
        </p15:guide>
        <p15:guide id="42" orient="horz" pos="3341">
          <p15:clr>
            <a:srgbClr val="F26B43"/>
          </p15:clr>
        </p15:guide>
        <p15:guide id="43" orient="horz" pos="465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57.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18.png"/><Relationship Id="rId2" Type="http://schemas.openxmlformats.org/officeDocument/2006/relationships/chart" Target="../charts/chart1.xml"/><Relationship Id="rId1" Type="http://schemas.openxmlformats.org/officeDocument/2006/relationships/slideLayout" Target="../slideLayouts/slideLayout2.xml"/><Relationship Id="rId6" Type="http://schemas.microsoft.com/office/2007/relationships/hdphoto" Target="../media/hdphoto2.wdp"/><Relationship Id="rId5" Type="http://schemas.openxmlformats.org/officeDocument/2006/relationships/image" Target="../media/image17.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8" Type="http://schemas.microsoft.com/office/2007/relationships/hdphoto" Target="../media/hdphoto5.wdp"/><Relationship Id="rId13"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1.png"/><Relationship Id="rId12" Type="http://schemas.microsoft.com/office/2007/relationships/hdphoto" Target="../media/hdphoto7.wdp"/><Relationship Id="rId2" Type="http://schemas.openxmlformats.org/officeDocument/2006/relationships/image" Target="../media/image18.png"/><Relationship Id="rId1" Type="http://schemas.openxmlformats.org/officeDocument/2006/relationships/slideLayout" Target="../slideLayouts/slideLayout2.xml"/><Relationship Id="rId6" Type="http://schemas.microsoft.com/office/2007/relationships/hdphoto" Target="../media/hdphoto4.wdp"/><Relationship Id="rId11" Type="http://schemas.openxmlformats.org/officeDocument/2006/relationships/image" Target="../media/image23.png"/><Relationship Id="rId5" Type="http://schemas.openxmlformats.org/officeDocument/2006/relationships/image" Target="../media/image20.png"/><Relationship Id="rId10" Type="http://schemas.microsoft.com/office/2007/relationships/hdphoto" Target="../media/hdphoto6.wdp"/><Relationship Id="rId4" Type="http://schemas.microsoft.com/office/2007/relationships/hdphoto" Target="../media/hdphoto3.wdp"/><Relationship Id="rId9" Type="http://schemas.openxmlformats.org/officeDocument/2006/relationships/image" Target="../media/image22.png"/><Relationship Id="rId14" Type="http://schemas.microsoft.com/office/2007/relationships/hdphoto" Target="../media/hdphoto8.wdp"/></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microsoft.com/office/2007/relationships/hdphoto" Target="../media/hdphoto5.wdp"/><Relationship Id="rId3" Type="http://schemas.openxmlformats.org/officeDocument/2006/relationships/slideLayout" Target="../slideLayouts/slideLayout120.xml"/><Relationship Id="rId7" Type="http://schemas.openxmlformats.org/officeDocument/2006/relationships/image" Target="../media/image25.emf"/><Relationship Id="rId12" Type="http://schemas.openxmlformats.org/officeDocument/2006/relationships/image" Target="../media/image21.png"/><Relationship Id="rId17" Type="http://schemas.openxmlformats.org/officeDocument/2006/relationships/image" Target="../media/image29.png"/><Relationship Id="rId2" Type="http://schemas.openxmlformats.org/officeDocument/2006/relationships/tags" Target="../tags/tag14.xml"/><Relationship Id="rId16" Type="http://schemas.openxmlformats.org/officeDocument/2006/relationships/image" Target="../media/image28.png"/><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microsoft.com/office/2007/relationships/hdphoto" Target="../media/hdphoto3.wdp"/><Relationship Id="rId5" Type="http://schemas.openxmlformats.org/officeDocument/2006/relationships/image" Target="../media/image26.png"/><Relationship Id="rId15" Type="http://schemas.openxmlformats.org/officeDocument/2006/relationships/image" Target="../media/image27.png"/><Relationship Id="rId10" Type="http://schemas.openxmlformats.org/officeDocument/2006/relationships/image" Target="../media/image19.png"/><Relationship Id="rId4" Type="http://schemas.openxmlformats.org/officeDocument/2006/relationships/notesSlide" Target="../notesSlides/notesSlide1.xml"/><Relationship Id="rId9" Type="http://schemas.microsoft.com/office/2007/relationships/hdphoto" Target="../media/hdphoto4.wdp"/><Relationship Id="rId14"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22.png"/><Relationship Id="rId18" Type="http://schemas.microsoft.com/office/2007/relationships/hdphoto" Target="../media/hdphoto9.wdp"/><Relationship Id="rId3" Type="http://schemas.openxmlformats.org/officeDocument/2006/relationships/slideLayout" Target="../slideLayouts/slideLayout120.xml"/><Relationship Id="rId7" Type="http://schemas.openxmlformats.org/officeDocument/2006/relationships/image" Target="../media/image18.png"/><Relationship Id="rId12" Type="http://schemas.openxmlformats.org/officeDocument/2006/relationships/image" Target="../media/image32.png"/><Relationship Id="rId17" Type="http://schemas.openxmlformats.org/officeDocument/2006/relationships/image" Target="../media/image33.png"/><Relationship Id="rId2" Type="http://schemas.openxmlformats.org/officeDocument/2006/relationships/tags" Target="../tags/tag15.xml"/><Relationship Id="rId16" Type="http://schemas.microsoft.com/office/2007/relationships/hdphoto" Target="../media/hdphoto7.wdp"/><Relationship Id="rId1" Type="http://schemas.openxmlformats.org/officeDocument/2006/relationships/vmlDrawing" Target="../drawings/vmlDrawing11.vml"/><Relationship Id="rId6" Type="http://schemas.openxmlformats.org/officeDocument/2006/relationships/image" Target="../media/image25.emf"/><Relationship Id="rId11" Type="http://schemas.openxmlformats.org/officeDocument/2006/relationships/image" Target="../media/image31.png"/><Relationship Id="rId5" Type="http://schemas.openxmlformats.org/officeDocument/2006/relationships/oleObject" Target="../embeddings/oleObject10.bin"/><Relationship Id="rId15" Type="http://schemas.openxmlformats.org/officeDocument/2006/relationships/image" Target="../media/image23.png"/><Relationship Id="rId10" Type="http://schemas.openxmlformats.org/officeDocument/2006/relationships/image" Target="../media/image30.png"/><Relationship Id="rId4" Type="http://schemas.openxmlformats.org/officeDocument/2006/relationships/notesSlide" Target="../notesSlides/notesSlide2.xml"/><Relationship Id="rId9" Type="http://schemas.openxmlformats.org/officeDocument/2006/relationships/image" Target="../media/image29.png"/><Relationship Id="rId14" Type="http://schemas.microsoft.com/office/2007/relationships/hdphoto" Target="../media/hdphoto6.wdp"/></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35.png"/><Relationship Id="rId4" Type="http://schemas.microsoft.com/office/2007/relationships/hdphoto" Target="../media/hdphoto10.wdp"/></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g"/><Relationship Id="rId1" Type="http://schemas.openxmlformats.org/officeDocument/2006/relationships/slideLayout" Target="../slideLayouts/slideLayout17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4AC572-7B0E-5241-BCEA-5D58868C0632}"/>
              </a:ext>
            </a:extLst>
          </p:cNvPr>
          <p:cNvSpPr>
            <a:spLocks noGrp="1"/>
          </p:cNvSpPr>
          <p:nvPr>
            <p:ph type="title"/>
          </p:nvPr>
        </p:nvSpPr>
        <p:spPr>
          <a:xfrm>
            <a:off x="580852" y="2363238"/>
            <a:ext cx="7833016" cy="2800960"/>
          </a:xfrm>
        </p:spPr>
        <p:txBody>
          <a:bodyPr/>
          <a:lstStyle/>
          <a:p>
            <a:r>
              <a:rPr lang="ru-RU" dirty="0">
                <a:effectLst>
                  <a:outerShdw blurRad="38100" dist="38100" dir="2700000" algn="tl">
                    <a:srgbClr val="000000">
                      <a:alpha val="43137"/>
                    </a:srgbClr>
                  </a:outerShdw>
                </a:effectLst>
              </a:rPr>
              <a:t>Технологические</a:t>
            </a:r>
            <a:br>
              <a:rPr lang="ru-RU" dirty="0">
                <a:effectLst>
                  <a:outerShdw blurRad="38100" dist="38100" dir="2700000" algn="tl">
                    <a:srgbClr val="000000">
                      <a:alpha val="43137"/>
                    </a:srgbClr>
                  </a:outerShdw>
                </a:effectLst>
              </a:rPr>
            </a:br>
            <a:r>
              <a:rPr lang="ru-RU" dirty="0">
                <a:effectLst>
                  <a:outerShdw blurRad="38100" dist="38100" dir="2700000" algn="tl">
                    <a:srgbClr val="000000">
                      <a:alpha val="43137"/>
                    </a:srgbClr>
                  </a:outerShdw>
                </a:effectLst>
              </a:rPr>
              <a:t>тренды</a:t>
            </a:r>
            <a:br>
              <a:rPr lang="ru-RU" dirty="0">
                <a:effectLst>
                  <a:outerShdw blurRad="38100" dist="38100" dir="2700000" algn="tl">
                    <a:srgbClr val="000000">
                      <a:alpha val="43137"/>
                    </a:srgbClr>
                  </a:outerShdw>
                </a:effectLst>
              </a:rPr>
            </a:br>
            <a:endParaRPr lang="ru-RU" dirty="0">
              <a:effectLst>
                <a:outerShdw blurRad="38100" dist="38100" dir="2700000" algn="tl">
                  <a:srgbClr val="000000">
                    <a:alpha val="43137"/>
                  </a:srgbClr>
                </a:outerShdw>
              </a:effectLst>
            </a:endParaRPr>
          </a:p>
        </p:txBody>
      </p:sp>
      <p:sp>
        <p:nvSpPr>
          <p:cNvPr id="4" name="Text Placeholder 3">
            <a:extLst>
              <a:ext uri="{FF2B5EF4-FFF2-40B4-BE49-F238E27FC236}">
                <a16:creationId xmlns:a16="http://schemas.microsoft.com/office/drawing/2014/main" id="{83754B19-6864-B346-917B-6A2CF5ADE8B0}"/>
              </a:ext>
            </a:extLst>
          </p:cNvPr>
          <p:cNvSpPr>
            <a:spLocks noGrp="1"/>
          </p:cNvSpPr>
          <p:nvPr>
            <p:ph type="body" sz="quarter" idx="12"/>
          </p:nvPr>
        </p:nvSpPr>
        <p:spPr>
          <a:xfrm>
            <a:off x="580852" y="4941723"/>
            <a:ext cx="5829300" cy="713317"/>
          </a:xfrm>
        </p:spPr>
        <p:txBody>
          <a:bodyPr/>
          <a:lstStyle/>
          <a:p>
            <a:pPr lvl="0" defTabSz="806044" rtl="0">
              <a:lnSpc>
                <a:spcPct val="90000"/>
              </a:lnSpc>
              <a:spcBef>
                <a:spcPts val="0"/>
              </a:spcBef>
              <a:buSzTx/>
            </a:pPr>
            <a:r>
              <a:rPr lang="ru-RU" sz="2400" kern="1200" dirty="0">
                <a:effectLst>
                  <a:outerShdw blurRad="38100" dist="38100" dir="2700000" algn="tl">
                    <a:srgbClr val="000000">
                      <a:alpha val="43137"/>
                    </a:srgbClr>
                  </a:outerShdw>
                </a:effectLst>
                <a:ea typeface="+mn-ea"/>
                <a:cs typeface="+mn-cs"/>
              </a:rPr>
              <a:t>Бондарович Юлия Михайловна</a:t>
            </a:r>
          </a:p>
          <a:p>
            <a:pPr lvl="0" defTabSz="806044" rtl="0">
              <a:lnSpc>
                <a:spcPct val="90000"/>
              </a:lnSpc>
              <a:spcBef>
                <a:spcPts val="0"/>
              </a:spcBef>
              <a:buSzTx/>
            </a:pPr>
            <a:endParaRPr lang="ru-RU" sz="1587" kern="1200" dirty="0">
              <a:ea typeface="+mn-ea"/>
              <a:cs typeface="+mn-cs"/>
            </a:endParaRPr>
          </a:p>
          <a:p>
            <a:pPr lvl="0" defTabSz="806044" rtl="0">
              <a:lnSpc>
                <a:spcPct val="90000"/>
              </a:lnSpc>
              <a:spcBef>
                <a:spcPts val="0"/>
              </a:spcBef>
              <a:buSzTx/>
            </a:pPr>
            <a:r>
              <a:rPr lang="ru-RU" sz="1587" kern="1200" dirty="0">
                <a:ea typeface="+mn-ea"/>
                <a:cs typeface="+mn-cs"/>
              </a:rPr>
              <a:t>Заместитель директора филиала - Директор по работе с корпоративным и государственным сегментами</a:t>
            </a:r>
          </a:p>
          <a:p>
            <a:endParaRPr lang="ru-RU" dirty="0"/>
          </a:p>
        </p:txBody>
      </p:sp>
      <p:sp>
        <p:nvSpPr>
          <p:cNvPr id="10" name="TextBox 9">
            <a:extLst>
              <a:ext uri="{FF2B5EF4-FFF2-40B4-BE49-F238E27FC236}">
                <a16:creationId xmlns:a16="http://schemas.microsoft.com/office/drawing/2014/main" id="{04A2D717-5874-8146-B56C-EA237025DE46}"/>
              </a:ext>
            </a:extLst>
          </p:cNvPr>
          <p:cNvSpPr txBox="1"/>
          <p:nvPr/>
        </p:nvSpPr>
        <p:spPr>
          <a:xfrm>
            <a:off x="3025701" y="8078101"/>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ru-RU" sz="3000" b="1" i="0" u="none" strike="noStrike" kern="0" cap="none" spc="0" normalizeH="0" baseline="0" noProof="0" dirty="0">
              <a:ln>
                <a:noFill/>
              </a:ln>
              <a:solidFill>
                <a:srgbClr val="000000"/>
              </a:solidFill>
              <a:effectLst/>
              <a:uLnTx/>
              <a:uFillTx/>
              <a:latin typeface="Helvetica Neue"/>
              <a:ea typeface="Helvetica Neue"/>
              <a:cs typeface="Helvetica Neue"/>
              <a:sym typeface="Helvetica Neue"/>
            </a:endParaRPr>
          </a:p>
        </p:txBody>
      </p:sp>
      <p:pic>
        <p:nvPicPr>
          <p:cNvPr id="7" name="Рисунок 6"/>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2460" b="2460"/>
          <a:stretch>
            <a:fillRect/>
          </a:stretch>
        </p:blipFill>
        <p:spPr/>
      </p:pic>
    </p:spTree>
    <p:extLst>
      <p:ext uri="{BB962C8B-B14F-4D97-AF65-F5344CB8AC3E}">
        <p14:creationId xmlns:p14="http://schemas.microsoft.com/office/powerpoint/2010/main" val="1498870498"/>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Заголовок 1">
            <a:extLst>
              <a:ext uri="{FF2B5EF4-FFF2-40B4-BE49-F238E27FC236}">
                <a16:creationId xmlns:a16="http://schemas.microsoft.com/office/drawing/2014/main" id="{7AC01F89-D234-4A60-981B-817DABCE834D}"/>
              </a:ext>
            </a:extLst>
          </p:cNvPr>
          <p:cNvSpPr txBox="1">
            <a:spLocks/>
          </p:cNvSpPr>
          <p:nvPr/>
        </p:nvSpPr>
        <p:spPr>
          <a:xfrm>
            <a:off x="417513" y="419102"/>
            <a:ext cx="11366499" cy="1011236"/>
          </a:xfrm>
          <a:prstGeom prst="rect">
            <a:avLst/>
          </a:prstGeom>
        </p:spPr>
        <p:txBody>
          <a:bodyPr lIns="0" tIns="0" rIns="0" bIns="0"/>
          <a:lstStyle>
            <a:lvl1pPr algn="l" defTabSz="806044" rtl="0" eaLnBrk="1" latinLnBrk="0" hangingPunct="1">
              <a:lnSpc>
                <a:spcPts val="3702"/>
              </a:lnSpc>
              <a:spcBef>
                <a:spcPct val="0"/>
              </a:spcBef>
              <a:buNone/>
              <a:defRPr sz="3526" kern="1200">
                <a:solidFill>
                  <a:schemeClr val="tx1"/>
                </a:solidFill>
                <a:latin typeface="+mj-lt"/>
                <a:ea typeface="+mj-ea"/>
                <a:cs typeface="+mj-cs"/>
              </a:defRPr>
            </a:lvl1pPr>
          </a:lstStyle>
          <a:p>
            <a:pPr>
              <a:lnSpc>
                <a:spcPct val="100000"/>
              </a:lnSpc>
            </a:pPr>
            <a:r>
              <a:rPr lang="ru-RU" sz="2400" dirty="0" smtClean="0">
                <a:latin typeface="Rostelecom Basis Medium"/>
              </a:rPr>
              <a:t>Спрос на информационные технологии в </a:t>
            </a:r>
            <a:r>
              <a:rPr lang="ru-RU" sz="2400" dirty="0">
                <a:latin typeface="Rostelecom Basis Medium"/>
              </a:rPr>
              <a:t>Цифровую </a:t>
            </a:r>
            <a:r>
              <a:rPr lang="ru-RU" sz="2400" dirty="0" smtClean="0">
                <a:latin typeface="Rostelecom Basis Medium"/>
              </a:rPr>
              <a:t>Эру</a:t>
            </a:r>
            <a:endParaRPr lang="ru-RU" sz="2400" dirty="0">
              <a:latin typeface="Rostelecom Basis Medium"/>
            </a:endParaRPr>
          </a:p>
        </p:txBody>
      </p:sp>
      <p:sp>
        <p:nvSpPr>
          <p:cNvPr id="11" name="Текст 3">
            <a:extLst>
              <a:ext uri="{FF2B5EF4-FFF2-40B4-BE49-F238E27FC236}">
                <a16:creationId xmlns:a16="http://schemas.microsoft.com/office/drawing/2014/main" id="{69B0E16B-51AF-4046-949A-DB35FEB48A8C}"/>
              </a:ext>
            </a:extLst>
          </p:cNvPr>
          <p:cNvSpPr txBox="1">
            <a:spLocks/>
          </p:cNvSpPr>
          <p:nvPr/>
        </p:nvSpPr>
        <p:spPr>
          <a:xfrm>
            <a:off x="1726697" y="6153573"/>
            <a:ext cx="9984046" cy="521651"/>
          </a:xfrm>
          <a:prstGeom prst="rect">
            <a:avLst/>
          </a:prstGeom>
        </p:spPr>
        <p:txBody>
          <a:bodyPr lIns="0" tIns="0" rIns="0" bIns="0"/>
          <a:lstStyle>
            <a:lvl1pPr marL="0" indent="0" algn="l" defTabSz="806044" rtl="0" eaLnBrk="1" latinLnBrk="0" hangingPunct="1">
              <a:lnSpc>
                <a:spcPts val="1851"/>
              </a:lnSpc>
              <a:spcBef>
                <a:spcPts val="0"/>
              </a:spcBef>
              <a:buFont typeface="Rostelecom Basis" panose="020B0604020202020204" pitchFamily="34" charset="0"/>
              <a:buNone/>
              <a:defRPr sz="1587" b="0" kern="1200">
                <a:solidFill>
                  <a:srgbClr val="979799"/>
                </a:solidFill>
                <a:latin typeface="+mn-lt"/>
                <a:ea typeface="+mn-ea"/>
                <a:cs typeface="+mn-cs"/>
              </a:defRPr>
            </a:lvl1pPr>
            <a:lvl2pPr marL="604533" indent="-201511" algn="l" defTabSz="806044" rtl="0" eaLnBrk="1" latinLnBrk="0" hangingPunct="1">
              <a:lnSpc>
                <a:spcPct val="90000"/>
              </a:lnSpc>
              <a:spcBef>
                <a:spcPts val="441"/>
              </a:spcBef>
              <a:buFont typeface="Rostelecom Basis" panose="020B0604020202020204" pitchFamily="34" charset="0"/>
              <a:buChar char="•"/>
              <a:defRPr sz="2116" kern="1200">
                <a:solidFill>
                  <a:schemeClr val="tx1"/>
                </a:solidFill>
                <a:latin typeface="+mn-lt"/>
                <a:ea typeface="+mn-ea"/>
                <a:cs typeface="+mn-cs"/>
              </a:defRPr>
            </a:lvl2pPr>
            <a:lvl3pPr marL="1007555" indent="-201511" algn="l" defTabSz="806044" rtl="0" eaLnBrk="1" latinLnBrk="0" hangingPunct="1">
              <a:lnSpc>
                <a:spcPct val="90000"/>
              </a:lnSpc>
              <a:spcBef>
                <a:spcPts val="441"/>
              </a:spcBef>
              <a:buFont typeface="Rostelecom Basis" panose="020B0604020202020204" pitchFamily="34" charset="0"/>
              <a:buChar char="•"/>
              <a:defRPr sz="1763" kern="1200">
                <a:solidFill>
                  <a:schemeClr val="tx1"/>
                </a:solidFill>
                <a:latin typeface="+mn-lt"/>
                <a:ea typeface="+mn-ea"/>
                <a:cs typeface="+mn-cs"/>
              </a:defRPr>
            </a:lvl3pPr>
            <a:lvl4pPr marL="1410576"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4pPr>
            <a:lvl5pPr marL="1813598"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5pPr>
            <a:lvl6pPr marL="2216620"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6pPr>
            <a:lvl7pPr marL="2619642"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7pPr>
            <a:lvl8pPr marL="3022664"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8pPr>
            <a:lvl9pPr marL="3425685" indent="-201511" algn="l" defTabSz="806044" rtl="0" eaLnBrk="1" latinLnBrk="0" hangingPunct="1">
              <a:lnSpc>
                <a:spcPct val="90000"/>
              </a:lnSpc>
              <a:spcBef>
                <a:spcPts val="441"/>
              </a:spcBef>
              <a:buFont typeface="Rostelecom Basis" panose="020B0604020202020204" pitchFamily="34" charset="0"/>
              <a:buChar char="•"/>
              <a:defRPr sz="1587" kern="1200">
                <a:solidFill>
                  <a:schemeClr val="tx1"/>
                </a:solidFill>
                <a:latin typeface="+mn-lt"/>
                <a:ea typeface="+mn-ea"/>
                <a:cs typeface="+mn-cs"/>
              </a:defRPr>
            </a:lvl9pPr>
          </a:lstStyle>
          <a:p>
            <a:r>
              <a:rPr lang="ru-RU" sz="2400" dirty="0">
                <a:solidFill>
                  <a:srgbClr val="000000"/>
                </a:solidFill>
                <a:latin typeface="Rostelecom Basis Medium" panose="020B0603030604040103" pitchFamily="34" charset="0"/>
                <a:ea typeface="+mj-ea"/>
                <a:cs typeface="+mj-cs"/>
              </a:rPr>
              <a:t>ЦИФРОВАЯ </a:t>
            </a:r>
            <a:r>
              <a:rPr lang="ru-RU" sz="2400" dirty="0" smtClean="0">
                <a:solidFill>
                  <a:srgbClr val="000000"/>
                </a:solidFill>
                <a:latin typeface="Rostelecom Basis Medium" panose="020B0603030604040103" pitchFamily="34" charset="0"/>
                <a:ea typeface="+mj-ea"/>
                <a:cs typeface="+mj-cs"/>
              </a:rPr>
              <a:t>ЭРА</a:t>
            </a:r>
            <a:br>
              <a:rPr lang="ru-RU" sz="2400" dirty="0" smtClean="0">
                <a:solidFill>
                  <a:srgbClr val="000000"/>
                </a:solidFill>
                <a:latin typeface="Rostelecom Basis Medium" panose="020B0603030604040103" pitchFamily="34" charset="0"/>
                <a:ea typeface="+mj-ea"/>
                <a:cs typeface="+mj-cs"/>
              </a:rPr>
            </a:br>
            <a:r>
              <a:rPr lang="ru-RU" sz="1600" dirty="0" smtClean="0">
                <a:solidFill>
                  <a:srgbClr val="000000"/>
                </a:solidFill>
                <a:latin typeface="Rostelecom Basis Medium" panose="020B0603030604040103" pitchFamily="34" charset="0"/>
                <a:ea typeface="+mj-ea"/>
                <a:cs typeface="+mj-cs"/>
              </a:rPr>
              <a:t> </a:t>
            </a:r>
            <a:r>
              <a:rPr lang="ru-RU" sz="1200" dirty="0">
                <a:solidFill>
                  <a:srgbClr val="000000"/>
                </a:solidFill>
                <a:latin typeface="Rostelecom Basis Medium" panose="020B0603030604040103" pitchFamily="34" charset="0"/>
                <a:ea typeface="+mj-ea"/>
                <a:cs typeface="+mj-cs"/>
              </a:rPr>
              <a:t> </a:t>
            </a:r>
            <a:endParaRPr lang="ru-RU" sz="1200" dirty="0" smtClean="0">
              <a:solidFill>
                <a:srgbClr val="000000"/>
              </a:solidFill>
              <a:latin typeface="Rostelecom Basis Medium" panose="020B0603030604040103" pitchFamily="34" charset="0"/>
              <a:ea typeface="+mj-ea"/>
              <a:cs typeface="+mj-cs"/>
            </a:endParaRPr>
          </a:p>
        </p:txBody>
      </p:sp>
      <p:graphicFrame>
        <p:nvGraphicFramePr>
          <p:cNvPr id="20" name="Диаграмма 19"/>
          <p:cNvGraphicFramePr/>
          <p:nvPr>
            <p:extLst>
              <p:ext uri="{D42A27DB-BD31-4B8C-83A1-F6EECF244321}">
                <p14:modId xmlns:p14="http://schemas.microsoft.com/office/powerpoint/2010/main" val="1697215989"/>
              </p:ext>
            </p:extLst>
          </p:nvPr>
        </p:nvGraphicFramePr>
        <p:xfrm>
          <a:off x="966326" y="1915727"/>
          <a:ext cx="9829028" cy="3407375"/>
        </p:xfrm>
        <a:graphic>
          <a:graphicData uri="http://schemas.openxmlformats.org/drawingml/2006/chart">
            <c:chart xmlns:c="http://schemas.openxmlformats.org/drawingml/2006/chart" xmlns:r="http://schemas.openxmlformats.org/officeDocument/2006/relationships" r:id="rId2"/>
          </a:graphicData>
        </a:graphic>
      </p:graphicFrame>
      <p:sp>
        <p:nvSpPr>
          <p:cNvPr id="21" name="Стрелка вправо 20"/>
          <p:cNvSpPr/>
          <p:nvPr/>
        </p:nvSpPr>
        <p:spPr>
          <a:xfrm>
            <a:off x="800889" y="5087073"/>
            <a:ext cx="10340355" cy="747347"/>
          </a:xfrm>
          <a:prstGeom prst="rightArrow">
            <a:avLst/>
          </a:prstGeom>
          <a:gradFill>
            <a:gsLst>
              <a:gs pos="0">
                <a:srgbClr val="7700FF"/>
              </a:gs>
              <a:gs pos="25000">
                <a:srgbClr val="7700FF"/>
              </a:gs>
              <a:gs pos="57000">
                <a:srgbClr val="7700FF"/>
              </a:gs>
              <a:gs pos="100000">
                <a:srgbClr val="7700FF">
                  <a:alpha val="24000"/>
                </a:srgbClr>
              </a:gs>
            </a:gsLst>
            <a:path path="circle">
              <a:fillToRect l="100000" t="100000"/>
            </a:path>
          </a:gradFill>
          <a:ln w="12700" cap="flat" cmpd="sng" algn="ctr">
            <a:noFill/>
            <a:prstDash val="solid"/>
            <a:miter lim="800000"/>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kern="0" dirty="0">
              <a:solidFill>
                <a:srgbClr val="FFFFFF"/>
              </a:solidFill>
              <a:latin typeface="Rostelecom Basis"/>
            </a:endParaRPr>
          </a:p>
        </p:txBody>
      </p:sp>
      <p:sp>
        <p:nvSpPr>
          <p:cNvPr id="22" name="TextBox 21"/>
          <p:cNvSpPr txBox="1"/>
          <p:nvPr/>
        </p:nvSpPr>
        <p:spPr>
          <a:xfrm>
            <a:off x="1151094" y="5317805"/>
            <a:ext cx="546625" cy="292388"/>
          </a:xfrm>
          <a:prstGeom prst="rect">
            <a:avLst/>
          </a:prstGeom>
        </p:spPr>
        <p:txBody>
          <a:bodyPr wrap="none" lIns="0" tIns="0" rIns="0" bIns="0" rtlCol="0">
            <a:spAutoFit/>
          </a:bodyPr>
          <a:lstStyle/>
          <a:p>
            <a:r>
              <a:rPr lang="ru-RU" sz="1900" dirty="0">
                <a:solidFill>
                  <a:srgbClr val="FFFFFF"/>
                </a:solidFill>
                <a:latin typeface="Rostelecom Basis"/>
              </a:rPr>
              <a:t>2015</a:t>
            </a:r>
          </a:p>
        </p:txBody>
      </p:sp>
      <p:sp>
        <p:nvSpPr>
          <p:cNvPr id="23" name="TextBox 22"/>
          <p:cNvSpPr txBox="1"/>
          <p:nvPr/>
        </p:nvSpPr>
        <p:spPr>
          <a:xfrm>
            <a:off x="2414340" y="5322121"/>
            <a:ext cx="858251" cy="292388"/>
          </a:xfrm>
          <a:prstGeom prst="rect">
            <a:avLst/>
          </a:prstGeom>
        </p:spPr>
        <p:txBody>
          <a:bodyPr wrap="square" lIns="0" tIns="0" rIns="0" bIns="0" rtlCol="0">
            <a:spAutoFit/>
          </a:bodyPr>
          <a:lstStyle/>
          <a:p>
            <a:r>
              <a:rPr lang="ru-RU" sz="1900" dirty="0">
                <a:solidFill>
                  <a:srgbClr val="FFFFFF"/>
                </a:solidFill>
                <a:latin typeface="Rostelecom Basis"/>
              </a:rPr>
              <a:t>2016</a:t>
            </a:r>
          </a:p>
        </p:txBody>
      </p:sp>
      <p:sp>
        <p:nvSpPr>
          <p:cNvPr id="24" name="TextBox 23"/>
          <p:cNvSpPr txBox="1"/>
          <p:nvPr/>
        </p:nvSpPr>
        <p:spPr>
          <a:xfrm>
            <a:off x="3724326" y="5322859"/>
            <a:ext cx="679233" cy="292388"/>
          </a:xfrm>
          <a:prstGeom prst="rect">
            <a:avLst/>
          </a:prstGeom>
        </p:spPr>
        <p:txBody>
          <a:bodyPr wrap="square" lIns="0" tIns="0" rIns="0" bIns="0" rtlCol="0">
            <a:spAutoFit/>
          </a:bodyPr>
          <a:lstStyle/>
          <a:p>
            <a:r>
              <a:rPr lang="ru-RU" sz="1900" dirty="0">
                <a:solidFill>
                  <a:srgbClr val="FFFFFF"/>
                </a:solidFill>
                <a:latin typeface="Rostelecom Basis"/>
              </a:rPr>
              <a:t>2017</a:t>
            </a:r>
          </a:p>
        </p:txBody>
      </p:sp>
      <p:sp>
        <p:nvSpPr>
          <p:cNvPr id="25" name="TextBox 24"/>
          <p:cNvSpPr txBox="1"/>
          <p:nvPr/>
        </p:nvSpPr>
        <p:spPr>
          <a:xfrm>
            <a:off x="4979605" y="5305789"/>
            <a:ext cx="830875" cy="292388"/>
          </a:xfrm>
          <a:prstGeom prst="rect">
            <a:avLst/>
          </a:prstGeom>
        </p:spPr>
        <p:txBody>
          <a:bodyPr wrap="square" lIns="0" tIns="0" rIns="0" bIns="0" rtlCol="0">
            <a:spAutoFit/>
          </a:bodyPr>
          <a:lstStyle/>
          <a:p>
            <a:r>
              <a:rPr lang="ru-RU" sz="1900" dirty="0">
                <a:solidFill>
                  <a:srgbClr val="FFFFFF"/>
                </a:solidFill>
                <a:latin typeface="Rostelecom Basis"/>
              </a:rPr>
              <a:t>2018</a:t>
            </a:r>
          </a:p>
        </p:txBody>
      </p:sp>
      <p:sp>
        <p:nvSpPr>
          <p:cNvPr id="26" name="TextBox 25"/>
          <p:cNvSpPr txBox="1"/>
          <p:nvPr/>
        </p:nvSpPr>
        <p:spPr>
          <a:xfrm>
            <a:off x="6194017" y="5315329"/>
            <a:ext cx="830875" cy="292388"/>
          </a:xfrm>
          <a:prstGeom prst="rect">
            <a:avLst/>
          </a:prstGeom>
        </p:spPr>
        <p:txBody>
          <a:bodyPr wrap="square" lIns="0" tIns="0" rIns="0" bIns="0" rtlCol="0">
            <a:spAutoFit/>
          </a:bodyPr>
          <a:lstStyle/>
          <a:p>
            <a:r>
              <a:rPr lang="ru-RU" sz="1900" dirty="0">
                <a:solidFill>
                  <a:srgbClr val="FFFFFF"/>
                </a:solidFill>
                <a:latin typeface="Rostelecom Basis"/>
              </a:rPr>
              <a:t>2019</a:t>
            </a:r>
          </a:p>
        </p:txBody>
      </p:sp>
      <p:sp>
        <p:nvSpPr>
          <p:cNvPr id="27" name="TextBox 26"/>
          <p:cNvSpPr txBox="1"/>
          <p:nvPr/>
        </p:nvSpPr>
        <p:spPr>
          <a:xfrm>
            <a:off x="7517495" y="5312366"/>
            <a:ext cx="663983" cy="292388"/>
          </a:xfrm>
          <a:prstGeom prst="rect">
            <a:avLst/>
          </a:prstGeom>
        </p:spPr>
        <p:txBody>
          <a:bodyPr wrap="square" lIns="0" tIns="0" rIns="0" bIns="0" rtlCol="0">
            <a:spAutoFit/>
          </a:bodyPr>
          <a:lstStyle/>
          <a:p>
            <a:r>
              <a:rPr lang="ru-RU" sz="1900" dirty="0">
                <a:solidFill>
                  <a:srgbClr val="FFFFFF"/>
                </a:solidFill>
                <a:latin typeface="Rostelecom Basis"/>
              </a:rPr>
              <a:t>2020</a:t>
            </a:r>
          </a:p>
        </p:txBody>
      </p:sp>
      <p:sp>
        <p:nvSpPr>
          <p:cNvPr id="28" name="TextBox 27"/>
          <p:cNvSpPr txBox="1"/>
          <p:nvPr/>
        </p:nvSpPr>
        <p:spPr>
          <a:xfrm>
            <a:off x="8815349" y="5316201"/>
            <a:ext cx="853467" cy="292388"/>
          </a:xfrm>
          <a:prstGeom prst="rect">
            <a:avLst/>
          </a:prstGeom>
        </p:spPr>
        <p:txBody>
          <a:bodyPr wrap="square" lIns="0" tIns="0" rIns="0" bIns="0" rtlCol="0">
            <a:spAutoFit/>
          </a:bodyPr>
          <a:lstStyle/>
          <a:p>
            <a:r>
              <a:rPr lang="ru-RU" sz="1900" dirty="0">
                <a:solidFill>
                  <a:srgbClr val="FFFFFF"/>
                </a:solidFill>
                <a:latin typeface="Rostelecom Basis"/>
              </a:rPr>
              <a:t>2021</a:t>
            </a:r>
          </a:p>
        </p:txBody>
      </p:sp>
      <p:sp>
        <p:nvSpPr>
          <p:cNvPr id="29" name="TextBox 28"/>
          <p:cNvSpPr txBox="1"/>
          <p:nvPr/>
        </p:nvSpPr>
        <p:spPr>
          <a:xfrm>
            <a:off x="10029766" y="5312721"/>
            <a:ext cx="750532" cy="292388"/>
          </a:xfrm>
          <a:prstGeom prst="rect">
            <a:avLst/>
          </a:prstGeom>
        </p:spPr>
        <p:txBody>
          <a:bodyPr wrap="square" lIns="0" tIns="0" rIns="0" bIns="0" rtlCol="0">
            <a:spAutoFit/>
          </a:bodyPr>
          <a:lstStyle/>
          <a:p>
            <a:r>
              <a:rPr lang="ru-RU" sz="1900" dirty="0">
                <a:solidFill>
                  <a:srgbClr val="FFFFFF"/>
                </a:solidFill>
                <a:latin typeface="Rostelecom Basis"/>
              </a:rPr>
              <a:t>2022</a:t>
            </a:r>
          </a:p>
        </p:txBody>
      </p:sp>
      <p:sp>
        <p:nvSpPr>
          <p:cNvPr id="30" name="TextBox 29"/>
          <p:cNvSpPr txBox="1"/>
          <p:nvPr/>
        </p:nvSpPr>
        <p:spPr>
          <a:xfrm>
            <a:off x="417516" y="1210888"/>
            <a:ext cx="5683249" cy="307777"/>
          </a:xfrm>
          <a:prstGeom prst="rect">
            <a:avLst/>
          </a:prstGeom>
        </p:spPr>
        <p:txBody>
          <a:bodyPr wrap="square" lIns="0" tIns="0" rIns="0" bIns="0" rtlCol="0">
            <a:spAutoFit/>
          </a:bodyPr>
          <a:lstStyle/>
          <a:p>
            <a:r>
              <a:rPr lang="ru-RU" sz="2000" dirty="0">
                <a:solidFill>
                  <a:srgbClr val="000000"/>
                </a:solidFill>
                <a:latin typeface="Calibri Light" panose="020F0302020204030204" pitchFamily="34" charset="0"/>
                <a:cs typeface="Calibri Light" panose="020F0302020204030204" pitchFamily="34" charset="0"/>
              </a:rPr>
              <a:t>Объем ИТ-рынка России </a:t>
            </a:r>
            <a:r>
              <a:rPr lang="ru-RU" sz="2000" dirty="0" smtClean="0">
                <a:solidFill>
                  <a:srgbClr val="000000"/>
                </a:solidFill>
                <a:latin typeface="Calibri Light" panose="020F0302020204030204" pitchFamily="34" charset="0"/>
                <a:cs typeface="Calibri Light" panose="020F0302020204030204" pitchFamily="34" charset="0"/>
              </a:rPr>
              <a:t>(млрд </a:t>
            </a:r>
            <a:r>
              <a:rPr lang="ru-RU" sz="2000" dirty="0">
                <a:solidFill>
                  <a:srgbClr val="000000"/>
                </a:solidFill>
                <a:latin typeface="Calibri Light" panose="020F0302020204030204" pitchFamily="34" charset="0"/>
                <a:cs typeface="Calibri Light" panose="020F0302020204030204" pitchFamily="34" charset="0"/>
              </a:rPr>
              <a:t>руб.)</a:t>
            </a:r>
          </a:p>
        </p:txBody>
      </p:sp>
      <p:sp>
        <p:nvSpPr>
          <p:cNvPr id="31" name="Полилиния 30">
            <a:extLst>
              <a:ext uri="{FF2B5EF4-FFF2-40B4-BE49-F238E27FC236}">
                <a16:creationId xmlns:a16="http://schemas.microsoft.com/office/drawing/2014/main" id="{51178F27-673D-2546-BB10-F6CD9E3C24B5}"/>
              </a:ext>
            </a:extLst>
          </p:cNvPr>
          <p:cNvSpPr/>
          <p:nvPr/>
        </p:nvSpPr>
        <p:spPr>
          <a:xfrm>
            <a:off x="729894" y="5808491"/>
            <a:ext cx="842400" cy="842400"/>
          </a:xfrm>
          <a:custGeom>
            <a:avLst/>
            <a:gdLst>
              <a:gd name="connsiteX0" fmla="*/ 421200 w 842400"/>
              <a:gd name="connsiteY0" fmla="*/ 842400 h 842400"/>
              <a:gd name="connsiteX1" fmla="*/ 842400 w 842400"/>
              <a:gd name="connsiteY1" fmla="*/ 421200 h 842400"/>
              <a:gd name="connsiteX2" fmla="*/ 421200 w 842400"/>
              <a:gd name="connsiteY2" fmla="*/ 0 h 842400"/>
              <a:gd name="connsiteX3" fmla="*/ 0 w 842400"/>
              <a:gd name="connsiteY3" fmla="*/ 421200 h 842400"/>
              <a:gd name="connsiteX4" fmla="*/ 421200 w 842400"/>
              <a:gd name="connsiteY4" fmla="*/ 842400 h 84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00" h="842400">
                <a:moveTo>
                  <a:pt x="421200" y="842400"/>
                </a:moveTo>
                <a:cubicBezTo>
                  <a:pt x="653822" y="842400"/>
                  <a:pt x="842400" y="653822"/>
                  <a:pt x="842400" y="421200"/>
                </a:cubicBezTo>
                <a:cubicBezTo>
                  <a:pt x="842400" y="188578"/>
                  <a:pt x="653822" y="0"/>
                  <a:pt x="421200" y="0"/>
                </a:cubicBezTo>
                <a:cubicBezTo>
                  <a:pt x="188578" y="0"/>
                  <a:pt x="0" y="188578"/>
                  <a:pt x="0" y="421200"/>
                </a:cubicBezTo>
                <a:cubicBezTo>
                  <a:pt x="0" y="653822"/>
                  <a:pt x="188578" y="842400"/>
                  <a:pt x="421200" y="842400"/>
                </a:cubicBezTo>
                <a:close/>
              </a:path>
            </a:pathLst>
          </a:custGeom>
          <a:noFill/>
          <a:ln w="19050" cap="flat">
            <a:solidFill>
              <a:srgbClr val="FF4F12"/>
            </a:solidFill>
            <a:prstDash val="solid"/>
            <a:miter/>
          </a:ln>
        </p:spPr>
        <p:txBody>
          <a:bodyPr rtlCol="0" anchor="ctr"/>
          <a:lstStyle/>
          <a:p>
            <a:endParaRPr lang="ru-RU" sz="1801" kern="0" dirty="0">
              <a:solidFill>
                <a:srgbClr val="272F3D"/>
              </a:solidFill>
              <a:latin typeface="Rostelecom Basis"/>
            </a:endParaRPr>
          </a:p>
        </p:txBody>
      </p:sp>
      <p:sp>
        <p:nvSpPr>
          <p:cNvPr id="32" name="Полилиния 31">
            <a:extLst>
              <a:ext uri="{FF2B5EF4-FFF2-40B4-BE49-F238E27FC236}">
                <a16:creationId xmlns:a16="http://schemas.microsoft.com/office/drawing/2014/main" id="{0347F71C-888E-3946-9E34-60C17AE8FC8E}"/>
              </a:ext>
            </a:extLst>
          </p:cNvPr>
          <p:cNvSpPr/>
          <p:nvPr/>
        </p:nvSpPr>
        <p:spPr>
          <a:xfrm>
            <a:off x="862811" y="6260731"/>
            <a:ext cx="180000" cy="180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33" name="Полилиния 32">
            <a:extLst>
              <a:ext uri="{FF2B5EF4-FFF2-40B4-BE49-F238E27FC236}">
                <a16:creationId xmlns:a16="http://schemas.microsoft.com/office/drawing/2014/main" id="{53BDC534-1756-4C46-AC7B-C7394B5EA2FD}"/>
              </a:ext>
            </a:extLst>
          </p:cNvPr>
          <p:cNvSpPr/>
          <p:nvPr/>
        </p:nvSpPr>
        <p:spPr>
          <a:xfrm>
            <a:off x="936338" y="5877191"/>
            <a:ext cx="442261" cy="313451"/>
          </a:xfrm>
          <a:custGeom>
            <a:avLst/>
            <a:gdLst>
              <a:gd name="connsiteX0" fmla="*/ 95639 w 442261"/>
              <a:gd name="connsiteY0" fmla="*/ 97850 h 313451"/>
              <a:gd name="connsiteX1" fmla="*/ 212101 w 442261"/>
              <a:gd name="connsiteY1" fmla="*/ 184 h 313451"/>
              <a:gd name="connsiteX2" fmla="*/ 212101 w 442261"/>
              <a:gd name="connsiteY2" fmla="*/ 18612 h 313451"/>
              <a:gd name="connsiteX3" fmla="*/ 113514 w 442261"/>
              <a:gd name="connsiteY3" fmla="*/ 102088 h 313451"/>
              <a:gd name="connsiteX4" fmla="*/ 110566 w 442261"/>
              <a:gd name="connsiteY4" fmla="*/ 115725 h 313451"/>
              <a:gd name="connsiteX5" fmla="*/ 96745 w 442261"/>
              <a:gd name="connsiteY5" fmla="*/ 116462 h 313451"/>
              <a:gd name="connsiteX6" fmla="*/ 18428 w 442261"/>
              <a:gd name="connsiteY6" fmla="*/ 205098 h 313451"/>
              <a:gd name="connsiteX7" fmla="*/ 100430 w 442261"/>
              <a:gd name="connsiteY7" fmla="*/ 294471 h 313451"/>
              <a:gd name="connsiteX8" fmla="*/ 101352 w 442261"/>
              <a:gd name="connsiteY8" fmla="*/ 294471 h 313451"/>
              <a:gd name="connsiteX9" fmla="*/ 118489 w 442261"/>
              <a:gd name="connsiteY9" fmla="*/ 294471 h 313451"/>
              <a:gd name="connsiteX10" fmla="*/ 331327 w 442261"/>
              <a:gd name="connsiteY10" fmla="*/ 295024 h 313451"/>
              <a:gd name="connsiteX11" fmla="*/ 423833 w 442261"/>
              <a:gd name="connsiteY11" fmla="*/ 196437 h 313451"/>
              <a:gd name="connsiteX12" fmla="*/ 396745 w 442261"/>
              <a:gd name="connsiteY12" fmla="*/ 126044 h 313451"/>
              <a:gd name="connsiteX13" fmla="*/ 332064 w 442261"/>
              <a:gd name="connsiteY13" fmla="*/ 97297 h 313451"/>
              <a:gd name="connsiteX14" fmla="*/ 324693 w 442261"/>
              <a:gd name="connsiteY14" fmla="*/ 97666 h 313451"/>
              <a:gd name="connsiteX15" fmla="*/ 310872 w 442261"/>
              <a:gd name="connsiteY15" fmla="*/ 98771 h 313451"/>
              <a:gd name="connsiteX16" fmla="*/ 305897 w 442261"/>
              <a:gd name="connsiteY16" fmla="*/ 85872 h 313451"/>
              <a:gd name="connsiteX17" fmla="*/ 212470 w 442261"/>
              <a:gd name="connsiteY17" fmla="*/ 18612 h 313451"/>
              <a:gd name="connsiteX18" fmla="*/ 212101 w 442261"/>
              <a:gd name="connsiteY18" fmla="*/ 184 h 313451"/>
              <a:gd name="connsiteX19" fmla="*/ 212470 w 442261"/>
              <a:gd name="connsiteY19" fmla="*/ 0 h 313451"/>
              <a:gd name="connsiteX20" fmla="*/ 323035 w 442261"/>
              <a:gd name="connsiteY20" fmla="*/ 79054 h 313451"/>
              <a:gd name="connsiteX21" fmla="*/ 323035 w 442261"/>
              <a:gd name="connsiteY21" fmla="*/ 79054 h 313451"/>
              <a:gd name="connsiteX22" fmla="*/ 331880 w 442261"/>
              <a:gd name="connsiteY22" fmla="*/ 78685 h 313451"/>
              <a:gd name="connsiteX23" fmla="*/ 332064 w 442261"/>
              <a:gd name="connsiteY23" fmla="*/ 78685 h 313451"/>
              <a:gd name="connsiteX24" fmla="*/ 442261 w 442261"/>
              <a:gd name="connsiteY24" fmla="*/ 196437 h 313451"/>
              <a:gd name="connsiteX25" fmla="*/ 331696 w 442261"/>
              <a:gd name="connsiteY25" fmla="*/ 313452 h 313451"/>
              <a:gd name="connsiteX26" fmla="*/ 331327 w 442261"/>
              <a:gd name="connsiteY26" fmla="*/ 313452 h 313451"/>
              <a:gd name="connsiteX27" fmla="*/ 101352 w 442261"/>
              <a:gd name="connsiteY27" fmla="*/ 312715 h 313451"/>
              <a:gd name="connsiteX28" fmla="*/ 100983 w 442261"/>
              <a:gd name="connsiteY28" fmla="*/ 312715 h 313451"/>
              <a:gd name="connsiteX29" fmla="*/ 1 w 442261"/>
              <a:gd name="connsiteY29" fmla="*/ 204914 h 313451"/>
              <a:gd name="connsiteX30" fmla="*/ 95639 w 442261"/>
              <a:gd name="connsiteY30" fmla="*/ 97850 h 313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42261" h="313451">
                <a:moveTo>
                  <a:pt x="95639" y="97850"/>
                </a:moveTo>
                <a:cubicBezTo>
                  <a:pt x="108170" y="41830"/>
                  <a:pt x="155529" y="184"/>
                  <a:pt x="212101" y="184"/>
                </a:cubicBezTo>
                <a:lnTo>
                  <a:pt x="212101" y="18612"/>
                </a:lnTo>
                <a:cubicBezTo>
                  <a:pt x="165111" y="18612"/>
                  <a:pt x="124755" y="52887"/>
                  <a:pt x="113514" y="102088"/>
                </a:cubicBezTo>
                <a:lnTo>
                  <a:pt x="110566" y="115725"/>
                </a:lnTo>
                <a:lnTo>
                  <a:pt x="96745" y="116462"/>
                </a:lnTo>
                <a:cubicBezTo>
                  <a:pt x="53072" y="119042"/>
                  <a:pt x="18612" y="157924"/>
                  <a:pt x="18428" y="205098"/>
                </a:cubicBezTo>
                <a:cubicBezTo>
                  <a:pt x="18244" y="253931"/>
                  <a:pt x="54915" y="293919"/>
                  <a:pt x="100430" y="294471"/>
                </a:cubicBezTo>
                <a:lnTo>
                  <a:pt x="101352" y="294471"/>
                </a:lnTo>
                <a:lnTo>
                  <a:pt x="118489" y="294471"/>
                </a:lnTo>
                <a:lnTo>
                  <a:pt x="331327" y="295024"/>
                </a:lnTo>
                <a:cubicBezTo>
                  <a:pt x="382371" y="295024"/>
                  <a:pt x="423649" y="250798"/>
                  <a:pt x="423833" y="196437"/>
                </a:cubicBezTo>
                <a:cubicBezTo>
                  <a:pt x="423833" y="169717"/>
                  <a:pt x="414251" y="144840"/>
                  <a:pt x="396745" y="126044"/>
                </a:cubicBezTo>
                <a:cubicBezTo>
                  <a:pt x="379423" y="107617"/>
                  <a:pt x="356388" y="97297"/>
                  <a:pt x="332064" y="97297"/>
                </a:cubicBezTo>
                <a:cubicBezTo>
                  <a:pt x="329484" y="97297"/>
                  <a:pt x="327089" y="97481"/>
                  <a:pt x="324693" y="97666"/>
                </a:cubicBezTo>
                <a:lnTo>
                  <a:pt x="310872" y="98771"/>
                </a:lnTo>
                <a:lnTo>
                  <a:pt x="305897" y="85872"/>
                </a:lnTo>
                <a:cubicBezTo>
                  <a:pt x="290049" y="45147"/>
                  <a:pt x="253563" y="18796"/>
                  <a:pt x="212470" y="18612"/>
                </a:cubicBezTo>
                <a:lnTo>
                  <a:pt x="212101" y="184"/>
                </a:lnTo>
                <a:cubicBezTo>
                  <a:pt x="212285" y="184"/>
                  <a:pt x="212470" y="184"/>
                  <a:pt x="212470" y="0"/>
                </a:cubicBezTo>
                <a:cubicBezTo>
                  <a:pt x="262592" y="184"/>
                  <a:pt x="305160" y="32801"/>
                  <a:pt x="323035" y="79054"/>
                </a:cubicBezTo>
                <a:lnTo>
                  <a:pt x="323035" y="79054"/>
                </a:lnTo>
                <a:cubicBezTo>
                  <a:pt x="325983" y="78870"/>
                  <a:pt x="328931" y="78685"/>
                  <a:pt x="331880" y="78685"/>
                </a:cubicBezTo>
                <a:lnTo>
                  <a:pt x="332064" y="78685"/>
                </a:lnTo>
                <a:cubicBezTo>
                  <a:pt x="393059" y="78870"/>
                  <a:pt x="442445" y="131572"/>
                  <a:pt x="442261" y="196437"/>
                </a:cubicBezTo>
                <a:cubicBezTo>
                  <a:pt x="442076" y="261118"/>
                  <a:pt x="392691" y="313452"/>
                  <a:pt x="331696" y="313452"/>
                </a:cubicBezTo>
                <a:lnTo>
                  <a:pt x="331327" y="313452"/>
                </a:lnTo>
                <a:lnTo>
                  <a:pt x="101352" y="312715"/>
                </a:lnTo>
                <a:lnTo>
                  <a:pt x="100983" y="312715"/>
                </a:lnTo>
                <a:cubicBezTo>
                  <a:pt x="44964" y="312530"/>
                  <a:pt x="-184" y="264250"/>
                  <a:pt x="1" y="204914"/>
                </a:cubicBezTo>
                <a:cubicBezTo>
                  <a:pt x="185" y="147604"/>
                  <a:pt x="42568" y="100983"/>
                  <a:pt x="95639" y="97850"/>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34" name="Полилиния 33">
            <a:extLst>
              <a:ext uri="{FF2B5EF4-FFF2-40B4-BE49-F238E27FC236}">
                <a16:creationId xmlns:a16="http://schemas.microsoft.com/office/drawing/2014/main" id="{F6ED06B1-3019-8D4A-8235-E1258CD0D2B7}"/>
              </a:ext>
            </a:extLst>
          </p:cNvPr>
          <p:cNvSpPr/>
          <p:nvPr/>
        </p:nvSpPr>
        <p:spPr>
          <a:xfrm>
            <a:off x="1065159" y="5967917"/>
            <a:ext cx="180000" cy="180000"/>
          </a:xfrm>
          <a:custGeom>
            <a:avLst/>
            <a:gdLst>
              <a:gd name="connsiteX0" fmla="*/ 0 w 314847"/>
              <a:gd name="connsiteY0" fmla="*/ 149526 h 315900"/>
              <a:gd name="connsiteX1" fmla="*/ 11583 w 314847"/>
              <a:gd name="connsiteY1" fmla="*/ 134784 h 315900"/>
              <a:gd name="connsiteX2" fmla="*/ 40014 w 314847"/>
              <a:gd name="connsiteY2" fmla="*/ 127413 h 315900"/>
              <a:gd name="connsiteX3" fmla="*/ 52650 w 314847"/>
              <a:gd name="connsiteY3" fmla="*/ 96876 h 315900"/>
              <a:gd name="connsiteX4" fmla="*/ 37908 w 314847"/>
              <a:gd name="connsiteY4" fmla="*/ 71604 h 315900"/>
              <a:gd name="connsiteX5" fmla="*/ 40014 w 314847"/>
              <a:gd name="connsiteY5" fmla="*/ 52650 h 315900"/>
              <a:gd name="connsiteX6" fmla="*/ 52650 w 314847"/>
              <a:gd name="connsiteY6" fmla="*/ 40014 h 315900"/>
              <a:gd name="connsiteX7" fmla="*/ 63180 w 314847"/>
              <a:gd name="connsiteY7" fmla="*/ 35802 h 315900"/>
              <a:gd name="connsiteX8" fmla="*/ 70551 w 314847"/>
              <a:gd name="connsiteY8" fmla="*/ 37908 h 315900"/>
              <a:gd name="connsiteX9" fmla="*/ 95823 w 314847"/>
              <a:gd name="connsiteY9" fmla="*/ 52650 h 315900"/>
              <a:gd name="connsiteX10" fmla="*/ 126360 w 314847"/>
              <a:gd name="connsiteY10" fmla="*/ 40014 h 315900"/>
              <a:gd name="connsiteX11" fmla="*/ 133731 w 314847"/>
              <a:gd name="connsiteY11" fmla="*/ 11583 h 315900"/>
              <a:gd name="connsiteX12" fmla="*/ 148473 w 314847"/>
              <a:gd name="connsiteY12" fmla="*/ 0 h 315900"/>
              <a:gd name="connsiteX13" fmla="*/ 167427 w 314847"/>
              <a:gd name="connsiteY13" fmla="*/ 0 h 315900"/>
              <a:gd name="connsiteX14" fmla="*/ 182169 w 314847"/>
              <a:gd name="connsiteY14" fmla="*/ 11583 h 315900"/>
              <a:gd name="connsiteX15" fmla="*/ 189540 w 314847"/>
              <a:gd name="connsiteY15" fmla="*/ 40014 h 315900"/>
              <a:gd name="connsiteX16" fmla="*/ 219024 w 314847"/>
              <a:gd name="connsiteY16" fmla="*/ 52650 h 315900"/>
              <a:gd name="connsiteX17" fmla="*/ 244296 w 314847"/>
              <a:gd name="connsiteY17" fmla="*/ 37908 h 315900"/>
              <a:gd name="connsiteX18" fmla="*/ 251667 w 314847"/>
              <a:gd name="connsiteY18" fmla="*/ 35802 h 315900"/>
              <a:gd name="connsiteX19" fmla="*/ 262197 w 314847"/>
              <a:gd name="connsiteY19" fmla="*/ 40014 h 315900"/>
              <a:gd name="connsiteX20" fmla="*/ 274833 w 314847"/>
              <a:gd name="connsiteY20" fmla="*/ 52650 h 315900"/>
              <a:gd name="connsiteX21" fmla="*/ 276939 w 314847"/>
              <a:gd name="connsiteY21" fmla="*/ 71604 h 315900"/>
              <a:gd name="connsiteX22" fmla="*/ 262197 w 314847"/>
              <a:gd name="connsiteY22" fmla="*/ 96876 h 315900"/>
              <a:gd name="connsiteX23" fmla="*/ 274833 w 314847"/>
              <a:gd name="connsiteY23" fmla="*/ 126360 h 315900"/>
              <a:gd name="connsiteX24" fmla="*/ 303264 w 314847"/>
              <a:gd name="connsiteY24" fmla="*/ 133731 h 315900"/>
              <a:gd name="connsiteX25" fmla="*/ 314847 w 314847"/>
              <a:gd name="connsiteY25" fmla="*/ 148473 h 315900"/>
              <a:gd name="connsiteX26" fmla="*/ 314847 w 314847"/>
              <a:gd name="connsiteY26" fmla="*/ 167427 h 315900"/>
              <a:gd name="connsiteX27" fmla="*/ 303264 w 314847"/>
              <a:gd name="connsiteY27" fmla="*/ 182169 h 315900"/>
              <a:gd name="connsiteX28" fmla="*/ 274833 w 314847"/>
              <a:gd name="connsiteY28" fmla="*/ 189540 h 315900"/>
              <a:gd name="connsiteX29" fmla="*/ 262197 w 314847"/>
              <a:gd name="connsiteY29" fmla="*/ 220077 h 315900"/>
              <a:gd name="connsiteX30" fmla="*/ 276939 w 314847"/>
              <a:gd name="connsiteY30" fmla="*/ 245349 h 315900"/>
              <a:gd name="connsiteX31" fmla="*/ 274833 w 314847"/>
              <a:gd name="connsiteY31" fmla="*/ 264303 h 315900"/>
              <a:gd name="connsiteX32" fmla="*/ 263250 w 314847"/>
              <a:gd name="connsiteY32" fmla="*/ 275886 h 315900"/>
              <a:gd name="connsiteX33" fmla="*/ 252720 w 314847"/>
              <a:gd name="connsiteY33" fmla="*/ 280098 h 315900"/>
              <a:gd name="connsiteX34" fmla="*/ 245349 w 314847"/>
              <a:gd name="connsiteY34" fmla="*/ 277992 h 315900"/>
              <a:gd name="connsiteX35" fmla="*/ 220077 w 314847"/>
              <a:gd name="connsiteY35" fmla="*/ 263250 h 315900"/>
              <a:gd name="connsiteX36" fmla="*/ 189540 w 314847"/>
              <a:gd name="connsiteY36" fmla="*/ 276939 h 315900"/>
              <a:gd name="connsiteX37" fmla="*/ 182169 w 314847"/>
              <a:gd name="connsiteY37" fmla="*/ 304317 h 315900"/>
              <a:gd name="connsiteX38" fmla="*/ 167427 w 314847"/>
              <a:gd name="connsiteY38" fmla="*/ 315900 h 315900"/>
              <a:gd name="connsiteX39" fmla="*/ 148473 w 314847"/>
              <a:gd name="connsiteY39" fmla="*/ 315900 h 315900"/>
              <a:gd name="connsiteX40" fmla="*/ 133731 w 314847"/>
              <a:gd name="connsiteY40" fmla="*/ 304317 h 315900"/>
              <a:gd name="connsiteX41" fmla="*/ 126360 w 314847"/>
              <a:gd name="connsiteY41" fmla="*/ 276939 h 315900"/>
              <a:gd name="connsiteX42" fmla="*/ 95823 w 314847"/>
              <a:gd name="connsiteY42" fmla="*/ 264303 h 315900"/>
              <a:gd name="connsiteX43" fmla="*/ 71604 w 314847"/>
              <a:gd name="connsiteY43" fmla="*/ 279045 h 315900"/>
              <a:gd name="connsiteX44" fmla="*/ 64233 w 314847"/>
              <a:gd name="connsiteY44" fmla="*/ 281151 h 315900"/>
              <a:gd name="connsiteX45" fmla="*/ 53703 w 314847"/>
              <a:gd name="connsiteY45" fmla="*/ 276939 h 315900"/>
              <a:gd name="connsiteX46" fmla="*/ 41067 w 314847"/>
              <a:gd name="connsiteY46" fmla="*/ 264303 h 315900"/>
              <a:gd name="connsiteX47" fmla="*/ 38961 w 314847"/>
              <a:gd name="connsiteY47" fmla="*/ 245349 h 315900"/>
              <a:gd name="connsiteX48" fmla="*/ 53703 w 314847"/>
              <a:gd name="connsiteY48" fmla="*/ 220077 h 315900"/>
              <a:gd name="connsiteX49" fmla="*/ 41067 w 314847"/>
              <a:gd name="connsiteY49" fmla="*/ 190593 h 315900"/>
              <a:gd name="connsiteX50" fmla="*/ 12636 w 314847"/>
              <a:gd name="connsiteY50" fmla="*/ 183222 h 315900"/>
              <a:gd name="connsiteX51" fmla="*/ 1053 w 314847"/>
              <a:gd name="connsiteY51" fmla="*/ 168480 h 315900"/>
              <a:gd name="connsiteX52" fmla="*/ 1053 w 314847"/>
              <a:gd name="connsiteY52" fmla="*/ 149526 h 315900"/>
              <a:gd name="connsiteX53" fmla="*/ 63180 w 314847"/>
              <a:gd name="connsiteY53" fmla="*/ 132678 h 315900"/>
              <a:gd name="connsiteX54" fmla="*/ 58968 w 314847"/>
              <a:gd name="connsiteY54" fmla="*/ 146367 h 315900"/>
              <a:gd name="connsiteX55" fmla="*/ 45279 w 314847"/>
              <a:gd name="connsiteY55" fmla="*/ 150579 h 315900"/>
              <a:gd name="connsiteX56" fmla="*/ 24219 w 314847"/>
              <a:gd name="connsiteY56" fmla="*/ 155844 h 315900"/>
              <a:gd name="connsiteX57" fmla="*/ 24219 w 314847"/>
              <a:gd name="connsiteY57" fmla="*/ 161109 h 315900"/>
              <a:gd name="connsiteX58" fmla="*/ 45279 w 314847"/>
              <a:gd name="connsiteY58" fmla="*/ 166374 h 315900"/>
              <a:gd name="connsiteX59" fmla="*/ 58968 w 314847"/>
              <a:gd name="connsiteY59" fmla="*/ 170586 h 315900"/>
              <a:gd name="connsiteX60" fmla="*/ 63180 w 314847"/>
              <a:gd name="connsiteY60" fmla="*/ 184275 h 315900"/>
              <a:gd name="connsiteX61" fmla="*/ 73710 w 314847"/>
              <a:gd name="connsiteY61" fmla="*/ 208494 h 315900"/>
              <a:gd name="connsiteX62" fmla="*/ 81081 w 314847"/>
              <a:gd name="connsiteY62" fmla="*/ 220077 h 315900"/>
              <a:gd name="connsiteX63" fmla="*/ 73710 w 314847"/>
              <a:gd name="connsiteY63" fmla="*/ 232713 h 315900"/>
              <a:gd name="connsiteX64" fmla="*/ 62127 w 314847"/>
              <a:gd name="connsiteY64" fmla="*/ 251667 h 315900"/>
              <a:gd name="connsiteX65" fmla="*/ 65286 w 314847"/>
              <a:gd name="connsiteY65" fmla="*/ 254826 h 315900"/>
              <a:gd name="connsiteX66" fmla="*/ 84240 w 314847"/>
              <a:gd name="connsiteY66" fmla="*/ 244296 h 315900"/>
              <a:gd name="connsiteX67" fmla="*/ 95823 w 314847"/>
              <a:gd name="connsiteY67" fmla="*/ 236925 h 315900"/>
              <a:gd name="connsiteX68" fmla="*/ 108459 w 314847"/>
              <a:gd name="connsiteY68" fmla="*/ 244296 h 315900"/>
              <a:gd name="connsiteX69" fmla="*/ 132678 w 314847"/>
              <a:gd name="connsiteY69" fmla="*/ 253773 h 315900"/>
              <a:gd name="connsiteX70" fmla="*/ 146367 w 314847"/>
              <a:gd name="connsiteY70" fmla="*/ 257985 h 315900"/>
              <a:gd name="connsiteX71" fmla="*/ 150579 w 314847"/>
              <a:gd name="connsiteY71" fmla="*/ 271674 h 315900"/>
              <a:gd name="connsiteX72" fmla="*/ 155844 w 314847"/>
              <a:gd name="connsiteY72" fmla="*/ 292734 h 315900"/>
              <a:gd name="connsiteX73" fmla="*/ 161109 w 314847"/>
              <a:gd name="connsiteY73" fmla="*/ 292734 h 315900"/>
              <a:gd name="connsiteX74" fmla="*/ 166374 w 314847"/>
              <a:gd name="connsiteY74" fmla="*/ 271674 h 315900"/>
              <a:gd name="connsiteX75" fmla="*/ 170586 w 314847"/>
              <a:gd name="connsiteY75" fmla="*/ 257985 h 315900"/>
              <a:gd name="connsiteX76" fmla="*/ 184275 w 314847"/>
              <a:gd name="connsiteY76" fmla="*/ 253773 h 315900"/>
              <a:gd name="connsiteX77" fmla="*/ 208494 w 314847"/>
              <a:gd name="connsiteY77" fmla="*/ 244296 h 315900"/>
              <a:gd name="connsiteX78" fmla="*/ 221130 w 314847"/>
              <a:gd name="connsiteY78" fmla="*/ 236925 h 315900"/>
              <a:gd name="connsiteX79" fmla="*/ 232713 w 314847"/>
              <a:gd name="connsiteY79" fmla="*/ 244296 h 315900"/>
              <a:gd name="connsiteX80" fmla="*/ 251667 w 314847"/>
              <a:gd name="connsiteY80" fmla="*/ 254826 h 315900"/>
              <a:gd name="connsiteX81" fmla="*/ 254826 w 314847"/>
              <a:gd name="connsiteY81" fmla="*/ 251667 h 315900"/>
              <a:gd name="connsiteX82" fmla="*/ 244296 w 314847"/>
              <a:gd name="connsiteY82" fmla="*/ 232713 h 315900"/>
              <a:gd name="connsiteX83" fmla="*/ 236925 w 314847"/>
              <a:gd name="connsiteY83" fmla="*/ 221130 h 315900"/>
              <a:gd name="connsiteX84" fmla="*/ 244296 w 314847"/>
              <a:gd name="connsiteY84" fmla="*/ 208494 h 315900"/>
              <a:gd name="connsiteX85" fmla="*/ 254826 w 314847"/>
              <a:gd name="connsiteY85" fmla="*/ 184275 h 315900"/>
              <a:gd name="connsiteX86" fmla="*/ 257985 w 314847"/>
              <a:gd name="connsiteY86" fmla="*/ 170586 h 315900"/>
              <a:gd name="connsiteX87" fmla="*/ 271674 w 314847"/>
              <a:gd name="connsiteY87" fmla="*/ 166374 h 315900"/>
              <a:gd name="connsiteX88" fmla="*/ 292734 w 314847"/>
              <a:gd name="connsiteY88" fmla="*/ 161109 h 315900"/>
              <a:gd name="connsiteX89" fmla="*/ 292734 w 314847"/>
              <a:gd name="connsiteY89" fmla="*/ 155844 h 315900"/>
              <a:gd name="connsiteX90" fmla="*/ 271674 w 314847"/>
              <a:gd name="connsiteY90" fmla="*/ 150579 h 315900"/>
              <a:gd name="connsiteX91" fmla="*/ 257985 w 314847"/>
              <a:gd name="connsiteY91" fmla="*/ 146367 h 315900"/>
              <a:gd name="connsiteX92" fmla="*/ 252720 w 314847"/>
              <a:gd name="connsiteY92" fmla="*/ 132678 h 315900"/>
              <a:gd name="connsiteX93" fmla="*/ 242190 w 314847"/>
              <a:gd name="connsiteY93" fmla="*/ 108459 h 315900"/>
              <a:gd name="connsiteX94" fmla="*/ 234819 w 314847"/>
              <a:gd name="connsiteY94" fmla="*/ 95823 h 315900"/>
              <a:gd name="connsiteX95" fmla="*/ 242190 w 314847"/>
              <a:gd name="connsiteY95" fmla="*/ 84240 h 315900"/>
              <a:gd name="connsiteX96" fmla="*/ 253773 w 314847"/>
              <a:gd name="connsiteY96" fmla="*/ 65286 h 315900"/>
              <a:gd name="connsiteX97" fmla="*/ 250614 w 314847"/>
              <a:gd name="connsiteY97" fmla="*/ 62127 h 315900"/>
              <a:gd name="connsiteX98" fmla="*/ 231660 w 314847"/>
              <a:gd name="connsiteY98" fmla="*/ 72657 h 315900"/>
              <a:gd name="connsiteX99" fmla="*/ 219024 w 314847"/>
              <a:gd name="connsiteY99" fmla="*/ 80028 h 315900"/>
              <a:gd name="connsiteX100" fmla="*/ 206388 w 314847"/>
              <a:gd name="connsiteY100" fmla="*/ 72657 h 315900"/>
              <a:gd name="connsiteX101" fmla="*/ 182169 w 314847"/>
              <a:gd name="connsiteY101" fmla="*/ 62127 h 315900"/>
              <a:gd name="connsiteX102" fmla="*/ 168480 w 314847"/>
              <a:gd name="connsiteY102" fmla="*/ 58968 h 315900"/>
              <a:gd name="connsiteX103" fmla="*/ 165321 w 314847"/>
              <a:gd name="connsiteY103" fmla="*/ 45279 h 315900"/>
              <a:gd name="connsiteX104" fmla="*/ 159003 w 314847"/>
              <a:gd name="connsiteY104" fmla="*/ 24219 h 315900"/>
              <a:gd name="connsiteX105" fmla="*/ 154791 w 314847"/>
              <a:gd name="connsiteY105" fmla="*/ 24219 h 315900"/>
              <a:gd name="connsiteX106" fmla="*/ 149526 w 314847"/>
              <a:gd name="connsiteY106" fmla="*/ 45279 h 315900"/>
              <a:gd name="connsiteX107" fmla="*/ 146367 w 314847"/>
              <a:gd name="connsiteY107" fmla="*/ 58968 h 315900"/>
              <a:gd name="connsiteX108" fmla="*/ 132678 w 314847"/>
              <a:gd name="connsiteY108" fmla="*/ 62127 h 315900"/>
              <a:gd name="connsiteX109" fmla="*/ 108459 w 314847"/>
              <a:gd name="connsiteY109" fmla="*/ 72657 h 315900"/>
              <a:gd name="connsiteX110" fmla="*/ 95823 w 314847"/>
              <a:gd name="connsiteY110" fmla="*/ 80028 h 315900"/>
              <a:gd name="connsiteX111" fmla="*/ 84240 w 314847"/>
              <a:gd name="connsiteY111" fmla="*/ 73710 h 315900"/>
              <a:gd name="connsiteX112" fmla="*/ 65286 w 314847"/>
              <a:gd name="connsiteY112" fmla="*/ 63180 h 315900"/>
              <a:gd name="connsiteX113" fmla="*/ 62127 w 314847"/>
              <a:gd name="connsiteY113" fmla="*/ 66339 h 315900"/>
              <a:gd name="connsiteX114" fmla="*/ 72657 w 314847"/>
              <a:gd name="connsiteY114" fmla="*/ 85293 h 315900"/>
              <a:gd name="connsiteX115" fmla="*/ 80028 w 314847"/>
              <a:gd name="connsiteY115" fmla="*/ 96876 h 315900"/>
              <a:gd name="connsiteX116" fmla="*/ 72657 w 314847"/>
              <a:gd name="connsiteY116" fmla="*/ 109512 h 315900"/>
              <a:gd name="connsiteX117" fmla="*/ 63180 w 314847"/>
              <a:gd name="connsiteY117" fmla="*/ 132678 h 31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314847" h="315900">
                <a:moveTo>
                  <a:pt x="0" y="149526"/>
                </a:moveTo>
                <a:cubicBezTo>
                  <a:pt x="0" y="142155"/>
                  <a:pt x="5265" y="136890"/>
                  <a:pt x="11583" y="134784"/>
                </a:cubicBezTo>
                <a:lnTo>
                  <a:pt x="40014" y="127413"/>
                </a:lnTo>
                <a:cubicBezTo>
                  <a:pt x="43173" y="116883"/>
                  <a:pt x="47385" y="106353"/>
                  <a:pt x="52650" y="96876"/>
                </a:cubicBezTo>
                <a:lnTo>
                  <a:pt x="37908" y="71604"/>
                </a:lnTo>
                <a:cubicBezTo>
                  <a:pt x="34749" y="65286"/>
                  <a:pt x="35802" y="57915"/>
                  <a:pt x="40014" y="52650"/>
                </a:cubicBezTo>
                <a:lnTo>
                  <a:pt x="52650" y="40014"/>
                </a:lnTo>
                <a:cubicBezTo>
                  <a:pt x="55809" y="36855"/>
                  <a:pt x="58968" y="35802"/>
                  <a:pt x="63180" y="35802"/>
                </a:cubicBezTo>
                <a:cubicBezTo>
                  <a:pt x="65286" y="35802"/>
                  <a:pt x="68445" y="36855"/>
                  <a:pt x="70551" y="37908"/>
                </a:cubicBezTo>
                <a:lnTo>
                  <a:pt x="95823" y="52650"/>
                </a:lnTo>
                <a:cubicBezTo>
                  <a:pt x="105300" y="47385"/>
                  <a:pt x="115830" y="42120"/>
                  <a:pt x="126360" y="40014"/>
                </a:cubicBezTo>
                <a:lnTo>
                  <a:pt x="133731" y="11583"/>
                </a:lnTo>
                <a:cubicBezTo>
                  <a:pt x="135837" y="5265"/>
                  <a:pt x="142155" y="0"/>
                  <a:pt x="148473" y="0"/>
                </a:cubicBezTo>
                <a:lnTo>
                  <a:pt x="167427" y="0"/>
                </a:lnTo>
                <a:cubicBezTo>
                  <a:pt x="173745" y="0"/>
                  <a:pt x="180063" y="4212"/>
                  <a:pt x="182169" y="11583"/>
                </a:cubicBezTo>
                <a:lnTo>
                  <a:pt x="189540" y="40014"/>
                </a:lnTo>
                <a:cubicBezTo>
                  <a:pt x="200070" y="43173"/>
                  <a:pt x="210600" y="47385"/>
                  <a:pt x="219024" y="52650"/>
                </a:cubicBezTo>
                <a:lnTo>
                  <a:pt x="244296" y="37908"/>
                </a:lnTo>
                <a:cubicBezTo>
                  <a:pt x="246402" y="36855"/>
                  <a:pt x="249561" y="35802"/>
                  <a:pt x="251667" y="35802"/>
                </a:cubicBezTo>
                <a:cubicBezTo>
                  <a:pt x="255879" y="35802"/>
                  <a:pt x="260091" y="37908"/>
                  <a:pt x="262197" y="40014"/>
                </a:cubicBezTo>
                <a:lnTo>
                  <a:pt x="274833" y="52650"/>
                </a:lnTo>
                <a:cubicBezTo>
                  <a:pt x="280098" y="57915"/>
                  <a:pt x="280098" y="65286"/>
                  <a:pt x="276939" y="71604"/>
                </a:cubicBezTo>
                <a:lnTo>
                  <a:pt x="262197" y="96876"/>
                </a:lnTo>
                <a:cubicBezTo>
                  <a:pt x="267462" y="106353"/>
                  <a:pt x="271674" y="115830"/>
                  <a:pt x="274833" y="126360"/>
                </a:cubicBezTo>
                <a:lnTo>
                  <a:pt x="303264" y="133731"/>
                </a:lnTo>
                <a:cubicBezTo>
                  <a:pt x="309582" y="135837"/>
                  <a:pt x="314847" y="142155"/>
                  <a:pt x="314847" y="148473"/>
                </a:cubicBezTo>
                <a:lnTo>
                  <a:pt x="314847" y="167427"/>
                </a:lnTo>
                <a:cubicBezTo>
                  <a:pt x="314847" y="174798"/>
                  <a:pt x="309582" y="180063"/>
                  <a:pt x="303264" y="182169"/>
                </a:cubicBezTo>
                <a:lnTo>
                  <a:pt x="274833" y="189540"/>
                </a:lnTo>
                <a:cubicBezTo>
                  <a:pt x="271674" y="200070"/>
                  <a:pt x="268515" y="210600"/>
                  <a:pt x="262197" y="220077"/>
                </a:cubicBezTo>
                <a:lnTo>
                  <a:pt x="276939" y="245349"/>
                </a:lnTo>
                <a:cubicBezTo>
                  <a:pt x="280098" y="251667"/>
                  <a:pt x="279045" y="259038"/>
                  <a:pt x="274833" y="264303"/>
                </a:cubicBezTo>
                <a:lnTo>
                  <a:pt x="263250" y="275886"/>
                </a:lnTo>
                <a:cubicBezTo>
                  <a:pt x="260091" y="279045"/>
                  <a:pt x="255879" y="280098"/>
                  <a:pt x="252720" y="280098"/>
                </a:cubicBezTo>
                <a:cubicBezTo>
                  <a:pt x="250614" y="280098"/>
                  <a:pt x="247455" y="279045"/>
                  <a:pt x="245349" y="277992"/>
                </a:cubicBezTo>
                <a:lnTo>
                  <a:pt x="220077" y="263250"/>
                </a:lnTo>
                <a:cubicBezTo>
                  <a:pt x="210600" y="269568"/>
                  <a:pt x="200070" y="273780"/>
                  <a:pt x="189540" y="276939"/>
                </a:cubicBezTo>
                <a:lnTo>
                  <a:pt x="182169" y="304317"/>
                </a:lnTo>
                <a:cubicBezTo>
                  <a:pt x="180063" y="310635"/>
                  <a:pt x="173745" y="315900"/>
                  <a:pt x="167427" y="315900"/>
                </a:cubicBezTo>
                <a:lnTo>
                  <a:pt x="148473" y="315900"/>
                </a:lnTo>
                <a:cubicBezTo>
                  <a:pt x="141102" y="315900"/>
                  <a:pt x="135837" y="310635"/>
                  <a:pt x="133731" y="304317"/>
                </a:cubicBezTo>
                <a:lnTo>
                  <a:pt x="126360" y="276939"/>
                </a:lnTo>
                <a:cubicBezTo>
                  <a:pt x="115830" y="273780"/>
                  <a:pt x="105300" y="269568"/>
                  <a:pt x="95823" y="264303"/>
                </a:cubicBezTo>
                <a:lnTo>
                  <a:pt x="71604" y="279045"/>
                </a:lnTo>
                <a:cubicBezTo>
                  <a:pt x="69498" y="280098"/>
                  <a:pt x="66339" y="281151"/>
                  <a:pt x="64233" y="281151"/>
                </a:cubicBezTo>
                <a:cubicBezTo>
                  <a:pt x="60021" y="281151"/>
                  <a:pt x="55809" y="280098"/>
                  <a:pt x="53703" y="276939"/>
                </a:cubicBezTo>
                <a:lnTo>
                  <a:pt x="41067" y="264303"/>
                </a:lnTo>
                <a:cubicBezTo>
                  <a:pt x="36855" y="259038"/>
                  <a:pt x="35802" y="251667"/>
                  <a:pt x="38961" y="245349"/>
                </a:cubicBezTo>
                <a:lnTo>
                  <a:pt x="53703" y="220077"/>
                </a:lnTo>
                <a:cubicBezTo>
                  <a:pt x="48438" y="210600"/>
                  <a:pt x="44226" y="201123"/>
                  <a:pt x="41067" y="190593"/>
                </a:cubicBezTo>
                <a:lnTo>
                  <a:pt x="12636" y="183222"/>
                </a:lnTo>
                <a:cubicBezTo>
                  <a:pt x="6318" y="181116"/>
                  <a:pt x="1053" y="174798"/>
                  <a:pt x="1053" y="168480"/>
                </a:cubicBezTo>
                <a:lnTo>
                  <a:pt x="1053" y="149526"/>
                </a:lnTo>
                <a:close/>
                <a:moveTo>
                  <a:pt x="63180" y="132678"/>
                </a:moveTo>
                <a:lnTo>
                  <a:pt x="58968" y="146367"/>
                </a:lnTo>
                <a:lnTo>
                  <a:pt x="45279" y="150579"/>
                </a:lnTo>
                <a:lnTo>
                  <a:pt x="24219" y="155844"/>
                </a:lnTo>
                <a:lnTo>
                  <a:pt x="24219" y="161109"/>
                </a:lnTo>
                <a:lnTo>
                  <a:pt x="45279" y="166374"/>
                </a:lnTo>
                <a:lnTo>
                  <a:pt x="58968" y="170586"/>
                </a:lnTo>
                <a:lnTo>
                  <a:pt x="63180" y="184275"/>
                </a:lnTo>
                <a:cubicBezTo>
                  <a:pt x="65286" y="192699"/>
                  <a:pt x="68445" y="201123"/>
                  <a:pt x="73710" y="208494"/>
                </a:cubicBezTo>
                <a:lnTo>
                  <a:pt x="81081" y="220077"/>
                </a:lnTo>
                <a:lnTo>
                  <a:pt x="73710" y="232713"/>
                </a:lnTo>
                <a:lnTo>
                  <a:pt x="62127" y="251667"/>
                </a:lnTo>
                <a:lnTo>
                  <a:pt x="65286" y="254826"/>
                </a:lnTo>
                <a:lnTo>
                  <a:pt x="84240" y="244296"/>
                </a:lnTo>
                <a:lnTo>
                  <a:pt x="95823" y="236925"/>
                </a:lnTo>
                <a:lnTo>
                  <a:pt x="108459" y="244296"/>
                </a:lnTo>
                <a:cubicBezTo>
                  <a:pt x="115830" y="248508"/>
                  <a:pt x="124254" y="251667"/>
                  <a:pt x="132678" y="253773"/>
                </a:cubicBezTo>
                <a:lnTo>
                  <a:pt x="146367" y="257985"/>
                </a:lnTo>
                <a:lnTo>
                  <a:pt x="150579" y="271674"/>
                </a:lnTo>
                <a:lnTo>
                  <a:pt x="155844" y="292734"/>
                </a:lnTo>
                <a:lnTo>
                  <a:pt x="161109" y="292734"/>
                </a:lnTo>
                <a:lnTo>
                  <a:pt x="166374" y="271674"/>
                </a:lnTo>
                <a:lnTo>
                  <a:pt x="170586" y="257985"/>
                </a:lnTo>
                <a:lnTo>
                  <a:pt x="184275" y="253773"/>
                </a:lnTo>
                <a:cubicBezTo>
                  <a:pt x="192699" y="251667"/>
                  <a:pt x="201123" y="248508"/>
                  <a:pt x="208494" y="244296"/>
                </a:cubicBezTo>
                <a:lnTo>
                  <a:pt x="221130" y="236925"/>
                </a:lnTo>
                <a:lnTo>
                  <a:pt x="232713" y="244296"/>
                </a:lnTo>
                <a:lnTo>
                  <a:pt x="251667" y="254826"/>
                </a:lnTo>
                <a:lnTo>
                  <a:pt x="254826" y="251667"/>
                </a:lnTo>
                <a:lnTo>
                  <a:pt x="244296" y="232713"/>
                </a:lnTo>
                <a:lnTo>
                  <a:pt x="236925" y="221130"/>
                </a:lnTo>
                <a:lnTo>
                  <a:pt x="244296" y="208494"/>
                </a:lnTo>
                <a:cubicBezTo>
                  <a:pt x="248508" y="201123"/>
                  <a:pt x="251667" y="192699"/>
                  <a:pt x="254826" y="184275"/>
                </a:cubicBezTo>
                <a:lnTo>
                  <a:pt x="257985" y="170586"/>
                </a:lnTo>
                <a:lnTo>
                  <a:pt x="271674" y="166374"/>
                </a:lnTo>
                <a:lnTo>
                  <a:pt x="292734" y="161109"/>
                </a:lnTo>
                <a:lnTo>
                  <a:pt x="292734" y="155844"/>
                </a:lnTo>
                <a:lnTo>
                  <a:pt x="271674" y="150579"/>
                </a:lnTo>
                <a:lnTo>
                  <a:pt x="257985" y="146367"/>
                </a:lnTo>
                <a:lnTo>
                  <a:pt x="252720" y="132678"/>
                </a:lnTo>
                <a:cubicBezTo>
                  <a:pt x="250614" y="124254"/>
                  <a:pt x="247455" y="115830"/>
                  <a:pt x="242190" y="108459"/>
                </a:cubicBezTo>
                <a:lnTo>
                  <a:pt x="234819" y="95823"/>
                </a:lnTo>
                <a:lnTo>
                  <a:pt x="242190" y="84240"/>
                </a:lnTo>
                <a:lnTo>
                  <a:pt x="253773" y="65286"/>
                </a:lnTo>
                <a:lnTo>
                  <a:pt x="250614" y="62127"/>
                </a:lnTo>
                <a:lnTo>
                  <a:pt x="231660" y="72657"/>
                </a:lnTo>
                <a:lnTo>
                  <a:pt x="219024" y="80028"/>
                </a:lnTo>
                <a:lnTo>
                  <a:pt x="206388" y="72657"/>
                </a:lnTo>
                <a:cubicBezTo>
                  <a:pt x="199017" y="68445"/>
                  <a:pt x="190593" y="64233"/>
                  <a:pt x="182169" y="62127"/>
                </a:cubicBezTo>
                <a:lnTo>
                  <a:pt x="168480" y="58968"/>
                </a:lnTo>
                <a:lnTo>
                  <a:pt x="165321" y="45279"/>
                </a:lnTo>
                <a:lnTo>
                  <a:pt x="159003" y="24219"/>
                </a:lnTo>
                <a:lnTo>
                  <a:pt x="154791" y="24219"/>
                </a:lnTo>
                <a:lnTo>
                  <a:pt x="149526" y="45279"/>
                </a:lnTo>
                <a:lnTo>
                  <a:pt x="146367" y="58968"/>
                </a:lnTo>
                <a:lnTo>
                  <a:pt x="132678" y="62127"/>
                </a:lnTo>
                <a:cubicBezTo>
                  <a:pt x="124254" y="64233"/>
                  <a:pt x="115830" y="67392"/>
                  <a:pt x="108459" y="72657"/>
                </a:cubicBezTo>
                <a:lnTo>
                  <a:pt x="95823" y="80028"/>
                </a:lnTo>
                <a:lnTo>
                  <a:pt x="84240" y="73710"/>
                </a:lnTo>
                <a:lnTo>
                  <a:pt x="65286" y="63180"/>
                </a:lnTo>
                <a:lnTo>
                  <a:pt x="62127" y="66339"/>
                </a:lnTo>
                <a:lnTo>
                  <a:pt x="72657" y="85293"/>
                </a:lnTo>
                <a:lnTo>
                  <a:pt x="80028" y="96876"/>
                </a:lnTo>
                <a:lnTo>
                  <a:pt x="72657" y="109512"/>
                </a:lnTo>
                <a:cubicBezTo>
                  <a:pt x="68445" y="115830"/>
                  <a:pt x="65286" y="124254"/>
                  <a:pt x="63180" y="132678"/>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35" name="Полилиния 34">
            <a:extLst>
              <a:ext uri="{FF2B5EF4-FFF2-40B4-BE49-F238E27FC236}">
                <a16:creationId xmlns:a16="http://schemas.microsoft.com/office/drawing/2014/main" id="{0C6E70FB-314B-BC47-9196-23856C9477B1}"/>
              </a:ext>
            </a:extLst>
          </p:cNvPr>
          <p:cNvSpPr/>
          <p:nvPr/>
        </p:nvSpPr>
        <p:spPr>
          <a:xfrm>
            <a:off x="1121279" y="6023169"/>
            <a:ext cx="72000" cy="72000"/>
          </a:xfrm>
          <a:custGeom>
            <a:avLst/>
            <a:gdLst>
              <a:gd name="connsiteX0" fmla="*/ 123201 w 123201"/>
              <a:gd name="connsiteY0" fmla="*/ 62127 h 123201"/>
              <a:gd name="connsiteX1" fmla="*/ 62127 w 123201"/>
              <a:gd name="connsiteY1" fmla="*/ 123201 h 123201"/>
              <a:gd name="connsiteX2" fmla="*/ 0 w 123201"/>
              <a:gd name="connsiteY2" fmla="*/ 62127 h 123201"/>
              <a:gd name="connsiteX3" fmla="*/ 61074 w 123201"/>
              <a:gd name="connsiteY3" fmla="*/ 0 h 123201"/>
              <a:gd name="connsiteX4" fmla="*/ 123201 w 123201"/>
              <a:gd name="connsiteY4" fmla="*/ 62127 h 123201"/>
              <a:gd name="connsiteX5" fmla="*/ 98982 w 123201"/>
              <a:gd name="connsiteY5" fmla="*/ 62127 h 123201"/>
              <a:gd name="connsiteX6" fmla="*/ 62127 w 123201"/>
              <a:gd name="connsiteY6" fmla="*/ 25272 h 123201"/>
              <a:gd name="connsiteX7" fmla="*/ 25272 w 123201"/>
              <a:gd name="connsiteY7" fmla="*/ 62127 h 123201"/>
              <a:gd name="connsiteX8" fmla="*/ 62127 w 123201"/>
              <a:gd name="connsiteY8" fmla="*/ 98982 h 123201"/>
              <a:gd name="connsiteX9" fmla="*/ 98982 w 123201"/>
              <a:gd name="connsiteY9" fmla="*/ 62127 h 12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01" h="123201">
                <a:moveTo>
                  <a:pt x="123201" y="62127"/>
                </a:moveTo>
                <a:cubicBezTo>
                  <a:pt x="123201" y="95823"/>
                  <a:pt x="95823" y="123201"/>
                  <a:pt x="62127" y="123201"/>
                </a:cubicBezTo>
                <a:cubicBezTo>
                  <a:pt x="28431" y="123201"/>
                  <a:pt x="0" y="95823"/>
                  <a:pt x="0" y="62127"/>
                </a:cubicBezTo>
                <a:cubicBezTo>
                  <a:pt x="0" y="28431"/>
                  <a:pt x="27378" y="0"/>
                  <a:pt x="61074" y="0"/>
                </a:cubicBezTo>
                <a:cubicBezTo>
                  <a:pt x="94770" y="0"/>
                  <a:pt x="123201" y="28431"/>
                  <a:pt x="123201" y="62127"/>
                </a:cubicBezTo>
                <a:close/>
                <a:moveTo>
                  <a:pt x="98982" y="62127"/>
                </a:moveTo>
                <a:cubicBezTo>
                  <a:pt x="98982" y="41067"/>
                  <a:pt x="82134" y="25272"/>
                  <a:pt x="62127" y="25272"/>
                </a:cubicBezTo>
                <a:cubicBezTo>
                  <a:pt x="42120" y="25272"/>
                  <a:pt x="25272" y="42120"/>
                  <a:pt x="25272" y="62127"/>
                </a:cubicBezTo>
                <a:cubicBezTo>
                  <a:pt x="25272" y="83187"/>
                  <a:pt x="42120" y="98982"/>
                  <a:pt x="62127" y="98982"/>
                </a:cubicBezTo>
                <a:cubicBezTo>
                  <a:pt x="82134" y="98982"/>
                  <a:pt x="98982" y="83187"/>
                  <a:pt x="98982" y="62127"/>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36" name="Полилиния 35">
            <a:extLst>
              <a:ext uri="{FF2B5EF4-FFF2-40B4-BE49-F238E27FC236}">
                <a16:creationId xmlns:a16="http://schemas.microsoft.com/office/drawing/2014/main" id="{8C1E4B0B-B723-924C-8958-41CE3EA734A3}"/>
              </a:ext>
            </a:extLst>
          </p:cNvPr>
          <p:cNvSpPr/>
          <p:nvPr/>
        </p:nvSpPr>
        <p:spPr>
          <a:xfrm>
            <a:off x="4979606" y="2301575"/>
            <a:ext cx="522985" cy="516368"/>
          </a:xfrm>
          <a:custGeom>
            <a:avLst/>
            <a:gdLst>
              <a:gd name="connsiteX0" fmla="*/ 421200 w 842400"/>
              <a:gd name="connsiteY0" fmla="*/ 842400 h 842400"/>
              <a:gd name="connsiteX1" fmla="*/ 842400 w 842400"/>
              <a:gd name="connsiteY1" fmla="*/ 421200 h 842400"/>
              <a:gd name="connsiteX2" fmla="*/ 421200 w 842400"/>
              <a:gd name="connsiteY2" fmla="*/ 0 h 842400"/>
              <a:gd name="connsiteX3" fmla="*/ 0 w 842400"/>
              <a:gd name="connsiteY3" fmla="*/ 421200 h 842400"/>
              <a:gd name="connsiteX4" fmla="*/ 421200 w 842400"/>
              <a:gd name="connsiteY4" fmla="*/ 842400 h 84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00" h="842400">
                <a:moveTo>
                  <a:pt x="421200" y="842400"/>
                </a:moveTo>
                <a:cubicBezTo>
                  <a:pt x="653822" y="842400"/>
                  <a:pt x="842400" y="653822"/>
                  <a:pt x="842400" y="421200"/>
                </a:cubicBezTo>
                <a:cubicBezTo>
                  <a:pt x="842400" y="188578"/>
                  <a:pt x="653822" y="0"/>
                  <a:pt x="421200" y="0"/>
                </a:cubicBezTo>
                <a:cubicBezTo>
                  <a:pt x="188578" y="0"/>
                  <a:pt x="0" y="188578"/>
                  <a:pt x="0" y="421200"/>
                </a:cubicBezTo>
                <a:cubicBezTo>
                  <a:pt x="0" y="653822"/>
                  <a:pt x="188578" y="842400"/>
                  <a:pt x="421200" y="842400"/>
                </a:cubicBezTo>
                <a:close/>
              </a:path>
            </a:pathLst>
          </a:custGeom>
          <a:gradFill flip="none" rotWithShape="1">
            <a:gsLst>
              <a:gs pos="0">
                <a:srgbClr val="FF4F12"/>
              </a:gs>
              <a:gs pos="54000">
                <a:srgbClr val="FF4F12">
                  <a:alpha val="93000"/>
                </a:srgbClr>
              </a:gs>
              <a:gs pos="99000">
                <a:srgbClr val="CD3500"/>
              </a:gs>
            </a:gsLst>
            <a:lin ang="5400000" scaled="1"/>
            <a:tileRect/>
          </a:gradFill>
          <a:ln w="10478" cap="flat">
            <a:noFill/>
            <a:prstDash val="solid"/>
            <a:miter/>
          </a:ln>
        </p:spPr>
        <p:txBody>
          <a:bodyPr rtlCol="0" anchor="ctr"/>
          <a:lstStyle/>
          <a:p>
            <a:endParaRPr lang="ru-RU" sz="1801" dirty="0">
              <a:solidFill>
                <a:srgbClr val="272F3D"/>
              </a:solidFill>
              <a:latin typeface="Rostelecom Basis"/>
            </a:endParaRPr>
          </a:p>
        </p:txBody>
      </p:sp>
      <p:sp>
        <p:nvSpPr>
          <p:cNvPr id="37" name="Полилиния 36">
            <a:extLst>
              <a:ext uri="{FF2B5EF4-FFF2-40B4-BE49-F238E27FC236}">
                <a16:creationId xmlns:a16="http://schemas.microsoft.com/office/drawing/2014/main" id="{EBD06014-20A9-7243-BB15-445088E51CEC}"/>
              </a:ext>
            </a:extLst>
          </p:cNvPr>
          <p:cNvSpPr/>
          <p:nvPr/>
        </p:nvSpPr>
        <p:spPr>
          <a:xfrm>
            <a:off x="5126809" y="2417433"/>
            <a:ext cx="216000" cy="288000"/>
          </a:xfrm>
          <a:custGeom>
            <a:avLst/>
            <a:gdLst>
              <a:gd name="connsiteX0" fmla="*/ 26325 w 184275"/>
              <a:gd name="connsiteY0" fmla="*/ 235872 h 235871"/>
              <a:gd name="connsiteX1" fmla="*/ 52650 w 184275"/>
              <a:gd name="connsiteY1" fmla="*/ 235872 h 235871"/>
              <a:gd name="connsiteX2" fmla="*/ 52650 w 184275"/>
              <a:gd name="connsiteY2" fmla="*/ 130572 h 235871"/>
              <a:gd name="connsiteX3" fmla="*/ 117936 w 184275"/>
              <a:gd name="connsiteY3" fmla="*/ 130572 h 235871"/>
              <a:gd name="connsiteX4" fmla="*/ 184275 w 184275"/>
              <a:gd name="connsiteY4" fmla="*/ 64233 h 235871"/>
              <a:gd name="connsiteX5" fmla="*/ 118989 w 184275"/>
              <a:gd name="connsiteY5" fmla="*/ 0 h 235871"/>
              <a:gd name="connsiteX6" fmla="*/ 26325 w 184275"/>
              <a:gd name="connsiteY6" fmla="*/ 0 h 235871"/>
              <a:gd name="connsiteX7" fmla="*/ 26325 w 184275"/>
              <a:gd name="connsiteY7" fmla="*/ 105300 h 235871"/>
              <a:gd name="connsiteX8" fmla="*/ 0 w 184275"/>
              <a:gd name="connsiteY8" fmla="*/ 105300 h 235871"/>
              <a:gd name="connsiteX9" fmla="*/ 0 w 184275"/>
              <a:gd name="connsiteY9" fmla="*/ 131625 h 235871"/>
              <a:gd name="connsiteX10" fmla="*/ 26325 w 184275"/>
              <a:gd name="connsiteY10" fmla="*/ 131625 h 235871"/>
              <a:gd name="connsiteX11" fmla="*/ 26325 w 184275"/>
              <a:gd name="connsiteY11" fmla="*/ 235872 h 235871"/>
              <a:gd name="connsiteX12" fmla="*/ 117936 w 184275"/>
              <a:gd name="connsiteY12" fmla="*/ 104247 h 235871"/>
              <a:gd name="connsiteX13" fmla="*/ 52650 w 184275"/>
              <a:gd name="connsiteY13" fmla="*/ 104247 h 235871"/>
              <a:gd name="connsiteX14" fmla="*/ 52650 w 184275"/>
              <a:gd name="connsiteY14" fmla="*/ 25272 h 235871"/>
              <a:gd name="connsiteX15" fmla="*/ 118989 w 184275"/>
              <a:gd name="connsiteY15" fmla="*/ 25272 h 235871"/>
              <a:gd name="connsiteX16" fmla="*/ 157950 w 184275"/>
              <a:gd name="connsiteY16" fmla="*/ 64233 h 235871"/>
              <a:gd name="connsiteX17" fmla="*/ 117936 w 184275"/>
              <a:gd name="connsiteY17" fmla="*/ 104247 h 2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4275" h="235871">
                <a:moveTo>
                  <a:pt x="26325" y="235872"/>
                </a:moveTo>
                <a:lnTo>
                  <a:pt x="52650" y="235872"/>
                </a:lnTo>
                <a:lnTo>
                  <a:pt x="52650" y="130572"/>
                </a:lnTo>
                <a:lnTo>
                  <a:pt x="117936" y="130572"/>
                </a:lnTo>
                <a:cubicBezTo>
                  <a:pt x="154791" y="130572"/>
                  <a:pt x="184275" y="101088"/>
                  <a:pt x="184275" y="64233"/>
                </a:cubicBezTo>
                <a:cubicBezTo>
                  <a:pt x="184275" y="28431"/>
                  <a:pt x="154791" y="0"/>
                  <a:pt x="118989" y="0"/>
                </a:cubicBezTo>
                <a:lnTo>
                  <a:pt x="26325" y="0"/>
                </a:lnTo>
                <a:lnTo>
                  <a:pt x="26325" y="105300"/>
                </a:lnTo>
                <a:lnTo>
                  <a:pt x="0" y="105300"/>
                </a:lnTo>
                <a:lnTo>
                  <a:pt x="0" y="131625"/>
                </a:lnTo>
                <a:lnTo>
                  <a:pt x="26325" y="131625"/>
                </a:lnTo>
                <a:lnTo>
                  <a:pt x="26325" y="235872"/>
                </a:lnTo>
                <a:close/>
                <a:moveTo>
                  <a:pt x="117936" y="104247"/>
                </a:moveTo>
                <a:lnTo>
                  <a:pt x="52650" y="104247"/>
                </a:lnTo>
                <a:lnTo>
                  <a:pt x="52650" y="25272"/>
                </a:lnTo>
                <a:lnTo>
                  <a:pt x="118989" y="25272"/>
                </a:lnTo>
                <a:cubicBezTo>
                  <a:pt x="140049" y="25272"/>
                  <a:pt x="157950" y="42120"/>
                  <a:pt x="157950" y="64233"/>
                </a:cubicBezTo>
                <a:cubicBezTo>
                  <a:pt x="157950" y="86346"/>
                  <a:pt x="140049" y="104247"/>
                  <a:pt x="117936" y="104247"/>
                </a:cubicBezTo>
                <a:close/>
              </a:path>
            </a:pathLst>
          </a:custGeom>
          <a:solidFill>
            <a:srgbClr val="FFFFFF"/>
          </a:solidFill>
          <a:ln w="10478" cap="flat">
            <a:noFill/>
            <a:prstDash val="solid"/>
            <a:miter/>
          </a:ln>
        </p:spPr>
        <p:txBody>
          <a:bodyPr rtlCol="0" anchor="ctr"/>
          <a:lstStyle/>
          <a:p>
            <a:endParaRPr lang="ru-RU" sz="1801" dirty="0">
              <a:solidFill>
                <a:srgbClr val="272F3D"/>
              </a:solidFill>
              <a:latin typeface="Rostelecom Basis"/>
            </a:endParaRPr>
          </a:p>
        </p:txBody>
      </p:sp>
      <p:sp>
        <p:nvSpPr>
          <p:cNvPr id="38" name="Полилиния 37">
            <a:extLst>
              <a:ext uri="{FF2B5EF4-FFF2-40B4-BE49-F238E27FC236}">
                <a16:creationId xmlns:a16="http://schemas.microsoft.com/office/drawing/2014/main" id="{0347F71C-888E-3946-9E34-60C17AE8FC8E}"/>
              </a:ext>
            </a:extLst>
          </p:cNvPr>
          <p:cNvSpPr/>
          <p:nvPr/>
        </p:nvSpPr>
        <p:spPr>
          <a:xfrm>
            <a:off x="5126809" y="2615937"/>
            <a:ext cx="108000" cy="252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FFFF"/>
          </a:solidFill>
          <a:ln w="10478" cap="flat">
            <a:noFill/>
            <a:prstDash val="solid"/>
            <a:miter/>
          </a:ln>
        </p:spPr>
        <p:txBody>
          <a:bodyPr rtlCol="0" anchor="ctr"/>
          <a:lstStyle/>
          <a:p>
            <a:endParaRPr lang="ru-RU" sz="1801" dirty="0">
              <a:solidFill>
                <a:srgbClr val="272F3D"/>
              </a:solidFill>
              <a:latin typeface="Rostelecom Basis"/>
            </a:endParaRPr>
          </a:p>
        </p:txBody>
      </p:sp>
      <p:sp>
        <p:nvSpPr>
          <p:cNvPr id="39" name="Полилиния 38">
            <a:extLst>
              <a:ext uri="{FF2B5EF4-FFF2-40B4-BE49-F238E27FC236}">
                <a16:creationId xmlns:a16="http://schemas.microsoft.com/office/drawing/2014/main" id="{DE583147-28EE-EE4D-AAB0-25C0A68DC00B}"/>
              </a:ext>
            </a:extLst>
          </p:cNvPr>
          <p:cNvSpPr/>
          <p:nvPr/>
        </p:nvSpPr>
        <p:spPr>
          <a:xfrm>
            <a:off x="835561" y="6148597"/>
            <a:ext cx="72000" cy="72000"/>
          </a:xfrm>
          <a:custGeom>
            <a:avLst/>
            <a:gdLst>
              <a:gd name="connsiteX0" fmla="*/ 42120 w 84240"/>
              <a:gd name="connsiteY0" fmla="*/ 68445 h 84240"/>
              <a:gd name="connsiteX1" fmla="*/ 68445 w 84240"/>
              <a:gd name="connsiteY1" fmla="*/ 42120 h 84240"/>
              <a:gd name="connsiteX2" fmla="*/ 42120 w 84240"/>
              <a:gd name="connsiteY2" fmla="*/ 15795 h 84240"/>
              <a:gd name="connsiteX3" fmla="*/ 15795 w 84240"/>
              <a:gd name="connsiteY3" fmla="*/ 42120 h 84240"/>
              <a:gd name="connsiteX4" fmla="*/ 42120 w 84240"/>
              <a:gd name="connsiteY4" fmla="*/ 68445 h 84240"/>
              <a:gd name="connsiteX5" fmla="*/ 42120 w 84240"/>
              <a:gd name="connsiteY5" fmla="*/ 84240 h 84240"/>
              <a:gd name="connsiteX6" fmla="*/ 84240 w 84240"/>
              <a:gd name="connsiteY6" fmla="*/ 42120 h 84240"/>
              <a:gd name="connsiteX7" fmla="*/ 42120 w 84240"/>
              <a:gd name="connsiteY7" fmla="*/ 0 h 84240"/>
              <a:gd name="connsiteX8" fmla="*/ 0 w 84240"/>
              <a:gd name="connsiteY8" fmla="*/ 42120 h 84240"/>
              <a:gd name="connsiteX9" fmla="*/ 42120 w 84240"/>
              <a:gd name="connsiteY9" fmla="*/ 84240 h 8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40" h="84240">
                <a:moveTo>
                  <a:pt x="42120" y="68445"/>
                </a:moveTo>
                <a:cubicBezTo>
                  <a:pt x="56862" y="68445"/>
                  <a:pt x="68445" y="56862"/>
                  <a:pt x="68445" y="42120"/>
                </a:cubicBezTo>
                <a:cubicBezTo>
                  <a:pt x="68445" y="27378"/>
                  <a:pt x="56862" y="15795"/>
                  <a:pt x="42120" y="15795"/>
                </a:cubicBezTo>
                <a:cubicBezTo>
                  <a:pt x="27378" y="15795"/>
                  <a:pt x="15795" y="27378"/>
                  <a:pt x="15795" y="42120"/>
                </a:cubicBezTo>
                <a:cubicBezTo>
                  <a:pt x="15795" y="56862"/>
                  <a:pt x="27378" y="68445"/>
                  <a:pt x="42120" y="68445"/>
                </a:cubicBezTo>
                <a:close/>
                <a:moveTo>
                  <a:pt x="42120" y="84240"/>
                </a:moveTo>
                <a:cubicBezTo>
                  <a:pt x="65286" y="84240"/>
                  <a:pt x="84240" y="65286"/>
                  <a:pt x="84240" y="42120"/>
                </a:cubicBezTo>
                <a:cubicBezTo>
                  <a:pt x="84240" y="18954"/>
                  <a:pt x="65286" y="0"/>
                  <a:pt x="42120" y="0"/>
                </a:cubicBezTo>
                <a:cubicBezTo>
                  <a:pt x="18954" y="0"/>
                  <a:pt x="0" y="18954"/>
                  <a:pt x="0" y="42120"/>
                </a:cubicBezTo>
                <a:cubicBezTo>
                  <a:pt x="0" y="65286"/>
                  <a:pt x="18954" y="84240"/>
                  <a:pt x="42120" y="84240"/>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0" name="Полилиния 39">
            <a:extLst>
              <a:ext uri="{FF2B5EF4-FFF2-40B4-BE49-F238E27FC236}">
                <a16:creationId xmlns:a16="http://schemas.microsoft.com/office/drawing/2014/main" id="{0347F71C-888E-3946-9E34-60C17AE8FC8E}"/>
              </a:ext>
            </a:extLst>
          </p:cNvPr>
          <p:cNvSpPr/>
          <p:nvPr/>
        </p:nvSpPr>
        <p:spPr>
          <a:xfrm rot="5400000">
            <a:off x="1407663" y="6229983"/>
            <a:ext cx="54000" cy="180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1" name="Полилиния 40">
            <a:extLst>
              <a:ext uri="{FF2B5EF4-FFF2-40B4-BE49-F238E27FC236}">
                <a16:creationId xmlns:a16="http://schemas.microsoft.com/office/drawing/2014/main" id="{DE583147-28EE-EE4D-AAB0-25C0A68DC00B}"/>
              </a:ext>
            </a:extLst>
          </p:cNvPr>
          <p:cNvSpPr/>
          <p:nvPr/>
        </p:nvSpPr>
        <p:spPr>
          <a:xfrm>
            <a:off x="1393639" y="6149629"/>
            <a:ext cx="72000" cy="72000"/>
          </a:xfrm>
          <a:custGeom>
            <a:avLst/>
            <a:gdLst>
              <a:gd name="connsiteX0" fmla="*/ 42120 w 84240"/>
              <a:gd name="connsiteY0" fmla="*/ 68445 h 84240"/>
              <a:gd name="connsiteX1" fmla="*/ 68445 w 84240"/>
              <a:gd name="connsiteY1" fmla="*/ 42120 h 84240"/>
              <a:gd name="connsiteX2" fmla="*/ 42120 w 84240"/>
              <a:gd name="connsiteY2" fmla="*/ 15795 h 84240"/>
              <a:gd name="connsiteX3" fmla="*/ 15795 w 84240"/>
              <a:gd name="connsiteY3" fmla="*/ 42120 h 84240"/>
              <a:gd name="connsiteX4" fmla="*/ 42120 w 84240"/>
              <a:gd name="connsiteY4" fmla="*/ 68445 h 84240"/>
              <a:gd name="connsiteX5" fmla="*/ 42120 w 84240"/>
              <a:gd name="connsiteY5" fmla="*/ 84240 h 84240"/>
              <a:gd name="connsiteX6" fmla="*/ 84240 w 84240"/>
              <a:gd name="connsiteY6" fmla="*/ 42120 h 84240"/>
              <a:gd name="connsiteX7" fmla="*/ 42120 w 84240"/>
              <a:gd name="connsiteY7" fmla="*/ 0 h 84240"/>
              <a:gd name="connsiteX8" fmla="*/ 0 w 84240"/>
              <a:gd name="connsiteY8" fmla="*/ 42120 h 84240"/>
              <a:gd name="connsiteX9" fmla="*/ 42120 w 84240"/>
              <a:gd name="connsiteY9" fmla="*/ 84240 h 8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40" h="84240">
                <a:moveTo>
                  <a:pt x="42120" y="68445"/>
                </a:moveTo>
                <a:cubicBezTo>
                  <a:pt x="56862" y="68445"/>
                  <a:pt x="68445" y="56862"/>
                  <a:pt x="68445" y="42120"/>
                </a:cubicBezTo>
                <a:cubicBezTo>
                  <a:pt x="68445" y="27378"/>
                  <a:pt x="56862" y="15795"/>
                  <a:pt x="42120" y="15795"/>
                </a:cubicBezTo>
                <a:cubicBezTo>
                  <a:pt x="27378" y="15795"/>
                  <a:pt x="15795" y="27378"/>
                  <a:pt x="15795" y="42120"/>
                </a:cubicBezTo>
                <a:cubicBezTo>
                  <a:pt x="15795" y="56862"/>
                  <a:pt x="27378" y="68445"/>
                  <a:pt x="42120" y="68445"/>
                </a:cubicBezTo>
                <a:close/>
                <a:moveTo>
                  <a:pt x="42120" y="84240"/>
                </a:moveTo>
                <a:cubicBezTo>
                  <a:pt x="65286" y="84240"/>
                  <a:pt x="84240" y="65286"/>
                  <a:pt x="84240" y="42120"/>
                </a:cubicBezTo>
                <a:cubicBezTo>
                  <a:pt x="84240" y="18954"/>
                  <a:pt x="65286" y="0"/>
                  <a:pt x="42120" y="0"/>
                </a:cubicBezTo>
                <a:cubicBezTo>
                  <a:pt x="18954" y="0"/>
                  <a:pt x="0" y="18954"/>
                  <a:pt x="0" y="42120"/>
                </a:cubicBezTo>
                <a:cubicBezTo>
                  <a:pt x="0" y="65286"/>
                  <a:pt x="18954" y="84240"/>
                  <a:pt x="42120" y="84240"/>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2" name="Полилиния 41">
            <a:extLst>
              <a:ext uri="{FF2B5EF4-FFF2-40B4-BE49-F238E27FC236}">
                <a16:creationId xmlns:a16="http://schemas.microsoft.com/office/drawing/2014/main" id="{0347F71C-888E-3946-9E34-60C17AE8FC8E}"/>
              </a:ext>
            </a:extLst>
          </p:cNvPr>
          <p:cNvSpPr/>
          <p:nvPr/>
        </p:nvSpPr>
        <p:spPr>
          <a:xfrm rot="5400000">
            <a:off x="846893" y="6228949"/>
            <a:ext cx="54000" cy="180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3" name="AutoShape 4"/>
          <p:cNvSpPr>
            <a:spLocks/>
          </p:cNvSpPr>
          <p:nvPr/>
        </p:nvSpPr>
        <p:spPr bwMode="auto">
          <a:xfrm>
            <a:off x="1000693" y="6213547"/>
            <a:ext cx="288000" cy="288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7428" y="17466"/>
                </a:moveTo>
                <a:cubicBezTo>
                  <a:pt x="16669" y="16923"/>
                  <a:pt x="15846" y="16465"/>
                  <a:pt x="14963" y="16121"/>
                </a:cubicBezTo>
                <a:cubicBezTo>
                  <a:pt x="15595" y="14609"/>
                  <a:pt x="15967" y="12928"/>
                  <a:pt x="16010" y="11148"/>
                </a:cubicBezTo>
                <a:lnTo>
                  <a:pt x="20188" y="11148"/>
                </a:lnTo>
                <a:cubicBezTo>
                  <a:pt x="20097" y="13612"/>
                  <a:pt x="19065" y="15838"/>
                  <a:pt x="17428" y="17466"/>
                </a:cubicBezTo>
                <a:moveTo>
                  <a:pt x="1411" y="11148"/>
                </a:moveTo>
                <a:lnTo>
                  <a:pt x="5589" y="11148"/>
                </a:lnTo>
                <a:cubicBezTo>
                  <a:pt x="5632" y="12928"/>
                  <a:pt x="6004" y="14609"/>
                  <a:pt x="6636" y="16121"/>
                </a:cubicBezTo>
                <a:cubicBezTo>
                  <a:pt x="5753" y="16465"/>
                  <a:pt x="4931" y="16923"/>
                  <a:pt x="4171" y="17466"/>
                </a:cubicBezTo>
                <a:cubicBezTo>
                  <a:pt x="2534" y="15838"/>
                  <a:pt x="1502" y="13612"/>
                  <a:pt x="1411" y="11148"/>
                </a:cubicBezTo>
                <a:moveTo>
                  <a:pt x="3785" y="4553"/>
                </a:moveTo>
                <a:cubicBezTo>
                  <a:pt x="4579" y="5170"/>
                  <a:pt x="5448" y="5691"/>
                  <a:pt x="6388" y="6084"/>
                </a:cubicBezTo>
                <a:cubicBezTo>
                  <a:pt x="5901" y="7433"/>
                  <a:pt x="5627" y="8908"/>
                  <a:pt x="5589" y="10451"/>
                </a:cubicBezTo>
                <a:lnTo>
                  <a:pt x="1411" y="10451"/>
                </a:lnTo>
                <a:cubicBezTo>
                  <a:pt x="1494" y="8190"/>
                  <a:pt x="2376" y="6135"/>
                  <a:pt x="3785" y="4553"/>
                </a:cubicBezTo>
                <a:moveTo>
                  <a:pt x="11148" y="10451"/>
                </a:moveTo>
                <a:lnTo>
                  <a:pt x="11148" y="6950"/>
                </a:lnTo>
                <a:cubicBezTo>
                  <a:pt x="12339" y="6913"/>
                  <a:pt x="13484" y="6696"/>
                  <a:pt x="14558" y="6324"/>
                </a:cubicBezTo>
                <a:cubicBezTo>
                  <a:pt x="15018" y="7598"/>
                  <a:pt x="15276" y="8992"/>
                  <a:pt x="15314" y="10451"/>
                </a:cubicBezTo>
                <a:cubicBezTo>
                  <a:pt x="15314" y="10451"/>
                  <a:pt x="11148" y="10451"/>
                  <a:pt x="11148" y="10451"/>
                </a:cubicBezTo>
                <a:close/>
                <a:moveTo>
                  <a:pt x="14311" y="15882"/>
                </a:moveTo>
                <a:cubicBezTo>
                  <a:pt x="13309" y="15559"/>
                  <a:pt x="12247" y="15380"/>
                  <a:pt x="11148" y="15346"/>
                </a:cubicBezTo>
                <a:lnTo>
                  <a:pt x="11148" y="11148"/>
                </a:lnTo>
                <a:lnTo>
                  <a:pt x="15314" y="11148"/>
                </a:lnTo>
                <a:cubicBezTo>
                  <a:pt x="15270" y="12844"/>
                  <a:pt x="14914" y="14445"/>
                  <a:pt x="14311" y="15882"/>
                </a:cubicBezTo>
                <a:moveTo>
                  <a:pt x="14683" y="16757"/>
                </a:moveTo>
                <a:cubicBezTo>
                  <a:pt x="15476" y="17063"/>
                  <a:pt x="16218" y="17466"/>
                  <a:pt x="16904" y="17941"/>
                </a:cubicBezTo>
                <a:cubicBezTo>
                  <a:pt x="15632" y="19031"/>
                  <a:pt x="14067" y="19781"/>
                  <a:pt x="12344" y="20068"/>
                </a:cubicBezTo>
                <a:cubicBezTo>
                  <a:pt x="13280" y="19136"/>
                  <a:pt x="14076" y="18017"/>
                  <a:pt x="14683" y="16757"/>
                </a:cubicBezTo>
                <a:moveTo>
                  <a:pt x="11148" y="20188"/>
                </a:moveTo>
                <a:lnTo>
                  <a:pt x="11148" y="16043"/>
                </a:lnTo>
                <a:cubicBezTo>
                  <a:pt x="12146" y="16075"/>
                  <a:pt x="13113" y="16231"/>
                  <a:pt x="14025" y="16516"/>
                </a:cubicBezTo>
                <a:cubicBezTo>
                  <a:pt x="13314" y="17970"/>
                  <a:pt x="12343" y="19223"/>
                  <a:pt x="11185" y="20186"/>
                </a:cubicBezTo>
                <a:cubicBezTo>
                  <a:pt x="11185" y="20186"/>
                  <a:pt x="11148" y="20188"/>
                  <a:pt x="11148" y="20188"/>
                </a:cubicBezTo>
                <a:close/>
                <a:moveTo>
                  <a:pt x="9255" y="20068"/>
                </a:moveTo>
                <a:cubicBezTo>
                  <a:pt x="7532" y="19781"/>
                  <a:pt x="5967" y="19031"/>
                  <a:pt x="4695" y="17941"/>
                </a:cubicBezTo>
                <a:cubicBezTo>
                  <a:pt x="5381" y="17466"/>
                  <a:pt x="6123" y="17063"/>
                  <a:pt x="6916" y="16757"/>
                </a:cubicBezTo>
                <a:cubicBezTo>
                  <a:pt x="7523" y="18017"/>
                  <a:pt x="8319" y="19136"/>
                  <a:pt x="9255" y="20068"/>
                </a:cubicBezTo>
                <a:moveTo>
                  <a:pt x="10451" y="11148"/>
                </a:moveTo>
                <a:lnTo>
                  <a:pt x="10451" y="15346"/>
                </a:lnTo>
                <a:cubicBezTo>
                  <a:pt x="9352" y="15380"/>
                  <a:pt x="8290" y="15559"/>
                  <a:pt x="7288" y="15882"/>
                </a:cubicBezTo>
                <a:cubicBezTo>
                  <a:pt x="6685" y="14445"/>
                  <a:pt x="6329" y="12844"/>
                  <a:pt x="6285" y="11148"/>
                </a:cubicBezTo>
                <a:cubicBezTo>
                  <a:pt x="6285" y="11148"/>
                  <a:pt x="10451" y="11148"/>
                  <a:pt x="10451" y="11148"/>
                </a:cubicBezTo>
                <a:close/>
                <a:moveTo>
                  <a:pt x="7041" y="6324"/>
                </a:moveTo>
                <a:cubicBezTo>
                  <a:pt x="8115" y="6696"/>
                  <a:pt x="9260" y="6913"/>
                  <a:pt x="10451" y="6950"/>
                </a:cubicBezTo>
                <a:lnTo>
                  <a:pt x="10451" y="10451"/>
                </a:lnTo>
                <a:lnTo>
                  <a:pt x="6285" y="10451"/>
                </a:lnTo>
                <a:cubicBezTo>
                  <a:pt x="6324" y="8992"/>
                  <a:pt x="6581" y="7598"/>
                  <a:pt x="7041" y="6324"/>
                </a:cubicBezTo>
                <a:moveTo>
                  <a:pt x="6651" y="5442"/>
                </a:moveTo>
                <a:cubicBezTo>
                  <a:pt x="5790" y="5084"/>
                  <a:pt x="4993" y="4609"/>
                  <a:pt x="4263" y="4050"/>
                </a:cubicBezTo>
                <a:cubicBezTo>
                  <a:pt x="5606" y="2749"/>
                  <a:pt x="7332" y="1851"/>
                  <a:pt x="9255" y="1531"/>
                </a:cubicBezTo>
                <a:cubicBezTo>
                  <a:pt x="8175" y="2610"/>
                  <a:pt x="7286" y="3939"/>
                  <a:pt x="6651" y="5442"/>
                </a:cubicBezTo>
                <a:moveTo>
                  <a:pt x="10451" y="1411"/>
                </a:moveTo>
                <a:lnTo>
                  <a:pt x="10451" y="6253"/>
                </a:lnTo>
                <a:cubicBezTo>
                  <a:pt x="9352" y="6217"/>
                  <a:pt x="8296" y="6021"/>
                  <a:pt x="7303" y="5681"/>
                </a:cubicBezTo>
                <a:cubicBezTo>
                  <a:pt x="8029" y="3972"/>
                  <a:pt x="9101" y="2507"/>
                  <a:pt x="10415" y="1413"/>
                </a:cubicBezTo>
                <a:cubicBezTo>
                  <a:pt x="10427" y="1412"/>
                  <a:pt x="10439" y="1411"/>
                  <a:pt x="10451" y="1411"/>
                </a:cubicBezTo>
                <a:moveTo>
                  <a:pt x="12344" y="1531"/>
                </a:moveTo>
                <a:cubicBezTo>
                  <a:pt x="14267" y="1851"/>
                  <a:pt x="15993" y="2749"/>
                  <a:pt x="17336" y="4050"/>
                </a:cubicBezTo>
                <a:cubicBezTo>
                  <a:pt x="16606" y="4609"/>
                  <a:pt x="15809" y="5084"/>
                  <a:pt x="14948" y="5442"/>
                </a:cubicBezTo>
                <a:cubicBezTo>
                  <a:pt x="14313" y="3939"/>
                  <a:pt x="13424" y="2610"/>
                  <a:pt x="12344" y="1531"/>
                </a:cubicBezTo>
                <a:moveTo>
                  <a:pt x="11184" y="1413"/>
                </a:moveTo>
                <a:cubicBezTo>
                  <a:pt x="12498" y="2507"/>
                  <a:pt x="13570" y="3972"/>
                  <a:pt x="14296" y="5681"/>
                </a:cubicBezTo>
                <a:cubicBezTo>
                  <a:pt x="13303" y="6021"/>
                  <a:pt x="12247" y="6217"/>
                  <a:pt x="11148" y="6253"/>
                </a:cubicBezTo>
                <a:lnTo>
                  <a:pt x="11148" y="1411"/>
                </a:lnTo>
                <a:cubicBezTo>
                  <a:pt x="11160" y="1411"/>
                  <a:pt x="11172" y="1412"/>
                  <a:pt x="11184" y="1413"/>
                </a:cubicBezTo>
                <a:moveTo>
                  <a:pt x="10414" y="20186"/>
                </a:moveTo>
                <a:cubicBezTo>
                  <a:pt x="9256" y="19223"/>
                  <a:pt x="8285" y="17970"/>
                  <a:pt x="7574" y="16516"/>
                </a:cubicBezTo>
                <a:cubicBezTo>
                  <a:pt x="8486" y="16231"/>
                  <a:pt x="9453" y="16075"/>
                  <a:pt x="10451" y="16043"/>
                </a:cubicBezTo>
                <a:lnTo>
                  <a:pt x="10451" y="20188"/>
                </a:lnTo>
                <a:cubicBezTo>
                  <a:pt x="10451" y="20188"/>
                  <a:pt x="10414" y="20186"/>
                  <a:pt x="10414" y="20186"/>
                </a:cubicBezTo>
                <a:close/>
                <a:moveTo>
                  <a:pt x="20188" y="10451"/>
                </a:moveTo>
                <a:lnTo>
                  <a:pt x="16010" y="10451"/>
                </a:lnTo>
                <a:cubicBezTo>
                  <a:pt x="15972" y="8908"/>
                  <a:pt x="15698" y="7433"/>
                  <a:pt x="15211" y="6084"/>
                </a:cubicBezTo>
                <a:cubicBezTo>
                  <a:pt x="16151" y="5691"/>
                  <a:pt x="17020" y="5170"/>
                  <a:pt x="17814" y="4553"/>
                </a:cubicBezTo>
                <a:cubicBezTo>
                  <a:pt x="19223" y="6135"/>
                  <a:pt x="20105" y="8190"/>
                  <a:pt x="20188" y="10451"/>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rgbClr val="FF4F12"/>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4288" tIns="14288" rIns="14288" bIns="14288" anchor="ctr"/>
          <a:lstStyle/>
          <a:p>
            <a:pPr algn="ctr" defTabSz="171446" fontAlgn="base">
              <a:spcBef>
                <a:spcPct val="0"/>
              </a:spcBef>
              <a:spcAft>
                <a:spcPct val="0"/>
              </a:spcAft>
            </a:pPr>
            <a:endParaRPr lang="en-US" sz="1125" kern="0" dirty="0">
              <a:solidFill>
                <a:srgbClr val="FFFFFF"/>
              </a:solidFill>
              <a:effectLst>
                <a:outerShdw blurRad="38100" dist="38100" dir="2700000" algn="tl">
                  <a:srgbClr val="000000"/>
                </a:outerShdw>
              </a:effectLst>
              <a:latin typeface="Rostelecom Basis" panose="020B0503030604040103" pitchFamily="34" charset="0"/>
              <a:sym typeface="Gill Sans" charset="0"/>
            </a:endParaRPr>
          </a:p>
        </p:txBody>
      </p:sp>
      <p:sp>
        <p:nvSpPr>
          <p:cNvPr id="44" name="Полилиния 43">
            <a:extLst>
              <a:ext uri="{FF2B5EF4-FFF2-40B4-BE49-F238E27FC236}">
                <a16:creationId xmlns:a16="http://schemas.microsoft.com/office/drawing/2014/main" id="{0347F71C-888E-3946-9E34-60C17AE8FC8E}"/>
              </a:ext>
            </a:extLst>
          </p:cNvPr>
          <p:cNvSpPr/>
          <p:nvPr/>
        </p:nvSpPr>
        <p:spPr>
          <a:xfrm>
            <a:off x="1255457" y="6260731"/>
            <a:ext cx="187200" cy="180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5" name="Полилиния 44">
            <a:extLst>
              <a:ext uri="{FF2B5EF4-FFF2-40B4-BE49-F238E27FC236}">
                <a16:creationId xmlns:a16="http://schemas.microsoft.com/office/drawing/2014/main" id="{0347F71C-888E-3946-9E34-60C17AE8FC8E}"/>
              </a:ext>
            </a:extLst>
          </p:cNvPr>
          <p:cNvSpPr/>
          <p:nvPr/>
        </p:nvSpPr>
        <p:spPr>
          <a:xfrm>
            <a:off x="896761" y="6437081"/>
            <a:ext cx="144000" cy="180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6" name="Полилиния 45">
            <a:extLst>
              <a:ext uri="{FF2B5EF4-FFF2-40B4-BE49-F238E27FC236}">
                <a16:creationId xmlns:a16="http://schemas.microsoft.com/office/drawing/2014/main" id="{DE583147-28EE-EE4D-AAB0-25C0A68DC00B}"/>
              </a:ext>
            </a:extLst>
          </p:cNvPr>
          <p:cNvSpPr/>
          <p:nvPr/>
        </p:nvSpPr>
        <p:spPr>
          <a:xfrm>
            <a:off x="838061" y="6408417"/>
            <a:ext cx="72000" cy="72000"/>
          </a:xfrm>
          <a:custGeom>
            <a:avLst/>
            <a:gdLst>
              <a:gd name="connsiteX0" fmla="*/ 42120 w 84240"/>
              <a:gd name="connsiteY0" fmla="*/ 68445 h 84240"/>
              <a:gd name="connsiteX1" fmla="*/ 68445 w 84240"/>
              <a:gd name="connsiteY1" fmla="*/ 42120 h 84240"/>
              <a:gd name="connsiteX2" fmla="*/ 42120 w 84240"/>
              <a:gd name="connsiteY2" fmla="*/ 15795 h 84240"/>
              <a:gd name="connsiteX3" fmla="*/ 15795 w 84240"/>
              <a:gd name="connsiteY3" fmla="*/ 42120 h 84240"/>
              <a:gd name="connsiteX4" fmla="*/ 42120 w 84240"/>
              <a:gd name="connsiteY4" fmla="*/ 68445 h 84240"/>
              <a:gd name="connsiteX5" fmla="*/ 42120 w 84240"/>
              <a:gd name="connsiteY5" fmla="*/ 84240 h 84240"/>
              <a:gd name="connsiteX6" fmla="*/ 84240 w 84240"/>
              <a:gd name="connsiteY6" fmla="*/ 42120 h 84240"/>
              <a:gd name="connsiteX7" fmla="*/ 42120 w 84240"/>
              <a:gd name="connsiteY7" fmla="*/ 0 h 84240"/>
              <a:gd name="connsiteX8" fmla="*/ 0 w 84240"/>
              <a:gd name="connsiteY8" fmla="*/ 42120 h 84240"/>
              <a:gd name="connsiteX9" fmla="*/ 42120 w 84240"/>
              <a:gd name="connsiteY9" fmla="*/ 84240 h 8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40" h="84240">
                <a:moveTo>
                  <a:pt x="42120" y="68445"/>
                </a:moveTo>
                <a:cubicBezTo>
                  <a:pt x="56862" y="68445"/>
                  <a:pt x="68445" y="56862"/>
                  <a:pt x="68445" y="42120"/>
                </a:cubicBezTo>
                <a:cubicBezTo>
                  <a:pt x="68445" y="27378"/>
                  <a:pt x="56862" y="15795"/>
                  <a:pt x="42120" y="15795"/>
                </a:cubicBezTo>
                <a:cubicBezTo>
                  <a:pt x="27378" y="15795"/>
                  <a:pt x="15795" y="27378"/>
                  <a:pt x="15795" y="42120"/>
                </a:cubicBezTo>
                <a:cubicBezTo>
                  <a:pt x="15795" y="56862"/>
                  <a:pt x="27378" y="68445"/>
                  <a:pt x="42120" y="68445"/>
                </a:cubicBezTo>
                <a:close/>
                <a:moveTo>
                  <a:pt x="42120" y="84240"/>
                </a:moveTo>
                <a:cubicBezTo>
                  <a:pt x="65286" y="84240"/>
                  <a:pt x="84240" y="65286"/>
                  <a:pt x="84240" y="42120"/>
                </a:cubicBezTo>
                <a:cubicBezTo>
                  <a:pt x="84240" y="18954"/>
                  <a:pt x="65286" y="0"/>
                  <a:pt x="42120" y="0"/>
                </a:cubicBezTo>
                <a:cubicBezTo>
                  <a:pt x="18954" y="0"/>
                  <a:pt x="0" y="18954"/>
                  <a:pt x="0" y="42120"/>
                </a:cubicBezTo>
                <a:cubicBezTo>
                  <a:pt x="0" y="65286"/>
                  <a:pt x="18954" y="84240"/>
                  <a:pt x="42120" y="84240"/>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7" name="Полилиния 46">
            <a:extLst>
              <a:ext uri="{FF2B5EF4-FFF2-40B4-BE49-F238E27FC236}">
                <a16:creationId xmlns:a16="http://schemas.microsoft.com/office/drawing/2014/main" id="{0347F71C-888E-3946-9E34-60C17AE8FC8E}"/>
              </a:ext>
            </a:extLst>
          </p:cNvPr>
          <p:cNvSpPr/>
          <p:nvPr/>
        </p:nvSpPr>
        <p:spPr>
          <a:xfrm>
            <a:off x="1249771" y="6438687"/>
            <a:ext cx="144000" cy="180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8" name="Полилиния 47">
            <a:extLst>
              <a:ext uri="{FF2B5EF4-FFF2-40B4-BE49-F238E27FC236}">
                <a16:creationId xmlns:a16="http://schemas.microsoft.com/office/drawing/2014/main" id="{DE583147-28EE-EE4D-AAB0-25C0A68DC00B}"/>
              </a:ext>
            </a:extLst>
          </p:cNvPr>
          <p:cNvSpPr/>
          <p:nvPr/>
        </p:nvSpPr>
        <p:spPr>
          <a:xfrm>
            <a:off x="1382693" y="6408419"/>
            <a:ext cx="72000" cy="72000"/>
          </a:xfrm>
          <a:custGeom>
            <a:avLst/>
            <a:gdLst>
              <a:gd name="connsiteX0" fmla="*/ 42120 w 84240"/>
              <a:gd name="connsiteY0" fmla="*/ 68445 h 84240"/>
              <a:gd name="connsiteX1" fmla="*/ 68445 w 84240"/>
              <a:gd name="connsiteY1" fmla="*/ 42120 h 84240"/>
              <a:gd name="connsiteX2" fmla="*/ 42120 w 84240"/>
              <a:gd name="connsiteY2" fmla="*/ 15795 h 84240"/>
              <a:gd name="connsiteX3" fmla="*/ 15795 w 84240"/>
              <a:gd name="connsiteY3" fmla="*/ 42120 h 84240"/>
              <a:gd name="connsiteX4" fmla="*/ 42120 w 84240"/>
              <a:gd name="connsiteY4" fmla="*/ 68445 h 84240"/>
              <a:gd name="connsiteX5" fmla="*/ 42120 w 84240"/>
              <a:gd name="connsiteY5" fmla="*/ 84240 h 84240"/>
              <a:gd name="connsiteX6" fmla="*/ 84240 w 84240"/>
              <a:gd name="connsiteY6" fmla="*/ 42120 h 84240"/>
              <a:gd name="connsiteX7" fmla="*/ 42120 w 84240"/>
              <a:gd name="connsiteY7" fmla="*/ 0 h 84240"/>
              <a:gd name="connsiteX8" fmla="*/ 0 w 84240"/>
              <a:gd name="connsiteY8" fmla="*/ 42120 h 84240"/>
              <a:gd name="connsiteX9" fmla="*/ 42120 w 84240"/>
              <a:gd name="connsiteY9" fmla="*/ 84240 h 8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40" h="84240">
                <a:moveTo>
                  <a:pt x="42120" y="68445"/>
                </a:moveTo>
                <a:cubicBezTo>
                  <a:pt x="56862" y="68445"/>
                  <a:pt x="68445" y="56862"/>
                  <a:pt x="68445" y="42120"/>
                </a:cubicBezTo>
                <a:cubicBezTo>
                  <a:pt x="68445" y="27378"/>
                  <a:pt x="56862" y="15795"/>
                  <a:pt x="42120" y="15795"/>
                </a:cubicBezTo>
                <a:cubicBezTo>
                  <a:pt x="27378" y="15795"/>
                  <a:pt x="15795" y="27378"/>
                  <a:pt x="15795" y="42120"/>
                </a:cubicBezTo>
                <a:cubicBezTo>
                  <a:pt x="15795" y="56862"/>
                  <a:pt x="27378" y="68445"/>
                  <a:pt x="42120" y="68445"/>
                </a:cubicBezTo>
                <a:close/>
                <a:moveTo>
                  <a:pt x="42120" y="84240"/>
                </a:moveTo>
                <a:cubicBezTo>
                  <a:pt x="65286" y="84240"/>
                  <a:pt x="84240" y="65286"/>
                  <a:pt x="84240" y="42120"/>
                </a:cubicBezTo>
                <a:cubicBezTo>
                  <a:pt x="84240" y="18954"/>
                  <a:pt x="65286" y="0"/>
                  <a:pt x="42120" y="0"/>
                </a:cubicBezTo>
                <a:cubicBezTo>
                  <a:pt x="18954" y="0"/>
                  <a:pt x="0" y="18954"/>
                  <a:pt x="0" y="42120"/>
                </a:cubicBezTo>
                <a:cubicBezTo>
                  <a:pt x="0" y="65286"/>
                  <a:pt x="18954" y="84240"/>
                  <a:pt x="42120" y="84240"/>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49" name="Полилиния 48">
            <a:extLst>
              <a:ext uri="{FF2B5EF4-FFF2-40B4-BE49-F238E27FC236}">
                <a16:creationId xmlns:a16="http://schemas.microsoft.com/office/drawing/2014/main" id="{0347F71C-888E-3946-9E34-60C17AE8FC8E}"/>
              </a:ext>
            </a:extLst>
          </p:cNvPr>
          <p:cNvSpPr/>
          <p:nvPr/>
        </p:nvSpPr>
        <p:spPr>
          <a:xfrm>
            <a:off x="951733" y="6352145"/>
            <a:ext cx="396000" cy="180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50" name="Полилиния 49">
            <a:extLst>
              <a:ext uri="{FF2B5EF4-FFF2-40B4-BE49-F238E27FC236}">
                <a16:creationId xmlns:a16="http://schemas.microsoft.com/office/drawing/2014/main" id="{DE583147-28EE-EE4D-AAB0-25C0A68DC00B}"/>
              </a:ext>
            </a:extLst>
          </p:cNvPr>
          <p:cNvSpPr/>
          <p:nvPr/>
        </p:nvSpPr>
        <p:spPr>
          <a:xfrm>
            <a:off x="888001" y="6320953"/>
            <a:ext cx="72000" cy="72000"/>
          </a:xfrm>
          <a:custGeom>
            <a:avLst/>
            <a:gdLst>
              <a:gd name="connsiteX0" fmla="*/ 42120 w 84240"/>
              <a:gd name="connsiteY0" fmla="*/ 68445 h 84240"/>
              <a:gd name="connsiteX1" fmla="*/ 68445 w 84240"/>
              <a:gd name="connsiteY1" fmla="*/ 42120 h 84240"/>
              <a:gd name="connsiteX2" fmla="*/ 42120 w 84240"/>
              <a:gd name="connsiteY2" fmla="*/ 15795 h 84240"/>
              <a:gd name="connsiteX3" fmla="*/ 15795 w 84240"/>
              <a:gd name="connsiteY3" fmla="*/ 42120 h 84240"/>
              <a:gd name="connsiteX4" fmla="*/ 42120 w 84240"/>
              <a:gd name="connsiteY4" fmla="*/ 68445 h 84240"/>
              <a:gd name="connsiteX5" fmla="*/ 42120 w 84240"/>
              <a:gd name="connsiteY5" fmla="*/ 84240 h 84240"/>
              <a:gd name="connsiteX6" fmla="*/ 84240 w 84240"/>
              <a:gd name="connsiteY6" fmla="*/ 42120 h 84240"/>
              <a:gd name="connsiteX7" fmla="*/ 42120 w 84240"/>
              <a:gd name="connsiteY7" fmla="*/ 0 h 84240"/>
              <a:gd name="connsiteX8" fmla="*/ 0 w 84240"/>
              <a:gd name="connsiteY8" fmla="*/ 42120 h 84240"/>
              <a:gd name="connsiteX9" fmla="*/ 42120 w 84240"/>
              <a:gd name="connsiteY9" fmla="*/ 84240 h 8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40" h="84240">
                <a:moveTo>
                  <a:pt x="42120" y="68445"/>
                </a:moveTo>
                <a:cubicBezTo>
                  <a:pt x="56862" y="68445"/>
                  <a:pt x="68445" y="56862"/>
                  <a:pt x="68445" y="42120"/>
                </a:cubicBezTo>
                <a:cubicBezTo>
                  <a:pt x="68445" y="27378"/>
                  <a:pt x="56862" y="15795"/>
                  <a:pt x="42120" y="15795"/>
                </a:cubicBezTo>
                <a:cubicBezTo>
                  <a:pt x="27378" y="15795"/>
                  <a:pt x="15795" y="27378"/>
                  <a:pt x="15795" y="42120"/>
                </a:cubicBezTo>
                <a:cubicBezTo>
                  <a:pt x="15795" y="56862"/>
                  <a:pt x="27378" y="68445"/>
                  <a:pt x="42120" y="68445"/>
                </a:cubicBezTo>
                <a:close/>
                <a:moveTo>
                  <a:pt x="42120" y="84240"/>
                </a:moveTo>
                <a:cubicBezTo>
                  <a:pt x="65286" y="84240"/>
                  <a:pt x="84240" y="65286"/>
                  <a:pt x="84240" y="42120"/>
                </a:cubicBezTo>
                <a:cubicBezTo>
                  <a:pt x="84240" y="18954"/>
                  <a:pt x="65286" y="0"/>
                  <a:pt x="42120" y="0"/>
                </a:cubicBezTo>
                <a:cubicBezTo>
                  <a:pt x="18954" y="0"/>
                  <a:pt x="0" y="18954"/>
                  <a:pt x="0" y="42120"/>
                </a:cubicBezTo>
                <a:cubicBezTo>
                  <a:pt x="0" y="65286"/>
                  <a:pt x="18954" y="84240"/>
                  <a:pt x="42120" y="84240"/>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51" name="Полилиния 50">
            <a:extLst>
              <a:ext uri="{FF2B5EF4-FFF2-40B4-BE49-F238E27FC236}">
                <a16:creationId xmlns:a16="http://schemas.microsoft.com/office/drawing/2014/main" id="{DE583147-28EE-EE4D-AAB0-25C0A68DC00B}"/>
              </a:ext>
            </a:extLst>
          </p:cNvPr>
          <p:cNvSpPr/>
          <p:nvPr/>
        </p:nvSpPr>
        <p:spPr>
          <a:xfrm>
            <a:off x="1335227" y="6323479"/>
            <a:ext cx="72000" cy="72000"/>
          </a:xfrm>
          <a:custGeom>
            <a:avLst/>
            <a:gdLst>
              <a:gd name="connsiteX0" fmla="*/ 42120 w 84240"/>
              <a:gd name="connsiteY0" fmla="*/ 68445 h 84240"/>
              <a:gd name="connsiteX1" fmla="*/ 68445 w 84240"/>
              <a:gd name="connsiteY1" fmla="*/ 42120 h 84240"/>
              <a:gd name="connsiteX2" fmla="*/ 42120 w 84240"/>
              <a:gd name="connsiteY2" fmla="*/ 15795 h 84240"/>
              <a:gd name="connsiteX3" fmla="*/ 15795 w 84240"/>
              <a:gd name="connsiteY3" fmla="*/ 42120 h 84240"/>
              <a:gd name="connsiteX4" fmla="*/ 42120 w 84240"/>
              <a:gd name="connsiteY4" fmla="*/ 68445 h 84240"/>
              <a:gd name="connsiteX5" fmla="*/ 42120 w 84240"/>
              <a:gd name="connsiteY5" fmla="*/ 84240 h 84240"/>
              <a:gd name="connsiteX6" fmla="*/ 84240 w 84240"/>
              <a:gd name="connsiteY6" fmla="*/ 42120 h 84240"/>
              <a:gd name="connsiteX7" fmla="*/ 42120 w 84240"/>
              <a:gd name="connsiteY7" fmla="*/ 0 h 84240"/>
              <a:gd name="connsiteX8" fmla="*/ 0 w 84240"/>
              <a:gd name="connsiteY8" fmla="*/ 42120 h 84240"/>
              <a:gd name="connsiteX9" fmla="*/ 42120 w 84240"/>
              <a:gd name="connsiteY9" fmla="*/ 84240 h 8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40" h="84240">
                <a:moveTo>
                  <a:pt x="42120" y="68445"/>
                </a:moveTo>
                <a:cubicBezTo>
                  <a:pt x="56862" y="68445"/>
                  <a:pt x="68445" y="56862"/>
                  <a:pt x="68445" y="42120"/>
                </a:cubicBezTo>
                <a:cubicBezTo>
                  <a:pt x="68445" y="27378"/>
                  <a:pt x="56862" y="15795"/>
                  <a:pt x="42120" y="15795"/>
                </a:cubicBezTo>
                <a:cubicBezTo>
                  <a:pt x="27378" y="15795"/>
                  <a:pt x="15795" y="27378"/>
                  <a:pt x="15795" y="42120"/>
                </a:cubicBezTo>
                <a:cubicBezTo>
                  <a:pt x="15795" y="56862"/>
                  <a:pt x="27378" y="68445"/>
                  <a:pt x="42120" y="68445"/>
                </a:cubicBezTo>
                <a:close/>
                <a:moveTo>
                  <a:pt x="42120" y="84240"/>
                </a:moveTo>
                <a:cubicBezTo>
                  <a:pt x="65286" y="84240"/>
                  <a:pt x="84240" y="65286"/>
                  <a:pt x="84240" y="42120"/>
                </a:cubicBezTo>
                <a:cubicBezTo>
                  <a:pt x="84240" y="18954"/>
                  <a:pt x="65286" y="0"/>
                  <a:pt x="42120" y="0"/>
                </a:cubicBezTo>
                <a:cubicBezTo>
                  <a:pt x="18954" y="0"/>
                  <a:pt x="0" y="18954"/>
                  <a:pt x="0" y="42120"/>
                </a:cubicBezTo>
                <a:cubicBezTo>
                  <a:pt x="0" y="65286"/>
                  <a:pt x="18954" y="84240"/>
                  <a:pt x="42120" y="84240"/>
                </a:cubicBezTo>
                <a:close/>
              </a:path>
            </a:pathLst>
          </a:custGeom>
          <a:solidFill>
            <a:srgbClr val="FF4F12"/>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52" name="Стрелка вниз 51"/>
          <p:cNvSpPr/>
          <p:nvPr/>
        </p:nvSpPr>
        <p:spPr>
          <a:xfrm>
            <a:off x="5177771" y="2881537"/>
            <a:ext cx="108000" cy="216000"/>
          </a:xfrm>
          <a:prstGeom prst="downArrow">
            <a:avLst/>
          </a:prstGeom>
          <a:solidFill>
            <a:srgbClr val="FF4F12"/>
          </a:solidFill>
          <a:ln w="12700" cap="flat" cmpd="sng" algn="ctr">
            <a:noFill/>
            <a:prstDash val="solid"/>
            <a:miter lim="800000"/>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kern="0" dirty="0">
              <a:solidFill>
                <a:srgbClr val="FFFFFF"/>
              </a:solidFill>
              <a:latin typeface="Rostelecom Basis"/>
            </a:endParaRPr>
          </a:p>
        </p:txBody>
      </p:sp>
      <p:sp>
        <p:nvSpPr>
          <p:cNvPr id="53" name="Полилиния 52">
            <a:extLst>
              <a:ext uri="{FF2B5EF4-FFF2-40B4-BE49-F238E27FC236}">
                <a16:creationId xmlns:a16="http://schemas.microsoft.com/office/drawing/2014/main" id="{8C1E4B0B-B723-924C-8958-41CE3EA734A3}"/>
              </a:ext>
            </a:extLst>
          </p:cNvPr>
          <p:cNvSpPr/>
          <p:nvPr/>
        </p:nvSpPr>
        <p:spPr>
          <a:xfrm>
            <a:off x="10082204" y="1779572"/>
            <a:ext cx="522985" cy="516368"/>
          </a:xfrm>
          <a:custGeom>
            <a:avLst/>
            <a:gdLst>
              <a:gd name="connsiteX0" fmla="*/ 421200 w 842400"/>
              <a:gd name="connsiteY0" fmla="*/ 842400 h 842400"/>
              <a:gd name="connsiteX1" fmla="*/ 842400 w 842400"/>
              <a:gd name="connsiteY1" fmla="*/ 421200 h 842400"/>
              <a:gd name="connsiteX2" fmla="*/ 421200 w 842400"/>
              <a:gd name="connsiteY2" fmla="*/ 0 h 842400"/>
              <a:gd name="connsiteX3" fmla="*/ 0 w 842400"/>
              <a:gd name="connsiteY3" fmla="*/ 421200 h 842400"/>
              <a:gd name="connsiteX4" fmla="*/ 421200 w 842400"/>
              <a:gd name="connsiteY4" fmla="*/ 842400 h 84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00" h="842400">
                <a:moveTo>
                  <a:pt x="421200" y="842400"/>
                </a:moveTo>
                <a:cubicBezTo>
                  <a:pt x="653822" y="842400"/>
                  <a:pt x="842400" y="653822"/>
                  <a:pt x="842400" y="421200"/>
                </a:cubicBezTo>
                <a:cubicBezTo>
                  <a:pt x="842400" y="188578"/>
                  <a:pt x="653822" y="0"/>
                  <a:pt x="421200" y="0"/>
                </a:cubicBezTo>
                <a:cubicBezTo>
                  <a:pt x="188578" y="0"/>
                  <a:pt x="0" y="188578"/>
                  <a:pt x="0" y="421200"/>
                </a:cubicBezTo>
                <a:cubicBezTo>
                  <a:pt x="0" y="653822"/>
                  <a:pt x="188578" y="842400"/>
                  <a:pt x="421200" y="842400"/>
                </a:cubicBezTo>
                <a:close/>
              </a:path>
            </a:pathLst>
          </a:custGeom>
          <a:gradFill flip="none" rotWithShape="1">
            <a:gsLst>
              <a:gs pos="0">
                <a:srgbClr val="FF4F12"/>
              </a:gs>
              <a:gs pos="54000">
                <a:srgbClr val="FF4F12">
                  <a:alpha val="93000"/>
                </a:srgbClr>
              </a:gs>
              <a:gs pos="99000">
                <a:srgbClr val="CD3500"/>
              </a:gs>
            </a:gsLst>
            <a:lin ang="5400000" scaled="1"/>
            <a:tileRect/>
          </a:gradFill>
          <a:ln w="10478" cap="flat">
            <a:noFill/>
            <a:prstDash val="solid"/>
            <a:miter/>
          </a:ln>
        </p:spPr>
        <p:txBody>
          <a:bodyPr rtlCol="0" anchor="ctr"/>
          <a:lstStyle/>
          <a:p>
            <a:endParaRPr lang="ru-RU" sz="1801" dirty="0">
              <a:solidFill>
                <a:srgbClr val="272F3D"/>
              </a:solidFill>
              <a:latin typeface="Rostelecom Basis"/>
            </a:endParaRPr>
          </a:p>
        </p:txBody>
      </p:sp>
      <p:sp>
        <p:nvSpPr>
          <p:cNvPr id="54" name="TextBox 53"/>
          <p:cNvSpPr txBox="1"/>
          <p:nvPr/>
        </p:nvSpPr>
        <p:spPr>
          <a:xfrm>
            <a:off x="10111425" y="1930031"/>
            <a:ext cx="794084" cy="246221"/>
          </a:xfrm>
          <a:prstGeom prst="rect">
            <a:avLst/>
          </a:prstGeom>
        </p:spPr>
        <p:txBody>
          <a:bodyPr wrap="square" lIns="0" tIns="0" rIns="0" bIns="0" rtlCol="0">
            <a:spAutoFit/>
          </a:bodyPr>
          <a:lstStyle/>
          <a:p>
            <a:r>
              <a:rPr lang="ru-RU" sz="1600" dirty="0">
                <a:solidFill>
                  <a:srgbClr val="FFFFFF"/>
                </a:solidFill>
                <a:latin typeface="Rostelecom Basis"/>
              </a:rPr>
              <a:t>СВО</a:t>
            </a:r>
          </a:p>
        </p:txBody>
      </p:sp>
      <p:sp>
        <p:nvSpPr>
          <p:cNvPr id="55" name="Полилиния 54">
            <a:extLst>
              <a:ext uri="{FF2B5EF4-FFF2-40B4-BE49-F238E27FC236}">
                <a16:creationId xmlns:a16="http://schemas.microsoft.com/office/drawing/2014/main" id="{0347F71C-888E-3946-9E34-60C17AE8FC8E}"/>
              </a:ext>
            </a:extLst>
          </p:cNvPr>
          <p:cNvSpPr/>
          <p:nvPr/>
        </p:nvSpPr>
        <p:spPr>
          <a:xfrm rot="5400000">
            <a:off x="8859223" y="1688839"/>
            <a:ext cx="180000" cy="144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56" name="Полилиния 55">
            <a:extLst>
              <a:ext uri="{FF2B5EF4-FFF2-40B4-BE49-F238E27FC236}">
                <a16:creationId xmlns:a16="http://schemas.microsoft.com/office/drawing/2014/main" id="{0347F71C-888E-3946-9E34-60C17AE8FC8E}"/>
              </a:ext>
            </a:extLst>
          </p:cNvPr>
          <p:cNvSpPr/>
          <p:nvPr/>
        </p:nvSpPr>
        <p:spPr>
          <a:xfrm rot="5400000">
            <a:off x="8986176" y="1685217"/>
            <a:ext cx="180000" cy="144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57" name="Полилиния 56">
            <a:extLst>
              <a:ext uri="{FF2B5EF4-FFF2-40B4-BE49-F238E27FC236}">
                <a16:creationId xmlns:a16="http://schemas.microsoft.com/office/drawing/2014/main" id="{0347F71C-888E-3946-9E34-60C17AE8FC8E}"/>
              </a:ext>
            </a:extLst>
          </p:cNvPr>
          <p:cNvSpPr/>
          <p:nvPr/>
        </p:nvSpPr>
        <p:spPr>
          <a:xfrm rot="5400000">
            <a:off x="8908105" y="1658599"/>
            <a:ext cx="216000" cy="144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58" name="Полилиния 57">
            <a:extLst>
              <a:ext uri="{FF2B5EF4-FFF2-40B4-BE49-F238E27FC236}">
                <a16:creationId xmlns:a16="http://schemas.microsoft.com/office/drawing/2014/main" id="{0347F71C-888E-3946-9E34-60C17AE8FC8E}"/>
              </a:ext>
            </a:extLst>
          </p:cNvPr>
          <p:cNvSpPr/>
          <p:nvPr/>
        </p:nvSpPr>
        <p:spPr>
          <a:xfrm rot="10800000">
            <a:off x="8894603" y="1606540"/>
            <a:ext cx="54000" cy="144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59" name="Полилиния 58">
            <a:extLst>
              <a:ext uri="{FF2B5EF4-FFF2-40B4-BE49-F238E27FC236}">
                <a16:creationId xmlns:a16="http://schemas.microsoft.com/office/drawing/2014/main" id="{0347F71C-888E-3946-9E34-60C17AE8FC8E}"/>
              </a:ext>
            </a:extLst>
          </p:cNvPr>
          <p:cNvSpPr/>
          <p:nvPr/>
        </p:nvSpPr>
        <p:spPr>
          <a:xfrm rot="10800000">
            <a:off x="9076068" y="1601931"/>
            <a:ext cx="54000" cy="144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60" name="Полилиния 59">
            <a:extLst>
              <a:ext uri="{FF2B5EF4-FFF2-40B4-BE49-F238E27FC236}">
                <a16:creationId xmlns:a16="http://schemas.microsoft.com/office/drawing/2014/main" id="{0347F71C-888E-3946-9E34-60C17AE8FC8E}"/>
              </a:ext>
            </a:extLst>
          </p:cNvPr>
          <p:cNvSpPr/>
          <p:nvPr/>
        </p:nvSpPr>
        <p:spPr>
          <a:xfrm rot="16200000">
            <a:off x="8873475" y="1579133"/>
            <a:ext cx="54000" cy="144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61" name="Полилиния 60">
            <a:extLst>
              <a:ext uri="{FF2B5EF4-FFF2-40B4-BE49-F238E27FC236}">
                <a16:creationId xmlns:a16="http://schemas.microsoft.com/office/drawing/2014/main" id="{0347F71C-888E-3946-9E34-60C17AE8FC8E}"/>
              </a:ext>
            </a:extLst>
          </p:cNvPr>
          <p:cNvSpPr/>
          <p:nvPr/>
        </p:nvSpPr>
        <p:spPr>
          <a:xfrm rot="16200000">
            <a:off x="9103179" y="1584739"/>
            <a:ext cx="54000" cy="14400"/>
          </a:xfrm>
          <a:custGeom>
            <a:avLst/>
            <a:gdLst>
              <a:gd name="connsiteX0" fmla="*/ 0 w 131625"/>
              <a:gd name="connsiteY0" fmla="*/ 0 h 26325"/>
              <a:gd name="connsiteX1" fmla="*/ 131625 w 131625"/>
              <a:gd name="connsiteY1" fmla="*/ 0 h 26325"/>
              <a:gd name="connsiteX2" fmla="*/ 131625 w 131625"/>
              <a:gd name="connsiteY2" fmla="*/ 26325 h 26325"/>
              <a:gd name="connsiteX3" fmla="*/ 0 w 131625"/>
              <a:gd name="connsiteY3" fmla="*/ 26325 h 26325"/>
            </a:gdLst>
            <a:ahLst/>
            <a:cxnLst>
              <a:cxn ang="0">
                <a:pos x="connsiteX0" y="connsiteY0"/>
              </a:cxn>
              <a:cxn ang="0">
                <a:pos x="connsiteX1" y="connsiteY1"/>
              </a:cxn>
              <a:cxn ang="0">
                <a:pos x="connsiteX2" y="connsiteY2"/>
              </a:cxn>
              <a:cxn ang="0">
                <a:pos x="connsiteX3" y="connsiteY3"/>
              </a:cxn>
            </a:cxnLst>
            <a:rect l="l" t="t" r="r" b="b"/>
            <a:pathLst>
              <a:path w="131625" h="26325">
                <a:moveTo>
                  <a:pt x="0" y="0"/>
                </a:moveTo>
                <a:lnTo>
                  <a:pt x="131625" y="0"/>
                </a:lnTo>
                <a:lnTo>
                  <a:pt x="131625" y="26325"/>
                </a:lnTo>
                <a:lnTo>
                  <a:pt x="0" y="26325"/>
                </a:ln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62" name="Полилиния 61">
            <a:extLst>
              <a:ext uri="{FF2B5EF4-FFF2-40B4-BE49-F238E27FC236}">
                <a16:creationId xmlns:a16="http://schemas.microsoft.com/office/drawing/2014/main" id="{DE583147-28EE-EE4D-AAB0-25C0A68DC00B}"/>
              </a:ext>
            </a:extLst>
          </p:cNvPr>
          <p:cNvSpPr/>
          <p:nvPr/>
        </p:nvSpPr>
        <p:spPr>
          <a:xfrm>
            <a:off x="9095733" y="1490987"/>
            <a:ext cx="72000" cy="72000"/>
          </a:xfrm>
          <a:custGeom>
            <a:avLst/>
            <a:gdLst>
              <a:gd name="connsiteX0" fmla="*/ 42120 w 84240"/>
              <a:gd name="connsiteY0" fmla="*/ 68445 h 84240"/>
              <a:gd name="connsiteX1" fmla="*/ 68445 w 84240"/>
              <a:gd name="connsiteY1" fmla="*/ 42120 h 84240"/>
              <a:gd name="connsiteX2" fmla="*/ 42120 w 84240"/>
              <a:gd name="connsiteY2" fmla="*/ 15795 h 84240"/>
              <a:gd name="connsiteX3" fmla="*/ 15795 w 84240"/>
              <a:gd name="connsiteY3" fmla="*/ 42120 h 84240"/>
              <a:gd name="connsiteX4" fmla="*/ 42120 w 84240"/>
              <a:gd name="connsiteY4" fmla="*/ 68445 h 84240"/>
              <a:gd name="connsiteX5" fmla="*/ 42120 w 84240"/>
              <a:gd name="connsiteY5" fmla="*/ 84240 h 84240"/>
              <a:gd name="connsiteX6" fmla="*/ 84240 w 84240"/>
              <a:gd name="connsiteY6" fmla="*/ 42120 h 84240"/>
              <a:gd name="connsiteX7" fmla="*/ 42120 w 84240"/>
              <a:gd name="connsiteY7" fmla="*/ 0 h 84240"/>
              <a:gd name="connsiteX8" fmla="*/ 0 w 84240"/>
              <a:gd name="connsiteY8" fmla="*/ 42120 h 84240"/>
              <a:gd name="connsiteX9" fmla="*/ 42120 w 84240"/>
              <a:gd name="connsiteY9" fmla="*/ 84240 h 8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40" h="84240">
                <a:moveTo>
                  <a:pt x="42120" y="68445"/>
                </a:moveTo>
                <a:cubicBezTo>
                  <a:pt x="56862" y="68445"/>
                  <a:pt x="68445" y="56862"/>
                  <a:pt x="68445" y="42120"/>
                </a:cubicBezTo>
                <a:cubicBezTo>
                  <a:pt x="68445" y="27378"/>
                  <a:pt x="56862" y="15795"/>
                  <a:pt x="42120" y="15795"/>
                </a:cubicBezTo>
                <a:cubicBezTo>
                  <a:pt x="27378" y="15795"/>
                  <a:pt x="15795" y="27378"/>
                  <a:pt x="15795" y="42120"/>
                </a:cubicBezTo>
                <a:cubicBezTo>
                  <a:pt x="15795" y="56862"/>
                  <a:pt x="27378" y="68445"/>
                  <a:pt x="42120" y="68445"/>
                </a:cubicBezTo>
                <a:close/>
                <a:moveTo>
                  <a:pt x="42120" y="84240"/>
                </a:moveTo>
                <a:cubicBezTo>
                  <a:pt x="65286" y="84240"/>
                  <a:pt x="84240" y="65286"/>
                  <a:pt x="84240" y="42120"/>
                </a:cubicBezTo>
                <a:cubicBezTo>
                  <a:pt x="84240" y="18954"/>
                  <a:pt x="65286" y="0"/>
                  <a:pt x="42120" y="0"/>
                </a:cubicBezTo>
                <a:cubicBezTo>
                  <a:pt x="18954" y="0"/>
                  <a:pt x="0" y="18954"/>
                  <a:pt x="0" y="42120"/>
                </a:cubicBezTo>
                <a:cubicBezTo>
                  <a:pt x="0" y="65286"/>
                  <a:pt x="18954" y="84240"/>
                  <a:pt x="42120" y="84240"/>
                </a:cubicBez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sp>
        <p:nvSpPr>
          <p:cNvPr id="63" name="Полилиния 62">
            <a:extLst>
              <a:ext uri="{FF2B5EF4-FFF2-40B4-BE49-F238E27FC236}">
                <a16:creationId xmlns:a16="http://schemas.microsoft.com/office/drawing/2014/main" id="{DE583147-28EE-EE4D-AAB0-25C0A68DC00B}"/>
              </a:ext>
            </a:extLst>
          </p:cNvPr>
          <p:cNvSpPr/>
          <p:nvPr/>
        </p:nvSpPr>
        <p:spPr>
          <a:xfrm>
            <a:off x="8864475" y="1490476"/>
            <a:ext cx="72000" cy="72000"/>
          </a:xfrm>
          <a:custGeom>
            <a:avLst/>
            <a:gdLst>
              <a:gd name="connsiteX0" fmla="*/ 42120 w 84240"/>
              <a:gd name="connsiteY0" fmla="*/ 68445 h 84240"/>
              <a:gd name="connsiteX1" fmla="*/ 68445 w 84240"/>
              <a:gd name="connsiteY1" fmla="*/ 42120 h 84240"/>
              <a:gd name="connsiteX2" fmla="*/ 42120 w 84240"/>
              <a:gd name="connsiteY2" fmla="*/ 15795 h 84240"/>
              <a:gd name="connsiteX3" fmla="*/ 15795 w 84240"/>
              <a:gd name="connsiteY3" fmla="*/ 42120 h 84240"/>
              <a:gd name="connsiteX4" fmla="*/ 42120 w 84240"/>
              <a:gd name="connsiteY4" fmla="*/ 68445 h 84240"/>
              <a:gd name="connsiteX5" fmla="*/ 42120 w 84240"/>
              <a:gd name="connsiteY5" fmla="*/ 84240 h 84240"/>
              <a:gd name="connsiteX6" fmla="*/ 84240 w 84240"/>
              <a:gd name="connsiteY6" fmla="*/ 42120 h 84240"/>
              <a:gd name="connsiteX7" fmla="*/ 42120 w 84240"/>
              <a:gd name="connsiteY7" fmla="*/ 0 h 84240"/>
              <a:gd name="connsiteX8" fmla="*/ 0 w 84240"/>
              <a:gd name="connsiteY8" fmla="*/ 42120 h 84240"/>
              <a:gd name="connsiteX9" fmla="*/ 42120 w 84240"/>
              <a:gd name="connsiteY9" fmla="*/ 84240 h 84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40" h="84240">
                <a:moveTo>
                  <a:pt x="42120" y="68445"/>
                </a:moveTo>
                <a:cubicBezTo>
                  <a:pt x="56862" y="68445"/>
                  <a:pt x="68445" y="56862"/>
                  <a:pt x="68445" y="42120"/>
                </a:cubicBezTo>
                <a:cubicBezTo>
                  <a:pt x="68445" y="27378"/>
                  <a:pt x="56862" y="15795"/>
                  <a:pt x="42120" y="15795"/>
                </a:cubicBezTo>
                <a:cubicBezTo>
                  <a:pt x="27378" y="15795"/>
                  <a:pt x="15795" y="27378"/>
                  <a:pt x="15795" y="42120"/>
                </a:cubicBezTo>
                <a:cubicBezTo>
                  <a:pt x="15795" y="56862"/>
                  <a:pt x="27378" y="68445"/>
                  <a:pt x="42120" y="68445"/>
                </a:cubicBezTo>
                <a:close/>
                <a:moveTo>
                  <a:pt x="42120" y="84240"/>
                </a:moveTo>
                <a:cubicBezTo>
                  <a:pt x="65286" y="84240"/>
                  <a:pt x="84240" y="65286"/>
                  <a:pt x="84240" y="42120"/>
                </a:cubicBezTo>
                <a:cubicBezTo>
                  <a:pt x="84240" y="18954"/>
                  <a:pt x="65286" y="0"/>
                  <a:pt x="42120" y="0"/>
                </a:cubicBezTo>
                <a:cubicBezTo>
                  <a:pt x="18954" y="0"/>
                  <a:pt x="0" y="18954"/>
                  <a:pt x="0" y="42120"/>
                </a:cubicBezTo>
                <a:cubicBezTo>
                  <a:pt x="0" y="65286"/>
                  <a:pt x="18954" y="84240"/>
                  <a:pt x="42120" y="84240"/>
                </a:cubicBezTo>
                <a:close/>
              </a:path>
            </a:pathLst>
          </a:custGeom>
          <a:solidFill>
            <a:srgbClr val="FFFFFF"/>
          </a:solidFill>
          <a:ln w="10478" cap="flat">
            <a:noFill/>
            <a:prstDash val="solid"/>
            <a:miter/>
          </a:ln>
        </p:spPr>
        <p:txBody>
          <a:bodyPr rtlCol="0" anchor="ctr"/>
          <a:lstStyle/>
          <a:p>
            <a:endParaRPr lang="ru-RU" sz="1801" kern="0" dirty="0">
              <a:solidFill>
                <a:srgbClr val="272F3D"/>
              </a:solidFill>
              <a:latin typeface="Rostelecom Basis"/>
            </a:endParaRPr>
          </a:p>
        </p:txBody>
      </p:sp>
      <p:pic>
        <p:nvPicPr>
          <p:cNvPr id="64" name="Рисунок 63"/>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390057" y="1286391"/>
            <a:ext cx="743776" cy="688908"/>
          </a:xfrm>
          <a:prstGeom prst="rect">
            <a:avLst/>
          </a:prstGeom>
        </p:spPr>
      </p:pic>
      <p:pic>
        <p:nvPicPr>
          <p:cNvPr id="65" name="Рисунок 64"/>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8682382" y="1027035"/>
            <a:ext cx="749873" cy="719391"/>
          </a:xfrm>
          <a:prstGeom prst="rect">
            <a:avLst/>
          </a:prstGeom>
        </p:spPr>
      </p:pic>
      <p:sp>
        <p:nvSpPr>
          <p:cNvPr id="66" name="Стрелка вниз 65"/>
          <p:cNvSpPr/>
          <p:nvPr/>
        </p:nvSpPr>
        <p:spPr>
          <a:xfrm>
            <a:off x="7712455" y="2214399"/>
            <a:ext cx="108000" cy="216000"/>
          </a:xfrm>
          <a:prstGeom prst="downArrow">
            <a:avLst/>
          </a:prstGeom>
          <a:solidFill>
            <a:srgbClr val="FF4F12"/>
          </a:solidFill>
          <a:ln w="12700" cap="flat" cmpd="sng" algn="ctr">
            <a:noFill/>
            <a:prstDash val="solid"/>
            <a:miter lim="800000"/>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kern="0" dirty="0">
              <a:solidFill>
                <a:srgbClr val="FFFFFF"/>
              </a:solidFill>
              <a:latin typeface="Rostelecom Basis"/>
            </a:endParaRPr>
          </a:p>
        </p:txBody>
      </p:sp>
      <p:sp>
        <p:nvSpPr>
          <p:cNvPr id="67" name="Стрелка вниз 66"/>
          <p:cNvSpPr/>
          <p:nvPr/>
        </p:nvSpPr>
        <p:spPr>
          <a:xfrm>
            <a:off x="8980835" y="1851615"/>
            <a:ext cx="108000" cy="216000"/>
          </a:xfrm>
          <a:prstGeom prst="downArrow">
            <a:avLst/>
          </a:prstGeom>
          <a:solidFill>
            <a:srgbClr val="FF4F12"/>
          </a:solidFill>
          <a:ln w="12700" cap="flat" cmpd="sng" algn="ctr">
            <a:noFill/>
            <a:prstDash val="solid"/>
            <a:miter lim="800000"/>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kern="0" dirty="0">
              <a:solidFill>
                <a:srgbClr val="FFFFFF"/>
              </a:solidFill>
              <a:latin typeface="Rostelecom Basis"/>
            </a:endParaRPr>
          </a:p>
        </p:txBody>
      </p:sp>
      <p:sp>
        <p:nvSpPr>
          <p:cNvPr id="68" name="Стрелка вниз 67"/>
          <p:cNvSpPr/>
          <p:nvPr/>
        </p:nvSpPr>
        <p:spPr>
          <a:xfrm>
            <a:off x="10273288" y="2413791"/>
            <a:ext cx="108000" cy="216000"/>
          </a:xfrm>
          <a:prstGeom prst="downArrow">
            <a:avLst/>
          </a:prstGeom>
          <a:solidFill>
            <a:srgbClr val="FF4F12"/>
          </a:solidFill>
          <a:ln w="12700" cap="flat" cmpd="sng" algn="ctr">
            <a:noFill/>
            <a:prstDash val="solid"/>
            <a:miter lim="800000"/>
          </a:ln>
          <a:effectLst/>
        </p:spPr>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kern="0" dirty="0">
              <a:solidFill>
                <a:srgbClr val="FFFFFF"/>
              </a:solidFill>
              <a:latin typeface="Rostelecom Basis"/>
            </a:endParaRPr>
          </a:p>
        </p:txBody>
      </p:sp>
      <p:sp>
        <p:nvSpPr>
          <p:cNvPr id="69" name="TextBox 68"/>
          <p:cNvSpPr txBox="1"/>
          <p:nvPr/>
        </p:nvSpPr>
        <p:spPr>
          <a:xfrm>
            <a:off x="2319369" y="2328924"/>
            <a:ext cx="2519763" cy="369332"/>
          </a:xfrm>
          <a:prstGeom prst="rect">
            <a:avLst/>
          </a:prstGeom>
        </p:spPr>
        <p:txBody>
          <a:bodyPr wrap="square" lIns="0" tIns="0" rIns="0" bIns="0" rtlCol="0">
            <a:spAutoFit/>
          </a:bodyPr>
          <a:lstStyle/>
          <a:p>
            <a:pPr algn="r"/>
            <a:r>
              <a:rPr lang="ru-RU" sz="1200" dirty="0">
                <a:solidFill>
                  <a:srgbClr val="000000"/>
                </a:solidFill>
                <a:latin typeface="Calibri Light" panose="020F0302020204030204" pitchFamily="34" charset="0"/>
                <a:cs typeface="Calibri Light" panose="020F0302020204030204" pitchFamily="34" charset="0"/>
              </a:rPr>
              <a:t>Директива об отказе госкомпаний от иностранного софта</a:t>
            </a:r>
          </a:p>
        </p:txBody>
      </p:sp>
      <p:sp>
        <p:nvSpPr>
          <p:cNvPr id="70" name="TextBox 93"/>
          <p:cNvSpPr txBox="1"/>
          <p:nvPr/>
        </p:nvSpPr>
        <p:spPr>
          <a:xfrm>
            <a:off x="4549635" y="1366729"/>
            <a:ext cx="2799404" cy="369332"/>
          </a:xfrm>
          <a:prstGeom prst="rect">
            <a:avLst/>
          </a:prstGeom>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ru-RU" sz="1200" dirty="0" smtClean="0">
                <a:solidFill>
                  <a:srgbClr val="000000"/>
                </a:solidFill>
                <a:latin typeface="Calibri Light" panose="020F0302020204030204" pitchFamily="34" charset="0"/>
                <a:cs typeface="Calibri Light" panose="020F0302020204030204" pitchFamily="34" charset="0"/>
              </a:rPr>
              <a:t>Пандемия и изменения работы в связи с новой </a:t>
            </a:r>
            <a:r>
              <a:rPr lang="en-US" sz="1200" dirty="0" smtClean="0">
                <a:solidFill>
                  <a:srgbClr val="000000"/>
                </a:solidFill>
                <a:latin typeface="Calibri Light" panose="020F0302020204030204" pitchFamily="34" charset="0"/>
                <a:cs typeface="Calibri Light" panose="020F0302020204030204" pitchFamily="34" charset="0"/>
              </a:rPr>
              <a:t>COVID</a:t>
            </a:r>
            <a:r>
              <a:rPr lang="ru-RU" sz="1200" dirty="0" smtClean="0">
                <a:solidFill>
                  <a:srgbClr val="000000"/>
                </a:solidFill>
                <a:latin typeface="Calibri Light" panose="020F0302020204030204" pitchFamily="34" charset="0"/>
                <a:cs typeface="Calibri Light" panose="020F0302020204030204" pitchFamily="34" charset="0"/>
              </a:rPr>
              <a:t>-19 инфекции</a:t>
            </a:r>
            <a:endParaRPr lang="ru-RU" sz="1200" dirty="0">
              <a:solidFill>
                <a:srgbClr val="000000"/>
              </a:solidFill>
              <a:latin typeface="Calibri Light" panose="020F0302020204030204" pitchFamily="34" charset="0"/>
              <a:cs typeface="Calibri Light" panose="020F0302020204030204" pitchFamily="34" charset="0"/>
            </a:endParaRPr>
          </a:p>
        </p:txBody>
      </p:sp>
      <p:sp>
        <p:nvSpPr>
          <p:cNvPr id="72" name="TextBox 93"/>
          <p:cNvSpPr txBox="1"/>
          <p:nvPr/>
        </p:nvSpPr>
        <p:spPr>
          <a:xfrm>
            <a:off x="3599209" y="1852133"/>
            <a:ext cx="2519763" cy="369332"/>
          </a:xfrm>
          <a:prstGeom prst="rect">
            <a:avLst/>
          </a:prstGeom>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ru-RU" sz="1200" dirty="0">
                <a:solidFill>
                  <a:srgbClr val="000000"/>
                </a:solidFill>
                <a:latin typeface="Calibri Light" panose="020F0302020204030204" pitchFamily="34" charset="0"/>
                <a:cs typeface="Calibri Light" panose="020F0302020204030204" pitchFamily="34" charset="0"/>
              </a:rPr>
              <a:t>Старт национальной программы «Цифровая экономика»</a:t>
            </a:r>
          </a:p>
        </p:txBody>
      </p:sp>
      <p:sp>
        <p:nvSpPr>
          <p:cNvPr id="73" name="Полилиния 72">
            <a:extLst>
              <a:ext uri="{FF2B5EF4-FFF2-40B4-BE49-F238E27FC236}">
                <a16:creationId xmlns:a16="http://schemas.microsoft.com/office/drawing/2014/main" id="{8C1E4B0B-B723-924C-8958-41CE3EA734A3}"/>
              </a:ext>
            </a:extLst>
          </p:cNvPr>
          <p:cNvSpPr/>
          <p:nvPr/>
        </p:nvSpPr>
        <p:spPr>
          <a:xfrm>
            <a:off x="6228810" y="1771997"/>
            <a:ext cx="522985" cy="528667"/>
          </a:xfrm>
          <a:custGeom>
            <a:avLst/>
            <a:gdLst>
              <a:gd name="connsiteX0" fmla="*/ 421200 w 842400"/>
              <a:gd name="connsiteY0" fmla="*/ 842400 h 842400"/>
              <a:gd name="connsiteX1" fmla="*/ 842400 w 842400"/>
              <a:gd name="connsiteY1" fmla="*/ 421200 h 842400"/>
              <a:gd name="connsiteX2" fmla="*/ 421200 w 842400"/>
              <a:gd name="connsiteY2" fmla="*/ 0 h 842400"/>
              <a:gd name="connsiteX3" fmla="*/ 0 w 842400"/>
              <a:gd name="connsiteY3" fmla="*/ 421200 h 842400"/>
              <a:gd name="connsiteX4" fmla="*/ 421200 w 842400"/>
              <a:gd name="connsiteY4" fmla="*/ 842400 h 84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2400" h="842400">
                <a:moveTo>
                  <a:pt x="421200" y="842400"/>
                </a:moveTo>
                <a:cubicBezTo>
                  <a:pt x="653822" y="842400"/>
                  <a:pt x="842400" y="653822"/>
                  <a:pt x="842400" y="421200"/>
                </a:cubicBezTo>
                <a:cubicBezTo>
                  <a:pt x="842400" y="188578"/>
                  <a:pt x="653822" y="0"/>
                  <a:pt x="421200" y="0"/>
                </a:cubicBezTo>
                <a:cubicBezTo>
                  <a:pt x="188578" y="0"/>
                  <a:pt x="0" y="188578"/>
                  <a:pt x="0" y="421200"/>
                </a:cubicBezTo>
                <a:cubicBezTo>
                  <a:pt x="0" y="653822"/>
                  <a:pt x="188578" y="842400"/>
                  <a:pt x="421200" y="842400"/>
                </a:cubicBezTo>
                <a:close/>
              </a:path>
            </a:pathLst>
          </a:custGeom>
          <a:gradFill flip="none" rotWithShape="1">
            <a:gsLst>
              <a:gs pos="0">
                <a:srgbClr val="FF4F12"/>
              </a:gs>
              <a:gs pos="54000">
                <a:srgbClr val="FF4F12">
                  <a:alpha val="93000"/>
                </a:srgbClr>
              </a:gs>
              <a:gs pos="99000">
                <a:srgbClr val="CD3500"/>
              </a:gs>
            </a:gsLst>
            <a:lin ang="5400000" scaled="1"/>
            <a:tileRect/>
          </a:gradFill>
          <a:ln w="10478" cap="flat">
            <a:noFill/>
            <a:prstDash val="solid"/>
            <a:miter/>
          </a:ln>
        </p:spPr>
        <p:txBody>
          <a:bodyPr rtlCol="0" anchor="ctr"/>
          <a:lstStyle/>
          <a:p>
            <a:endParaRPr lang="ru-RU" sz="1801" dirty="0">
              <a:solidFill>
                <a:srgbClr val="272F3D"/>
              </a:solidFill>
              <a:latin typeface="Rostelecom Basis"/>
            </a:endParaRPr>
          </a:p>
        </p:txBody>
      </p:sp>
      <p:sp>
        <p:nvSpPr>
          <p:cNvPr id="74" name="TextBox 73"/>
          <p:cNvSpPr txBox="1"/>
          <p:nvPr/>
        </p:nvSpPr>
        <p:spPr>
          <a:xfrm>
            <a:off x="6309535" y="1930031"/>
            <a:ext cx="794084" cy="277127"/>
          </a:xfrm>
          <a:prstGeom prst="rect">
            <a:avLst/>
          </a:prstGeom>
        </p:spPr>
        <p:txBody>
          <a:bodyPr wrap="square" lIns="0" tIns="0" rIns="0" bIns="0" rtlCol="0">
            <a:spAutoFit/>
          </a:bodyPr>
          <a:lstStyle/>
          <a:p>
            <a:r>
              <a:rPr lang="ru-RU" sz="1801" dirty="0">
                <a:solidFill>
                  <a:srgbClr val="FFFFFF"/>
                </a:solidFill>
                <a:latin typeface="Rostelecom Basis"/>
              </a:rPr>
              <a:t>ЦЭ</a:t>
            </a:r>
          </a:p>
        </p:txBody>
      </p:sp>
      <p:sp>
        <p:nvSpPr>
          <p:cNvPr id="75" name="TextBox 93"/>
          <p:cNvSpPr txBox="1"/>
          <p:nvPr/>
        </p:nvSpPr>
        <p:spPr>
          <a:xfrm>
            <a:off x="9455032" y="1081844"/>
            <a:ext cx="3214099" cy="553998"/>
          </a:xfrm>
          <a:prstGeom prst="rect">
            <a:avLst/>
          </a:prstGeom>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dirty="0">
                <a:solidFill>
                  <a:srgbClr val="000000"/>
                </a:solidFill>
                <a:latin typeface="Calibri Light" panose="020F0302020204030204" pitchFamily="34" charset="0"/>
                <a:cs typeface="Calibri Light" panose="020F0302020204030204" pitchFamily="34" charset="0"/>
              </a:rPr>
              <a:t>Активная фаза государства, </a:t>
            </a:r>
            <a:br>
              <a:rPr lang="ru-RU" sz="1200" dirty="0">
                <a:solidFill>
                  <a:srgbClr val="000000"/>
                </a:solidFill>
                <a:latin typeface="Calibri Light" panose="020F0302020204030204" pitchFamily="34" charset="0"/>
                <a:cs typeface="Calibri Light" panose="020F0302020204030204" pitchFamily="34" charset="0"/>
              </a:rPr>
            </a:br>
            <a:r>
              <a:rPr lang="ru-RU" sz="1200" dirty="0">
                <a:solidFill>
                  <a:srgbClr val="000000"/>
                </a:solidFill>
                <a:latin typeface="Calibri Light" panose="020F0302020204030204" pitchFamily="34" charset="0"/>
                <a:cs typeface="Calibri Light" panose="020F0302020204030204" pitchFamily="34" charset="0"/>
              </a:rPr>
              <a:t>направленная на планирование </a:t>
            </a:r>
            <a:br>
              <a:rPr lang="ru-RU" sz="1200" dirty="0">
                <a:solidFill>
                  <a:srgbClr val="000000"/>
                </a:solidFill>
                <a:latin typeface="Calibri Light" panose="020F0302020204030204" pitchFamily="34" charset="0"/>
                <a:cs typeface="Calibri Light" panose="020F0302020204030204" pitchFamily="34" charset="0"/>
              </a:rPr>
            </a:br>
            <a:r>
              <a:rPr lang="ru-RU" sz="1200" dirty="0">
                <a:solidFill>
                  <a:srgbClr val="000000"/>
                </a:solidFill>
                <a:latin typeface="Calibri Light" panose="020F0302020204030204" pitchFamily="34" charset="0"/>
                <a:cs typeface="Calibri Light" panose="020F0302020204030204" pitchFamily="34" charset="0"/>
              </a:rPr>
              <a:t>цифровой трансформации</a:t>
            </a:r>
          </a:p>
        </p:txBody>
      </p:sp>
      <p:sp>
        <p:nvSpPr>
          <p:cNvPr id="76" name="TextBox 93"/>
          <p:cNvSpPr txBox="1"/>
          <p:nvPr/>
        </p:nvSpPr>
        <p:spPr>
          <a:xfrm>
            <a:off x="10632000" y="1827400"/>
            <a:ext cx="2460000" cy="553998"/>
          </a:xfrm>
          <a:prstGeom prst="rect">
            <a:avLst/>
          </a:prstGeom>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200" dirty="0">
                <a:solidFill>
                  <a:srgbClr val="000000"/>
                </a:solidFill>
                <a:latin typeface="Calibri Light" panose="020F0302020204030204" pitchFamily="34" charset="0"/>
                <a:cs typeface="Calibri Light" panose="020F0302020204030204" pitchFamily="34" charset="0"/>
              </a:rPr>
              <a:t>Изменения работы </a:t>
            </a:r>
            <a:br>
              <a:rPr lang="ru-RU" sz="1200" dirty="0">
                <a:solidFill>
                  <a:srgbClr val="000000"/>
                </a:solidFill>
                <a:latin typeface="Calibri Light" panose="020F0302020204030204" pitchFamily="34" charset="0"/>
                <a:cs typeface="Calibri Light" panose="020F0302020204030204" pitchFamily="34" charset="0"/>
              </a:rPr>
            </a:br>
            <a:r>
              <a:rPr lang="ru-RU" sz="1200" dirty="0">
                <a:solidFill>
                  <a:srgbClr val="000000"/>
                </a:solidFill>
                <a:latin typeface="Calibri Light" panose="020F0302020204030204" pitchFamily="34" charset="0"/>
                <a:cs typeface="Calibri Light" panose="020F0302020204030204" pitchFamily="34" charset="0"/>
              </a:rPr>
              <a:t>в связи со специальной </a:t>
            </a:r>
            <a:br>
              <a:rPr lang="ru-RU" sz="1200" dirty="0">
                <a:solidFill>
                  <a:srgbClr val="000000"/>
                </a:solidFill>
                <a:latin typeface="Calibri Light" panose="020F0302020204030204" pitchFamily="34" charset="0"/>
                <a:cs typeface="Calibri Light" panose="020F0302020204030204" pitchFamily="34" charset="0"/>
              </a:rPr>
            </a:br>
            <a:r>
              <a:rPr lang="ru-RU" sz="1200" dirty="0">
                <a:solidFill>
                  <a:srgbClr val="000000"/>
                </a:solidFill>
                <a:latin typeface="Calibri Light" panose="020F0302020204030204" pitchFamily="34" charset="0"/>
                <a:cs typeface="Calibri Light" panose="020F0302020204030204" pitchFamily="34" charset="0"/>
              </a:rPr>
              <a:t>военной операцией</a:t>
            </a:r>
          </a:p>
        </p:txBody>
      </p:sp>
      <p:sp>
        <p:nvSpPr>
          <p:cNvPr id="4" name="Полилиния 3"/>
          <p:cNvSpPr/>
          <p:nvPr/>
        </p:nvSpPr>
        <p:spPr>
          <a:xfrm>
            <a:off x="1430448" y="2625464"/>
            <a:ext cx="8917663" cy="1385221"/>
          </a:xfrm>
          <a:custGeom>
            <a:avLst/>
            <a:gdLst>
              <a:gd name="connsiteX0" fmla="*/ 0 w 8917663"/>
              <a:gd name="connsiteY0" fmla="*/ 1385221 h 1385221"/>
              <a:gd name="connsiteX1" fmla="*/ 3874883 w 8917663"/>
              <a:gd name="connsiteY1" fmla="*/ 932548 h 1385221"/>
              <a:gd name="connsiteX2" fmla="*/ 6373639 w 8917663"/>
              <a:gd name="connsiteY2" fmla="*/ 516088 h 1385221"/>
              <a:gd name="connsiteX3" fmla="*/ 7641124 w 8917663"/>
              <a:gd name="connsiteY3" fmla="*/ 41 h 1385221"/>
              <a:gd name="connsiteX4" fmla="*/ 8917663 w 8917663"/>
              <a:gd name="connsiteY4" fmla="*/ 543249 h 1385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7663" h="1385221">
                <a:moveTo>
                  <a:pt x="0" y="1385221"/>
                </a:moveTo>
                <a:lnTo>
                  <a:pt x="3874883" y="932548"/>
                </a:lnTo>
                <a:cubicBezTo>
                  <a:pt x="4937156" y="787693"/>
                  <a:pt x="5745932" y="671506"/>
                  <a:pt x="6373639" y="516088"/>
                </a:cubicBezTo>
                <a:cubicBezTo>
                  <a:pt x="7001346" y="360670"/>
                  <a:pt x="7217120" y="-4486"/>
                  <a:pt x="7641124" y="41"/>
                </a:cubicBezTo>
                <a:cubicBezTo>
                  <a:pt x="8065128" y="4568"/>
                  <a:pt x="8491395" y="273908"/>
                  <a:pt x="8917663" y="543249"/>
                </a:cubicBezTo>
              </a:path>
            </a:pathLst>
          </a:custGeom>
          <a:noFill/>
          <a:ln>
            <a:solidFill>
              <a:srgbClr val="7700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77" name="Рисунок 76"/>
          <p:cNvPicPr>
            <a:picLocks noChangeAspect="1"/>
          </p:cNvPicPr>
          <p:nvPr/>
        </p:nvPicPr>
        <p:blipFill>
          <a:blip r:embed="rId7"/>
          <a:stretch>
            <a:fillRect/>
          </a:stretch>
        </p:blipFill>
        <p:spPr>
          <a:xfrm>
            <a:off x="11428059" y="232067"/>
            <a:ext cx="497742" cy="577851"/>
          </a:xfrm>
          <a:prstGeom prst="rect">
            <a:avLst/>
          </a:prstGeom>
        </p:spPr>
      </p:pic>
      <p:cxnSp>
        <p:nvCxnSpPr>
          <p:cNvPr id="80" name="Прямая соединительная линия 79"/>
          <p:cNvCxnSpPr/>
          <p:nvPr/>
        </p:nvCxnSpPr>
        <p:spPr>
          <a:xfrm>
            <a:off x="417513" y="1206700"/>
            <a:ext cx="30026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33065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Рисунок 20"/>
          <p:cNvPicPr>
            <a:picLocks noChangeAspect="1"/>
          </p:cNvPicPr>
          <p:nvPr/>
        </p:nvPicPr>
        <p:blipFill>
          <a:blip r:embed="rId2"/>
          <a:stretch>
            <a:fillRect/>
          </a:stretch>
        </p:blipFill>
        <p:spPr>
          <a:xfrm>
            <a:off x="11428059" y="232067"/>
            <a:ext cx="497742" cy="577851"/>
          </a:xfrm>
          <a:prstGeom prst="rect">
            <a:avLst/>
          </a:prstGeom>
        </p:spPr>
      </p:pic>
      <p:sp>
        <p:nvSpPr>
          <p:cNvPr id="22" name="Заголовок 1"/>
          <p:cNvSpPr txBox="1">
            <a:spLocks/>
          </p:cNvSpPr>
          <p:nvPr/>
        </p:nvSpPr>
        <p:spPr>
          <a:xfrm>
            <a:off x="494153" y="233541"/>
            <a:ext cx="11955247" cy="1011236"/>
          </a:xfrm>
          <a:prstGeom prst="rect">
            <a:avLst/>
          </a:prstGeom>
        </p:spPr>
        <p:txBody>
          <a:bodyPr lIns="0" tIns="0" rIns="0" bIns="0"/>
          <a:lstStyle>
            <a:lvl1pPr algn="l" defTabSz="806044" rtl="0" eaLnBrk="1" latinLnBrk="0" hangingPunct="1">
              <a:lnSpc>
                <a:spcPts val="3702"/>
              </a:lnSpc>
              <a:spcBef>
                <a:spcPct val="0"/>
              </a:spcBef>
              <a:buNone/>
              <a:defRPr sz="3526" kern="1200">
                <a:solidFill>
                  <a:schemeClr val="tx1"/>
                </a:solidFill>
                <a:latin typeface="+mj-lt"/>
                <a:ea typeface="+mj-ea"/>
                <a:cs typeface="+mj-cs"/>
              </a:defRPr>
            </a:lvl1pPr>
          </a:lstStyle>
          <a:p>
            <a:pPr>
              <a:lnSpc>
                <a:spcPct val="100000"/>
              </a:lnSpc>
            </a:pPr>
            <a:endParaRPr lang="ru-RU" sz="2400" dirty="0" smtClean="0">
              <a:solidFill>
                <a:srgbClr val="000000"/>
              </a:solidFill>
              <a:latin typeface="Rostelecom Basis Medium"/>
            </a:endParaRPr>
          </a:p>
          <a:p>
            <a:pPr>
              <a:lnSpc>
                <a:spcPct val="100000"/>
              </a:lnSpc>
            </a:pPr>
            <a:r>
              <a:rPr lang="ru-RU" sz="2800" dirty="0" smtClean="0">
                <a:solidFill>
                  <a:srgbClr val="000000"/>
                </a:solidFill>
                <a:latin typeface="Rostelecom Basis Medium"/>
              </a:rPr>
              <a:t>Тренды</a:t>
            </a:r>
            <a:endParaRPr lang="ru-RU" sz="2800" dirty="0">
              <a:solidFill>
                <a:srgbClr val="000000"/>
              </a:solidFill>
              <a:latin typeface="Rostelecom Basis Medium"/>
            </a:endParaRPr>
          </a:p>
        </p:txBody>
      </p:sp>
      <p:sp>
        <p:nvSpPr>
          <p:cNvPr id="24" name="Стрелка вниз 23"/>
          <p:cNvSpPr/>
          <p:nvPr/>
        </p:nvSpPr>
        <p:spPr>
          <a:xfrm rot="2700000">
            <a:off x="5231420" y="2173950"/>
            <a:ext cx="351975" cy="562384"/>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a:p>
        </p:txBody>
      </p:sp>
      <p:sp>
        <p:nvSpPr>
          <p:cNvPr id="25" name="Стрелка вниз 24"/>
          <p:cNvSpPr/>
          <p:nvPr/>
        </p:nvSpPr>
        <p:spPr>
          <a:xfrm rot="8100000">
            <a:off x="5092796" y="4203172"/>
            <a:ext cx="351975" cy="562384"/>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a:p>
        </p:txBody>
      </p:sp>
      <p:sp>
        <p:nvSpPr>
          <p:cNvPr id="26" name="Стрелка вниз 25"/>
          <p:cNvSpPr/>
          <p:nvPr/>
        </p:nvSpPr>
        <p:spPr>
          <a:xfrm rot="5400000">
            <a:off x="5719308" y="3129578"/>
            <a:ext cx="351975" cy="562384"/>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a:p>
        </p:txBody>
      </p:sp>
      <p:sp>
        <p:nvSpPr>
          <p:cNvPr id="27" name="Стрелка вниз 26"/>
          <p:cNvSpPr/>
          <p:nvPr/>
        </p:nvSpPr>
        <p:spPr>
          <a:xfrm rot="16200000">
            <a:off x="4655150" y="2971689"/>
            <a:ext cx="351975" cy="562384"/>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1" rIns="91440" bIns="45721" numCol="1" spcCol="0" rtlCol="0" fromWordArt="0" anchor="ctr" anchorCtr="0" forceAA="0" compatLnSpc="1">
            <a:prstTxWarp prst="textNoShape">
              <a:avLst/>
            </a:prstTxWarp>
            <a:noAutofit/>
          </a:bodyPr>
          <a:lstStyle/>
          <a:p>
            <a:pPr algn="ctr"/>
            <a:endParaRPr lang="ru-RU" sz="1801"/>
          </a:p>
        </p:txBody>
      </p:sp>
      <p:sp>
        <p:nvSpPr>
          <p:cNvPr id="28" name="Oval 324">
            <a:extLst>
              <a:ext uri="{FF2B5EF4-FFF2-40B4-BE49-F238E27FC236}">
                <a16:creationId xmlns:a16="http://schemas.microsoft.com/office/drawing/2014/main" id="{1BE5AC34-6CB9-45AF-963A-88290FB0E228}"/>
              </a:ext>
            </a:extLst>
          </p:cNvPr>
          <p:cNvSpPr/>
          <p:nvPr/>
        </p:nvSpPr>
        <p:spPr>
          <a:xfrm>
            <a:off x="4447435" y="1868356"/>
            <a:ext cx="3273522" cy="3273519"/>
          </a:xfrm>
          <a:prstGeom prst="ellipse">
            <a:avLst/>
          </a:prstGeom>
          <a:gradFill flip="none" rotWithShape="1">
            <a:gsLst>
              <a:gs pos="100000">
                <a:srgbClr val="7700FF"/>
              </a:gs>
              <a:gs pos="0">
                <a:srgbClr val="7700FF">
                  <a:alpha val="56000"/>
                </a:srgbClr>
              </a:gs>
            </a:gsLst>
            <a:path path="circle">
              <a:fillToRect l="50000" t="50000" r="50000" b="50000"/>
            </a:path>
            <a:tileRect/>
          </a:gradFill>
          <a:ln w="12700" cap="flat" cmpd="sng" algn="ctr">
            <a:noFill/>
            <a:prstDash val="solid"/>
            <a:miter lim="800000"/>
          </a:ln>
          <a:effectLst/>
        </p:spPr>
        <p:txBody>
          <a:bodyPr rtlCol="0" anchor="ctr"/>
          <a:lstStyle/>
          <a:p>
            <a:pPr marL="0" marR="0" lvl="0" indent="0" algn="ctr" defTabSz="1036930" eaLnBrk="1" fontAlgn="auto" latinLnBrk="0" hangingPunct="1">
              <a:lnSpc>
                <a:spcPct val="100000"/>
              </a:lnSpc>
              <a:spcBef>
                <a:spcPts val="0"/>
              </a:spcBef>
              <a:spcAft>
                <a:spcPts val="0"/>
              </a:spcAft>
              <a:buClrTx/>
              <a:buSzTx/>
              <a:buFontTx/>
              <a:buNone/>
              <a:tabLst/>
              <a:defRPr/>
            </a:pPr>
            <a:endParaRPr kumimoji="0" lang="ru-RU" sz="1813" b="0" i="0" u="none" strike="noStrike" kern="0" cap="none" spc="0" normalizeH="0" baseline="0" noProof="0" dirty="0" smtClean="0">
              <a:ln>
                <a:noFill/>
              </a:ln>
              <a:solidFill>
                <a:srgbClr val="FFFFFF"/>
              </a:solidFill>
              <a:effectLst/>
              <a:uLnTx/>
              <a:uFillTx/>
              <a:latin typeface="Rostelecom Basis"/>
              <a:ea typeface="+mn-ea"/>
              <a:cs typeface="+mn-cs"/>
            </a:endParaRPr>
          </a:p>
        </p:txBody>
      </p:sp>
      <p:sp>
        <p:nvSpPr>
          <p:cNvPr id="29" name="Oval 324">
            <a:extLst>
              <a:ext uri="{FF2B5EF4-FFF2-40B4-BE49-F238E27FC236}">
                <a16:creationId xmlns:a16="http://schemas.microsoft.com/office/drawing/2014/main" id="{764F1B9B-58CA-4F0E-902D-DAA150DC7B60}"/>
              </a:ext>
            </a:extLst>
          </p:cNvPr>
          <p:cNvSpPr/>
          <p:nvPr/>
        </p:nvSpPr>
        <p:spPr>
          <a:xfrm>
            <a:off x="4842148" y="2263069"/>
            <a:ext cx="2484099" cy="2484096"/>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1036930" eaLnBrk="1" fontAlgn="auto" latinLnBrk="0" hangingPunct="1">
              <a:lnSpc>
                <a:spcPct val="100000"/>
              </a:lnSpc>
              <a:spcBef>
                <a:spcPts val="0"/>
              </a:spcBef>
              <a:spcAft>
                <a:spcPts val="0"/>
              </a:spcAft>
              <a:buClrTx/>
              <a:buSzTx/>
              <a:buFontTx/>
              <a:buNone/>
              <a:tabLst/>
              <a:defRPr/>
            </a:pPr>
            <a:endParaRPr kumimoji="0" lang="ru-RU" sz="1813" b="0" i="0" u="none" strike="noStrike" kern="0" cap="none" spc="0" normalizeH="0" baseline="0" noProof="0" dirty="0" smtClean="0">
              <a:ln>
                <a:noFill/>
              </a:ln>
              <a:solidFill>
                <a:srgbClr val="FFFFFF"/>
              </a:solidFill>
              <a:effectLst/>
              <a:uLnTx/>
              <a:uFillTx/>
              <a:latin typeface="Rostelecom Basis"/>
              <a:ea typeface="+mn-ea"/>
              <a:cs typeface="+mn-cs"/>
            </a:endParaRPr>
          </a:p>
        </p:txBody>
      </p:sp>
      <p:grpSp>
        <p:nvGrpSpPr>
          <p:cNvPr id="30" name="Рисунок 2">
            <a:extLst>
              <a:ext uri="{FF2B5EF4-FFF2-40B4-BE49-F238E27FC236}">
                <a16:creationId xmlns:a16="http://schemas.microsoft.com/office/drawing/2014/main" id="{1C7D7260-D0B3-483D-BA0B-4E0E3AD16234}"/>
              </a:ext>
            </a:extLst>
          </p:cNvPr>
          <p:cNvGrpSpPr/>
          <p:nvPr/>
        </p:nvGrpSpPr>
        <p:grpSpPr>
          <a:xfrm>
            <a:off x="5091610" y="3679804"/>
            <a:ext cx="1917747" cy="248750"/>
            <a:chOff x="11917650" y="7266670"/>
            <a:chExt cx="1439289" cy="186690"/>
          </a:xfrm>
          <a:solidFill>
            <a:srgbClr val="101828"/>
          </a:solidFill>
        </p:grpSpPr>
        <p:sp>
          <p:nvSpPr>
            <p:cNvPr id="31" name="Полилиния: фигура 4">
              <a:extLst>
                <a:ext uri="{FF2B5EF4-FFF2-40B4-BE49-F238E27FC236}">
                  <a16:creationId xmlns:a16="http://schemas.microsoft.com/office/drawing/2014/main" id="{98E2F324-E6E7-476F-BC50-2025DD7ACA04}"/>
                </a:ext>
              </a:extLst>
            </p:cNvPr>
            <p:cNvSpPr/>
            <p:nvPr/>
          </p:nvSpPr>
          <p:spPr>
            <a:xfrm>
              <a:off x="12926598" y="7320018"/>
              <a:ext cx="119960" cy="129671"/>
            </a:xfrm>
            <a:custGeom>
              <a:avLst/>
              <a:gdLst>
                <a:gd name="connsiteX0" fmla="*/ 118421 w 119960"/>
                <a:gd name="connsiteY0" fmla="*/ 0 h 129671"/>
                <a:gd name="connsiteX1" fmla="*/ 79461 w 119960"/>
                <a:gd name="connsiteY1" fmla="*/ 0 h 129671"/>
                <a:gd name="connsiteX2" fmla="*/ 32921 w 119960"/>
                <a:gd name="connsiteY2" fmla="*/ 47072 h 129671"/>
                <a:gd name="connsiteX3" fmla="*/ 32921 w 119960"/>
                <a:gd name="connsiteY3" fmla="*/ 0 h 129671"/>
                <a:gd name="connsiteX4" fmla="*/ 0 w 119960"/>
                <a:gd name="connsiteY4" fmla="*/ 0 h 129671"/>
                <a:gd name="connsiteX5" fmla="*/ 0 w 119960"/>
                <a:gd name="connsiteY5" fmla="*/ 129671 h 129671"/>
                <a:gd name="connsiteX6" fmla="*/ 32921 w 119960"/>
                <a:gd name="connsiteY6" fmla="*/ 129671 h 129671"/>
                <a:gd name="connsiteX7" fmla="*/ 32921 w 119960"/>
                <a:gd name="connsiteY7" fmla="*/ 76086 h 129671"/>
                <a:gd name="connsiteX8" fmla="*/ 80230 w 119960"/>
                <a:gd name="connsiteY8" fmla="*/ 129671 h 129671"/>
                <a:gd name="connsiteX9" fmla="*/ 119961 w 119960"/>
                <a:gd name="connsiteY9" fmla="*/ 129671 h 129671"/>
                <a:gd name="connsiteX10" fmla="*/ 58796 w 119960"/>
                <a:gd name="connsiteY10" fmla="*/ 60158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960" h="129671">
                  <a:moveTo>
                    <a:pt x="118421" y="0"/>
                  </a:moveTo>
                  <a:lnTo>
                    <a:pt x="79461" y="0"/>
                  </a:lnTo>
                  <a:lnTo>
                    <a:pt x="32921" y="47072"/>
                  </a:lnTo>
                  <a:lnTo>
                    <a:pt x="32921" y="0"/>
                  </a:lnTo>
                  <a:lnTo>
                    <a:pt x="0" y="0"/>
                  </a:lnTo>
                  <a:lnTo>
                    <a:pt x="0" y="129671"/>
                  </a:lnTo>
                  <a:lnTo>
                    <a:pt x="32921" y="129671"/>
                  </a:lnTo>
                  <a:lnTo>
                    <a:pt x="32921" y="76086"/>
                  </a:lnTo>
                  <a:lnTo>
                    <a:pt x="80230" y="129671"/>
                  </a:lnTo>
                  <a:lnTo>
                    <a:pt x="119961" y="129671"/>
                  </a:lnTo>
                  <a:lnTo>
                    <a:pt x="58796" y="60158"/>
                  </a:lnTo>
                  <a:close/>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32" name="Полилиния: фигура 5">
              <a:extLst>
                <a:ext uri="{FF2B5EF4-FFF2-40B4-BE49-F238E27FC236}">
                  <a16:creationId xmlns:a16="http://schemas.microsoft.com/office/drawing/2014/main" id="{4073BE2C-21EB-4121-BA3A-9DE56BF2DF63}"/>
                </a:ext>
              </a:extLst>
            </p:cNvPr>
            <p:cNvSpPr/>
            <p:nvPr/>
          </p:nvSpPr>
          <p:spPr>
            <a:xfrm>
              <a:off x="11917650" y="7266670"/>
              <a:ext cx="151638" cy="183019"/>
            </a:xfrm>
            <a:custGeom>
              <a:avLst/>
              <a:gdLst>
                <a:gd name="connsiteX0" fmla="*/ 83132 w 151638"/>
                <a:gd name="connsiteY0" fmla="*/ 0 h 183019"/>
                <a:gd name="connsiteX1" fmla="*/ 0 w 151638"/>
                <a:gd name="connsiteY1" fmla="*/ 0 h 183019"/>
                <a:gd name="connsiteX2" fmla="*/ 0 w 151638"/>
                <a:gd name="connsiteY2" fmla="*/ 183020 h 183019"/>
                <a:gd name="connsiteX3" fmla="*/ 34520 w 151638"/>
                <a:gd name="connsiteY3" fmla="*/ 183020 h 183019"/>
                <a:gd name="connsiteX4" fmla="*/ 34520 w 151638"/>
                <a:gd name="connsiteY4" fmla="*/ 119250 h 183019"/>
                <a:gd name="connsiteX5" fmla="*/ 83132 w 151638"/>
                <a:gd name="connsiteY5" fmla="*/ 119250 h 183019"/>
                <a:gd name="connsiteX6" fmla="*/ 151638 w 151638"/>
                <a:gd name="connsiteY6" fmla="*/ 59625 h 183019"/>
                <a:gd name="connsiteX7" fmla="*/ 83132 w 151638"/>
                <a:gd name="connsiteY7" fmla="*/ 0 h 183019"/>
                <a:gd name="connsiteX8" fmla="*/ 82066 w 151638"/>
                <a:gd name="connsiteY8" fmla="*/ 88401 h 183019"/>
                <a:gd name="connsiteX9" fmla="*/ 34461 w 151638"/>
                <a:gd name="connsiteY9" fmla="*/ 88401 h 183019"/>
                <a:gd name="connsiteX10" fmla="*/ 34461 w 151638"/>
                <a:gd name="connsiteY10" fmla="*/ 30908 h 183019"/>
                <a:gd name="connsiteX11" fmla="*/ 82066 w 151638"/>
                <a:gd name="connsiteY11" fmla="*/ 30908 h 183019"/>
                <a:gd name="connsiteX12" fmla="*/ 117118 w 151638"/>
                <a:gd name="connsiteY12" fmla="*/ 59684 h 183019"/>
                <a:gd name="connsiteX13" fmla="*/ 82066 w 151638"/>
                <a:gd name="connsiteY13" fmla="*/ 88401 h 18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638" h="183019">
                  <a:moveTo>
                    <a:pt x="83132" y="0"/>
                  </a:moveTo>
                  <a:lnTo>
                    <a:pt x="0" y="0"/>
                  </a:lnTo>
                  <a:lnTo>
                    <a:pt x="0" y="183020"/>
                  </a:lnTo>
                  <a:lnTo>
                    <a:pt x="34520" y="183020"/>
                  </a:lnTo>
                  <a:lnTo>
                    <a:pt x="34520" y="119250"/>
                  </a:lnTo>
                  <a:lnTo>
                    <a:pt x="83132" y="119250"/>
                  </a:lnTo>
                  <a:cubicBezTo>
                    <a:pt x="124461" y="119250"/>
                    <a:pt x="151638" y="98053"/>
                    <a:pt x="151638" y="59625"/>
                  </a:cubicBezTo>
                  <a:cubicBezTo>
                    <a:pt x="151638" y="21197"/>
                    <a:pt x="124401" y="0"/>
                    <a:pt x="83132" y="0"/>
                  </a:cubicBezTo>
                  <a:moveTo>
                    <a:pt x="82066" y="88401"/>
                  </a:moveTo>
                  <a:lnTo>
                    <a:pt x="34461" y="88401"/>
                  </a:lnTo>
                  <a:lnTo>
                    <a:pt x="34461" y="30908"/>
                  </a:lnTo>
                  <a:lnTo>
                    <a:pt x="82066" y="30908"/>
                  </a:lnTo>
                  <a:cubicBezTo>
                    <a:pt x="106105" y="30908"/>
                    <a:pt x="117118" y="42395"/>
                    <a:pt x="117118" y="59684"/>
                  </a:cubicBezTo>
                  <a:cubicBezTo>
                    <a:pt x="117118" y="76855"/>
                    <a:pt x="106105" y="88401"/>
                    <a:pt x="82066" y="88401"/>
                  </a:cubicBezTo>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33" name="Полилиния: фигура 6">
              <a:extLst>
                <a:ext uri="{FF2B5EF4-FFF2-40B4-BE49-F238E27FC236}">
                  <a16:creationId xmlns:a16="http://schemas.microsoft.com/office/drawing/2014/main" id="{1CDC3F6D-1C44-449F-B98E-6A64176D70B7}"/>
                </a:ext>
              </a:extLst>
            </p:cNvPr>
            <p:cNvSpPr/>
            <p:nvPr/>
          </p:nvSpPr>
          <p:spPr>
            <a:xfrm>
              <a:off x="12076275" y="7316347"/>
              <a:ext cx="141690" cy="137013"/>
            </a:xfrm>
            <a:custGeom>
              <a:avLst/>
              <a:gdLst>
                <a:gd name="connsiteX0" fmla="*/ 70875 w 141690"/>
                <a:gd name="connsiteY0" fmla="*/ 0 h 137013"/>
                <a:gd name="connsiteX1" fmla="*/ 0 w 141690"/>
                <a:gd name="connsiteY1" fmla="*/ 68507 h 137013"/>
                <a:gd name="connsiteX2" fmla="*/ 70875 w 141690"/>
                <a:gd name="connsiteY2" fmla="*/ 137013 h 137013"/>
                <a:gd name="connsiteX3" fmla="*/ 141691 w 141690"/>
                <a:gd name="connsiteY3" fmla="*/ 68507 h 137013"/>
                <a:gd name="connsiteX4" fmla="*/ 70875 w 141690"/>
                <a:gd name="connsiteY4" fmla="*/ 0 h 137013"/>
                <a:gd name="connsiteX5" fmla="*/ 70875 w 141690"/>
                <a:gd name="connsiteY5" fmla="*/ 106164 h 137013"/>
                <a:gd name="connsiteX6" fmla="*/ 33513 w 141690"/>
                <a:gd name="connsiteY6" fmla="*/ 68507 h 137013"/>
                <a:gd name="connsiteX7" fmla="*/ 70875 w 141690"/>
                <a:gd name="connsiteY7" fmla="*/ 30849 h 137013"/>
                <a:gd name="connsiteX8" fmla="*/ 108237 w 141690"/>
                <a:gd name="connsiteY8" fmla="*/ 68507 h 137013"/>
                <a:gd name="connsiteX9" fmla="*/ 70875 w 141690"/>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90" h="137013">
                  <a:moveTo>
                    <a:pt x="70875" y="0"/>
                  </a:moveTo>
                  <a:cubicBezTo>
                    <a:pt x="35349" y="0"/>
                    <a:pt x="0" y="23033"/>
                    <a:pt x="0" y="68507"/>
                  </a:cubicBezTo>
                  <a:cubicBezTo>
                    <a:pt x="0" y="113980"/>
                    <a:pt x="35289" y="137013"/>
                    <a:pt x="70875" y="137013"/>
                  </a:cubicBezTo>
                  <a:cubicBezTo>
                    <a:pt x="106401" y="137013"/>
                    <a:pt x="141691" y="114039"/>
                    <a:pt x="141691" y="68507"/>
                  </a:cubicBezTo>
                  <a:cubicBezTo>
                    <a:pt x="141750" y="23033"/>
                    <a:pt x="106461" y="0"/>
                    <a:pt x="70875" y="0"/>
                  </a:cubicBezTo>
                  <a:moveTo>
                    <a:pt x="70875" y="106164"/>
                  </a:moveTo>
                  <a:cubicBezTo>
                    <a:pt x="51513" y="106164"/>
                    <a:pt x="33513" y="92309"/>
                    <a:pt x="33513" y="68507"/>
                  </a:cubicBezTo>
                  <a:cubicBezTo>
                    <a:pt x="33513" y="44704"/>
                    <a:pt x="51572" y="30849"/>
                    <a:pt x="70875" y="30849"/>
                  </a:cubicBezTo>
                  <a:cubicBezTo>
                    <a:pt x="90237" y="30849"/>
                    <a:pt x="108237" y="44704"/>
                    <a:pt x="108237" y="68507"/>
                  </a:cubicBezTo>
                  <a:cubicBezTo>
                    <a:pt x="108296" y="92309"/>
                    <a:pt x="90237" y="106164"/>
                    <a:pt x="70875" y="106164"/>
                  </a:cubicBezTo>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34" name="Полилиния: фигура 7">
              <a:extLst>
                <a:ext uri="{FF2B5EF4-FFF2-40B4-BE49-F238E27FC236}">
                  <a16:creationId xmlns:a16="http://schemas.microsoft.com/office/drawing/2014/main" id="{E387BECD-9EE7-4CA8-A5E8-FD3952EE7AC4}"/>
                </a:ext>
              </a:extLst>
            </p:cNvPr>
            <p:cNvSpPr/>
            <p:nvPr/>
          </p:nvSpPr>
          <p:spPr>
            <a:xfrm>
              <a:off x="12234190" y="7316347"/>
              <a:ext cx="127539" cy="137013"/>
            </a:xfrm>
            <a:custGeom>
              <a:avLst/>
              <a:gdLst>
                <a:gd name="connsiteX0" fmla="*/ 67914 w 127539"/>
                <a:gd name="connsiteY0" fmla="*/ 106164 h 137013"/>
                <a:gd name="connsiteX1" fmla="*/ 33395 w 127539"/>
                <a:gd name="connsiteY1" fmla="*/ 68507 h 137013"/>
                <a:gd name="connsiteX2" fmla="*/ 67914 w 127539"/>
                <a:gd name="connsiteY2" fmla="*/ 30849 h 137013"/>
                <a:gd name="connsiteX3" fmla="*/ 97993 w 127539"/>
                <a:gd name="connsiteY3" fmla="*/ 48612 h 137013"/>
                <a:gd name="connsiteX4" fmla="*/ 126237 w 127539"/>
                <a:gd name="connsiteY4" fmla="*/ 32388 h 137013"/>
                <a:gd name="connsiteX5" fmla="*/ 68211 w 127539"/>
                <a:gd name="connsiteY5" fmla="*/ 0 h 137013"/>
                <a:gd name="connsiteX6" fmla="*/ 0 w 127539"/>
                <a:gd name="connsiteY6" fmla="*/ 68507 h 137013"/>
                <a:gd name="connsiteX7" fmla="*/ 68211 w 127539"/>
                <a:gd name="connsiteY7" fmla="*/ 137013 h 137013"/>
                <a:gd name="connsiteX8" fmla="*/ 127540 w 127539"/>
                <a:gd name="connsiteY8" fmla="*/ 102257 h 137013"/>
                <a:gd name="connsiteX9" fmla="*/ 100362 w 127539"/>
                <a:gd name="connsiteY9" fmla="*/ 87336 h 137013"/>
                <a:gd name="connsiteX10" fmla="*/ 67914 w 127539"/>
                <a:gd name="connsiteY10"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137013">
                  <a:moveTo>
                    <a:pt x="67914" y="106164"/>
                  </a:moveTo>
                  <a:cubicBezTo>
                    <a:pt x="48020" y="106164"/>
                    <a:pt x="33395" y="91776"/>
                    <a:pt x="33395" y="68507"/>
                  </a:cubicBezTo>
                  <a:cubicBezTo>
                    <a:pt x="33395" y="45474"/>
                    <a:pt x="48553" y="30849"/>
                    <a:pt x="67914" y="30849"/>
                  </a:cubicBezTo>
                  <a:cubicBezTo>
                    <a:pt x="79697" y="30849"/>
                    <a:pt x="89882" y="36355"/>
                    <a:pt x="97993" y="48612"/>
                  </a:cubicBezTo>
                  <a:lnTo>
                    <a:pt x="126237" y="32388"/>
                  </a:lnTo>
                  <a:cubicBezTo>
                    <a:pt x="116822" y="12257"/>
                    <a:pt x="96454" y="0"/>
                    <a:pt x="68211" y="0"/>
                  </a:cubicBezTo>
                  <a:cubicBezTo>
                    <a:pt x="31322" y="0"/>
                    <a:pt x="0" y="27178"/>
                    <a:pt x="0" y="68507"/>
                  </a:cubicBezTo>
                  <a:cubicBezTo>
                    <a:pt x="0" y="109836"/>
                    <a:pt x="29783" y="137013"/>
                    <a:pt x="68211" y="137013"/>
                  </a:cubicBezTo>
                  <a:cubicBezTo>
                    <a:pt x="95921" y="137013"/>
                    <a:pt x="114454" y="124461"/>
                    <a:pt x="127540" y="102257"/>
                  </a:cubicBezTo>
                  <a:lnTo>
                    <a:pt x="100362" y="87336"/>
                  </a:lnTo>
                  <a:cubicBezTo>
                    <a:pt x="92487" y="98289"/>
                    <a:pt x="84138" y="106164"/>
                    <a:pt x="67914" y="106164"/>
                  </a:cubicBezTo>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35" name="Полилиния: фигура 8">
              <a:extLst>
                <a:ext uri="{FF2B5EF4-FFF2-40B4-BE49-F238E27FC236}">
                  <a16:creationId xmlns:a16="http://schemas.microsoft.com/office/drawing/2014/main" id="{B0E4C739-0495-4689-831B-C45060B77436}"/>
                </a:ext>
              </a:extLst>
            </p:cNvPr>
            <p:cNvSpPr/>
            <p:nvPr/>
          </p:nvSpPr>
          <p:spPr>
            <a:xfrm>
              <a:off x="12630486" y="7320018"/>
              <a:ext cx="126118" cy="131269"/>
            </a:xfrm>
            <a:custGeom>
              <a:avLst/>
              <a:gdLst>
                <a:gd name="connsiteX0" fmla="*/ 22322 w 126118"/>
                <a:gd name="connsiteY0" fmla="*/ 73480 h 131269"/>
                <a:gd name="connsiteX1" fmla="*/ 10007 w 126118"/>
                <a:gd name="connsiteY1" fmla="*/ 97816 h 131269"/>
                <a:gd name="connsiteX2" fmla="*/ 0 w 126118"/>
                <a:gd name="connsiteY2" fmla="*/ 96454 h 131269"/>
                <a:gd name="connsiteX3" fmla="*/ 178 w 126118"/>
                <a:gd name="connsiteY3" fmla="*/ 130026 h 131269"/>
                <a:gd name="connsiteX4" fmla="*/ 11842 w 126118"/>
                <a:gd name="connsiteY4" fmla="*/ 131270 h 131269"/>
                <a:gd name="connsiteX5" fmla="*/ 52875 w 126118"/>
                <a:gd name="connsiteY5" fmla="*/ 74783 h 131269"/>
                <a:gd name="connsiteX6" fmla="*/ 56072 w 126118"/>
                <a:gd name="connsiteY6" fmla="*/ 29546 h 131269"/>
                <a:gd name="connsiteX7" fmla="*/ 93197 w 126118"/>
                <a:gd name="connsiteY7" fmla="*/ 29546 h 131269"/>
                <a:gd name="connsiteX8" fmla="*/ 93197 w 126118"/>
                <a:gd name="connsiteY8" fmla="*/ 129434 h 131269"/>
                <a:gd name="connsiteX9" fmla="*/ 126118 w 126118"/>
                <a:gd name="connsiteY9" fmla="*/ 129434 h 131269"/>
                <a:gd name="connsiteX10" fmla="*/ 126118 w 126118"/>
                <a:gd name="connsiteY10" fmla="*/ 0 h 131269"/>
                <a:gd name="connsiteX11" fmla="*/ 27829 w 126118"/>
                <a:gd name="connsiteY11" fmla="*/ 0 h 131269"/>
                <a:gd name="connsiteX12" fmla="*/ 22322 w 126118"/>
                <a:gd name="connsiteY12" fmla="*/ 73480 h 13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18" h="131269">
                  <a:moveTo>
                    <a:pt x="22322" y="73480"/>
                  </a:moveTo>
                  <a:cubicBezTo>
                    <a:pt x="20783" y="93375"/>
                    <a:pt x="16816" y="97816"/>
                    <a:pt x="10007" y="97816"/>
                  </a:cubicBezTo>
                  <a:cubicBezTo>
                    <a:pt x="5388" y="97816"/>
                    <a:pt x="3197" y="97283"/>
                    <a:pt x="0" y="96454"/>
                  </a:cubicBezTo>
                  <a:lnTo>
                    <a:pt x="178" y="130026"/>
                  </a:lnTo>
                  <a:cubicBezTo>
                    <a:pt x="178" y="130026"/>
                    <a:pt x="4263" y="131270"/>
                    <a:pt x="11842" y="131270"/>
                  </a:cubicBezTo>
                  <a:cubicBezTo>
                    <a:pt x="39789" y="131270"/>
                    <a:pt x="50270" y="113211"/>
                    <a:pt x="52875" y="74783"/>
                  </a:cubicBezTo>
                  <a:lnTo>
                    <a:pt x="56072" y="29546"/>
                  </a:lnTo>
                  <a:lnTo>
                    <a:pt x="93197" y="29546"/>
                  </a:lnTo>
                  <a:lnTo>
                    <a:pt x="93197" y="129434"/>
                  </a:lnTo>
                  <a:lnTo>
                    <a:pt x="126118" y="129434"/>
                  </a:lnTo>
                  <a:lnTo>
                    <a:pt x="126118" y="0"/>
                  </a:lnTo>
                  <a:lnTo>
                    <a:pt x="27829" y="0"/>
                  </a:lnTo>
                  <a:lnTo>
                    <a:pt x="22322" y="73480"/>
                  </a:lnTo>
                  <a:close/>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36" name="Полилиния: фигура 9">
              <a:extLst>
                <a:ext uri="{FF2B5EF4-FFF2-40B4-BE49-F238E27FC236}">
                  <a16:creationId xmlns:a16="http://schemas.microsoft.com/office/drawing/2014/main" id="{2C275770-66EC-41C5-A497-1DD9CAA8D437}"/>
                </a:ext>
              </a:extLst>
            </p:cNvPr>
            <p:cNvSpPr/>
            <p:nvPr/>
          </p:nvSpPr>
          <p:spPr>
            <a:xfrm>
              <a:off x="12491164"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151 w 131565"/>
                <a:gd name="connsiteY10" fmla="*/ 51276 h 137013"/>
                <a:gd name="connsiteX11" fmla="*/ 67204 w 131565"/>
                <a:gd name="connsiteY11" fmla="*/ 25105 h 137013"/>
                <a:gd name="connsiteX12" fmla="*/ 100954 w 131565"/>
                <a:gd name="connsiteY12" fmla="*/ 51276 h 137013"/>
                <a:gd name="connsiteX13" fmla="*/ 32151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507" y="26941"/>
                    <a:pt x="105336" y="0"/>
                    <a:pt x="68211" y="0"/>
                  </a:cubicBezTo>
                  <a:moveTo>
                    <a:pt x="32151" y="51276"/>
                  </a:moveTo>
                  <a:cubicBezTo>
                    <a:pt x="36829" y="36651"/>
                    <a:pt x="49914" y="25105"/>
                    <a:pt x="67204" y="25105"/>
                  </a:cubicBezTo>
                  <a:cubicBezTo>
                    <a:pt x="85500" y="25105"/>
                    <a:pt x="97816" y="35053"/>
                    <a:pt x="100954" y="51276"/>
                  </a:cubicBezTo>
                  <a:lnTo>
                    <a:pt x="32151" y="51276"/>
                  </a:lnTo>
                  <a:close/>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37" name="Полилиния: фигура 10">
              <a:extLst>
                <a:ext uri="{FF2B5EF4-FFF2-40B4-BE49-F238E27FC236}">
                  <a16:creationId xmlns:a16="http://schemas.microsoft.com/office/drawing/2014/main" id="{0E57FFA4-233F-4141-8783-9DF5E09F493A}"/>
                </a:ext>
              </a:extLst>
            </p:cNvPr>
            <p:cNvSpPr/>
            <p:nvPr/>
          </p:nvSpPr>
          <p:spPr>
            <a:xfrm>
              <a:off x="12775078" y="7316347"/>
              <a:ext cx="131565" cy="137013"/>
            </a:xfrm>
            <a:custGeom>
              <a:avLst/>
              <a:gdLst>
                <a:gd name="connsiteX0" fmla="*/ 68211 w 131565"/>
                <a:gd name="connsiteY0" fmla="*/ 0 h 137013"/>
                <a:gd name="connsiteX1" fmla="*/ 0 w 131565"/>
                <a:gd name="connsiteY1" fmla="*/ 68507 h 137013"/>
                <a:gd name="connsiteX2" fmla="*/ 66671 w 131565"/>
                <a:gd name="connsiteY2" fmla="*/ 137013 h 137013"/>
                <a:gd name="connsiteX3" fmla="*/ 126296 w 131565"/>
                <a:gd name="connsiteY3" fmla="*/ 104092 h 137013"/>
                <a:gd name="connsiteX4" fmla="*/ 100125 w 131565"/>
                <a:gd name="connsiteY4" fmla="*/ 91007 h 137013"/>
                <a:gd name="connsiteX5" fmla="*/ 67204 w 131565"/>
                <a:gd name="connsiteY5" fmla="*/ 108770 h 137013"/>
                <a:gd name="connsiteX6" fmla="*/ 31678 w 131565"/>
                <a:gd name="connsiteY6" fmla="*/ 76382 h 137013"/>
                <a:gd name="connsiteX7" fmla="*/ 131566 w 131565"/>
                <a:gd name="connsiteY7" fmla="*/ 76382 h 137013"/>
                <a:gd name="connsiteX8" fmla="*/ 131566 w 131565"/>
                <a:gd name="connsiteY8" fmla="*/ 64895 h 137013"/>
                <a:gd name="connsiteX9" fmla="*/ 68211 w 131565"/>
                <a:gd name="connsiteY9" fmla="*/ 0 h 137013"/>
                <a:gd name="connsiteX10" fmla="*/ 32092 w 131565"/>
                <a:gd name="connsiteY10" fmla="*/ 51276 h 137013"/>
                <a:gd name="connsiteX11" fmla="*/ 67145 w 131565"/>
                <a:gd name="connsiteY11" fmla="*/ 25105 h 137013"/>
                <a:gd name="connsiteX12" fmla="*/ 100895 w 131565"/>
                <a:gd name="connsiteY12" fmla="*/ 51276 h 137013"/>
                <a:gd name="connsiteX13" fmla="*/ 32092 w 131565"/>
                <a:gd name="connsiteY13" fmla="*/ 51276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565" h="137013">
                  <a:moveTo>
                    <a:pt x="68211" y="0"/>
                  </a:moveTo>
                  <a:cubicBezTo>
                    <a:pt x="30553" y="0"/>
                    <a:pt x="0" y="27474"/>
                    <a:pt x="0" y="68507"/>
                  </a:cubicBezTo>
                  <a:cubicBezTo>
                    <a:pt x="0" y="109539"/>
                    <a:pt x="30612" y="137013"/>
                    <a:pt x="66671" y="137013"/>
                  </a:cubicBezTo>
                  <a:cubicBezTo>
                    <a:pt x="95151" y="137013"/>
                    <a:pt x="113211" y="126296"/>
                    <a:pt x="126296" y="104092"/>
                  </a:cubicBezTo>
                  <a:lnTo>
                    <a:pt x="100125" y="91007"/>
                  </a:lnTo>
                  <a:cubicBezTo>
                    <a:pt x="92013" y="101191"/>
                    <a:pt x="84730" y="108770"/>
                    <a:pt x="67204" y="108770"/>
                  </a:cubicBezTo>
                  <a:cubicBezTo>
                    <a:pt x="47842" y="108770"/>
                    <a:pt x="33750" y="96217"/>
                    <a:pt x="31678" y="76382"/>
                  </a:cubicBezTo>
                  <a:lnTo>
                    <a:pt x="131566" y="76382"/>
                  </a:lnTo>
                  <a:lnTo>
                    <a:pt x="131566" y="64895"/>
                  </a:lnTo>
                  <a:cubicBezTo>
                    <a:pt x="131447" y="26941"/>
                    <a:pt x="105336" y="0"/>
                    <a:pt x="68211" y="0"/>
                  </a:cubicBezTo>
                  <a:moveTo>
                    <a:pt x="32092" y="51276"/>
                  </a:moveTo>
                  <a:cubicBezTo>
                    <a:pt x="36770" y="36651"/>
                    <a:pt x="49855" y="25105"/>
                    <a:pt x="67145" y="25105"/>
                  </a:cubicBezTo>
                  <a:cubicBezTo>
                    <a:pt x="85441" y="25105"/>
                    <a:pt x="97757" y="35053"/>
                    <a:pt x="100895" y="51276"/>
                  </a:cubicBezTo>
                  <a:lnTo>
                    <a:pt x="32092" y="51276"/>
                  </a:lnTo>
                  <a:close/>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38" name="Полилиния: фигура 11">
              <a:extLst>
                <a:ext uri="{FF2B5EF4-FFF2-40B4-BE49-F238E27FC236}">
                  <a16:creationId xmlns:a16="http://schemas.microsoft.com/office/drawing/2014/main" id="{AB51F333-D9AE-411D-B6BA-9EDEA34D5958}"/>
                </a:ext>
              </a:extLst>
            </p:cNvPr>
            <p:cNvSpPr/>
            <p:nvPr/>
          </p:nvSpPr>
          <p:spPr>
            <a:xfrm>
              <a:off x="12371973" y="7320018"/>
              <a:ext cx="110309" cy="129671"/>
            </a:xfrm>
            <a:custGeom>
              <a:avLst/>
              <a:gdLst>
                <a:gd name="connsiteX0" fmla="*/ 0 w 110309"/>
                <a:gd name="connsiteY0" fmla="*/ 28776 h 129671"/>
                <a:gd name="connsiteX1" fmla="*/ 38664 w 110309"/>
                <a:gd name="connsiteY1" fmla="*/ 28776 h 129671"/>
                <a:gd name="connsiteX2" fmla="*/ 38664 w 110309"/>
                <a:gd name="connsiteY2" fmla="*/ 129671 h 129671"/>
                <a:gd name="connsiteX3" fmla="*/ 71586 w 110309"/>
                <a:gd name="connsiteY3" fmla="*/ 129671 h 129671"/>
                <a:gd name="connsiteX4" fmla="*/ 71586 w 110309"/>
                <a:gd name="connsiteY4" fmla="*/ 28776 h 129671"/>
                <a:gd name="connsiteX5" fmla="*/ 110309 w 110309"/>
                <a:gd name="connsiteY5" fmla="*/ 28776 h 129671"/>
                <a:gd name="connsiteX6" fmla="*/ 110309 w 110309"/>
                <a:gd name="connsiteY6" fmla="*/ 0 h 129671"/>
                <a:gd name="connsiteX7" fmla="*/ 0 w 110309"/>
                <a:gd name="connsiteY7" fmla="*/ 0 h 12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09" h="129671">
                  <a:moveTo>
                    <a:pt x="0" y="28776"/>
                  </a:moveTo>
                  <a:lnTo>
                    <a:pt x="38664" y="28776"/>
                  </a:lnTo>
                  <a:lnTo>
                    <a:pt x="38664" y="129671"/>
                  </a:lnTo>
                  <a:lnTo>
                    <a:pt x="71586" y="129671"/>
                  </a:lnTo>
                  <a:lnTo>
                    <a:pt x="71586" y="28776"/>
                  </a:lnTo>
                  <a:lnTo>
                    <a:pt x="110309" y="28776"/>
                  </a:lnTo>
                  <a:lnTo>
                    <a:pt x="110309" y="0"/>
                  </a:lnTo>
                  <a:lnTo>
                    <a:pt x="0" y="0"/>
                  </a:lnTo>
                  <a:close/>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39" name="Полилиния: фигура 12">
              <a:extLst>
                <a:ext uri="{FF2B5EF4-FFF2-40B4-BE49-F238E27FC236}">
                  <a16:creationId xmlns:a16="http://schemas.microsoft.com/office/drawing/2014/main" id="{43054D6C-C572-402D-9E60-D5E80CC657A0}"/>
                </a:ext>
              </a:extLst>
            </p:cNvPr>
            <p:cNvSpPr/>
            <p:nvPr/>
          </p:nvSpPr>
          <p:spPr>
            <a:xfrm>
              <a:off x="13041170" y="7316347"/>
              <a:ext cx="141631" cy="137013"/>
            </a:xfrm>
            <a:custGeom>
              <a:avLst/>
              <a:gdLst>
                <a:gd name="connsiteX0" fmla="*/ 70816 w 141631"/>
                <a:gd name="connsiteY0" fmla="*/ 0 h 137013"/>
                <a:gd name="connsiteX1" fmla="*/ 0 w 141631"/>
                <a:gd name="connsiteY1" fmla="*/ 68507 h 137013"/>
                <a:gd name="connsiteX2" fmla="*/ 70816 w 141631"/>
                <a:gd name="connsiteY2" fmla="*/ 137013 h 137013"/>
                <a:gd name="connsiteX3" fmla="*/ 141632 w 141631"/>
                <a:gd name="connsiteY3" fmla="*/ 68507 h 137013"/>
                <a:gd name="connsiteX4" fmla="*/ 70816 w 141631"/>
                <a:gd name="connsiteY4" fmla="*/ 0 h 137013"/>
                <a:gd name="connsiteX5" fmla="*/ 70816 w 141631"/>
                <a:gd name="connsiteY5" fmla="*/ 106164 h 137013"/>
                <a:gd name="connsiteX6" fmla="*/ 33454 w 141631"/>
                <a:gd name="connsiteY6" fmla="*/ 68507 h 137013"/>
                <a:gd name="connsiteX7" fmla="*/ 70816 w 141631"/>
                <a:gd name="connsiteY7" fmla="*/ 30849 h 137013"/>
                <a:gd name="connsiteX8" fmla="*/ 108178 w 141631"/>
                <a:gd name="connsiteY8" fmla="*/ 68507 h 137013"/>
                <a:gd name="connsiteX9" fmla="*/ 70816 w 141631"/>
                <a:gd name="connsiteY9" fmla="*/ 106164 h 13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631" h="137013">
                  <a:moveTo>
                    <a:pt x="70816" y="0"/>
                  </a:moveTo>
                  <a:cubicBezTo>
                    <a:pt x="35290" y="0"/>
                    <a:pt x="0" y="23033"/>
                    <a:pt x="0" y="68507"/>
                  </a:cubicBezTo>
                  <a:cubicBezTo>
                    <a:pt x="0" y="113980"/>
                    <a:pt x="35290" y="137013"/>
                    <a:pt x="70816" y="137013"/>
                  </a:cubicBezTo>
                  <a:cubicBezTo>
                    <a:pt x="106342" y="137013"/>
                    <a:pt x="141632" y="113980"/>
                    <a:pt x="141632" y="68507"/>
                  </a:cubicBezTo>
                  <a:cubicBezTo>
                    <a:pt x="141632" y="23033"/>
                    <a:pt x="106342" y="0"/>
                    <a:pt x="70816" y="0"/>
                  </a:cubicBezTo>
                  <a:moveTo>
                    <a:pt x="70816" y="106164"/>
                  </a:moveTo>
                  <a:cubicBezTo>
                    <a:pt x="51454" y="106164"/>
                    <a:pt x="33454" y="92309"/>
                    <a:pt x="33454" y="68507"/>
                  </a:cubicBezTo>
                  <a:cubicBezTo>
                    <a:pt x="33454" y="44704"/>
                    <a:pt x="51513" y="30849"/>
                    <a:pt x="70816" y="30849"/>
                  </a:cubicBezTo>
                  <a:cubicBezTo>
                    <a:pt x="90178" y="30849"/>
                    <a:pt x="108178" y="44704"/>
                    <a:pt x="108178" y="68507"/>
                  </a:cubicBezTo>
                  <a:cubicBezTo>
                    <a:pt x="108178" y="92309"/>
                    <a:pt x="90118" y="106164"/>
                    <a:pt x="70816" y="106164"/>
                  </a:cubicBezTo>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40" name="Полилиния: фигура 13">
              <a:extLst>
                <a:ext uri="{FF2B5EF4-FFF2-40B4-BE49-F238E27FC236}">
                  <a16:creationId xmlns:a16="http://schemas.microsoft.com/office/drawing/2014/main" id="{92160B47-0B4F-474C-AE25-1EE309591489}"/>
                </a:ext>
              </a:extLst>
            </p:cNvPr>
            <p:cNvSpPr/>
            <p:nvPr/>
          </p:nvSpPr>
          <p:spPr>
            <a:xfrm>
              <a:off x="13199322" y="7320018"/>
              <a:ext cx="157618" cy="129434"/>
            </a:xfrm>
            <a:custGeom>
              <a:avLst/>
              <a:gdLst>
                <a:gd name="connsiteX0" fmla="*/ 114572 w 157618"/>
                <a:gd name="connsiteY0" fmla="*/ 0 h 129434"/>
                <a:gd name="connsiteX1" fmla="*/ 78809 w 157618"/>
                <a:gd name="connsiteY1" fmla="*/ 90770 h 129434"/>
                <a:gd name="connsiteX2" fmla="*/ 43046 w 157618"/>
                <a:gd name="connsiteY2" fmla="*/ 0 h 129434"/>
                <a:gd name="connsiteX3" fmla="*/ 0 w 157618"/>
                <a:gd name="connsiteY3" fmla="*/ 0 h 129434"/>
                <a:gd name="connsiteX4" fmla="*/ 0 w 157618"/>
                <a:gd name="connsiteY4" fmla="*/ 129434 h 129434"/>
                <a:gd name="connsiteX5" fmla="*/ 31322 w 157618"/>
                <a:gd name="connsiteY5" fmla="*/ 129434 h 129434"/>
                <a:gd name="connsiteX6" fmla="*/ 31322 w 157618"/>
                <a:gd name="connsiteY6" fmla="*/ 47487 h 129434"/>
                <a:gd name="connsiteX7" fmla="*/ 66020 w 157618"/>
                <a:gd name="connsiteY7" fmla="*/ 129434 h 129434"/>
                <a:gd name="connsiteX8" fmla="*/ 91599 w 157618"/>
                <a:gd name="connsiteY8" fmla="*/ 129434 h 129434"/>
                <a:gd name="connsiteX9" fmla="*/ 126296 w 157618"/>
                <a:gd name="connsiteY9" fmla="*/ 47487 h 129434"/>
                <a:gd name="connsiteX10" fmla="*/ 126296 w 157618"/>
                <a:gd name="connsiteY10" fmla="*/ 129434 h 129434"/>
                <a:gd name="connsiteX11" fmla="*/ 157618 w 157618"/>
                <a:gd name="connsiteY11" fmla="*/ 129434 h 129434"/>
                <a:gd name="connsiteX12" fmla="*/ 157618 w 157618"/>
                <a:gd name="connsiteY12" fmla="*/ 0 h 12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618" h="129434">
                  <a:moveTo>
                    <a:pt x="114572" y="0"/>
                  </a:moveTo>
                  <a:lnTo>
                    <a:pt x="78809" y="90770"/>
                  </a:lnTo>
                  <a:lnTo>
                    <a:pt x="43046" y="0"/>
                  </a:lnTo>
                  <a:lnTo>
                    <a:pt x="0" y="0"/>
                  </a:lnTo>
                  <a:lnTo>
                    <a:pt x="0" y="129434"/>
                  </a:lnTo>
                  <a:lnTo>
                    <a:pt x="31322" y="129434"/>
                  </a:lnTo>
                  <a:lnTo>
                    <a:pt x="31322" y="47487"/>
                  </a:lnTo>
                  <a:lnTo>
                    <a:pt x="66020" y="129434"/>
                  </a:lnTo>
                  <a:lnTo>
                    <a:pt x="91599" y="129434"/>
                  </a:lnTo>
                  <a:lnTo>
                    <a:pt x="126296" y="47487"/>
                  </a:lnTo>
                  <a:lnTo>
                    <a:pt x="126296" y="129434"/>
                  </a:lnTo>
                  <a:lnTo>
                    <a:pt x="157618" y="129434"/>
                  </a:lnTo>
                  <a:lnTo>
                    <a:pt x="157618" y="0"/>
                  </a:lnTo>
                  <a:close/>
                </a:path>
              </a:pathLst>
            </a:custGeom>
            <a:solidFill>
              <a:srgbClr val="101828"/>
            </a:solidFill>
            <a:ln w="5901" cap="flat">
              <a:noFill/>
              <a:prstDash val="solid"/>
              <a:miter/>
            </a:ln>
          </p:spPr>
          <p:txBody>
            <a:bodyPr rtlCol="0" anchor="ctr"/>
            <a:lstStyle/>
            <a:p>
              <a:pPr defTabSz="1036930"/>
              <a:endParaRPr lang="ru-RU" sz="2041" dirty="0">
                <a:solidFill>
                  <a:srgbClr val="272F3D"/>
                </a:solidFill>
                <a:latin typeface="Rostelecom Basis"/>
              </a:endParaRPr>
            </a:p>
          </p:txBody>
        </p:sp>
      </p:grpSp>
      <p:grpSp>
        <p:nvGrpSpPr>
          <p:cNvPr id="41" name="Рисунок 2">
            <a:extLst>
              <a:ext uri="{FF2B5EF4-FFF2-40B4-BE49-F238E27FC236}">
                <a16:creationId xmlns:a16="http://schemas.microsoft.com/office/drawing/2014/main" id="{4C7CCD68-D84A-4BCF-8916-FC655E061E5F}"/>
              </a:ext>
            </a:extLst>
          </p:cNvPr>
          <p:cNvGrpSpPr/>
          <p:nvPr/>
        </p:nvGrpSpPr>
        <p:grpSpPr>
          <a:xfrm>
            <a:off x="5827694" y="2440163"/>
            <a:ext cx="666436" cy="1105910"/>
            <a:chOff x="11597098" y="7057657"/>
            <a:chExt cx="269927" cy="447927"/>
          </a:xfrm>
        </p:grpSpPr>
        <p:sp>
          <p:nvSpPr>
            <p:cNvPr id="42" name="Полилиния: фигура 15">
              <a:extLst>
                <a:ext uri="{FF2B5EF4-FFF2-40B4-BE49-F238E27FC236}">
                  <a16:creationId xmlns:a16="http://schemas.microsoft.com/office/drawing/2014/main" id="{B5CB8010-2BE1-4515-970A-DCF7EFD23312}"/>
                </a:ext>
              </a:extLst>
            </p:cNvPr>
            <p:cNvSpPr/>
            <p:nvPr/>
          </p:nvSpPr>
          <p:spPr>
            <a:xfrm>
              <a:off x="11606144" y="7390538"/>
              <a:ext cx="199657" cy="115046"/>
            </a:xfrm>
            <a:custGeom>
              <a:avLst/>
              <a:gdLst>
                <a:gd name="connsiteX0" fmla="*/ 13026 w 199657"/>
                <a:gd name="connsiteY0" fmla="*/ 112914 h 115046"/>
                <a:gd name="connsiteX1" fmla="*/ 13026 w 199657"/>
                <a:gd name="connsiteY1" fmla="*/ 112914 h 115046"/>
                <a:gd name="connsiteX2" fmla="*/ 13026 w 199657"/>
                <a:gd name="connsiteY2" fmla="*/ 112914 h 115046"/>
                <a:gd name="connsiteX3" fmla="*/ 13026 w 199657"/>
                <a:gd name="connsiteY3" fmla="*/ 112914 h 115046"/>
                <a:gd name="connsiteX4" fmla="*/ 13855 w 199657"/>
                <a:gd name="connsiteY4" fmla="*/ 113270 h 115046"/>
                <a:gd name="connsiteX5" fmla="*/ 14743 w 199657"/>
                <a:gd name="connsiteY5" fmla="*/ 113507 h 115046"/>
                <a:gd name="connsiteX6" fmla="*/ 24691 w 199657"/>
                <a:gd name="connsiteY6" fmla="*/ 115046 h 115046"/>
                <a:gd name="connsiteX7" fmla="*/ 42099 w 199657"/>
                <a:gd name="connsiteY7" fmla="*/ 115046 h 115046"/>
                <a:gd name="connsiteX8" fmla="*/ 110132 w 199657"/>
                <a:gd name="connsiteY8" fmla="*/ 115046 h 115046"/>
                <a:gd name="connsiteX9" fmla="*/ 199658 w 199657"/>
                <a:gd name="connsiteY9" fmla="*/ 115046 h 115046"/>
                <a:gd name="connsiteX10" fmla="*/ 84849 w 199657"/>
                <a:gd name="connsiteY10" fmla="*/ 0 h 115046"/>
                <a:gd name="connsiteX11" fmla="*/ 84849 w 199657"/>
                <a:gd name="connsiteY11" fmla="*/ 0 h 115046"/>
                <a:gd name="connsiteX12" fmla="*/ 84789 w 199657"/>
                <a:gd name="connsiteY12" fmla="*/ 59 h 115046"/>
                <a:gd name="connsiteX13" fmla="*/ 39197 w 199657"/>
                <a:gd name="connsiteY13" fmla="*/ 45414 h 115046"/>
                <a:gd name="connsiteX14" fmla="*/ 17941 w 199657"/>
                <a:gd name="connsiteY14" fmla="*/ 66730 h 115046"/>
                <a:gd name="connsiteX15" fmla="*/ 5743 w 199657"/>
                <a:gd name="connsiteY15" fmla="*/ 78928 h 115046"/>
                <a:gd name="connsiteX16" fmla="*/ 5743 w 199657"/>
                <a:gd name="connsiteY16" fmla="*/ 78928 h 115046"/>
                <a:gd name="connsiteX17" fmla="*/ 5743 w 199657"/>
                <a:gd name="connsiteY17" fmla="*/ 78928 h 115046"/>
                <a:gd name="connsiteX18" fmla="*/ 0 w 199657"/>
                <a:gd name="connsiteY18" fmla="*/ 93789 h 115046"/>
                <a:gd name="connsiteX19" fmla="*/ 13026 w 199657"/>
                <a:gd name="connsiteY19" fmla="*/ 112914 h 115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9657" h="115046">
                  <a:moveTo>
                    <a:pt x="13026" y="112914"/>
                  </a:moveTo>
                  <a:lnTo>
                    <a:pt x="13026" y="112914"/>
                  </a:lnTo>
                  <a:lnTo>
                    <a:pt x="13026" y="112914"/>
                  </a:lnTo>
                  <a:cubicBezTo>
                    <a:pt x="13026" y="112914"/>
                    <a:pt x="13026" y="112914"/>
                    <a:pt x="13026" y="112914"/>
                  </a:cubicBezTo>
                  <a:cubicBezTo>
                    <a:pt x="13322" y="113033"/>
                    <a:pt x="13559" y="113151"/>
                    <a:pt x="13855" y="113270"/>
                  </a:cubicBezTo>
                  <a:cubicBezTo>
                    <a:pt x="14092" y="113329"/>
                    <a:pt x="14388" y="113447"/>
                    <a:pt x="14743" y="113507"/>
                  </a:cubicBezTo>
                  <a:cubicBezTo>
                    <a:pt x="17882" y="114513"/>
                    <a:pt x="21197" y="115046"/>
                    <a:pt x="24691" y="115046"/>
                  </a:cubicBezTo>
                  <a:cubicBezTo>
                    <a:pt x="24691" y="115046"/>
                    <a:pt x="31382" y="115046"/>
                    <a:pt x="42099" y="115046"/>
                  </a:cubicBezTo>
                  <a:cubicBezTo>
                    <a:pt x="58441" y="115046"/>
                    <a:pt x="84138" y="115046"/>
                    <a:pt x="110132" y="115046"/>
                  </a:cubicBezTo>
                  <a:cubicBezTo>
                    <a:pt x="154540" y="115046"/>
                    <a:pt x="199658" y="115046"/>
                    <a:pt x="199658" y="115046"/>
                  </a:cubicBezTo>
                  <a:lnTo>
                    <a:pt x="84849" y="0"/>
                  </a:lnTo>
                  <a:lnTo>
                    <a:pt x="84849" y="0"/>
                  </a:lnTo>
                  <a:cubicBezTo>
                    <a:pt x="84849" y="0"/>
                    <a:pt x="84849" y="0"/>
                    <a:pt x="84789" y="59"/>
                  </a:cubicBezTo>
                  <a:cubicBezTo>
                    <a:pt x="63592" y="21138"/>
                    <a:pt x="49559" y="35112"/>
                    <a:pt x="39197" y="45414"/>
                  </a:cubicBezTo>
                  <a:cubicBezTo>
                    <a:pt x="30020" y="54592"/>
                    <a:pt x="23743" y="60868"/>
                    <a:pt x="17941" y="66730"/>
                  </a:cubicBezTo>
                  <a:cubicBezTo>
                    <a:pt x="10599" y="74013"/>
                    <a:pt x="5743" y="78868"/>
                    <a:pt x="5743" y="78928"/>
                  </a:cubicBezTo>
                  <a:lnTo>
                    <a:pt x="5743" y="78928"/>
                  </a:lnTo>
                  <a:cubicBezTo>
                    <a:pt x="5743" y="78928"/>
                    <a:pt x="5743" y="78928"/>
                    <a:pt x="5743" y="78928"/>
                  </a:cubicBezTo>
                  <a:cubicBezTo>
                    <a:pt x="2191" y="82717"/>
                    <a:pt x="0" y="88164"/>
                    <a:pt x="0" y="93789"/>
                  </a:cubicBezTo>
                  <a:cubicBezTo>
                    <a:pt x="0" y="102553"/>
                    <a:pt x="5388" y="109776"/>
                    <a:pt x="13026" y="112914"/>
                  </a:cubicBezTo>
                  <a:close/>
                </a:path>
              </a:pathLst>
            </a:custGeom>
            <a:solidFill>
              <a:srgbClr val="FF4F12"/>
            </a:solidFill>
            <a:ln w="5901" cap="flat">
              <a:noFill/>
              <a:prstDash val="solid"/>
              <a:miter/>
            </a:ln>
          </p:spPr>
          <p:txBody>
            <a:bodyPr rtlCol="0" anchor="ctr"/>
            <a:lstStyle/>
            <a:p>
              <a:pPr defTabSz="1036930"/>
              <a:endParaRPr lang="ru-RU" sz="2041" dirty="0">
                <a:solidFill>
                  <a:srgbClr val="272F3D"/>
                </a:solidFill>
                <a:latin typeface="Rostelecom Basis"/>
              </a:endParaRPr>
            </a:p>
          </p:txBody>
        </p:sp>
        <p:sp>
          <p:nvSpPr>
            <p:cNvPr id="43" name="Полилиния: фигура 16">
              <a:extLst>
                <a:ext uri="{FF2B5EF4-FFF2-40B4-BE49-F238E27FC236}">
                  <a16:creationId xmlns:a16="http://schemas.microsoft.com/office/drawing/2014/main" id="{B1C1D58C-AA27-4B4E-A1D5-6C693EAA1F6F}"/>
                </a:ext>
              </a:extLst>
            </p:cNvPr>
            <p:cNvSpPr/>
            <p:nvPr/>
          </p:nvSpPr>
          <p:spPr>
            <a:xfrm>
              <a:off x="11597098" y="7057657"/>
              <a:ext cx="269927" cy="445796"/>
            </a:xfrm>
            <a:custGeom>
              <a:avLst/>
              <a:gdLst>
                <a:gd name="connsiteX0" fmla="*/ 9046 w 269927"/>
                <a:gd name="connsiteY0" fmla="*/ 426612 h 445796"/>
                <a:gd name="connsiteX1" fmla="*/ 14789 w 269927"/>
                <a:gd name="connsiteY1" fmla="*/ 411750 h 445796"/>
                <a:gd name="connsiteX2" fmla="*/ 14789 w 269927"/>
                <a:gd name="connsiteY2" fmla="*/ 411750 h 445796"/>
                <a:gd name="connsiteX3" fmla="*/ 14789 w 269927"/>
                <a:gd name="connsiteY3" fmla="*/ 411750 h 445796"/>
                <a:gd name="connsiteX4" fmla="*/ 26987 w 269927"/>
                <a:gd name="connsiteY4" fmla="*/ 399553 h 445796"/>
                <a:gd name="connsiteX5" fmla="*/ 48243 w 269927"/>
                <a:gd name="connsiteY5" fmla="*/ 378237 h 445796"/>
                <a:gd name="connsiteX6" fmla="*/ 93835 w 269927"/>
                <a:gd name="connsiteY6" fmla="*/ 332882 h 445796"/>
                <a:gd name="connsiteX7" fmla="*/ 93895 w 269927"/>
                <a:gd name="connsiteY7" fmla="*/ 332822 h 445796"/>
                <a:gd name="connsiteX8" fmla="*/ 93895 w 269927"/>
                <a:gd name="connsiteY8" fmla="*/ 332822 h 445796"/>
                <a:gd name="connsiteX9" fmla="*/ 114559 w 269927"/>
                <a:gd name="connsiteY9" fmla="*/ 312276 h 445796"/>
                <a:gd name="connsiteX10" fmla="*/ 114974 w 269927"/>
                <a:gd name="connsiteY10" fmla="*/ 311862 h 445796"/>
                <a:gd name="connsiteX11" fmla="*/ 269928 w 269927"/>
                <a:gd name="connsiteY11" fmla="*/ 157618 h 445796"/>
                <a:gd name="connsiteX12" fmla="*/ 112427 w 269927"/>
                <a:gd name="connsiteY12" fmla="*/ 0 h 445796"/>
                <a:gd name="connsiteX13" fmla="*/ 23197 w 269927"/>
                <a:gd name="connsiteY13" fmla="*/ 89289 h 445796"/>
                <a:gd name="connsiteX14" fmla="*/ 164 w 269927"/>
                <a:gd name="connsiteY14" fmla="*/ 169224 h 445796"/>
                <a:gd name="connsiteX15" fmla="*/ 164 w 269927"/>
                <a:gd name="connsiteY15" fmla="*/ 414237 h 445796"/>
                <a:gd name="connsiteX16" fmla="*/ 22072 w 269927"/>
                <a:gd name="connsiteY16" fmla="*/ 445796 h 445796"/>
                <a:gd name="connsiteX17" fmla="*/ 22072 w 269927"/>
                <a:gd name="connsiteY17" fmla="*/ 445796 h 445796"/>
                <a:gd name="connsiteX18" fmla="*/ 9046 w 269927"/>
                <a:gd name="connsiteY18" fmla="*/ 426612 h 44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9927" h="445796">
                  <a:moveTo>
                    <a:pt x="9046" y="426612"/>
                  </a:moveTo>
                  <a:cubicBezTo>
                    <a:pt x="9046" y="420987"/>
                    <a:pt x="11237" y="415539"/>
                    <a:pt x="14789" y="411750"/>
                  </a:cubicBezTo>
                  <a:cubicBezTo>
                    <a:pt x="14789" y="411750"/>
                    <a:pt x="14789" y="411750"/>
                    <a:pt x="14789" y="411750"/>
                  </a:cubicBezTo>
                  <a:lnTo>
                    <a:pt x="14789" y="411750"/>
                  </a:lnTo>
                  <a:cubicBezTo>
                    <a:pt x="14789" y="411750"/>
                    <a:pt x="19704" y="406836"/>
                    <a:pt x="26987" y="399553"/>
                  </a:cubicBezTo>
                  <a:cubicBezTo>
                    <a:pt x="32789" y="393632"/>
                    <a:pt x="39066" y="387355"/>
                    <a:pt x="48243" y="378237"/>
                  </a:cubicBezTo>
                  <a:cubicBezTo>
                    <a:pt x="58605" y="367934"/>
                    <a:pt x="72579" y="354020"/>
                    <a:pt x="93835" y="332882"/>
                  </a:cubicBezTo>
                  <a:cubicBezTo>
                    <a:pt x="93895" y="332822"/>
                    <a:pt x="93895" y="332822"/>
                    <a:pt x="93895" y="332822"/>
                  </a:cubicBezTo>
                  <a:lnTo>
                    <a:pt x="93895" y="332822"/>
                  </a:lnTo>
                  <a:cubicBezTo>
                    <a:pt x="100112" y="326605"/>
                    <a:pt x="106980" y="319796"/>
                    <a:pt x="114559" y="312276"/>
                  </a:cubicBezTo>
                  <a:cubicBezTo>
                    <a:pt x="114677" y="312158"/>
                    <a:pt x="114855" y="311980"/>
                    <a:pt x="114974" y="311862"/>
                  </a:cubicBezTo>
                  <a:cubicBezTo>
                    <a:pt x="149316" y="277697"/>
                    <a:pt x="198224" y="229026"/>
                    <a:pt x="269928" y="157618"/>
                  </a:cubicBezTo>
                  <a:lnTo>
                    <a:pt x="112427" y="0"/>
                  </a:lnTo>
                  <a:lnTo>
                    <a:pt x="23197" y="89289"/>
                  </a:lnTo>
                  <a:cubicBezTo>
                    <a:pt x="-3448" y="115934"/>
                    <a:pt x="164" y="133401"/>
                    <a:pt x="164" y="169224"/>
                  </a:cubicBezTo>
                  <a:cubicBezTo>
                    <a:pt x="164" y="205105"/>
                    <a:pt x="164" y="414178"/>
                    <a:pt x="164" y="414237"/>
                  </a:cubicBezTo>
                  <a:cubicBezTo>
                    <a:pt x="164" y="428743"/>
                    <a:pt x="9283" y="441000"/>
                    <a:pt x="22072" y="445796"/>
                  </a:cubicBezTo>
                  <a:lnTo>
                    <a:pt x="22072" y="445796"/>
                  </a:lnTo>
                  <a:cubicBezTo>
                    <a:pt x="14434" y="442658"/>
                    <a:pt x="9046" y="435434"/>
                    <a:pt x="9046" y="426612"/>
                  </a:cubicBezTo>
                  <a:close/>
                </a:path>
              </a:pathLst>
            </a:custGeom>
            <a:solidFill>
              <a:srgbClr val="7700FF"/>
            </a:solidFill>
            <a:ln w="5901" cap="flat">
              <a:noFill/>
              <a:prstDash val="solid"/>
              <a:miter/>
            </a:ln>
          </p:spPr>
          <p:txBody>
            <a:bodyPr rtlCol="0" anchor="ctr"/>
            <a:lstStyle/>
            <a:p>
              <a:pPr defTabSz="1036930"/>
              <a:endParaRPr lang="ru-RU" sz="2041" dirty="0">
                <a:solidFill>
                  <a:srgbClr val="272F3D"/>
                </a:solidFill>
                <a:latin typeface="Rostelecom Basis"/>
              </a:endParaRPr>
            </a:p>
          </p:txBody>
        </p:sp>
      </p:grpSp>
      <p:grpSp>
        <p:nvGrpSpPr>
          <p:cNvPr id="44" name="Group 423">
            <a:extLst>
              <a:ext uri="{FF2B5EF4-FFF2-40B4-BE49-F238E27FC236}">
                <a16:creationId xmlns:a16="http://schemas.microsoft.com/office/drawing/2014/main" id="{C27F5753-5735-42D5-BFF5-0536FD40F89E}"/>
              </a:ext>
            </a:extLst>
          </p:cNvPr>
          <p:cNvGrpSpPr/>
          <p:nvPr/>
        </p:nvGrpSpPr>
        <p:grpSpPr>
          <a:xfrm rot="12328743">
            <a:off x="3874975" y="1531001"/>
            <a:ext cx="871235" cy="2150392"/>
            <a:chOff x="10218278" y="3594877"/>
            <a:chExt cx="580405" cy="1432562"/>
          </a:xfrm>
        </p:grpSpPr>
        <p:sp>
          <p:nvSpPr>
            <p:cNvPr id="45" name="Isosceles Triangle 425">
              <a:extLst>
                <a:ext uri="{FF2B5EF4-FFF2-40B4-BE49-F238E27FC236}">
                  <a16:creationId xmlns:a16="http://schemas.microsoft.com/office/drawing/2014/main" id="{DE402D00-2E82-4EEA-968B-2D64C328B3BC}"/>
                </a:ext>
              </a:extLst>
            </p:cNvPr>
            <p:cNvSpPr/>
            <p:nvPr/>
          </p:nvSpPr>
          <p:spPr>
            <a:xfrm rot="5400000">
              <a:off x="9857704" y="4086457"/>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sp>
          <p:nvSpPr>
            <p:cNvPr id="46" name="Isosceles Triangle 433">
              <a:extLst>
                <a:ext uri="{FF2B5EF4-FFF2-40B4-BE49-F238E27FC236}">
                  <a16:creationId xmlns:a16="http://schemas.microsoft.com/office/drawing/2014/main" id="{BF4A3791-485C-44E9-90F0-FB476ABE7F6D}"/>
                </a:ext>
              </a:extLst>
            </p:cNvPr>
            <p:cNvSpPr/>
            <p:nvPr/>
          </p:nvSpPr>
          <p:spPr>
            <a:xfrm rot="5400000">
              <a:off x="9726698" y="4086459"/>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grpSp>
      <p:grpSp>
        <p:nvGrpSpPr>
          <p:cNvPr id="47" name="Group 436">
            <a:extLst>
              <a:ext uri="{FF2B5EF4-FFF2-40B4-BE49-F238E27FC236}">
                <a16:creationId xmlns:a16="http://schemas.microsoft.com/office/drawing/2014/main" id="{C041D1B9-1875-4D4E-BDC9-E753F7C3F700}"/>
              </a:ext>
            </a:extLst>
          </p:cNvPr>
          <p:cNvGrpSpPr/>
          <p:nvPr/>
        </p:nvGrpSpPr>
        <p:grpSpPr>
          <a:xfrm rot="5400000">
            <a:off x="5686795" y="4582710"/>
            <a:ext cx="871235" cy="2150392"/>
            <a:chOff x="10218278" y="3594877"/>
            <a:chExt cx="580405" cy="1432562"/>
          </a:xfrm>
        </p:grpSpPr>
        <p:sp>
          <p:nvSpPr>
            <p:cNvPr id="48" name="Isosceles Triangle 440">
              <a:extLst>
                <a:ext uri="{FF2B5EF4-FFF2-40B4-BE49-F238E27FC236}">
                  <a16:creationId xmlns:a16="http://schemas.microsoft.com/office/drawing/2014/main" id="{7887E911-E13F-4483-A339-EFA50065B779}"/>
                </a:ext>
              </a:extLst>
            </p:cNvPr>
            <p:cNvSpPr/>
            <p:nvPr/>
          </p:nvSpPr>
          <p:spPr>
            <a:xfrm rot="5400000">
              <a:off x="9857704" y="4086457"/>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sp>
          <p:nvSpPr>
            <p:cNvPr id="49" name="Isosceles Triangle 441">
              <a:extLst>
                <a:ext uri="{FF2B5EF4-FFF2-40B4-BE49-F238E27FC236}">
                  <a16:creationId xmlns:a16="http://schemas.microsoft.com/office/drawing/2014/main" id="{313209AA-55D8-4543-B8EA-D3488C8219D8}"/>
                </a:ext>
              </a:extLst>
            </p:cNvPr>
            <p:cNvSpPr/>
            <p:nvPr/>
          </p:nvSpPr>
          <p:spPr>
            <a:xfrm rot="5400000">
              <a:off x="9726698" y="4086459"/>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grpSp>
      <p:grpSp>
        <p:nvGrpSpPr>
          <p:cNvPr id="50" name="Group 444">
            <a:extLst>
              <a:ext uri="{FF2B5EF4-FFF2-40B4-BE49-F238E27FC236}">
                <a16:creationId xmlns:a16="http://schemas.microsoft.com/office/drawing/2014/main" id="{B45E2E68-4942-437C-8337-3EAC8B8CAA24}"/>
              </a:ext>
            </a:extLst>
          </p:cNvPr>
          <p:cNvGrpSpPr/>
          <p:nvPr/>
        </p:nvGrpSpPr>
        <p:grpSpPr>
          <a:xfrm rot="20042746" flipH="1">
            <a:off x="3887487" y="3507924"/>
            <a:ext cx="871236" cy="2150391"/>
            <a:chOff x="10218278" y="3594877"/>
            <a:chExt cx="580405" cy="1432562"/>
          </a:xfrm>
        </p:grpSpPr>
        <p:sp>
          <p:nvSpPr>
            <p:cNvPr id="51" name="Isosceles Triangle 445">
              <a:extLst>
                <a:ext uri="{FF2B5EF4-FFF2-40B4-BE49-F238E27FC236}">
                  <a16:creationId xmlns:a16="http://schemas.microsoft.com/office/drawing/2014/main" id="{B1E3AB68-B11C-48C9-8BD8-2D316F00EBFA}"/>
                </a:ext>
              </a:extLst>
            </p:cNvPr>
            <p:cNvSpPr/>
            <p:nvPr/>
          </p:nvSpPr>
          <p:spPr>
            <a:xfrm rot="5400000">
              <a:off x="9857704" y="4086457"/>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sp>
          <p:nvSpPr>
            <p:cNvPr id="52" name="Isosceles Triangle 446">
              <a:extLst>
                <a:ext uri="{FF2B5EF4-FFF2-40B4-BE49-F238E27FC236}">
                  <a16:creationId xmlns:a16="http://schemas.microsoft.com/office/drawing/2014/main" id="{7BD6FAD3-AAD1-47F2-9F74-7232F01016F5}"/>
                </a:ext>
              </a:extLst>
            </p:cNvPr>
            <p:cNvSpPr/>
            <p:nvPr/>
          </p:nvSpPr>
          <p:spPr>
            <a:xfrm rot="5400000">
              <a:off x="9726698" y="4086459"/>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grpSp>
      <p:grpSp>
        <p:nvGrpSpPr>
          <p:cNvPr id="53" name="Group 453">
            <a:extLst>
              <a:ext uri="{FF2B5EF4-FFF2-40B4-BE49-F238E27FC236}">
                <a16:creationId xmlns:a16="http://schemas.microsoft.com/office/drawing/2014/main" id="{9B1CA5F6-F73E-4CB4-A440-C40919EA84CA}"/>
              </a:ext>
            </a:extLst>
          </p:cNvPr>
          <p:cNvGrpSpPr/>
          <p:nvPr/>
        </p:nvGrpSpPr>
        <p:grpSpPr>
          <a:xfrm rot="1326362">
            <a:off x="7573767" y="3356724"/>
            <a:ext cx="871236" cy="2150391"/>
            <a:chOff x="10218278" y="3594877"/>
            <a:chExt cx="580405" cy="1432562"/>
          </a:xfrm>
        </p:grpSpPr>
        <p:sp>
          <p:nvSpPr>
            <p:cNvPr id="54" name="Isosceles Triangle 454">
              <a:extLst>
                <a:ext uri="{FF2B5EF4-FFF2-40B4-BE49-F238E27FC236}">
                  <a16:creationId xmlns:a16="http://schemas.microsoft.com/office/drawing/2014/main" id="{E27540E1-6670-4A83-8632-2D4A39CFD80E}"/>
                </a:ext>
              </a:extLst>
            </p:cNvPr>
            <p:cNvSpPr/>
            <p:nvPr/>
          </p:nvSpPr>
          <p:spPr>
            <a:xfrm rot="5400000">
              <a:off x="9857704" y="4086457"/>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sp>
          <p:nvSpPr>
            <p:cNvPr id="55" name="Isosceles Triangle 455">
              <a:extLst>
                <a:ext uri="{FF2B5EF4-FFF2-40B4-BE49-F238E27FC236}">
                  <a16:creationId xmlns:a16="http://schemas.microsoft.com/office/drawing/2014/main" id="{B9EA2C6F-EE8A-4052-908F-83E62B5574F4}"/>
                </a:ext>
              </a:extLst>
            </p:cNvPr>
            <p:cNvSpPr/>
            <p:nvPr/>
          </p:nvSpPr>
          <p:spPr>
            <a:xfrm rot="5400000">
              <a:off x="9726698" y="4086459"/>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grpSp>
      <p:grpSp>
        <p:nvGrpSpPr>
          <p:cNvPr id="56" name="Group 458">
            <a:extLst>
              <a:ext uri="{FF2B5EF4-FFF2-40B4-BE49-F238E27FC236}">
                <a16:creationId xmlns:a16="http://schemas.microsoft.com/office/drawing/2014/main" id="{F77E7113-FB32-43AF-B349-9EA1000F2D81}"/>
              </a:ext>
            </a:extLst>
          </p:cNvPr>
          <p:cNvGrpSpPr/>
          <p:nvPr/>
        </p:nvGrpSpPr>
        <p:grpSpPr>
          <a:xfrm rot="8833153" flipH="1">
            <a:off x="7395831" y="1335134"/>
            <a:ext cx="871235" cy="2150392"/>
            <a:chOff x="10218278" y="3594877"/>
            <a:chExt cx="580405" cy="1432562"/>
          </a:xfrm>
        </p:grpSpPr>
        <p:sp>
          <p:nvSpPr>
            <p:cNvPr id="57" name="Isosceles Triangle 459">
              <a:extLst>
                <a:ext uri="{FF2B5EF4-FFF2-40B4-BE49-F238E27FC236}">
                  <a16:creationId xmlns:a16="http://schemas.microsoft.com/office/drawing/2014/main" id="{A891C62D-3198-4CCC-A43A-1062E7DFCCF2}"/>
                </a:ext>
              </a:extLst>
            </p:cNvPr>
            <p:cNvSpPr/>
            <p:nvPr/>
          </p:nvSpPr>
          <p:spPr>
            <a:xfrm rot="5400000">
              <a:off x="9857704" y="4086457"/>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sp>
          <p:nvSpPr>
            <p:cNvPr id="58" name="Isosceles Triangle 460">
              <a:extLst>
                <a:ext uri="{FF2B5EF4-FFF2-40B4-BE49-F238E27FC236}">
                  <a16:creationId xmlns:a16="http://schemas.microsoft.com/office/drawing/2014/main" id="{C997DC8D-C7C4-440B-977E-B61290F766DB}"/>
                </a:ext>
              </a:extLst>
            </p:cNvPr>
            <p:cNvSpPr/>
            <p:nvPr/>
          </p:nvSpPr>
          <p:spPr>
            <a:xfrm rot="5400000">
              <a:off x="9726698" y="4086459"/>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grpSp>
      <p:grpSp>
        <p:nvGrpSpPr>
          <p:cNvPr id="59" name="Group 436">
            <a:extLst>
              <a:ext uri="{FF2B5EF4-FFF2-40B4-BE49-F238E27FC236}">
                <a16:creationId xmlns:a16="http://schemas.microsoft.com/office/drawing/2014/main" id="{C041D1B9-1875-4D4E-BDC9-E753F7C3F700}"/>
              </a:ext>
            </a:extLst>
          </p:cNvPr>
          <p:cNvGrpSpPr/>
          <p:nvPr/>
        </p:nvGrpSpPr>
        <p:grpSpPr>
          <a:xfrm rot="16200000" flipV="1">
            <a:off x="5675059" y="370222"/>
            <a:ext cx="871235" cy="2150392"/>
            <a:chOff x="10218278" y="3594877"/>
            <a:chExt cx="580405" cy="1432562"/>
          </a:xfrm>
        </p:grpSpPr>
        <p:sp>
          <p:nvSpPr>
            <p:cNvPr id="60" name="Isosceles Triangle 440">
              <a:extLst>
                <a:ext uri="{FF2B5EF4-FFF2-40B4-BE49-F238E27FC236}">
                  <a16:creationId xmlns:a16="http://schemas.microsoft.com/office/drawing/2014/main" id="{7887E911-E13F-4483-A339-EFA50065B779}"/>
                </a:ext>
              </a:extLst>
            </p:cNvPr>
            <p:cNvSpPr/>
            <p:nvPr/>
          </p:nvSpPr>
          <p:spPr>
            <a:xfrm rot="5400000">
              <a:off x="9857704" y="4086457"/>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sp>
          <p:nvSpPr>
            <p:cNvPr id="61" name="Isosceles Triangle 441">
              <a:extLst>
                <a:ext uri="{FF2B5EF4-FFF2-40B4-BE49-F238E27FC236}">
                  <a16:creationId xmlns:a16="http://schemas.microsoft.com/office/drawing/2014/main" id="{313209AA-55D8-4543-B8EA-D3488C8219D8}"/>
                </a:ext>
              </a:extLst>
            </p:cNvPr>
            <p:cNvSpPr/>
            <p:nvPr/>
          </p:nvSpPr>
          <p:spPr>
            <a:xfrm rot="5400000">
              <a:off x="9726698" y="4086459"/>
              <a:ext cx="1432560" cy="449399"/>
            </a:xfrm>
            <a:prstGeom prst="triangle">
              <a:avLst/>
            </a:prstGeom>
            <a:gradFill flip="none" rotWithShape="1">
              <a:gsLst>
                <a:gs pos="100000">
                  <a:srgbClr val="7700FF">
                    <a:alpha val="0"/>
                  </a:srgbClr>
                </a:gs>
                <a:gs pos="0">
                  <a:srgbClr val="7700FF">
                    <a:alpha val="87000"/>
                  </a:srgbClr>
                </a:gs>
              </a:gsLst>
              <a:lin ang="5400000" scaled="1"/>
              <a:tileRect/>
            </a:gradFill>
            <a:ln w="12700" cap="flat" cmpd="sng" algn="ctr">
              <a:noFill/>
              <a:prstDash val="solid"/>
              <a:miter lim="800000"/>
            </a:ln>
            <a:effectLst/>
          </p:spPr>
          <p:txBody>
            <a:bodyPr rtlCol="0" anchor="ctr"/>
            <a:lstStyle/>
            <a:p>
              <a:pPr algn="ctr" defTabSz="1036930"/>
              <a:endParaRPr lang="ru-RU" sz="2041" kern="0" dirty="0">
                <a:solidFill>
                  <a:srgbClr val="FFFFFF"/>
                </a:solidFill>
                <a:latin typeface="Rostelecom Basis"/>
              </a:endParaRPr>
            </a:p>
          </p:txBody>
        </p:sp>
      </p:grpSp>
      <p:grpSp>
        <p:nvGrpSpPr>
          <p:cNvPr id="62" name="Group 10">
            <a:extLst>
              <a:ext uri="{FF2B5EF4-FFF2-40B4-BE49-F238E27FC236}">
                <a16:creationId xmlns:a16="http://schemas.microsoft.com/office/drawing/2014/main" id="{3AE237FB-0349-4DD6-9886-460F132795EA}"/>
              </a:ext>
            </a:extLst>
          </p:cNvPr>
          <p:cNvGrpSpPr/>
          <p:nvPr/>
        </p:nvGrpSpPr>
        <p:grpSpPr>
          <a:xfrm>
            <a:off x="1897013" y="1506304"/>
            <a:ext cx="3616363" cy="1386408"/>
            <a:chOff x="6922880" y="1415321"/>
            <a:chExt cx="3616363" cy="1386408"/>
          </a:xfrm>
        </p:grpSpPr>
        <p:sp>
          <p:nvSpPr>
            <p:cNvPr id="63" name="Oval 126">
              <a:extLst>
                <a:ext uri="{FF2B5EF4-FFF2-40B4-BE49-F238E27FC236}">
                  <a16:creationId xmlns:a16="http://schemas.microsoft.com/office/drawing/2014/main" id="{F2143B84-8252-44A8-8FEE-E54BC34D1EB9}"/>
                </a:ext>
              </a:extLst>
            </p:cNvPr>
            <p:cNvSpPr>
              <a:spLocks/>
            </p:cNvSpPr>
            <p:nvPr/>
          </p:nvSpPr>
          <p:spPr>
            <a:xfrm>
              <a:off x="6922880" y="1415321"/>
              <a:ext cx="872233" cy="872228"/>
            </a:xfrm>
            <a:prstGeom prst="ellipse">
              <a:avLst/>
            </a:prstGeom>
            <a:gradFill flip="none" rotWithShape="1">
              <a:gsLst>
                <a:gs pos="95620">
                  <a:srgbClr val="49009A"/>
                </a:gs>
                <a:gs pos="54000">
                  <a:srgbClr val="7700FF"/>
                </a:gs>
                <a:gs pos="0">
                  <a:srgbClr val="7700FF"/>
                </a:gs>
              </a:gsLst>
              <a:lin ang="5400000" scaled="1"/>
              <a:tileRect/>
            </a:gradFill>
            <a:ln w="9525" cap="flat" cmpd="sng" algn="ctr">
              <a:noFill/>
              <a:prstDash val="solid"/>
              <a:miter lim="800000"/>
            </a:ln>
            <a:effectLst/>
          </p:spPr>
          <p:txBody>
            <a:bodyPr wrap="none" lIns="0" tIns="0" rIns="1224000" bIns="0" rtlCol="0" anchor="ctr">
              <a:noAutofit/>
            </a:bodyPr>
            <a:lstStyle/>
            <a:p>
              <a:pPr defTabSz="1036930"/>
              <a:endParaRPr lang="ru-RU" sz="4000" b="1" kern="0" dirty="0">
                <a:solidFill>
                  <a:srgbClr val="7700FF"/>
                </a:solidFill>
                <a:latin typeface="Rostelecom Basis Medium"/>
              </a:endParaRPr>
            </a:p>
          </p:txBody>
        </p:sp>
        <p:sp>
          <p:nvSpPr>
            <p:cNvPr id="64" name="Rectangle 461">
              <a:extLst>
                <a:ext uri="{FF2B5EF4-FFF2-40B4-BE49-F238E27FC236}">
                  <a16:creationId xmlns:a16="http://schemas.microsoft.com/office/drawing/2014/main" id="{C8BE7A4F-178B-462F-9398-6898F4D94993}"/>
                </a:ext>
              </a:extLst>
            </p:cNvPr>
            <p:cNvSpPr/>
            <p:nvPr/>
          </p:nvSpPr>
          <p:spPr>
            <a:xfrm flipH="1">
              <a:off x="7243620" y="2344681"/>
              <a:ext cx="3295623" cy="457048"/>
            </a:xfrm>
            <a:prstGeom prst="rect">
              <a:avLst/>
            </a:prstGeom>
            <a:noFill/>
            <a:ln w="9525" cap="flat" cmpd="sng" algn="ctr">
              <a:noFill/>
              <a:prstDash val="solid"/>
              <a:miter lim="800000"/>
            </a:ln>
            <a:effectLst/>
            <a:extLst/>
          </p:spPr>
          <p:txBody>
            <a:bodyPr wrap="none" lIns="0" tIns="0" rIns="1224000" bIns="0" rtlCol="0" anchor="ctr">
              <a:noAutofit/>
            </a:bodyPr>
            <a:lstStyle/>
            <a:p>
              <a:pPr defTabSz="1036930"/>
              <a:r>
                <a:rPr lang="ru-RU" b="1" kern="0" dirty="0">
                  <a:solidFill>
                    <a:srgbClr val="272F3D"/>
                  </a:solidFill>
                  <a:latin typeface="Rostelecom Basis"/>
                </a:rPr>
                <a:t>Квантовые </a:t>
              </a:r>
            </a:p>
            <a:p>
              <a:pPr defTabSz="1036930"/>
              <a:r>
                <a:rPr lang="ru-RU" b="1" kern="0" dirty="0">
                  <a:solidFill>
                    <a:srgbClr val="272F3D"/>
                  </a:solidFill>
                  <a:latin typeface="Rostelecom Basis"/>
                </a:rPr>
                <a:t>технологии </a:t>
              </a:r>
            </a:p>
          </p:txBody>
        </p:sp>
      </p:grpSp>
      <p:grpSp>
        <p:nvGrpSpPr>
          <p:cNvPr id="65" name="Group 10">
            <a:extLst>
              <a:ext uri="{FF2B5EF4-FFF2-40B4-BE49-F238E27FC236}">
                <a16:creationId xmlns:a16="http://schemas.microsoft.com/office/drawing/2014/main" id="{3AE237FB-0349-4DD6-9886-460F132795EA}"/>
              </a:ext>
            </a:extLst>
          </p:cNvPr>
          <p:cNvGrpSpPr/>
          <p:nvPr/>
        </p:nvGrpSpPr>
        <p:grpSpPr>
          <a:xfrm>
            <a:off x="9568538" y="2778417"/>
            <a:ext cx="4005074" cy="1421850"/>
            <a:chOff x="6922880" y="1415321"/>
            <a:chExt cx="4005074" cy="1421850"/>
          </a:xfrm>
        </p:grpSpPr>
        <p:sp>
          <p:nvSpPr>
            <p:cNvPr id="66" name="Oval 126">
              <a:extLst>
                <a:ext uri="{FF2B5EF4-FFF2-40B4-BE49-F238E27FC236}">
                  <a16:creationId xmlns:a16="http://schemas.microsoft.com/office/drawing/2014/main" id="{F2143B84-8252-44A8-8FEE-E54BC34D1EB9}"/>
                </a:ext>
              </a:extLst>
            </p:cNvPr>
            <p:cNvSpPr>
              <a:spLocks/>
            </p:cNvSpPr>
            <p:nvPr/>
          </p:nvSpPr>
          <p:spPr>
            <a:xfrm>
              <a:off x="6922880" y="1415321"/>
              <a:ext cx="872233" cy="872228"/>
            </a:xfrm>
            <a:prstGeom prst="ellipse">
              <a:avLst/>
            </a:prstGeom>
            <a:gradFill flip="none" rotWithShape="1">
              <a:gsLst>
                <a:gs pos="95620">
                  <a:srgbClr val="49009A"/>
                </a:gs>
                <a:gs pos="54000">
                  <a:srgbClr val="7700FF"/>
                </a:gs>
                <a:gs pos="0">
                  <a:srgbClr val="7700FF"/>
                </a:gs>
              </a:gsLst>
              <a:lin ang="5400000" scaled="1"/>
              <a:tileRect/>
            </a:gradFill>
            <a:ln w="9525" cap="flat" cmpd="sng" algn="ctr">
              <a:noFill/>
              <a:prstDash val="solid"/>
              <a:miter lim="800000"/>
            </a:ln>
            <a:effectLst/>
          </p:spPr>
          <p:txBody>
            <a:bodyPr wrap="none" lIns="0" tIns="0" rIns="1224000" bIns="0" rtlCol="0" anchor="ctr">
              <a:noAutofit/>
            </a:bodyPr>
            <a:lstStyle/>
            <a:p>
              <a:pPr defTabSz="1036930"/>
              <a:endParaRPr lang="ru-RU" sz="4000" b="1" kern="0" dirty="0">
                <a:solidFill>
                  <a:srgbClr val="7700FF"/>
                </a:solidFill>
                <a:latin typeface="Rostelecom Basis Medium"/>
              </a:endParaRPr>
            </a:p>
          </p:txBody>
        </p:sp>
        <p:sp>
          <p:nvSpPr>
            <p:cNvPr id="67" name="Rectangle 461">
              <a:extLst>
                <a:ext uri="{FF2B5EF4-FFF2-40B4-BE49-F238E27FC236}">
                  <a16:creationId xmlns:a16="http://schemas.microsoft.com/office/drawing/2014/main" id="{C8BE7A4F-178B-462F-9398-6898F4D94993}"/>
                </a:ext>
              </a:extLst>
            </p:cNvPr>
            <p:cNvSpPr/>
            <p:nvPr/>
          </p:nvSpPr>
          <p:spPr>
            <a:xfrm flipH="1">
              <a:off x="7632331" y="2380123"/>
              <a:ext cx="3295623" cy="457048"/>
            </a:xfrm>
            <a:prstGeom prst="rect">
              <a:avLst/>
            </a:prstGeom>
            <a:noFill/>
            <a:ln w="9525" cap="flat" cmpd="sng" algn="ctr">
              <a:noFill/>
              <a:prstDash val="solid"/>
              <a:miter lim="800000"/>
            </a:ln>
            <a:effectLst/>
            <a:extLst/>
          </p:spPr>
          <p:txBody>
            <a:bodyPr wrap="none" lIns="0" tIns="0" rIns="1224000" bIns="0" rtlCol="0" anchor="ctr">
              <a:noAutofit/>
            </a:bodyPr>
            <a:lstStyle/>
            <a:p>
              <a:pPr defTabSz="1036930"/>
              <a:r>
                <a:rPr lang="ru-RU" b="1" kern="0" dirty="0">
                  <a:solidFill>
                    <a:srgbClr val="272F3D"/>
                  </a:solidFill>
                  <a:latin typeface="Rostelecom Basis"/>
                </a:rPr>
                <a:t>Удаленный</a:t>
              </a:r>
            </a:p>
            <a:p>
              <a:pPr defTabSz="1036930"/>
              <a:r>
                <a:rPr lang="ru-RU" b="1" kern="0" dirty="0">
                  <a:solidFill>
                    <a:srgbClr val="272F3D"/>
                  </a:solidFill>
                  <a:latin typeface="Rostelecom Basis"/>
                </a:rPr>
                <a:t>доступ </a:t>
              </a:r>
            </a:p>
          </p:txBody>
        </p:sp>
      </p:grpSp>
      <p:sp>
        <p:nvSpPr>
          <p:cNvPr id="69" name="Oval 126">
            <a:extLst>
              <a:ext uri="{FF2B5EF4-FFF2-40B4-BE49-F238E27FC236}">
                <a16:creationId xmlns:a16="http://schemas.microsoft.com/office/drawing/2014/main" id="{F2143B84-8252-44A8-8FEE-E54BC34D1EB9}"/>
              </a:ext>
            </a:extLst>
          </p:cNvPr>
          <p:cNvSpPr>
            <a:spLocks/>
          </p:cNvSpPr>
          <p:nvPr/>
        </p:nvSpPr>
        <p:spPr>
          <a:xfrm>
            <a:off x="1636431" y="3542196"/>
            <a:ext cx="872233" cy="872228"/>
          </a:xfrm>
          <a:prstGeom prst="ellipse">
            <a:avLst/>
          </a:prstGeom>
          <a:gradFill flip="none" rotWithShape="1">
            <a:gsLst>
              <a:gs pos="95620">
                <a:srgbClr val="49009A"/>
              </a:gs>
              <a:gs pos="54000">
                <a:srgbClr val="7700FF"/>
              </a:gs>
              <a:gs pos="0">
                <a:srgbClr val="7700FF"/>
              </a:gs>
            </a:gsLst>
            <a:lin ang="5400000" scaled="1"/>
            <a:tileRect/>
          </a:gradFill>
          <a:ln w="9525" cap="flat" cmpd="sng" algn="ctr">
            <a:noFill/>
            <a:prstDash val="solid"/>
            <a:miter lim="800000"/>
          </a:ln>
          <a:effectLst/>
        </p:spPr>
        <p:txBody>
          <a:bodyPr wrap="none" lIns="0" tIns="0" rIns="1224000" bIns="0" rtlCol="0" anchor="ctr">
            <a:noAutofit/>
          </a:bodyPr>
          <a:lstStyle/>
          <a:p>
            <a:pPr defTabSz="1036930"/>
            <a:endParaRPr lang="ru-RU" sz="4000" b="1" kern="0" dirty="0">
              <a:solidFill>
                <a:srgbClr val="7700FF"/>
              </a:solidFill>
              <a:latin typeface="Rostelecom Basis Medium"/>
            </a:endParaRPr>
          </a:p>
        </p:txBody>
      </p:sp>
      <p:grpSp>
        <p:nvGrpSpPr>
          <p:cNvPr id="71" name="Group 10">
            <a:extLst>
              <a:ext uri="{FF2B5EF4-FFF2-40B4-BE49-F238E27FC236}">
                <a16:creationId xmlns:a16="http://schemas.microsoft.com/office/drawing/2014/main" id="{3AE237FB-0349-4DD6-9886-460F132795EA}"/>
              </a:ext>
            </a:extLst>
          </p:cNvPr>
          <p:cNvGrpSpPr/>
          <p:nvPr/>
        </p:nvGrpSpPr>
        <p:grpSpPr>
          <a:xfrm>
            <a:off x="8103575" y="814774"/>
            <a:ext cx="4118502" cy="1280767"/>
            <a:chOff x="6922880" y="1415321"/>
            <a:chExt cx="4118502" cy="1280767"/>
          </a:xfrm>
        </p:grpSpPr>
        <p:sp>
          <p:nvSpPr>
            <p:cNvPr id="72" name="Oval 126">
              <a:extLst>
                <a:ext uri="{FF2B5EF4-FFF2-40B4-BE49-F238E27FC236}">
                  <a16:creationId xmlns:a16="http://schemas.microsoft.com/office/drawing/2014/main" id="{F2143B84-8252-44A8-8FEE-E54BC34D1EB9}"/>
                </a:ext>
              </a:extLst>
            </p:cNvPr>
            <p:cNvSpPr>
              <a:spLocks/>
            </p:cNvSpPr>
            <p:nvPr/>
          </p:nvSpPr>
          <p:spPr>
            <a:xfrm>
              <a:off x="6922880" y="1415321"/>
              <a:ext cx="872233" cy="872228"/>
            </a:xfrm>
            <a:prstGeom prst="ellipse">
              <a:avLst/>
            </a:prstGeom>
            <a:gradFill flip="none" rotWithShape="1">
              <a:gsLst>
                <a:gs pos="95620">
                  <a:srgbClr val="49009A"/>
                </a:gs>
                <a:gs pos="54000">
                  <a:srgbClr val="7700FF"/>
                </a:gs>
                <a:gs pos="0">
                  <a:srgbClr val="7700FF"/>
                </a:gs>
              </a:gsLst>
              <a:lin ang="5400000" scaled="1"/>
              <a:tileRect/>
            </a:gradFill>
            <a:ln w="9525" cap="flat" cmpd="sng" algn="ctr">
              <a:noFill/>
              <a:prstDash val="solid"/>
              <a:miter lim="800000"/>
            </a:ln>
            <a:effectLst/>
          </p:spPr>
          <p:txBody>
            <a:bodyPr wrap="none" lIns="0" tIns="0" rIns="1224000" bIns="0" rtlCol="0" anchor="ctr">
              <a:noAutofit/>
            </a:bodyPr>
            <a:lstStyle/>
            <a:p>
              <a:pPr defTabSz="1036930"/>
              <a:endParaRPr lang="ru-RU" sz="4000" b="1" kern="0" dirty="0">
                <a:solidFill>
                  <a:srgbClr val="7700FF"/>
                </a:solidFill>
                <a:latin typeface="Rostelecom Basis Medium"/>
              </a:endParaRPr>
            </a:p>
          </p:txBody>
        </p:sp>
        <p:sp>
          <p:nvSpPr>
            <p:cNvPr id="73" name="Rectangle 461">
              <a:extLst>
                <a:ext uri="{FF2B5EF4-FFF2-40B4-BE49-F238E27FC236}">
                  <a16:creationId xmlns:a16="http://schemas.microsoft.com/office/drawing/2014/main" id="{C8BE7A4F-178B-462F-9398-6898F4D94993}"/>
                </a:ext>
              </a:extLst>
            </p:cNvPr>
            <p:cNvSpPr/>
            <p:nvPr/>
          </p:nvSpPr>
          <p:spPr>
            <a:xfrm flipH="1">
              <a:off x="7745759" y="2239040"/>
              <a:ext cx="3295623" cy="457048"/>
            </a:xfrm>
            <a:prstGeom prst="rect">
              <a:avLst/>
            </a:prstGeom>
            <a:noFill/>
            <a:ln w="9525" cap="flat" cmpd="sng" algn="ctr">
              <a:noFill/>
              <a:prstDash val="solid"/>
              <a:miter lim="800000"/>
            </a:ln>
            <a:effectLst/>
            <a:extLst/>
          </p:spPr>
          <p:txBody>
            <a:bodyPr wrap="none" lIns="0" tIns="0" rIns="1224000" bIns="0" rtlCol="0" anchor="ctr">
              <a:noAutofit/>
            </a:bodyPr>
            <a:lstStyle/>
            <a:p>
              <a:pPr defTabSz="1036930"/>
              <a:r>
                <a:rPr lang="ru-RU" b="1" kern="0" dirty="0">
                  <a:solidFill>
                    <a:srgbClr val="272F3D"/>
                  </a:solidFill>
                  <a:latin typeface="Rostelecom Basis"/>
                </a:rPr>
                <a:t>Информационная </a:t>
              </a:r>
            </a:p>
            <a:p>
              <a:pPr defTabSz="1036930"/>
              <a:r>
                <a:rPr lang="ru-RU" b="1" kern="0" dirty="0">
                  <a:solidFill>
                    <a:srgbClr val="272F3D"/>
                  </a:solidFill>
                  <a:latin typeface="Rostelecom Basis"/>
                </a:rPr>
                <a:t>безопасность</a:t>
              </a:r>
            </a:p>
          </p:txBody>
        </p:sp>
      </p:grpSp>
      <p:grpSp>
        <p:nvGrpSpPr>
          <p:cNvPr id="74" name="Group 10">
            <a:extLst>
              <a:ext uri="{FF2B5EF4-FFF2-40B4-BE49-F238E27FC236}">
                <a16:creationId xmlns:a16="http://schemas.microsoft.com/office/drawing/2014/main" id="{3AE237FB-0349-4DD6-9886-460F132795EA}"/>
              </a:ext>
            </a:extLst>
          </p:cNvPr>
          <p:cNvGrpSpPr/>
          <p:nvPr/>
        </p:nvGrpSpPr>
        <p:grpSpPr>
          <a:xfrm>
            <a:off x="8800556" y="5137395"/>
            <a:ext cx="4165465" cy="1355902"/>
            <a:chOff x="6922880" y="1415321"/>
            <a:chExt cx="4165465" cy="1355902"/>
          </a:xfrm>
        </p:grpSpPr>
        <p:sp>
          <p:nvSpPr>
            <p:cNvPr id="75" name="Oval 126">
              <a:extLst>
                <a:ext uri="{FF2B5EF4-FFF2-40B4-BE49-F238E27FC236}">
                  <a16:creationId xmlns:a16="http://schemas.microsoft.com/office/drawing/2014/main" id="{F2143B84-8252-44A8-8FEE-E54BC34D1EB9}"/>
                </a:ext>
              </a:extLst>
            </p:cNvPr>
            <p:cNvSpPr>
              <a:spLocks/>
            </p:cNvSpPr>
            <p:nvPr/>
          </p:nvSpPr>
          <p:spPr>
            <a:xfrm>
              <a:off x="6922880" y="1415321"/>
              <a:ext cx="872233" cy="872228"/>
            </a:xfrm>
            <a:prstGeom prst="ellipse">
              <a:avLst/>
            </a:prstGeom>
            <a:gradFill flip="none" rotWithShape="1">
              <a:gsLst>
                <a:gs pos="95620">
                  <a:srgbClr val="49009A"/>
                </a:gs>
                <a:gs pos="54000">
                  <a:srgbClr val="7700FF"/>
                </a:gs>
                <a:gs pos="0">
                  <a:srgbClr val="7700FF"/>
                </a:gs>
              </a:gsLst>
              <a:lin ang="5400000" scaled="1"/>
              <a:tileRect/>
            </a:gradFill>
            <a:ln w="9525" cap="flat" cmpd="sng" algn="ctr">
              <a:noFill/>
              <a:prstDash val="solid"/>
              <a:miter lim="800000"/>
            </a:ln>
            <a:effectLst/>
          </p:spPr>
          <p:txBody>
            <a:bodyPr wrap="none" lIns="0" tIns="0" rIns="1224000" bIns="0" rtlCol="0" anchor="ctr">
              <a:noAutofit/>
            </a:bodyPr>
            <a:lstStyle/>
            <a:p>
              <a:pPr defTabSz="1036930"/>
              <a:endParaRPr lang="ru-RU" sz="4000" b="1" kern="0" dirty="0">
                <a:solidFill>
                  <a:srgbClr val="7700FF"/>
                </a:solidFill>
                <a:latin typeface="Rostelecom Basis Medium"/>
              </a:endParaRPr>
            </a:p>
          </p:txBody>
        </p:sp>
        <p:sp>
          <p:nvSpPr>
            <p:cNvPr id="76" name="Rectangle 461">
              <a:extLst>
                <a:ext uri="{FF2B5EF4-FFF2-40B4-BE49-F238E27FC236}">
                  <a16:creationId xmlns:a16="http://schemas.microsoft.com/office/drawing/2014/main" id="{C8BE7A4F-178B-462F-9398-6898F4D94993}"/>
                </a:ext>
              </a:extLst>
            </p:cNvPr>
            <p:cNvSpPr/>
            <p:nvPr/>
          </p:nvSpPr>
          <p:spPr>
            <a:xfrm flipH="1">
              <a:off x="7792722" y="2314175"/>
              <a:ext cx="3295623" cy="457048"/>
            </a:xfrm>
            <a:prstGeom prst="rect">
              <a:avLst/>
            </a:prstGeom>
            <a:noFill/>
            <a:ln w="9525" cap="flat" cmpd="sng" algn="ctr">
              <a:noFill/>
              <a:prstDash val="solid"/>
              <a:miter lim="800000"/>
            </a:ln>
            <a:effectLst/>
            <a:extLst/>
          </p:spPr>
          <p:txBody>
            <a:bodyPr wrap="none" lIns="0" tIns="0" rIns="1224000" bIns="0" rtlCol="0" anchor="ctr">
              <a:noAutofit/>
            </a:bodyPr>
            <a:lstStyle/>
            <a:p>
              <a:pPr defTabSz="1036930"/>
              <a:r>
                <a:rPr lang="ru-RU" b="1" kern="0" dirty="0">
                  <a:solidFill>
                    <a:srgbClr val="272F3D"/>
                  </a:solidFill>
                  <a:latin typeface="Rostelecom Basis"/>
                </a:rPr>
                <a:t>Цифровая</a:t>
              </a:r>
            </a:p>
            <a:p>
              <a:pPr defTabSz="1036930"/>
              <a:r>
                <a:rPr lang="ru-RU" b="1" kern="0" dirty="0">
                  <a:solidFill>
                    <a:srgbClr val="272F3D"/>
                  </a:solidFill>
                  <a:latin typeface="Rostelecom Basis"/>
                </a:rPr>
                <a:t>экономика</a:t>
              </a:r>
            </a:p>
          </p:txBody>
        </p:sp>
      </p:grpSp>
      <p:grpSp>
        <p:nvGrpSpPr>
          <p:cNvPr id="77" name="Group 10">
            <a:extLst>
              <a:ext uri="{FF2B5EF4-FFF2-40B4-BE49-F238E27FC236}">
                <a16:creationId xmlns:a16="http://schemas.microsoft.com/office/drawing/2014/main" id="{3AE237FB-0349-4DD6-9886-460F132795EA}"/>
              </a:ext>
            </a:extLst>
          </p:cNvPr>
          <p:cNvGrpSpPr/>
          <p:nvPr/>
        </p:nvGrpSpPr>
        <p:grpSpPr>
          <a:xfrm>
            <a:off x="2974965" y="5479427"/>
            <a:ext cx="4095147" cy="1100225"/>
            <a:chOff x="6922880" y="1415321"/>
            <a:chExt cx="4095147" cy="1100225"/>
          </a:xfrm>
        </p:grpSpPr>
        <p:sp>
          <p:nvSpPr>
            <p:cNvPr id="78" name="Oval 126">
              <a:extLst>
                <a:ext uri="{FF2B5EF4-FFF2-40B4-BE49-F238E27FC236}">
                  <a16:creationId xmlns:a16="http://schemas.microsoft.com/office/drawing/2014/main" id="{F2143B84-8252-44A8-8FEE-E54BC34D1EB9}"/>
                </a:ext>
              </a:extLst>
            </p:cNvPr>
            <p:cNvSpPr>
              <a:spLocks/>
            </p:cNvSpPr>
            <p:nvPr/>
          </p:nvSpPr>
          <p:spPr>
            <a:xfrm>
              <a:off x="6922880" y="1415321"/>
              <a:ext cx="872233" cy="872228"/>
            </a:xfrm>
            <a:prstGeom prst="ellipse">
              <a:avLst/>
            </a:prstGeom>
            <a:gradFill flip="none" rotWithShape="1">
              <a:gsLst>
                <a:gs pos="95620">
                  <a:srgbClr val="49009A"/>
                </a:gs>
                <a:gs pos="54000">
                  <a:srgbClr val="7700FF"/>
                </a:gs>
                <a:gs pos="0">
                  <a:srgbClr val="7700FF"/>
                </a:gs>
              </a:gsLst>
              <a:lin ang="5400000" scaled="1"/>
              <a:tileRect/>
            </a:gradFill>
            <a:ln w="9525" cap="flat" cmpd="sng" algn="ctr">
              <a:noFill/>
              <a:prstDash val="solid"/>
              <a:miter lim="800000"/>
            </a:ln>
            <a:effectLst/>
          </p:spPr>
          <p:txBody>
            <a:bodyPr wrap="none" lIns="0" tIns="0" rIns="1224000" bIns="0" rtlCol="0" anchor="ctr">
              <a:noAutofit/>
            </a:bodyPr>
            <a:lstStyle/>
            <a:p>
              <a:pPr marL="0" marR="0" lvl="0" indent="0" defTabSz="1036930" eaLnBrk="1" fontAlgn="auto" latinLnBrk="0" hangingPunct="1">
                <a:lnSpc>
                  <a:spcPct val="100000"/>
                </a:lnSpc>
                <a:spcBef>
                  <a:spcPts val="0"/>
                </a:spcBef>
                <a:spcAft>
                  <a:spcPts val="0"/>
                </a:spcAft>
                <a:buClrTx/>
                <a:buSzTx/>
                <a:buFontTx/>
                <a:buNone/>
                <a:tabLst/>
                <a:defRPr/>
              </a:pPr>
              <a:endParaRPr kumimoji="0" lang="ru-RU" sz="4000" b="1" i="0" u="none" strike="noStrike" kern="0" cap="none" spc="0" normalizeH="0" baseline="0" noProof="0" dirty="0">
                <a:ln>
                  <a:noFill/>
                </a:ln>
                <a:solidFill>
                  <a:srgbClr val="7700FF"/>
                </a:solidFill>
                <a:effectLst/>
                <a:uLnTx/>
                <a:uFillTx/>
                <a:latin typeface="Rostelecom Basis Medium"/>
                <a:ea typeface="+mn-ea"/>
                <a:cs typeface="+mn-cs"/>
              </a:endParaRPr>
            </a:p>
          </p:txBody>
        </p:sp>
        <p:sp>
          <p:nvSpPr>
            <p:cNvPr id="79" name="Rectangle 461">
              <a:extLst>
                <a:ext uri="{FF2B5EF4-FFF2-40B4-BE49-F238E27FC236}">
                  <a16:creationId xmlns:a16="http://schemas.microsoft.com/office/drawing/2014/main" id="{C8BE7A4F-178B-462F-9398-6898F4D94993}"/>
                </a:ext>
              </a:extLst>
            </p:cNvPr>
            <p:cNvSpPr/>
            <p:nvPr/>
          </p:nvSpPr>
          <p:spPr>
            <a:xfrm flipH="1">
              <a:off x="7722404" y="2280097"/>
              <a:ext cx="3295623" cy="235449"/>
            </a:xfrm>
            <a:prstGeom prst="rect">
              <a:avLst/>
            </a:prstGeom>
            <a:noFill/>
            <a:ln w="19050" cap="flat" cmpd="sng" algn="ctr">
              <a:noFill/>
              <a:prstDash val="solid"/>
              <a:miter lim="800000"/>
            </a:ln>
            <a:effectLst/>
            <a:extLst>
              <a:ext uri="{909E8E84-426E-40DD-AFC4-6F175D3DCCD1}">
                <a14:hiddenFill xmlns:a14="http://schemas.microsoft.com/office/drawing/2010/main">
                  <a:solidFill>
                    <a:srgbClr val="7700FF"/>
                  </a:solidFill>
                </a14:hiddenFill>
              </a:ext>
              <a:ext uri="{91240B29-F687-4F45-9708-019B960494DF}">
                <a14:hiddenLine xmlns:a14="http://schemas.microsoft.com/office/drawing/2010/main" w="19050" cap="flat" cmpd="sng" algn="ctr">
                  <a:solidFill>
                    <a:srgbClr val="FFFFFF"/>
                  </a:solidFill>
                  <a:prstDash val="solid"/>
                  <a:miter lim="800000"/>
                </a14:hiddenLine>
              </a:ext>
            </a:extLst>
          </p:spPr>
          <p:txBody>
            <a:bodyPr wrap="square" lIns="0" tIns="0" rIns="0" bIns="0" rtlCol="0" anchor="ctr">
              <a:spAutoFit/>
            </a:bodyPr>
            <a:lstStyle/>
            <a:p>
              <a:pPr lvl="0" defTabSz="1036930">
                <a:lnSpc>
                  <a:spcPct val="80000"/>
                </a:lnSpc>
                <a:defRPr/>
              </a:pPr>
              <a:r>
                <a:rPr lang="ru-RU" b="1" kern="0" dirty="0" err="1" smtClean="0">
                  <a:solidFill>
                    <a:srgbClr val="272F3D"/>
                  </a:solidFill>
                  <a:latin typeface="Rostelecom Basis"/>
                </a:rPr>
                <a:t>Блокчейн</a:t>
              </a:r>
              <a:endParaRPr lang="ru-RU" b="1" kern="0" dirty="0">
                <a:solidFill>
                  <a:srgbClr val="272F3D"/>
                </a:solidFill>
                <a:latin typeface="Rostelecom Basis"/>
              </a:endParaRPr>
            </a:p>
          </p:txBody>
        </p:sp>
      </p:grpSp>
      <p:cxnSp>
        <p:nvCxnSpPr>
          <p:cNvPr id="81" name="Прямая соединительная линия 80"/>
          <p:cNvCxnSpPr/>
          <p:nvPr/>
        </p:nvCxnSpPr>
        <p:spPr>
          <a:xfrm>
            <a:off x="438320" y="1009800"/>
            <a:ext cx="30026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pic>
        <p:nvPicPr>
          <p:cNvPr id="83" name="Рисунок 82"/>
          <p:cNvPicPr>
            <a:picLocks noChangeAspect="1"/>
          </p:cNvPicPr>
          <p:nvPr/>
        </p:nvPicPr>
        <p:blipFill>
          <a:blip r:embed="rId3" cstate="print">
            <a:extLst>
              <a:ext uri="{BEBA8EAE-BF5A-486C-A8C5-ECC9F3942E4B}">
                <a14:imgProps xmlns:a14="http://schemas.microsoft.com/office/drawing/2010/main">
                  <a14:imgLayer r:embed="rId4">
                    <a14:imgEffect>
                      <a14:artisticPhotocopy/>
                    </a14:imgEffect>
                    <a14:imgEffect>
                      <a14:sharpenSoften amount="5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739713" y="3650645"/>
            <a:ext cx="671551" cy="671551"/>
          </a:xfrm>
          <a:prstGeom prst="rect">
            <a:avLst/>
          </a:prstGeom>
        </p:spPr>
      </p:pic>
      <p:pic>
        <p:nvPicPr>
          <p:cNvPr id="82" name="Рисунок 81"/>
          <p:cNvPicPr>
            <a:picLocks noChangeAspect="1"/>
          </p:cNvPicPr>
          <p:nvPr/>
        </p:nvPicPr>
        <p:blipFill>
          <a:blip r:embed="rId5" cstate="print">
            <a:extLst>
              <a:ext uri="{BEBA8EAE-BF5A-486C-A8C5-ECC9F3942E4B}">
                <a14:imgProps xmlns:a14="http://schemas.microsoft.com/office/drawing/2010/main">
                  <a14:imgLayer r:embed="rId6">
                    <a14:imgEffect>
                      <a14:artisticPhotocopy/>
                    </a14:imgEffect>
                    <a14:imgEffect>
                      <a14:sharpenSoften amount="5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981408" y="1581717"/>
            <a:ext cx="722745" cy="722745"/>
          </a:xfrm>
          <a:prstGeom prst="rect">
            <a:avLst/>
          </a:prstGeom>
        </p:spPr>
      </p:pic>
      <p:pic>
        <p:nvPicPr>
          <p:cNvPr id="85" name="Рисунок 84"/>
          <p:cNvPicPr>
            <a:picLocks noChangeAspect="1"/>
          </p:cNvPicPr>
          <p:nvPr/>
        </p:nvPicPr>
        <p:blipFill>
          <a:blip r:embed="rId7" cstate="print">
            <a:lum bright="70000" contrast="-70000"/>
            <a:extLst>
              <a:ext uri="{BEBA8EAE-BF5A-486C-A8C5-ECC9F3942E4B}">
                <a14:imgProps xmlns:a14="http://schemas.microsoft.com/office/drawing/2010/main">
                  <a14:imgLayer r:embed="rId8">
                    <a14:imgEffect>
                      <a14:artisticPhotocopy/>
                    </a14:imgEffect>
                  </a14:imgLayer>
                </a14:imgProps>
              </a:ext>
              <a:ext uri="{28A0092B-C50C-407E-A947-70E740481C1C}">
                <a14:useLocalDpi xmlns:a14="http://schemas.microsoft.com/office/drawing/2010/main" val="0"/>
              </a:ext>
            </a:extLst>
          </a:blip>
          <a:stretch>
            <a:fillRect/>
          </a:stretch>
        </p:blipFill>
        <p:spPr>
          <a:xfrm>
            <a:off x="3119460" y="5594070"/>
            <a:ext cx="670703" cy="670703"/>
          </a:xfrm>
          <a:prstGeom prst="rect">
            <a:avLst/>
          </a:prstGeom>
        </p:spPr>
      </p:pic>
      <p:sp>
        <p:nvSpPr>
          <p:cNvPr id="86" name="Rectangle 461">
            <a:extLst>
              <a:ext uri="{FF2B5EF4-FFF2-40B4-BE49-F238E27FC236}">
                <a16:creationId xmlns:a16="http://schemas.microsoft.com/office/drawing/2014/main" id="{C8BE7A4F-178B-462F-9398-6898F4D94993}"/>
              </a:ext>
            </a:extLst>
          </p:cNvPr>
          <p:cNvSpPr/>
          <p:nvPr/>
        </p:nvSpPr>
        <p:spPr>
          <a:xfrm flipH="1">
            <a:off x="2353172" y="4436909"/>
            <a:ext cx="3295623" cy="287771"/>
          </a:xfrm>
          <a:prstGeom prst="rect">
            <a:avLst/>
          </a:prstGeom>
          <a:noFill/>
          <a:ln w="19050" cap="flat" cmpd="sng" algn="ctr">
            <a:noFill/>
            <a:prstDash val="solid"/>
            <a:miter lim="800000"/>
          </a:ln>
          <a:effectLst/>
          <a:extLst>
            <a:ext uri="{909E8E84-426E-40DD-AFC4-6F175D3DCCD1}">
              <a14:hiddenFill xmlns:a14="http://schemas.microsoft.com/office/drawing/2010/main">
                <a:solidFill>
                  <a:srgbClr val="7700FF"/>
                </a:solidFill>
              </a14:hiddenFill>
            </a:ext>
            <a:ext uri="{91240B29-F687-4F45-9708-019B960494DF}">
              <a14:hiddenLine xmlns:a14="http://schemas.microsoft.com/office/drawing/2010/main" w="19050" cap="flat" cmpd="sng" algn="ctr">
                <a:solidFill>
                  <a:srgbClr val="FFFFFF"/>
                </a:solidFill>
                <a:prstDash val="solid"/>
                <a:miter lim="800000"/>
              </a14:hiddenLine>
            </a:ext>
          </a:extLst>
        </p:spPr>
        <p:txBody>
          <a:bodyPr wrap="square" lIns="0" tIns="0" rIns="0" bIns="0" rtlCol="0" anchor="ctr">
            <a:spAutoFit/>
          </a:bodyPr>
          <a:lstStyle/>
          <a:p>
            <a:pPr marL="0" marR="0" lvl="0" indent="0" defTabSz="1036930" eaLnBrk="1" fontAlgn="auto" latinLnBrk="0" hangingPunct="1">
              <a:lnSpc>
                <a:spcPct val="80000"/>
              </a:lnSpc>
              <a:spcBef>
                <a:spcPts val="0"/>
              </a:spcBef>
              <a:spcAft>
                <a:spcPts val="0"/>
              </a:spcAft>
              <a:buClrTx/>
              <a:buSzTx/>
              <a:buFontTx/>
              <a:buNone/>
              <a:tabLst/>
              <a:defRPr/>
            </a:pPr>
            <a:r>
              <a:rPr kumimoji="0" lang="ru-RU" sz="2200" b="1" i="0" u="none" strike="noStrike" kern="0" cap="none" spc="0" normalizeH="0" baseline="0" noProof="0" dirty="0" smtClean="0">
                <a:ln>
                  <a:noFill/>
                </a:ln>
                <a:solidFill>
                  <a:srgbClr val="272F3D"/>
                </a:solidFill>
                <a:effectLst/>
                <a:uLnTx/>
                <a:uFillTx/>
                <a:latin typeface="Rostelecom Basis"/>
                <a:ea typeface="+mn-ea"/>
                <a:cs typeface="+mn-cs"/>
              </a:rPr>
              <a:t>5</a:t>
            </a:r>
            <a:r>
              <a:rPr kumimoji="0" lang="en-US" sz="2200" b="1" i="0" u="none" strike="noStrike" kern="0" cap="none" spc="0" normalizeH="0" baseline="0" noProof="0" dirty="0" smtClean="0">
                <a:ln>
                  <a:noFill/>
                </a:ln>
                <a:solidFill>
                  <a:srgbClr val="272F3D"/>
                </a:solidFill>
                <a:effectLst/>
                <a:uLnTx/>
                <a:uFillTx/>
                <a:latin typeface="Rostelecom Basis"/>
                <a:ea typeface="+mn-ea"/>
                <a:cs typeface="+mn-cs"/>
              </a:rPr>
              <a:t>G</a:t>
            </a:r>
            <a:endParaRPr kumimoji="0" lang="ru-RU" sz="2200" b="1" i="0" u="none" strike="noStrike" kern="0" cap="none" spc="0" normalizeH="0" baseline="0" noProof="0" dirty="0">
              <a:ln>
                <a:noFill/>
              </a:ln>
              <a:solidFill>
                <a:srgbClr val="272F3D"/>
              </a:solidFill>
              <a:effectLst/>
              <a:uLnTx/>
              <a:uFillTx/>
              <a:latin typeface="Rostelecom Basis"/>
              <a:ea typeface="+mn-ea"/>
              <a:cs typeface="+mn-cs"/>
            </a:endParaRPr>
          </a:p>
        </p:txBody>
      </p:sp>
      <p:pic>
        <p:nvPicPr>
          <p:cNvPr id="87" name="Рисунок 86"/>
          <p:cNvPicPr>
            <a:picLocks noChangeAspect="1"/>
          </p:cNvPicPr>
          <p:nvPr/>
        </p:nvPicPr>
        <p:blipFill>
          <a:blip r:embed="rId9" cstate="print">
            <a:extLst>
              <a:ext uri="{BEBA8EAE-BF5A-486C-A8C5-ECC9F3942E4B}">
                <a14:imgProps xmlns:a14="http://schemas.microsoft.com/office/drawing/2010/main">
                  <a14:imgLayer r:embed="rId10">
                    <a14:imgEffect>
                      <a14:artisticPhotocopy/>
                    </a14:imgEffect>
                    <a14:imgEffect>
                      <a14:sharpenSoften amount="25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216562" y="945135"/>
            <a:ext cx="636582" cy="636582"/>
          </a:xfrm>
          <a:prstGeom prst="rect">
            <a:avLst/>
          </a:prstGeom>
        </p:spPr>
      </p:pic>
      <p:pic>
        <p:nvPicPr>
          <p:cNvPr id="88" name="Рисунок 87"/>
          <p:cNvPicPr>
            <a:picLocks noChangeAspect="1"/>
          </p:cNvPicPr>
          <p:nvPr/>
        </p:nvPicPr>
        <p:blipFill>
          <a:blip r:embed="rId11" cstate="print">
            <a:extLst>
              <a:ext uri="{BEBA8EAE-BF5A-486C-A8C5-ECC9F3942E4B}">
                <a14:imgProps xmlns:a14="http://schemas.microsoft.com/office/drawing/2010/main">
                  <a14:imgLayer r:embed="rId12">
                    <a14:imgEffect>
                      <a14:artisticPhotocopy/>
                    </a14:imgEffect>
                    <a14:imgEffect>
                      <a14:sharpenSoften amount="25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9670691" y="2870847"/>
            <a:ext cx="679305" cy="679305"/>
          </a:xfrm>
          <a:prstGeom prst="rect">
            <a:avLst/>
          </a:prstGeom>
        </p:spPr>
      </p:pic>
      <p:pic>
        <p:nvPicPr>
          <p:cNvPr id="89" name="Рисунок 88"/>
          <p:cNvPicPr>
            <a:picLocks noChangeAspect="1"/>
          </p:cNvPicPr>
          <p:nvPr/>
        </p:nvPicPr>
        <p:blipFill>
          <a:blip r:embed="rId13" cstate="print">
            <a:extLst>
              <a:ext uri="{BEBA8EAE-BF5A-486C-A8C5-ECC9F3942E4B}">
                <a14:imgProps xmlns:a14="http://schemas.microsoft.com/office/drawing/2010/main">
                  <a14:imgLayer r:embed="rId14">
                    <a14:imgEffect>
                      <a14:artisticPhotocopy/>
                    </a14:imgEffect>
                    <a14:imgEffect>
                      <a14:sharpenSoften amount="25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8942028" y="5240916"/>
            <a:ext cx="610036" cy="610036"/>
          </a:xfrm>
          <a:prstGeom prst="rect">
            <a:avLst/>
          </a:prstGeom>
        </p:spPr>
      </p:pic>
    </p:spTree>
    <p:extLst>
      <p:ext uri="{BB962C8B-B14F-4D97-AF65-F5344CB8AC3E}">
        <p14:creationId xmlns:p14="http://schemas.microsoft.com/office/powerpoint/2010/main" val="41283235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Рисунок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8586933" y="505137"/>
            <a:ext cx="3725265" cy="3725265"/>
          </a:xfrm>
          <a:prstGeom prst="rect">
            <a:avLst/>
          </a:prstGeom>
        </p:spPr>
      </p:pic>
      <p:sp>
        <p:nvSpPr>
          <p:cNvPr id="41" name="Rounded Rectangle"/>
          <p:cNvSpPr/>
          <p:nvPr/>
        </p:nvSpPr>
        <p:spPr>
          <a:xfrm>
            <a:off x="414411" y="3869583"/>
            <a:ext cx="2667152" cy="2079417"/>
          </a:xfrm>
          <a:prstGeom prst="roundRect">
            <a:avLst>
              <a:gd name="adj" fmla="val 8959"/>
            </a:avLst>
          </a:prstGeom>
          <a:solidFill>
            <a:schemeClr val="bg1">
              <a:lumMod val="50000"/>
              <a:alpha val="30000"/>
            </a:schemeClr>
          </a:solidFill>
          <a:ln w="12700" cap="flat">
            <a:noFill/>
            <a:miter lim="400000"/>
          </a:ln>
          <a:effectLst/>
        </p:spPr>
        <p:txBody>
          <a:bodyPr wrap="square" lIns="0" tIns="0" rIns="0" bIns="0" numCol="1" anchor="ctr">
            <a:noAutofit/>
          </a:bodyPr>
          <a:lstStyle/>
          <a:p>
            <a:pPr algn="ctr" defTabSz="412750" hangingPunct="0">
              <a:defRPr sz="3200" b="0">
                <a:solidFill>
                  <a:srgbClr val="479FF8"/>
                </a:solidFill>
                <a:latin typeface="+mn-lt"/>
                <a:ea typeface="+mn-ea"/>
                <a:cs typeface="+mn-cs"/>
                <a:sym typeface="Helvetica Neue Medium"/>
              </a:defRPr>
            </a:pPr>
            <a:endParaRPr sz="1600" kern="0">
              <a:solidFill>
                <a:srgbClr val="479FF8"/>
              </a:solidFill>
              <a:latin typeface="Helvetica Neue Medium"/>
              <a:ea typeface="Helvetica Neue Medium"/>
              <a:cs typeface="Helvetica Neue Medium"/>
              <a:sym typeface="Helvetica Neue Medium"/>
            </a:endParaRPr>
          </a:p>
        </p:txBody>
      </p:sp>
      <p:graphicFrame>
        <p:nvGraphicFramePr>
          <p:cNvPr id="5" name="Объект 4" hidden="1"/>
          <p:cNvGraphicFramePr>
            <a:graphicFrameLocks noChangeAspect="1"/>
          </p:cNvGraphicFramePr>
          <p:nvPr>
            <p:custDataLst>
              <p:tags r:id="rId2"/>
            </p:custDataLst>
            <p:extLst/>
          </p:nvPr>
        </p:nvGraphicFramePr>
        <p:xfrm>
          <a:off x="7275" y="4787"/>
          <a:ext cx="1586" cy="1586"/>
        </p:xfrm>
        <a:graphic>
          <a:graphicData uri="http://schemas.openxmlformats.org/presentationml/2006/ole">
            <mc:AlternateContent xmlns:mc="http://schemas.openxmlformats.org/markup-compatibility/2006">
              <mc:Choice xmlns:v="urn:schemas-microsoft-com:vml" Requires="v">
                <p:oleObj spid="_x0000_s19475" name="Слайд think-cell" r:id="rId6" imgW="473" imgH="473" progId="TCLayout.ActiveDocument.1">
                  <p:embed/>
                </p:oleObj>
              </mc:Choice>
              <mc:Fallback>
                <p:oleObj name="Слайд think-cell" r:id="rId6" imgW="473" imgH="473" progId="TCLayout.ActiveDocument.1">
                  <p:embed/>
                  <p:pic>
                    <p:nvPicPr>
                      <p:cNvPr id="5" name="Объект 4" hidden="1"/>
                      <p:cNvPicPr/>
                      <p:nvPr/>
                    </p:nvPicPr>
                    <p:blipFill>
                      <a:blip r:embed="rId7"/>
                      <a:stretch>
                        <a:fillRect/>
                      </a:stretch>
                    </p:blipFill>
                    <p:spPr>
                      <a:xfrm>
                        <a:off x="7275" y="4787"/>
                        <a:ext cx="1586" cy="1586"/>
                      </a:xfrm>
                      <a:prstGeom prst="rect">
                        <a:avLst/>
                      </a:prstGeom>
                    </p:spPr>
                  </p:pic>
                </p:oleObj>
              </mc:Fallback>
            </mc:AlternateContent>
          </a:graphicData>
        </a:graphic>
      </p:graphicFrame>
      <p:sp>
        <p:nvSpPr>
          <p:cNvPr id="168" name="TextBox 167"/>
          <p:cNvSpPr txBox="1">
            <a:spLocks/>
          </p:cNvSpPr>
          <p:nvPr/>
        </p:nvSpPr>
        <p:spPr>
          <a:xfrm>
            <a:off x="426000" y="1777952"/>
            <a:ext cx="2498277" cy="760208"/>
          </a:xfrm>
          <a:prstGeom prst="rect">
            <a:avLst/>
          </a:prstGeom>
          <a:noFill/>
        </p:spPr>
        <p:txBody>
          <a:bodyPr wrap="square" lIns="0" tIns="0" rIns="0" bIns="0" rtlCol="0">
            <a:spAutoFit/>
          </a:bodyPr>
          <a:lstStyle/>
          <a:p>
            <a:pPr lvl="0" algn="ctr" defTabSz="1036930">
              <a:lnSpc>
                <a:spcPct val="80000"/>
              </a:lnSpc>
              <a:defRPr/>
            </a:pPr>
            <a:r>
              <a:rPr lang="ru-RU" sz="1900" b="1" kern="0" dirty="0" smtClean="0">
                <a:solidFill>
                  <a:srgbClr val="272F3D"/>
                </a:solidFill>
              </a:rPr>
              <a:t>Квантовые </a:t>
            </a:r>
            <a:endParaRPr lang="ru-RU" sz="1900" b="1" kern="0" dirty="0">
              <a:solidFill>
                <a:srgbClr val="272F3D"/>
              </a:solidFill>
            </a:endParaRPr>
          </a:p>
          <a:p>
            <a:pPr lvl="0" algn="ctr" defTabSz="1036930">
              <a:lnSpc>
                <a:spcPct val="80000"/>
              </a:lnSpc>
              <a:defRPr/>
            </a:pPr>
            <a:r>
              <a:rPr lang="ru-RU" sz="1900" b="1" kern="0" dirty="0">
                <a:solidFill>
                  <a:srgbClr val="272F3D"/>
                </a:solidFill>
              </a:rPr>
              <a:t>технологии </a:t>
            </a:r>
          </a:p>
          <a:p>
            <a:pPr algn="ctr" defTabSz="914054"/>
            <a:r>
              <a:rPr lang="ru-RU" sz="1900" b="1" dirty="0" smtClean="0">
                <a:solidFill>
                  <a:srgbClr val="272F3D"/>
                </a:solidFill>
                <a:latin typeface="Rostelecom Basis"/>
              </a:rPr>
              <a:t> </a:t>
            </a:r>
            <a:endParaRPr lang="ru-RU" sz="1900" b="1" dirty="0">
              <a:solidFill>
                <a:srgbClr val="7700FF"/>
              </a:solidFill>
              <a:latin typeface="Rostelecom Basis"/>
            </a:endParaRPr>
          </a:p>
        </p:txBody>
      </p:sp>
      <p:sp>
        <p:nvSpPr>
          <p:cNvPr id="186" name="TextBox 185">
            <a:extLst>
              <a:ext uri="{FF2B5EF4-FFF2-40B4-BE49-F238E27FC236}">
                <a16:creationId xmlns:a16="http://schemas.microsoft.com/office/drawing/2014/main" id="{D6F1C5F8-4679-4190-9B68-D1E2526B9699}"/>
              </a:ext>
            </a:extLst>
          </p:cNvPr>
          <p:cNvSpPr txBox="1">
            <a:spLocks/>
          </p:cNvSpPr>
          <p:nvPr/>
        </p:nvSpPr>
        <p:spPr>
          <a:xfrm>
            <a:off x="1365962" y="4450188"/>
            <a:ext cx="1560069" cy="393185"/>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Квантовое шифрование</a:t>
            </a:r>
            <a:endParaRPr lang="ru-RU" sz="1400" dirty="0">
              <a:solidFill>
                <a:srgbClr val="101828"/>
              </a:solidFill>
            </a:endParaRPr>
          </a:p>
        </p:txBody>
      </p:sp>
      <p:sp>
        <p:nvSpPr>
          <p:cNvPr id="229" name="TextBox 228">
            <a:extLst>
              <a:ext uri="{FF2B5EF4-FFF2-40B4-BE49-F238E27FC236}">
                <a16:creationId xmlns:a16="http://schemas.microsoft.com/office/drawing/2014/main" id="{69E508F1-9613-4272-9018-4D5C5117E242}"/>
              </a:ext>
            </a:extLst>
          </p:cNvPr>
          <p:cNvSpPr txBox="1">
            <a:spLocks/>
          </p:cNvSpPr>
          <p:nvPr/>
        </p:nvSpPr>
        <p:spPr>
          <a:xfrm>
            <a:off x="6486020" y="1706183"/>
            <a:ext cx="2342526" cy="338554"/>
          </a:xfrm>
          <a:prstGeom prst="rect">
            <a:avLst/>
          </a:prstGeom>
          <a:noFill/>
        </p:spPr>
        <p:txBody>
          <a:bodyPr wrap="square" lIns="0" tIns="0" rIns="0" bIns="0" rtlCol="0">
            <a:spAutoFit/>
          </a:bodyPr>
          <a:lstStyle/>
          <a:p>
            <a:pPr algn="ctr" defTabSz="914054"/>
            <a:r>
              <a:rPr lang="ru-RU" sz="2200" b="1" dirty="0" smtClean="0">
                <a:solidFill>
                  <a:srgbClr val="272F3D"/>
                </a:solidFill>
                <a:latin typeface="Rostelecom Basis"/>
              </a:rPr>
              <a:t>5</a:t>
            </a:r>
            <a:r>
              <a:rPr lang="en-US" sz="2200" b="1" dirty="0" smtClean="0">
                <a:solidFill>
                  <a:srgbClr val="272F3D"/>
                </a:solidFill>
                <a:latin typeface="Rostelecom Basis"/>
              </a:rPr>
              <a:t>G</a:t>
            </a:r>
            <a:endParaRPr lang="ru-RU" sz="2200" b="1" dirty="0">
              <a:solidFill>
                <a:srgbClr val="7700FF"/>
              </a:solidFill>
              <a:latin typeface="Rostelecom Basis"/>
            </a:endParaRPr>
          </a:p>
        </p:txBody>
      </p:sp>
      <p:sp>
        <p:nvSpPr>
          <p:cNvPr id="230" name="TextBox 229">
            <a:extLst>
              <a:ext uri="{FF2B5EF4-FFF2-40B4-BE49-F238E27FC236}">
                <a16:creationId xmlns:a16="http://schemas.microsoft.com/office/drawing/2014/main" id="{619A3B95-5CD9-4012-91F9-3B9B63ED02BF}"/>
              </a:ext>
            </a:extLst>
          </p:cNvPr>
          <p:cNvSpPr txBox="1">
            <a:spLocks/>
          </p:cNvSpPr>
          <p:nvPr/>
        </p:nvSpPr>
        <p:spPr>
          <a:xfrm>
            <a:off x="3214912" y="1744302"/>
            <a:ext cx="2652277" cy="292388"/>
          </a:xfrm>
          <a:prstGeom prst="rect">
            <a:avLst/>
          </a:prstGeom>
          <a:noFill/>
        </p:spPr>
        <p:txBody>
          <a:bodyPr wrap="square" lIns="0" tIns="0" rIns="0" bIns="0" rtlCol="0">
            <a:spAutoFit/>
          </a:bodyPr>
          <a:lstStyle/>
          <a:p>
            <a:pPr algn="ctr" defTabSz="914054"/>
            <a:r>
              <a:rPr lang="ru-RU" sz="1900" b="1" kern="0" dirty="0" err="1">
                <a:solidFill>
                  <a:srgbClr val="272F3D"/>
                </a:solidFill>
              </a:rPr>
              <a:t>Блокчейн</a:t>
            </a:r>
            <a:endParaRPr lang="ru-RU" sz="1900" b="1" kern="0" dirty="0">
              <a:solidFill>
                <a:srgbClr val="272F3D"/>
              </a:solidFill>
            </a:endParaRPr>
          </a:p>
        </p:txBody>
      </p:sp>
      <p:sp>
        <p:nvSpPr>
          <p:cNvPr id="449" name="Oval 126">
            <a:extLst>
              <a:ext uri="{FF2B5EF4-FFF2-40B4-BE49-F238E27FC236}">
                <a16:creationId xmlns:a16="http://schemas.microsoft.com/office/drawing/2014/main" id="{42E653C5-0AB4-4CC7-9DEA-53F74D542272}"/>
              </a:ext>
            </a:extLst>
          </p:cNvPr>
          <p:cNvSpPr>
            <a:spLocks/>
          </p:cNvSpPr>
          <p:nvPr/>
        </p:nvSpPr>
        <p:spPr>
          <a:xfrm>
            <a:off x="666979" y="4448353"/>
            <a:ext cx="360000" cy="360000"/>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126942" rtlCol="0" anchor="ctr">
            <a:noAutofit/>
          </a:bodyPr>
          <a:lstStyle/>
          <a:p>
            <a:pPr defTabSz="914054">
              <a:defRPr/>
            </a:pPr>
            <a:endParaRPr lang="ru-RU" sz="1234" b="1" dirty="0">
              <a:solidFill>
                <a:srgbClr val="7700FF"/>
              </a:solidFill>
              <a:latin typeface="Rostelecom Basis Medium"/>
            </a:endParaRPr>
          </a:p>
        </p:txBody>
      </p:sp>
      <p:cxnSp>
        <p:nvCxnSpPr>
          <p:cNvPr id="443" name="Straight Connector 442">
            <a:extLst>
              <a:ext uri="{FF2B5EF4-FFF2-40B4-BE49-F238E27FC236}">
                <a16:creationId xmlns:a16="http://schemas.microsoft.com/office/drawing/2014/main" id="{5286F583-AA0E-45F3-A424-98BE975EF46A}"/>
              </a:ext>
            </a:extLst>
          </p:cNvPr>
          <p:cNvCxnSpPr/>
          <p:nvPr/>
        </p:nvCxnSpPr>
        <p:spPr>
          <a:xfrm>
            <a:off x="3201615" y="1890496"/>
            <a:ext cx="0" cy="4189858"/>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9D6923F1-6215-4CF5-804F-ECF23F7A44A6}"/>
              </a:ext>
            </a:extLst>
          </p:cNvPr>
          <p:cNvCxnSpPr/>
          <p:nvPr/>
        </p:nvCxnSpPr>
        <p:spPr>
          <a:xfrm>
            <a:off x="6276000" y="1875460"/>
            <a:ext cx="0" cy="4189858"/>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Прямая соединительная линия 231"/>
          <p:cNvCxnSpPr/>
          <p:nvPr/>
        </p:nvCxnSpPr>
        <p:spPr>
          <a:xfrm>
            <a:off x="514629" y="1009800"/>
            <a:ext cx="3002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3" name="Freeform: Shape 153">
            <a:extLst>
              <a:ext uri="{FF2B5EF4-FFF2-40B4-BE49-F238E27FC236}">
                <a16:creationId xmlns:a16="http://schemas.microsoft.com/office/drawing/2014/main" id="{4979B906-CF77-423D-8408-53383BA245F6}"/>
              </a:ext>
            </a:extLst>
          </p:cNvPr>
          <p:cNvSpPr/>
          <p:nvPr/>
        </p:nvSpPr>
        <p:spPr>
          <a:xfrm rot="16997148">
            <a:off x="7206508" y="2282354"/>
            <a:ext cx="1008000" cy="1008000"/>
          </a:xfrm>
          <a:custGeom>
            <a:avLst/>
            <a:gdLst>
              <a:gd name="connsiteX0" fmla="*/ 358317 w 358317"/>
              <a:gd name="connsiteY0" fmla="*/ 179159 h 358317"/>
              <a:gd name="connsiteX1" fmla="*/ 179159 w 358317"/>
              <a:gd name="connsiteY1" fmla="*/ 358317 h 358317"/>
              <a:gd name="connsiteX2" fmla="*/ 0 w 358317"/>
              <a:gd name="connsiteY2" fmla="*/ 179159 h 358317"/>
              <a:gd name="connsiteX3" fmla="*/ 179159 w 358317"/>
              <a:gd name="connsiteY3" fmla="*/ 0 h 358317"/>
              <a:gd name="connsiteX4" fmla="*/ 358317 w 358317"/>
              <a:gd name="connsiteY4" fmla="*/ 179159 h 35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17" h="358317">
                <a:moveTo>
                  <a:pt x="358317" y="179159"/>
                </a:moveTo>
                <a:cubicBezTo>
                  <a:pt x="358317" y="278105"/>
                  <a:pt x="278105" y="358317"/>
                  <a:pt x="179159" y="358317"/>
                </a:cubicBezTo>
                <a:cubicBezTo>
                  <a:pt x="80212" y="358317"/>
                  <a:pt x="0" y="278105"/>
                  <a:pt x="0" y="179159"/>
                </a:cubicBezTo>
                <a:cubicBezTo>
                  <a:pt x="0" y="80212"/>
                  <a:pt x="80212" y="0"/>
                  <a:pt x="179159" y="0"/>
                </a:cubicBezTo>
                <a:cubicBezTo>
                  <a:pt x="278105" y="0"/>
                  <a:pt x="358317" y="80212"/>
                  <a:pt x="358317" y="179159"/>
                </a:cubicBezTo>
                <a:close/>
              </a:path>
            </a:pathLst>
          </a:custGeom>
          <a:gradFill flip="none" rotWithShape="1">
            <a:gsLst>
              <a:gs pos="0">
                <a:schemeClr val="accent2"/>
              </a:gs>
              <a:gs pos="54000">
                <a:schemeClr val="accent2"/>
              </a:gs>
              <a:gs pos="100000">
                <a:schemeClr val="accent2">
                  <a:lumMod val="75000"/>
                </a:schemeClr>
              </a:gs>
            </a:gsLst>
            <a:lin ang="5400000" scaled="1"/>
            <a:tileRect/>
          </a:gradFill>
          <a:ln w="9525" cap="flat">
            <a:noFill/>
            <a:prstDash val="solid"/>
            <a:miter/>
          </a:ln>
        </p:spPr>
        <p:txBody>
          <a:bodyPr rtlCol="0" anchor="ctr"/>
          <a:lstStyle/>
          <a:p>
            <a:pPr defTabSz="914054"/>
            <a:endParaRPr lang="ru-RU" sz="1799" dirty="0">
              <a:solidFill>
                <a:srgbClr val="272F3D"/>
              </a:solidFill>
              <a:latin typeface="Rostelecom Basis"/>
            </a:endParaRPr>
          </a:p>
        </p:txBody>
      </p:sp>
      <p:sp>
        <p:nvSpPr>
          <p:cNvPr id="235" name="Freeform: Shape 153">
            <a:extLst>
              <a:ext uri="{FF2B5EF4-FFF2-40B4-BE49-F238E27FC236}">
                <a16:creationId xmlns:a16="http://schemas.microsoft.com/office/drawing/2014/main" id="{4979B906-CF77-423D-8408-53383BA245F6}"/>
              </a:ext>
            </a:extLst>
          </p:cNvPr>
          <p:cNvSpPr/>
          <p:nvPr/>
        </p:nvSpPr>
        <p:spPr>
          <a:xfrm rot="16997148">
            <a:off x="1149542" y="2454806"/>
            <a:ext cx="1008000" cy="1008000"/>
          </a:xfrm>
          <a:custGeom>
            <a:avLst/>
            <a:gdLst>
              <a:gd name="connsiteX0" fmla="*/ 358317 w 358317"/>
              <a:gd name="connsiteY0" fmla="*/ 179159 h 358317"/>
              <a:gd name="connsiteX1" fmla="*/ 179159 w 358317"/>
              <a:gd name="connsiteY1" fmla="*/ 358317 h 358317"/>
              <a:gd name="connsiteX2" fmla="*/ 0 w 358317"/>
              <a:gd name="connsiteY2" fmla="*/ 179159 h 358317"/>
              <a:gd name="connsiteX3" fmla="*/ 179159 w 358317"/>
              <a:gd name="connsiteY3" fmla="*/ 0 h 358317"/>
              <a:gd name="connsiteX4" fmla="*/ 358317 w 358317"/>
              <a:gd name="connsiteY4" fmla="*/ 179159 h 35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17" h="358317">
                <a:moveTo>
                  <a:pt x="358317" y="179159"/>
                </a:moveTo>
                <a:cubicBezTo>
                  <a:pt x="358317" y="278105"/>
                  <a:pt x="278105" y="358317"/>
                  <a:pt x="179159" y="358317"/>
                </a:cubicBezTo>
                <a:cubicBezTo>
                  <a:pt x="80212" y="358317"/>
                  <a:pt x="0" y="278105"/>
                  <a:pt x="0" y="179159"/>
                </a:cubicBezTo>
                <a:cubicBezTo>
                  <a:pt x="0" y="80212"/>
                  <a:pt x="80212" y="0"/>
                  <a:pt x="179159" y="0"/>
                </a:cubicBezTo>
                <a:cubicBezTo>
                  <a:pt x="278105" y="0"/>
                  <a:pt x="358317" y="80212"/>
                  <a:pt x="358317" y="179159"/>
                </a:cubicBezTo>
                <a:close/>
              </a:path>
            </a:pathLst>
          </a:custGeom>
          <a:gradFill flip="none" rotWithShape="1">
            <a:gsLst>
              <a:gs pos="0">
                <a:schemeClr val="accent2"/>
              </a:gs>
              <a:gs pos="54000">
                <a:schemeClr val="accent2"/>
              </a:gs>
              <a:gs pos="100000">
                <a:schemeClr val="accent2">
                  <a:lumMod val="75000"/>
                </a:schemeClr>
              </a:gs>
            </a:gsLst>
            <a:lin ang="5400000" scaled="1"/>
            <a:tileRect/>
          </a:gradFill>
          <a:ln w="9525" cap="flat">
            <a:noFill/>
            <a:prstDash val="solid"/>
            <a:miter/>
          </a:ln>
        </p:spPr>
        <p:txBody>
          <a:bodyPr rtlCol="0" anchor="ctr"/>
          <a:lstStyle/>
          <a:p>
            <a:pPr defTabSz="914054"/>
            <a:endParaRPr lang="ru-RU" sz="1799" dirty="0">
              <a:solidFill>
                <a:srgbClr val="272F3D"/>
              </a:solidFill>
              <a:latin typeface="Rostelecom Basis"/>
            </a:endParaRPr>
          </a:p>
        </p:txBody>
      </p:sp>
      <p:pic>
        <p:nvPicPr>
          <p:cNvPr id="241" name="Рисунок 240"/>
          <p:cNvPicPr>
            <a:picLocks noChangeAspect="1"/>
          </p:cNvPicPr>
          <p:nvPr/>
        </p:nvPicPr>
        <p:blipFill>
          <a:blip r:embed="rId8" cstate="print">
            <a:extLst>
              <a:ext uri="{BEBA8EAE-BF5A-486C-A8C5-ECC9F3942E4B}">
                <a14:imgProps xmlns:a14="http://schemas.microsoft.com/office/drawing/2010/main">
                  <a14:imgLayer r:embed="rId9">
                    <a14:imgEffect>
                      <a14:artisticPhotocopy/>
                    </a14:imgEffect>
                    <a14:imgEffect>
                      <a14:sharpenSoften amount="5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229809" y="2535845"/>
            <a:ext cx="817304" cy="817304"/>
          </a:xfrm>
          <a:prstGeom prst="rect">
            <a:avLst/>
          </a:prstGeom>
        </p:spPr>
      </p:pic>
      <p:pic>
        <p:nvPicPr>
          <p:cNvPr id="9" name="Рисунок 8"/>
          <p:cNvPicPr>
            <a:picLocks noChangeAspect="1"/>
          </p:cNvPicPr>
          <p:nvPr/>
        </p:nvPicPr>
        <p:blipFill>
          <a:blip r:embed="rId10" cstate="print">
            <a:extLst>
              <a:ext uri="{BEBA8EAE-BF5A-486C-A8C5-ECC9F3942E4B}">
                <a14:imgProps xmlns:a14="http://schemas.microsoft.com/office/drawing/2010/main">
                  <a14:imgLayer r:embed="rId11">
                    <a14:imgEffect>
                      <a14:artisticPhotocopy/>
                    </a14:imgEffect>
                    <a14:imgEffect>
                      <a14:sharpenSoften amount="50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366984" y="2442830"/>
            <a:ext cx="687048" cy="687048"/>
          </a:xfrm>
          <a:prstGeom prst="rect">
            <a:avLst/>
          </a:prstGeom>
        </p:spPr>
      </p:pic>
      <p:sp>
        <p:nvSpPr>
          <p:cNvPr id="242" name="Freeform: Shape 153">
            <a:extLst>
              <a:ext uri="{FF2B5EF4-FFF2-40B4-BE49-F238E27FC236}">
                <a16:creationId xmlns:a16="http://schemas.microsoft.com/office/drawing/2014/main" id="{4979B906-CF77-423D-8408-53383BA245F6}"/>
              </a:ext>
            </a:extLst>
          </p:cNvPr>
          <p:cNvSpPr/>
          <p:nvPr/>
        </p:nvSpPr>
        <p:spPr>
          <a:xfrm rot="16997148">
            <a:off x="4086608" y="2375029"/>
            <a:ext cx="1008000" cy="1008000"/>
          </a:xfrm>
          <a:custGeom>
            <a:avLst/>
            <a:gdLst>
              <a:gd name="connsiteX0" fmla="*/ 358317 w 358317"/>
              <a:gd name="connsiteY0" fmla="*/ 179159 h 358317"/>
              <a:gd name="connsiteX1" fmla="*/ 179159 w 358317"/>
              <a:gd name="connsiteY1" fmla="*/ 358317 h 358317"/>
              <a:gd name="connsiteX2" fmla="*/ 0 w 358317"/>
              <a:gd name="connsiteY2" fmla="*/ 179159 h 358317"/>
              <a:gd name="connsiteX3" fmla="*/ 179159 w 358317"/>
              <a:gd name="connsiteY3" fmla="*/ 0 h 358317"/>
              <a:gd name="connsiteX4" fmla="*/ 358317 w 358317"/>
              <a:gd name="connsiteY4" fmla="*/ 179159 h 35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17" h="358317">
                <a:moveTo>
                  <a:pt x="358317" y="179159"/>
                </a:moveTo>
                <a:cubicBezTo>
                  <a:pt x="358317" y="278105"/>
                  <a:pt x="278105" y="358317"/>
                  <a:pt x="179159" y="358317"/>
                </a:cubicBezTo>
                <a:cubicBezTo>
                  <a:pt x="80212" y="358317"/>
                  <a:pt x="0" y="278105"/>
                  <a:pt x="0" y="179159"/>
                </a:cubicBezTo>
                <a:cubicBezTo>
                  <a:pt x="0" y="80212"/>
                  <a:pt x="80212" y="0"/>
                  <a:pt x="179159" y="0"/>
                </a:cubicBezTo>
                <a:cubicBezTo>
                  <a:pt x="278105" y="0"/>
                  <a:pt x="358317" y="80212"/>
                  <a:pt x="358317" y="179159"/>
                </a:cubicBezTo>
                <a:close/>
              </a:path>
            </a:pathLst>
          </a:custGeom>
          <a:gradFill flip="none" rotWithShape="1">
            <a:gsLst>
              <a:gs pos="0">
                <a:schemeClr val="accent2"/>
              </a:gs>
              <a:gs pos="54000">
                <a:schemeClr val="accent2"/>
              </a:gs>
              <a:gs pos="100000">
                <a:schemeClr val="accent2">
                  <a:lumMod val="75000"/>
                </a:schemeClr>
              </a:gs>
            </a:gsLst>
            <a:lin ang="5400000" scaled="1"/>
            <a:tileRect/>
          </a:gradFill>
          <a:ln w="9525" cap="flat">
            <a:noFill/>
            <a:prstDash val="solid"/>
            <a:miter/>
          </a:ln>
        </p:spPr>
        <p:txBody>
          <a:bodyPr rtlCol="0" anchor="ctr"/>
          <a:lstStyle/>
          <a:p>
            <a:pPr defTabSz="914054"/>
            <a:endParaRPr lang="ru-RU" sz="1799" dirty="0">
              <a:solidFill>
                <a:srgbClr val="272F3D"/>
              </a:solidFill>
              <a:latin typeface="Rostelecom Basis"/>
            </a:endParaRPr>
          </a:p>
        </p:txBody>
      </p:sp>
      <p:pic>
        <p:nvPicPr>
          <p:cNvPr id="11" name="Рисунок 10"/>
          <p:cNvPicPr>
            <a:picLocks noChangeAspect="1"/>
          </p:cNvPicPr>
          <p:nvPr/>
        </p:nvPicPr>
        <p:blipFill>
          <a:blip r:embed="rId12" cstate="print">
            <a:lum bright="70000" contrast="-70000"/>
            <a:extLst>
              <a:ext uri="{BEBA8EAE-BF5A-486C-A8C5-ECC9F3942E4B}">
                <a14:imgProps xmlns:a14="http://schemas.microsoft.com/office/drawing/2010/main">
                  <a14:imgLayer r:embed="rId13">
                    <a14:imgEffect>
                      <a14:artisticPhotocopy/>
                    </a14:imgEffect>
                  </a14:imgLayer>
                </a14:imgProps>
              </a:ext>
              <a:ext uri="{28A0092B-C50C-407E-A947-70E740481C1C}">
                <a14:useLocalDpi xmlns:a14="http://schemas.microsoft.com/office/drawing/2010/main" val="0"/>
              </a:ext>
            </a:extLst>
          </a:blip>
          <a:stretch>
            <a:fillRect/>
          </a:stretch>
        </p:blipFill>
        <p:spPr>
          <a:xfrm>
            <a:off x="4219235" y="2534448"/>
            <a:ext cx="751706" cy="751706"/>
          </a:xfrm>
          <a:prstGeom prst="rect">
            <a:avLst/>
          </a:prstGeom>
        </p:spPr>
      </p:pic>
      <p:sp>
        <p:nvSpPr>
          <p:cNvPr id="251" name="Заголовок 1"/>
          <p:cNvSpPr txBox="1">
            <a:spLocks/>
          </p:cNvSpPr>
          <p:nvPr/>
        </p:nvSpPr>
        <p:spPr>
          <a:xfrm>
            <a:off x="409676" y="421864"/>
            <a:ext cx="11366499" cy="1010308"/>
          </a:xfrm>
          <a:prstGeom prst="rect">
            <a:avLst/>
          </a:prstGeom>
        </p:spPr>
        <p:txBody>
          <a:bodyPr vert="horz"/>
          <a:lstStyle>
            <a:lvl1pPr algn="l" defTabSz="806024" rtl="0" eaLnBrk="1" latinLnBrk="0" hangingPunct="1">
              <a:lnSpc>
                <a:spcPct val="90000"/>
              </a:lnSpc>
              <a:spcBef>
                <a:spcPct val="0"/>
              </a:spcBef>
              <a:buNone/>
              <a:defRPr sz="3879" kern="1200">
                <a:solidFill>
                  <a:schemeClr val="tx1"/>
                </a:solidFill>
                <a:latin typeface="+mj-lt"/>
                <a:ea typeface="+mj-ea"/>
                <a:cs typeface="+mj-cs"/>
              </a:defRPr>
            </a:lvl1pPr>
          </a:lstStyle>
          <a:p>
            <a:r>
              <a:rPr lang="ru-RU" sz="2800" dirty="0" smtClean="0"/>
              <a:t>Общие </a:t>
            </a:r>
            <a:r>
              <a:rPr lang="ru-RU" sz="2800" dirty="0" err="1" smtClean="0"/>
              <a:t>мегатренды</a:t>
            </a:r>
            <a:endParaRPr lang="ru-RU" sz="2800" dirty="0"/>
          </a:p>
        </p:txBody>
      </p:sp>
      <p:pic>
        <p:nvPicPr>
          <p:cNvPr id="40" name="Рисунок 39"/>
          <p:cNvPicPr>
            <a:picLocks noChangeAspect="1"/>
          </p:cNvPicPr>
          <p:nvPr/>
        </p:nvPicPr>
        <p:blipFill>
          <a:blip r:embed="rId14"/>
          <a:stretch>
            <a:fillRect/>
          </a:stretch>
        </p:blipFill>
        <p:spPr>
          <a:xfrm>
            <a:off x="11428059" y="232067"/>
            <a:ext cx="497742" cy="577851"/>
          </a:xfrm>
          <a:prstGeom prst="rect">
            <a:avLst/>
          </a:prstGeom>
        </p:spPr>
      </p:pic>
      <p:sp>
        <p:nvSpPr>
          <p:cNvPr id="43" name="Rounded Rectangle"/>
          <p:cNvSpPr/>
          <p:nvPr/>
        </p:nvSpPr>
        <p:spPr>
          <a:xfrm>
            <a:off x="6478418" y="3840601"/>
            <a:ext cx="2667600" cy="2108400"/>
          </a:xfrm>
          <a:prstGeom prst="roundRect">
            <a:avLst>
              <a:gd name="adj" fmla="val 8959"/>
            </a:avLst>
          </a:prstGeom>
          <a:solidFill>
            <a:schemeClr val="bg1">
              <a:lumMod val="50000"/>
              <a:alpha val="30000"/>
            </a:schemeClr>
          </a:solidFill>
          <a:ln w="12700" cap="flat">
            <a:noFill/>
            <a:miter lim="400000"/>
          </a:ln>
          <a:effectLst/>
        </p:spPr>
        <p:txBody>
          <a:bodyPr wrap="square" lIns="0" tIns="0" rIns="0" bIns="0" numCol="1" anchor="ctr">
            <a:noAutofit/>
          </a:bodyPr>
          <a:lstStyle/>
          <a:p>
            <a:pPr algn="ctr" defTabSz="412750" hangingPunct="0">
              <a:defRPr sz="3200" b="0">
                <a:solidFill>
                  <a:srgbClr val="479FF8"/>
                </a:solidFill>
                <a:latin typeface="+mn-lt"/>
                <a:ea typeface="+mn-ea"/>
                <a:cs typeface="+mn-cs"/>
                <a:sym typeface="Helvetica Neue Medium"/>
              </a:defRPr>
            </a:pPr>
            <a:endParaRPr sz="1600" kern="0">
              <a:solidFill>
                <a:srgbClr val="479FF8"/>
              </a:solidFill>
              <a:latin typeface="Helvetica Neue Medium"/>
              <a:ea typeface="Helvetica Neue Medium"/>
              <a:cs typeface="Helvetica Neue Medium"/>
              <a:sym typeface="Helvetica Neue Medium"/>
            </a:endParaRPr>
          </a:p>
        </p:txBody>
      </p:sp>
      <p:sp>
        <p:nvSpPr>
          <p:cNvPr id="44" name="TextBox 43">
            <a:extLst>
              <a:ext uri="{FF2B5EF4-FFF2-40B4-BE49-F238E27FC236}">
                <a16:creationId xmlns:a16="http://schemas.microsoft.com/office/drawing/2014/main" id="{D6F1C5F8-4679-4190-9B68-D1E2526B9699}"/>
              </a:ext>
            </a:extLst>
          </p:cNvPr>
          <p:cNvSpPr txBox="1">
            <a:spLocks/>
          </p:cNvSpPr>
          <p:nvPr/>
        </p:nvSpPr>
        <p:spPr>
          <a:xfrm>
            <a:off x="7255727" y="4190130"/>
            <a:ext cx="1371308" cy="393185"/>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Интернет вещей</a:t>
            </a:r>
            <a:endParaRPr lang="ru-RU" sz="1400" dirty="0">
              <a:solidFill>
                <a:srgbClr val="101828"/>
              </a:solidFill>
            </a:endParaRPr>
          </a:p>
        </p:txBody>
      </p:sp>
      <p:grpSp>
        <p:nvGrpSpPr>
          <p:cNvPr id="45" name="Group 452">
            <a:extLst>
              <a:ext uri="{FF2B5EF4-FFF2-40B4-BE49-F238E27FC236}">
                <a16:creationId xmlns:a16="http://schemas.microsoft.com/office/drawing/2014/main" id="{C64D8AB6-A780-4D87-88A8-081DA5DBADD1}"/>
              </a:ext>
            </a:extLst>
          </p:cNvPr>
          <p:cNvGrpSpPr/>
          <p:nvPr/>
        </p:nvGrpSpPr>
        <p:grpSpPr>
          <a:xfrm>
            <a:off x="6732009" y="5143402"/>
            <a:ext cx="2075476" cy="393185"/>
            <a:chOff x="357281" y="6347946"/>
            <a:chExt cx="2354368" cy="446018"/>
          </a:xfrm>
        </p:grpSpPr>
        <p:sp>
          <p:nvSpPr>
            <p:cNvPr id="46" name="TextBox 45">
              <a:extLst>
                <a:ext uri="{FF2B5EF4-FFF2-40B4-BE49-F238E27FC236}">
                  <a16:creationId xmlns:a16="http://schemas.microsoft.com/office/drawing/2014/main" id="{D6F1C5F8-4679-4190-9B68-D1E2526B9699}"/>
                </a:ext>
              </a:extLst>
            </p:cNvPr>
            <p:cNvSpPr txBox="1">
              <a:spLocks/>
            </p:cNvSpPr>
            <p:nvPr/>
          </p:nvSpPr>
          <p:spPr>
            <a:xfrm>
              <a:off x="947145" y="6347946"/>
              <a:ext cx="1764504" cy="446018"/>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Промышленный интернет</a:t>
              </a:r>
              <a:endParaRPr lang="ru-RU" sz="1400" dirty="0">
                <a:solidFill>
                  <a:srgbClr val="101828"/>
                </a:solidFill>
              </a:endParaRPr>
            </a:p>
          </p:txBody>
        </p:sp>
        <p:sp>
          <p:nvSpPr>
            <p:cNvPr id="47" name="Oval 126">
              <a:extLst>
                <a:ext uri="{FF2B5EF4-FFF2-40B4-BE49-F238E27FC236}">
                  <a16:creationId xmlns:a16="http://schemas.microsoft.com/office/drawing/2014/main" id="{C1FF1F03-704F-41C3-958E-83F5BAC87BD5}"/>
                </a:ext>
              </a:extLst>
            </p:cNvPr>
            <p:cNvSpPr>
              <a:spLocks/>
            </p:cNvSpPr>
            <p:nvPr/>
          </p:nvSpPr>
          <p:spPr>
            <a:xfrm>
              <a:off x="357281" y="6366771"/>
              <a:ext cx="408375" cy="408375"/>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0" rtlCol="0" anchor="ctr">
              <a:noAutofit/>
            </a:bodyPr>
            <a:lstStyle/>
            <a:p>
              <a:pPr defTabSz="914054">
                <a:defRPr/>
              </a:pPr>
              <a:endParaRPr lang="ru-RU" sz="1234" b="1" dirty="0">
                <a:solidFill>
                  <a:srgbClr val="7700FF"/>
                </a:solidFill>
                <a:latin typeface="Rostelecom Basis Medium"/>
              </a:endParaRPr>
            </a:p>
          </p:txBody>
        </p:sp>
      </p:grpSp>
      <p:sp>
        <p:nvSpPr>
          <p:cNvPr id="48" name="Oval 126">
            <a:extLst>
              <a:ext uri="{FF2B5EF4-FFF2-40B4-BE49-F238E27FC236}">
                <a16:creationId xmlns:a16="http://schemas.microsoft.com/office/drawing/2014/main" id="{42E653C5-0AB4-4CC7-9DEA-53F74D542272}"/>
              </a:ext>
            </a:extLst>
          </p:cNvPr>
          <p:cNvSpPr>
            <a:spLocks/>
          </p:cNvSpPr>
          <p:nvPr/>
        </p:nvSpPr>
        <p:spPr>
          <a:xfrm>
            <a:off x="6740320" y="4178762"/>
            <a:ext cx="360000" cy="360000"/>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126942" rtlCol="0" anchor="ctr">
            <a:noAutofit/>
          </a:bodyPr>
          <a:lstStyle/>
          <a:p>
            <a:pPr defTabSz="914054">
              <a:defRPr/>
            </a:pPr>
            <a:endParaRPr lang="ru-RU" sz="1234" b="1" dirty="0">
              <a:solidFill>
                <a:srgbClr val="7700FF"/>
              </a:solidFill>
              <a:latin typeface="Rostelecom Basis Medium"/>
            </a:endParaRPr>
          </a:p>
        </p:txBody>
      </p:sp>
      <p:sp>
        <p:nvSpPr>
          <p:cNvPr id="253" name="Freeform 13"/>
          <p:cNvSpPr>
            <a:spLocks noEditPoints="1"/>
          </p:cNvSpPr>
          <p:nvPr/>
        </p:nvSpPr>
        <p:spPr bwMode="auto">
          <a:xfrm>
            <a:off x="6620268" y="4093182"/>
            <a:ext cx="360000" cy="396000"/>
          </a:xfrm>
          <a:custGeom>
            <a:avLst/>
            <a:gdLst>
              <a:gd name="T0" fmla="*/ 60 w 159"/>
              <a:gd name="T1" fmla="*/ 190 h 190"/>
              <a:gd name="T2" fmla="*/ 60 w 159"/>
              <a:gd name="T3" fmla="*/ 177 h 190"/>
              <a:gd name="T4" fmla="*/ 107 w 159"/>
              <a:gd name="T5" fmla="*/ 166 h 190"/>
              <a:gd name="T6" fmla="*/ 54 w 159"/>
              <a:gd name="T7" fmla="*/ 166 h 190"/>
              <a:gd name="T8" fmla="*/ 100 w 159"/>
              <a:gd name="T9" fmla="*/ 173 h 190"/>
              <a:gd name="T10" fmla="*/ 78 w 159"/>
              <a:gd name="T11" fmla="*/ 94 h 190"/>
              <a:gd name="T12" fmla="*/ 80 w 159"/>
              <a:gd name="T13" fmla="*/ 156 h 190"/>
              <a:gd name="T14" fmla="*/ 80 w 159"/>
              <a:gd name="T15" fmla="*/ 156 h 190"/>
              <a:gd name="T16" fmla="*/ 86 w 159"/>
              <a:gd name="T17" fmla="*/ 94 h 190"/>
              <a:gd name="T18" fmla="*/ 58 w 159"/>
              <a:gd name="T19" fmla="*/ 88 h 190"/>
              <a:gd name="T20" fmla="*/ 58 w 159"/>
              <a:gd name="T21" fmla="*/ 69 h 190"/>
              <a:gd name="T22" fmla="*/ 93 w 159"/>
              <a:gd name="T23" fmla="*/ 78 h 190"/>
              <a:gd name="T24" fmla="*/ 112 w 159"/>
              <a:gd name="T25" fmla="*/ 78 h 190"/>
              <a:gd name="T26" fmla="*/ 28 w 159"/>
              <a:gd name="T27" fmla="*/ 61 h 190"/>
              <a:gd name="T28" fmla="*/ 55 w 159"/>
              <a:gd name="T29" fmla="*/ 149 h 190"/>
              <a:gd name="T30" fmla="*/ 68 w 159"/>
              <a:gd name="T31" fmla="*/ 94 h 190"/>
              <a:gd name="T32" fmla="*/ 42 w 159"/>
              <a:gd name="T33" fmla="*/ 78 h 190"/>
              <a:gd name="T34" fmla="*/ 74 w 159"/>
              <a:gd name="T35" fmla="*/ 78 h 190"/>
              <a:gd name="T36" fmla="*/ 78 w 159"/>
              <a:gd name="T37" fmla="*/ 88 h 190"/>
              <a:gd name="T38" fmla="*/ 86 w 159"/>
              <a:gd name="T39" fmla="*/ 78 h 190"/>
              <a:gd name="T40" fmla="*/ 113 w 159"/>
              <a:gd name="T41" fmla="*/ 67 h 190"/>
              <a:gd name="T42" fmla="*/ 102 w 159"/>
              <a:gd name="T43" fmla="*/ 94 h 190"/>
              <a:gd name="T44" fmla="*/ 96 w 159"/>
              <a:gd name="T45" fmla="*/ 156 h 190"/>
              <a:gd name="T46" fmla="*/ 127 w 159"/>
              <a:gd name="T47" fmla="*/ 98 h 190"/>
              <a:gd name="T48" fmla="*/ 80 w 159"/>
              <a:gd name="T49" fmla="*/ 0 h 190"/>
              <a:gd name="T50" fmla="*/ 74 w 159"/>
              <a:gd name="T51" fmla="*/ 17 h 190"/>
              <a:gd name="T52" fmla="*/ 86 w 159"/>
              <a:gd name="T53" fmla="*/ 17 h 190"/>
              <a:gd name="T54" fmla="*/ 116 w 159"/>
              <a:gd name="T55" fmla="*/ 8 h 190"/>
              <a:gd name="T56" fmla="*/ 103 w 159"/>
              <a:gd name="T57" fmla="*/ 20 h 190"/>
              <a:gd name="T58" fmla="*/ 113 w 159"/>
              <a:gd name="T59" fmla="*/ 25 h 190"/>
              <a:gd name="T60" fmla="*/ 142 w 159"/>
              <a:gd name="T61" fmla="*/ 26 h 190"/>
              <a:gd name="T62" fmla="*/ 126 w 159"/>
              <a:gd name="T63" fmla="*/ 33 h 190"/>
              <a:gd name="T64" fmla="*/ 133 w 159"/>
              <a:gd name="T65" fmla="*/ 41 h 190"/>
              <a:gd name="T66" fmla="*/ 159 w 159"/>
              <a:gd name="T67" fmla="*/ 56 h 190"/>
              <a:gd name="T68" fmla="*/ 141 w 159"/>
              <a:gd name="T69" fmla="*/ 53 h 190"/>
              <a:gd name="T70" fmla="*/ 143 w 159"/>
              <a:gd name="T71" fmla="*/ 64 h 190"/>
              <a:gd name="T72" fmla="*/ 158 w 159"/>
              <a:gd name="T73" fmla="*/ 89 h 190"/>
              <a:gd name="T74" fmla="*/ 143 w 159"/>
              <a:gd name="T75" fmla="*/ 80 h 190"/>
              <a:gd name="T76" fmla="*/ 141 w 159"/>
              <a:gd name="T77" fmla="*/ 91 h 190"/>
              <a:gd name="T78" fmla="*/ 55 w 159"/>
              <a:gd name="T79" fmla="*/ 27 h 190"/>
              <a:gd name="T80" fmla="*/ 52 w 159"/>
              <a:gd name="T81" fmla="*/ 10 h 190"/>
              <a:gd name="T82" fmla="*/ 42 w 159"/>
              <a:gd name="T83" fmla="*/ 16 h 190"/>
              <a:gd name="T84" fmla="*/ 34 w 159"/>
              <a:gd name="T85" fmla="*/ 41 h 190"/>
              <a:gd name="T86" fmla="*/ 26 w 159"/>
              <a:gd name="T87" fmla="*/ 26 h 190"/>
              <a:gd name="T88" fmla="*/ 18 w 159"/>
              <a:gd name="T89" fmla="*/ 34 h 190"/>
              <a:gd name="T90" fmla="*/ 23 w 159"/>
              <a:gd name="T91" fmla="*/ 60 h 190"/>
              <a:gd name="T92" fmla="*/ 8 w 159"/>
              <a:gd name="T93" fmla="*/ 51 h 190"/>
              <a:gd name="T94" fmla="*/ 6 w 159"/>
              <a:gd name="T95" fmla="*/ 63 h 190"/>
              <a:gd name="T96" fmla="*/ 23 w 159"/>
              <a:gd name="T97" fmla="*/ 84 h 190"/>
              <a:gd name="T98" fmla="*/ 6 w 159"/>
              <a:gd name="T99" fmla="*/ 82 h 190"/>
              <a:gd name="T100" fmla="*/ 8 w 159"/>
              <a:gd name="T101" fmla="*/ 9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9" h="190">
                <a:moveTo>
                  <a:pt x="107" y="183"/>
                </a:moveTo>
                <a:cubicBezTo>
                  <a:pt x="107" y="187"/>
                  <a:pt x="104" y="190"/>
                  <a:pt x="100" y="190"/>
                </a:cubicBezTo>
                <a:cubicBezTo>
                  <a:pt x="60" y="190"/>
                  <a:pt x="60" y="190"/>
                  <a:pt x="60" y="190"/>
                </a:cubicBezTo>
                <a:cubicBezTo>
                  <a:pt x="57" y="190"/>
                  <a:pt x="54" y="187"/>
                  <a:pt x="54" y="183"/>
                </a:cubicBezTo>
                <a:cubicBezTo>
                  <a:pt x="54" y="183"/>
                  <a:pt x="54" y="183"/>
                  <a:pt x="54" y="183"/>
                </a:cubicBezTo>
                <a:cubicBezTo>
                  <a:pt x="54" y="180"/>
                  <a:pt x="57" y="177"/>
                  <a:pt x="60" y="177"/>
                </a:cubicBezTo>
                <a:cubicBezTo>
                  <a:pt x="100" y="177"/>
                  <a:pt x="100" y="177"/>
                  <a:pt x="100" y="177"/>
                </a:cubicBezTo>
                <a:cubicBezTo>
                  <a:pt x="104" y="177"/>
                  <a:pt x="107" y="180"/>
                  <a:pt x="107" y="183"/>
                </a:cubicBezTo>
                <a:close/>
                <a:moveTo>
                  <a:pt x="107" y="166"/>
                </a:moveTo>
                <a:cubicBezTo>
                  <a:pt x="107" y="162"/>
                  <a:pt x="104" y="159"/>
                  <a:pt x="100" y="159"/>
                </a:cubicBezTo>
                <a:cubicBezTo>
                  <a:pt x="60" y="159"/>
                  <a:pt x="60" y="159"/>
                  <a:pt x="60" y="159"/>
                </a:cubicBezTo>
                <a:cubicBezTo>
                  <a:pt x="57" y="159"/>
                  <a:pt x="54" y="162"/>
                  <a:pt x="54" y="166"/>
                </a:cubicBezTo>
                <a:cubicBezTo>
                  <a:pt x="54" y="166"/>
                  <a:pt x="54" y="166"/>
                  <a:pt x="54" y="166"/>
                </a:cubicBezTo>
                <a:cubicBezTo>
                  <a:pt x="54" y="170"/>
                  <a:pt x="57" y="173"/>
                  <a:pt x="60" y="173"/>
                </a:cubicBezTo>
                <a:cubicBezTo>
                  <a:pt x="100" y="173"/>
                  <a:pt x="100" y="173"/>
                  <a:pt x="100" y="173"/>
                </a:cubicBezTo>
                <a:cubicBezTo>
                  <a:pt x="104" y="173"/>
                  <a:pt x="107" y="170"/>
                  <a:pt x="107" y="166"/>
                </a:cubicBezTo>
                <a:close/>
                <a:moveTo>
                  <a:pt x="86" y="94"/>
                </a:moveTo>
                <a:cubicBezTo>
                  <a:pt x="78" y="94"/>
                  <a:pt x="78" y="94"/>
                  <a:pt x="78" y="94"/>
                </a:cubicBezTo>
                <a:cubicBezTo>
                  <a:pt x="74" y="94"/>
                  <a:pt x="74" y="94"/>
                  <a:pt x="74" y="94"/>
                </a:cubicBezTo>
                <a:cubicBezTo>
                  <a:pt x="74" y="156"/>
                  <a:pt x="74" y="156"/>
                  <a:pt x="74" y="156"/>
                </a:cubicBezTo>
                <a:cubicBezTo>
                  <a:pt x="76" y="156"/>
                  <a:pt x="78" y="156"/>
                  <a:pt x="80" y="156"/>
                </a:cubicBezTo>
                <a:cubicBezTo>
                  <a:pt x="80" y="156"/>
                  <a:pt x="80" y="156"/>
                  <a:pt x="80" y="156"/>
                </a:cubicBezTo>
                <a:cubicBezTo>
                  <a:pt x="80" y="156"/>
                  <a:pt x="80" y="156"/>
                  <a:pt x="80" y="156"/>
                </a:cubicBezTo>
                <a:cubicBezTo>
                  <a:pt x="80" y="156"/>
                  <a:pt x="80" y="156"/>
                  <a:pt x="80" y="156"/>
                </a:cubicBezTo>
                <a:cubicBezTo>
                  <a:pt x="80" y="156"/>
                  <a:pt x="80" y="156"/>
                  <a:pt x="80" y="156"/>
                </a:cubicBezTo>
                <a:cubicBezTo>
                  <a:pt x="82" y="156"/>
                  <a:pt x="84" y="156"/>
                  <a:pt x="86" y="156"/>
                </a:cubicBezTo>
                <a:lnTo>
                  <a:pt x="86" y="94"/>
                </a:lnTo>
                <a:close/>
                <a:moveTo>
                  <a:pt x="58" y="69"/>
                </a:moveTo>
                <a:cubicBezTo>
                  <a:pt x="53" y="69"/>
                  <a:pt x="49" y="73"/>
                  <a:pt x="49" y="78"/>
                </a:cubicBezTo>
                <a:cubicBezTo>
                  <a:pt x="49" y="83"/>
                  <a:pt x="53" y="88"/>
                  <a:pt x="58" y="88"/>
                </a:cubicBezTo>
                <a:cubicBezTo>
                  <a:pt x="68" y="88"/>
                  <a:pt x="68" y="88"/>
                  <a:pt x="68" y="88"/>
                </a:cubicBezTo>
                <a:cubicBezTo>
                  <a:pt x="68" y="78"/>
                  <a:pt x="68" y="78"/>
                  <a:pt x="68" y="78"/>
                </a:cubicBezTo>
                <a:cubicBezTo>
                  <a:pt x="68" y="73"/>
                  <a:pt x="63" y="69"/>
                  <a:pt x="58" y="69"/>
                </a:cubicBezTo>
                <a:close/>
                <a:moveTo>
                  <a:pt x="112" y="78"/>
                </a:moveTo>
                <a:cubicBezTo>
                  <a:pt x="112" y="73"/>
                  <a:pt x="107" y="69"/>
                  <a:pt x="102" y="69"/>
                </a:cubicBezTo>
                <a:cubicBezTo>
                  <a:pt x="97" y="69"/>
                  <a:pt x="93" y="73"/>
                  <a:pt x="93" y="78"/>
                </a:cubicBezTo>
                <a:cubicBezTo>
                  <a:pt x="93" y="88"/>
                  <a:pt x="93" y="88"/>
                  <a:pt x="93" y="88"/>
                </a:cubicBezTo>
                <a:cubicBezTo>
                  <a:pt x="102" y="88"/>
                  <a:pt x="102" y="88"/>
                  <a:pt x="102" y="88"/>
                </a:cubicBezTo>
                <a:cubicBezTo>
                  <a:pt x="107" y="88"/>
                  <a:pt x="112" y="83"/>
                  <a:pt x="112" y="78"/>
                </a:cubicBezTo>
                <a:close/>
                <a:moveTo>
                  <a:pt x="133" y="61"/>
                </a:moveTo>
                <a:cubicBezTo>
                  <a:pt x="128" y="44"/>
                  <a:pt x="108" y="26"/>
                  <a:pt x="80" y="26"/>
                </a:cubicBezTo>
                <a:cubicBezTo>
                  <a:pt x="52" y="26"/>
                  <a:pt x="32" y="44"/>
                  <a:pt x="28" y="61"/>
                </a:cubicBezTo>
                <a:cubicBezTo>
                  <a:pt x="24" y="74"/>
                  <a:pt x="27" y="86"/>
                  <a:pt x="34" y="98"/>
                </a:cubicBezTo>
                <a:cubicBezTo>
                  <a:pt x="39" y="108"/>
                  <a:pt x="45" y="117"/>
                  <a:pt x="50" y="128"/>
                </a:cubicBezTo>
                <a:cubicBezTo>
                  <a:pt x="52" y="134"/>
                  <a:pt x="53" y="142"/>
                  <a:pt x="55" y="149"/>
                </a:cubicBezTo>
                <a:cubicBezTo>
                  <a:pt x="56" y="154"/>
                  <a:pt x="58" y="156"/>
                  <a:pt x="64" y="156"/>
                </a:cubicBezTo>
                <a:cubicBezTo>
                  <a:pt x="65" y="156"/>
                  <a:pt x="66" y="156"/>
                  <a:pt x="68" y="156"/>
                </a:cubicBezTo>
                <a:cubicBezTo>
                  <a:pt x="68" y="94"/>
                  <a:pt x="68" y="94"/>
                  <a:pt x="68" y="94"/>
                </a:cubicBezTo>
                <a:cubicBezTo>
                  <a:pt x="58" y="94"/>
                  <a:pt x="58" y="94"/>
                  <a:pt x="58" y="94"/>
                </a:cubicBezTo>
                <a:cubicBezTo>
                  <a:pt x="54" y="94"/>
                  <a:pt x="50" y="92"/>
                  <a:pt x="47" y="89"/>
                </a:cubicBezTo>
                <a:cubicBezTo>
                  <a:pt x="44" y="86"/>
                  <a:pt x="42" y="82"/>
                  <a:pt x="42" y="78"/>
                </a:cubicBezTo>
                <a:cubicBezTo>
                  <a:pt x="42" y="74"/>
                  <a:pt x="44" y="70"/>
                  <a:pt x="47" y="67"/>
                </a:cubicBezTo>
                <a:cubicBezTo>
                  <a:pt x="50" y="64"/>
                  <a:pt x="54" y="62"/>
                  <a:pt x="58" y="62"/>
                </a:cubicBezTo>
                <a:cubicBezTo>
                  <a:pt x="67" y="62"/>
                  <a:pt x="74" y="69"/>
                  <a:pt x="74" y="78"/>
                </a:cubicBezTo>
                <a:cubicBezTo>
                  <a:pt x="74" y="78"/>
                  <a:pt x="74" y="78"/>
                  <a:pt x="74" y="78"/>
                </a:cubicBezTo>
                <a:cubicBezTo>
                  <a:pt x="74" y="88"/>
                  <a:pt x="74" y="88"/>
                  <a:pt x="74" y="88"/>
                </a:cubicBezTo>
                <a:cubicBezTo>
                  <a:pt x="78" y="88"/>
                  <a:pt x="78" y="88"/>
                  <a:pt x="78" y="88"/>
                </a:cubicBezTo>
                <a:cubicBezTo>
                  <a:pt x="86" y="88"/>
                  <a:pt x="86" y="88"/>
                  <a:pt x="86" y="88"/>
                </a:cubicBezTo>
                <a:cubicBezTo>
                  <a:pt x="86" y="78"/>
                  <a:pt x="86" y="78"/>
                  <a:pt x="86" y="78"/>
                </a:cubicBezTo>
                <a:cubicBezTo>
                  <a:pt x="86" y="78"/>
                  <a:pt x="86" y="78"/>
                  <a:pt x="86" y="78"/>
                </a:cubicBezTo>
                <a:cubicBezTo>
                  <a:pt x="86" y="74"/>
                  <a:pt x="88" y="70"/>
                  <a:pt x="91" y="67"/>
                </a:cubicBezTo>
                <a:cubicBezTo>
                  <a:pt x="94" y="64"/>
                  <a:pt x="98" y="62"/>
                  <a:pt x="102" y="62"/>
                </a:cubicBezTo>
                <a:cubicBezTo>
                  <a:pt x="106" y="62"/>
                  <a:pt x="110" y="64"/>
                  <a:pt x="113" y="67"/>
                </a:cubicBezTo>
                <a:cubicBezTo>
                  <a:pt x="116" y="70"/>
                  <a:pt x="118" y="74"/>
                  <a:pt x="118" y="78"/>
                </a:cubicBezTo>
                <a:cubicBezTo>
                  <a:pt x="118" y="82"/>
                  <a:pt x="116" y="86"/>
                  <a:pt x="113" y="89"/>
                </a:cubicBezTo>
                <a:cubicBezTo>
                  <a:pt x="110" y="92"/>
                  <a:pt x="106" y="94"/>
                  <a:pt x="102" y="94"/>
                </a:cubicBezTo>
                <a:cubicBezTo>
                  <a:pt x="93" y="94"/>
                  <a:pt x="93" y="94"/>
                  <a:pt x="93" y="94"/>
                </a:cubicBezTo>
                <a:cubicBezTo>
                  <a:pt x="93" y="156"/>
                  <a:pt x="93" y="156"/>
                  <a:pt x="93" y="156"/>
                </a:cubicBezTo>
                <a:cubicBezTo>
                  <a:pt x="94" y="156"/>
                  <a:pt x="95" y="156"/>
                  <a:pt x="96" y="156"/>
                </a:cubicBezTo>
                <a:cubicBezTo>
                  <a:pt x="103" y="156"/>
                  <a:pt x="104" y="154"/>
                  <a:pt x="106" y="149"/>
                </a:cubicBezTo>
                <a:cubicBezTo>
                  <a:pt x="107" y="142"/>
                  <a:pt x="108" y="134"/>
                  <a:pt x="111" y="128"/>
                </a:cubicBezTo>
                <a:cubicBezTo>
                  <a:pt x="115" y="117"/>
                  <a:pt x="121" y="108"/>
                  <a:pt x="127" y="98"/>
                </a:cubicBezTo>
                <a:cubicBezTo>
                  <a:pt x="133" y="86"/>
                  <a:pt x="136" y="74"/>
                  <a:pt x="133" y="61"/>
                </a:cubicBezTo>
                <a:close/>
                <a:moveTo>
                  <a:pt x="86" y="6"/>
                </a:moveTo>
                <a:cubicBezTo>
                  <a:pt x="86" y="3"/>
                  <a:pt x="83" y="0"/>
                  <a:pt x="80" y="0"/>
                </a:cubicBezTo>
                <a:cubicBezTo>
                  <a:pt x="80" y="0"/>
                  <a:pt x="80" y="0"/>
                  <a:pt x="80" y="0"/>
                </a:cubicBezTo>
                <a:cubicBezTo>
                  <a:pt x="77" y="0"/>
                  <a:pt x="74" y="3"/>
                  <a:pt x="74" y="6"/>
                </a:cubicBezTo>
                <a:cubicBezTo>
                  <a:pt x="74" y="17"/>
                  <a:pt x="74" y="17"/>
                  <a:pt x="74" y="17"/>
                </a:cubicBezTo>
                <a:cubicBezTo>
                  <a:pt x="74" y="20"/>
                  <a:pt x="77" y="23"/>
                  <a:pt x="80" y="23"/>
                </a:cubicBezTo>
                <a:cubicBezTo>
                  <a:pt x="80" y="23"/>
                  <a:pt x="80" y="23"/>
                  <a:pt x="80" y="23"/>
                </a:cubicBezTo>
                <a:cubicBezTo>
                  <a:pt x="83" y="23"/>
                  <a:pt x="86" y="20"/>
                  <a:pt x="86" y="17"/>
                </a:cubicBezTo>
                <a:lnTo>
                  <a:pt x="86" y="6"/>
                </a:lnTo>
                <a:close/>
                <a:moveTo>
                  <a:pt x="118" y="16"/>
                </a:moveTo>
                <a:cubicBezTo>
                  <a:pt x="119" y="13"/>
                  <a:pt x="118" y="9"/>
                  <a:pt x="116" y="8"/>
                </a:cubicBezTo>
                <a:cubicBezTo>
                  <a:pt x="116" y="8"/>
                  <a:pt x="116" y="8"/>
                  <a:pt x="116" y="8"/>
                </a:cubicBezTo>
                <a:cubicBezTo>
                  <a:pt x="113" y="6"/>
                  <a:pt x="109" y="7"/>
                  <a:pt x="108" y="10"/>
                </a:cubicBezTo>
                <a:cubicBezTo>
                  <a:pt x="103" y="20"/>
                  <a:pt x="103" y="20"/>
                  <a:pt x="103" y="20"/>
                </a:cubicBezTo>
                <a:cubicBezTo>
                  <a:pt x="101" y="22"/>
                  <a:pt x="102" y="26"/>
                  <a:pt x="105" y="27"/>
                </a:cubicBezTo>
                <a:cubicBezTo>
                  <a:pt x="105" y="27"/>
                  <a:pt x="105" y="27"/>
                  <a:pt x="105" y="27"/>
                </a:cubicBezTo>
                <a:cubicBezTo>
                  <a:pt x="108" y="29"/>
                  <a:pt x="111" y="28"/>
                  <a:pt x="113" y="25"/>
                </a:cubicBezTo>
                <a:lnTo>
                  <a:pt x="118" y="16"/>
                </a:lnTo>
                <a:close/>
                <a:moveTo>
                  <a:pt x="141" y="34"/>
                </a:moveTo>
                <a:cubicBezTo>
                  <a:pt x="144" y="32"/>
                  <a:pt x="144" y="29"/>
                  <a:pt x="142" y="26"/>
                </a:cubicBezTo>
                <a:cubicBezTo>
                  <a:pt x="142" y="26"/>
                  <a:pt x="142" y="26"/>
                  <a:pt x="142" y="26"/>
                </a:cubicBezTo>
                <a:cubicBezTo>
                  <a:pt x="140" y="24"/>
                  <a:pt x="136" y="24"/>
                  <a:pt x="134" y="26"/>
                </a:cubicBezTo>
                <a:cubicBezTo>
                  <a:pt x="126" y="33"/>
                  <a:pt x="126" y="33"/>
                  <a:pt x="126" y="33"/>
                </a:cubicBezTo>
                <a:cubicBezTo>
                  <a:pt x="123" y="35"/>
                  <a:pt x="123" y="38"/>
                  <a:pt x="125" y="41"/>
                </a:cubicBezTo>
                <a:cubicBezTo>
                  <a:pt x="125" y="41"/>
                  <a:pt x="125" y="41"/>
                  <a:pt x="125" y="41"/>
                </a:cubicBezTo>
                <a:cubicBezTo>
                  <a:pt x="127" y="43"/>
                  <a:pt x="131" y="43"/>
                  <a:pt x="133" y="41"/>
                </a:cubicBezTo>
                <a:lnTo>
                  <a:pt x="141" y="34"/>
                </a:lnTo>
                <a:close/>
                <a:moveTo>
                  <a:pt x="154" y="63"/>
                </a:moveTo>
                <a:cubicBezTo>
                  <a:pt x="157" y="62"/>
                  <a:pt x="159" y="59"/>
                  <a:pt x="159" y="56"/>
                </a:cubicBezTo>
                <a:cubicBezTo>
                  <a:pt x="159" y="56"/>
                  <a:pt x="159" y="56"/>
                  <a:pt x="159" y="56"/>
                </a:cubicBezTo>
                <a:cubicBezTo>
                  <a:pt x="158" y="53"/>
                  <a:pt x="155" y="51"/>
                  <a:pt x="152" y="51"/>
                </a:cubicBezTo>
                <a:cubicBezTo>
                  <a:pt x="141" y="53"/>
                  <a:pt x="141" y="53"/>
                  <a:pt x="141" y="53"/>
                </a:cubicBezTo>
                <a:cubicBezTo>
                  <a:pt x="138" y="54"/>
                  <a:pt x="136" y="57"/>
                  <a:pt x="137" y="60"/>
                </a:cubicBezTo>
                <a:cubicBezTo>
                  <a:pt x="137" y="60"/>
                  <a:pt x="137" y="60"/>
                  <a:pt x="137" y="60"/>
                </a:cubicBezTo>
                <a:cubicBezTo>
                  <a:pt x="137" y="63"/>
                  <a:pt x="140" y="65"/>
                  <a:pt x="143" y="64"/>
                </a:cubicBezTo>
                <a:lnTo>
                  <a:pt x="154" y="63"/>
                </a:lnTo>
                <a:close/>
                <a:moveTo>
                  <a:pt x="151" y="93"/>
                </a:moveTo>
                <a:cubicBezTo>
                  <a:pt x="154" y="94"/>
                  <a:pt x="157" y="92"/>
                  <a:pt x="158" y="89"/>
                </a:cubicBezTo>
                <a:cubicBezTo>
                  <a:pt x="158" y="89"/>
                  <a:pt x="158" y="89"/>
                  <a:pt x="158" y="89"/>
                </a:cubicBezTo>
                <a:cubicBezTo>
                  <a:pt x="159" y="86"/>
                  <a:pt x="157" y="83"/>
                  <a:pt x="154" y="82"/>
                </a:cubicBezTo>
                <a:cubicBezTo>
                  <a:pt x="143" y="80"/>
                  <a:pt x="143" y="80"/>
                  <a:pt x="143" y="80"/>
                </a:cubicBezTo>
                <a:cubicBezTo>
                  <a:pt x="140" y="79"/>
                  <a:pt x="137" y="81"/>
                  <a:pt x="136" y="84"/>
                </a:cubicBezTo>
                <a:cubicBezTo>
                  <a:pt x="136" y="84"/>
                  <a:pt x="136" y="84"/>
                  <a:pt x="136" y="84"/>
                </a:cubicBezTo>
                <a:cubicBezTo>
                  <a:pt x="136" y="88"/>
                  <a:pt x="138" y="91"/>
                  <a:pt x="141" y="91"/>
                </a:cubicBezTo>
                <a:lnTo>
                  <a:pt x="151" y="93"/>
                </a:lnTo>
                <a:close/>
                <a:moveTo>
                  <a:pt x="47" y="25"/>
                </a:moveTo>
                <a:cubicBezTo>
                  <a:pt x="48" y="28"/>
                  <a:pt x="52" y="29"/>
                  <a:pt x="55" y="27"/>
                </a:cubicBezTo>
                <a:cubicBezTo>
                  <a:pt x="55" y="27"/>
                  <a:pt x="55" y="27"/>
                  <a:pt x="55" y="27"/>
                </a:cubicBezTo>
                <a:cubicBezTo>
                  <a:pt x="57" y="26"/>
                  <a:pt x="58" y="22"/>
                  <a:pt x="57" y="20"/>
                </a:cubicBezTo>
                <a:cubicBezTo>
                  <a:pt x="52" y="10"/>
                  <a:pt x="52" y="10"/>
                  <a:pt x="52" y="10"/>
                </a:cubicBezTo>
                <a:cubicBezTo>
                  <a:pt x="50" y="7"/>
                  <a:pt x="47" y="6"/>
                  <a:pt x="44" y="8"/>
                </a:cubicBezTo>
                <a:cubicBezTo>
                  <a:pt x="44" y="8"/>
                  <a:pt x="44" y="8"/>
                  <a:pt x="44" y="8"/>
                </a:cubicBezTo>
                <a:cubicBezTo>
                  <a:pt x="41" y="9"/>
                  <a:pt x="40" y="13"/>
                  <a:pt x="42" y="16"/>
                </a:cubicBezTo>
                <a:lnTo>
                  <a:pt x="47" y="25"/>
                </a:lnTo>
                <a:close/>
                <a:moveTo>
                  <a:pt x="26" y="41"/>
                </a:moveTo>
                <a:cubicBezTo>
                  <a:pt x="28" y="43"/>
                  <a:pt x="32" y="43"/>
                  <a:pt x="34" y="41"/>
                </a:cubicBezTo>
                <a:cubicBezTo>
                  <a:pt x="34" y="41"/>
                  <a:pt x="34" y="41"/>
                  <a:pt x="34" y="41"/>
                </a:cubicBezTo>
                <a:cubicBezTo>
                  <a:pt x="36" y="38"/>
                  <a:pt x="36" y="35"/>
                  <a:pt x="34" y="33"/>
                </a:cubicBezTo>
                <a:cubicBezTo>
                  <a:pt x="26" y="26"/>
                  <a:pt x="26" y="26"/>
                  <a:pt x="26" y="26"/>
                </a:cubicBezTo>
                <a:cubicBezTo>
                  <a:pt x="23" y="24"/>
                  <a:pt x="20" y="24"/>
                  <a:pt x="18" y="26"/>
                </a:cubicBezTo>
                <a:cubicBezTo>
                  <a:pt x="18" y="26"/>
                  <a:pt x="18" y="26"/>
                  <a:pt x="18" y="26"/>
                </a:cubicBezTo>
                <a:cubicBezTo>
                  <a:pt x="15" y="29"/>
                  <a:pt x="16" y="32"/>
                  <a:pt x="18" y="34"/>
                </a:cubicBezTo>
                <a:lnTo>
                  <a:pt x="26" y="41"/>
                </a:lnTo>
                <a:close/>
                <a:moveTo>
                  <a:pt x="16" y="64"/>
                </a:moveTo>
                <a:cubicBezTo>
                  <a:pt x="19" y="65"/>
                  <a:pt x="22" y="63"/>
                  <a:pt x="23" y="60"/>
                </a:cubicBezTo>
                <a:cubicBezTo>
                  <a:pt x="23" y="60"/>
                  <a:pt x="23" y="60"/>
                  <a:pt x="23" y="60"/>
                </a:cubicBezTo>
                <a:cubicBezTo>
                  <a:pt x="23" y="57"/>
                  <a:pt x="21" y="54"/>
                  <a:pt x="18" y="53"/>
                </a:cubicBezTo>
                <a:cubicBezTo>
                  <a:pt x="8" y="51"/>
                  <a:pt x="8" y="51"/>
                  <a:pt x="8" y="51"/>
                </a:cubicBezTo>
                <a:cubicBezTo>
                  <a:pt x="5" y="51"/>
                  <a:pt x="2" y="53"/>
                  <a:pt x="1" y="56"/>
                </a:cubicBezTo>
                <a:cubicBezTo>
                  <a:pt x="1" y="56"/>
                  <a:pt x="1" y="56"/>
                  <a:pt x="1" y="56"/>
                </a:cubicBezTo>
                <a:cubicBezTo>
                  <a:pt x="0" y="59"/>
                  <a:pt x="3" y="62"/>
                  <a:pt x="6" y="63"/>
                </a:cubicBezTo>
                <a:lnTo>
                  <a:pt x="16" y="64"/>
                </a:lnTo>
                <a:close/>
                <a:moveTo>
                  <a:pt x="19" y="91"/>
                </a:moveTo>
                <a:cubicBezTo>
                  <a:pt x="22" y="91"/>
                  <a:pt x="24" y="88"/>
                  <a:pt x="23" y="84"/>
                </a:cubicBezTo>
                <a:cubicBezTo>
                  <a:pt x="23" y="84"/>
                  <a:pt x="23" y="84"/>
                  <a:pt x="23" y="84"/>
                </a:cubicBezTo>
                <a:cubicBezTo>
                  <a:pt x="22" y="81"/>
                  <a:pt x="19" y="79"/>
                  <a:pt x="16" y="80"/>
                </a:cubicBezTo>
                <a:cubicBezTo>
                  <a:pt x="6" y="82"/>
                  <a:pt x="6" y="82"/>
                  <a:pt x="6" y="82"/>
                </a:cubicBezTo>
                <a:cubicBezTo>
                  <a:pt x="3" y="83"/>
                  <a:pt x="1" y="86"/>
                  <a:pt x="1" y="89"/>
                </a:cubicBezTo>
                <a:cubicBezTo>
                  <a:pt x="1" y="89"/>
                  <a:pt x="1" y="89"/>
                  <a:pt x="1" y="89"/>
                </a:cubicBezTo>
                <a:cubicBezTo>
                  <a:pt x="2" y="92"/>
                  <a:pt x="5" y="94"/>
                  <a:pt x="8" y="93"/>
                </a:cubicBezTo>
                <a:lnTo>
                  <a:pt x="19" y="91"/>
                </a:lnTo>
                <a:close/>
              </a:path>
            </a:pathLst>
          </a:custGeom>
          <a:solidFill>
            <a:srgbClr val="7700FF"/>
          </a:solidFill>
          <a:ln>
            <a:noFill/>
          </a:ln>
        </p:spPr>
        <p:txBody>
          <a:bodyPr vert="horz" wrap="square" lIns="68580" tIns="34290" rIns="68580" bIns="34290" numCol="1" anchor="t" anchorCtr="0" compatLnSpc="1">
            <a:prstTxWarp prst="textNoShape">
              <a:avLst/>
            </a:prstTxWarp>
          </a:bodyPr>
          <a:lstStyle/>
          <a:p>
            <a:endParaRPr lang="en-US" sz="1013" dirty="0">
              <a:latin typeface="Rostelecom Basis" panose="020B0503030604040103" pitchFamily="34" charset="0"/>
            </a:endParaRPr>
          </a:p>
        </p:txBody>
      </p:sp>
      <p:pic>
        <p:nvPicPr>
          <p:cNvPr id="18" name="Рисунок 17"/>
          <p:cNvPicPr>
            <a:picLocks noChangeAspect="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22545" y="5092124"/>
            <a:ext cx="371511" cy="371511"/>
          </a:xfrm>
          <a:prstGeom prst="rect">
            <a:avLst/>
          </a:prstGeom>
        </p:spPr>
      </p:pic>
      <p:sp>
        <p:nvSpPr>
          <p:cNvPr id="49" name="Rounded Rectangle"/>
          <p:cNvSpPr/>
          <p:nvPr/>
        </p:nvSpPr>
        <p:spPr>
          <a:xfrm>
            <a:off x="3313592" y="3871872"/>
            <a:ext cx="2811117" cy="2077128"/>
          </a:xfrm>
          <a:prstGeom prst="roundRect">
            <a:avLst>
              <a:gd name="adj" fmla="val 8959"/>
            </a:avLst>
          </a:prstGeom>
          <a:solidFill>
            <a:schemeClr val="bg1">
              <a:lumMod val="50000"/>
              <a:alpha val="30000"/>
            </a:schemeClr>
          </a:solidFill>
          <a:ln w="12700" cap="flat">
            <a:noFill/>
            <a:miter lim="400000"/>
          </a:ln>
          <a:effectLst/>
        </p:spPr>
        <p:txBody>
          <a:bodyPr wrap="square" lIns="0" tIns="0" rIns="0" bIns="0" numCol="1" anchor="ctr">
            <a:noAutofit/>
          </a:bodyPr>
          <a:lstStyle/>
          <a:p>
            <a:pPr algn="ctr" defTabSz="412750" hangingPunct="0">
              <a:defRPr sz="3200" b="0">
                <a:solidFill>
                  <a:srgbClr val="479FF8"/>
                </a:solidFill>
                <a:latin typeface="+mn-lt"/>
                <a:ea typeface="+mn-ea"/>
                <a:cs typeface="+mn-cs"/>
                <a:sym typeface="Helvetica Neue Medium"/>
              </a:defRPr>
            </a:pPr>
            <a:endParaRPr sz="1600" kern="0">
              <a:solidFill>
                <a:srgbClr val="479FF8"/>
              </a:solidFill>
              <a:latin typeface="Helvetica Neue Medium"/>
              <a:ea typeface="Helvetica Neue Medium"/>
              <a:cs typeface="Helvetica Neue Medium"/>
              <a:sym typeface="Helvetica Neue Medium"/>
            </a:endParaRPr>
          </a:p>
        </p:txBody>
      </p:sp>
      <p:sp>
        <p:nvSpPr>
          <p:cNvPr id="50" name="TextBox 49">
            <a:extLst>
              <a:ext uri="{FF2B5EF4-FFF2-40B4-BE49-F238E27FC236}">
                <a16:creationId xmlns:a16="http://schemas.microsoft.com/office/drawing/2014/main" id="{D6F1C5F8-4679-4190-9B68-D1E2526B9699}"/>
              </a:ext>
            </a:extLst>
          </p:cNvPr>
          <p:cNvSpPr txBox="1">
            <a:spLocks/>
          </p:cNvSpPr>
          <p:nvPr/>
        </p:nvSpPr>
        <p:spPr>
          <a:xfrm>
            <a:off x="4072402" y="4126171"/>
            <a:ext cx="1371308" cy="587084"/>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Повышение </a:t>
            </a:r>
            <a:r>
              <a:rPr lang="ru-RU" sz="1400" dirty="0">
                <a:solidFill>
                  <a:srgbClr val="101828"/>
                </a:solidFill>
              </a:rPr>
              <a:t>эффективности систем</a:t>
            </a:r>
          </a:p>
        </p:txBody>
      </p:sp>
      <p:grpSp>
        <p:nvGrpSpPr>
          <p:cNvPr id="51" name="Group 452">
            <a:extLst>
              <a:ext uri="{FF2B5EF4-FFF2-40B4-BE49-F238E27FC236}">
                <a16:creationId xmlns:a16="http://schemas.microsoft.com/office/drawing/2014/main" id="{C64D8AB6-A780-4D87-88A8-081DA5DBADD1}"/>
              </a:ext>
            </a:extLst>
          </p:cNvPr>
          <p:cNvGrpSpPr/>
          <p:nvPr/>
        </p:nvGrpSpPr>
        <p:grpSpPr>
          <a:xfrm>
            <a:off x="3556995" y="5093911"/>
            <a:ext cx="2363875" cy="581698"/>
            <a:chOff x="357281" y="6241024"/>
            <a:chExt cx="2681521" cy="659862"/>
          </a:xfrm>
        </p:grpSpPr>
        <p:sp>
          <p:nvSpPr>
            <p:cNvPr id="52" name="TextBox 51">
              <a:extLst>
                <a:ext uri="{FF2B5EF4-FFF2-40B4-BE49-F238E27FC236}">
                  <a16:creationId xmlns:a16="http://schemas.microsoft.com/office/drawing/2014/main" id="{D6F1C5F8-4679-4190-9B68-D1E2526B9699}"/>
                </a:ext>
              </a:extLst>
            </p:cNvPr>
            <p:cNvSpPr txBox="1">
              <a:spLocks/>
            </p:cNvSpPr>
            <p:nvPr/>
          </p:nvSpPr>
          <p:spPr>
            <a:xfrm>
              <a:off x="947142" y="6241024"/>
              <a:ext cx="2091660" cy="65986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lvl="0" indent="0" defTabSz="914054">
                <a:lnSpc>
                  <a:spcPct val="90000"/>
                </a:lnSpc>
                <a:spcAft>
                  <a:spcPts val="0"/>
                </a:spcAft>
                <a:buNone/>
                <a:defRPr/>
              </a:pPr>
              <a:r>
                <a:rPr lang="ru-RU" sz="1400" dirty="0">
                  <a:solidFill>
                    <a:srgbClr val="101828"/>
                  </a:solidFill>
                </a:rPr>
                <a:t>К</a:t>
              </a:r>
              <a:r>
                <a:rPr lang="ru-RU" sz="1400" dirty="0" smtClean="0">
                  <a:solidFill>
                    <a:srgbClr val="101828"/>
                  </a:solidFill>
                </a:rPr>
                <a:t>онфиденциальность </a:t>
              </a:r>
              <a:r>
                <a:rPr lang="ru-RU" sz="1400" dirty="0">
                  <a:solidFill>
                    <a:srgbClr val="101828"/>
                  </a:solidFill>
                </a:rPr>
                <a:t>пользовательских данных</a:t>
              </a:r>
            </a:p>
          </p:txBody>
        </p:sp>
        <p:sp>
          <p:nvSpPr>
            <p:cNvPr id="53" name="Oval 126">
              <a:extLst>
                <a:ext uri="{FF2B5EF4-FFF2-40B4-BE49-F238E27FC236}">
                  <a16:creationId xmlns:a16="http://schemas.microsoft.com/office/drawing/2014/main" id="{C1FF1F03-704F-41C3-958E-83F5BAC87BD5}"/>
                </a:ext>
              </a:extLst>
            </p:cNvPr>
            <p:cNvSpPr>
              <a:spLocks/>
            </p:cNvSpPr>
            <p:nvPr/>
          </p:nvSpPr>
          <p:spPr>
            <a:xfrm>
              <a:off x="357281" y="6366771"/>
              <a:ext cx="408375" cy="408375"/>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0" rtlCol="0" anchor="ctr">
              <a:noAutofit/>
            </a:bodyPr>
            <a:lstStyle/>
            <a:p>
              <a:pPr defTabSz="914054">
                <a:defRPr/>
              </a:pPr>
              <a:endParaRPr lang="ru-RU" sz="1234" b="1" dirty="0">
                <a:solidFill>
                  <a:srgbClr val="7700FF"/>
                </a:solidFill>
                <a:latin typeface="Rostelecom Basis Medium"/>
              </a:endParaRPr>
            </a:p>
          </p:txBody>
        </p:sp>
      </p:grpSp>
      <p:sp>
        <p:nvSpPr>
          <p:cNvPr id="54" name="Oval 126">
            <a:extLst>
              <a:ext uri="{FF2B5EF4-FFF2-40B4-BE49-F238E27FC236}">
                <a16:creationId xmlns:a16="http://schemas.microsoft.com/office/drawing/2014/main" id="{42E653C5-0AB4-4CC7-9DEA-53F74D542272}"/>
              </a:ext>
            </a:extLst>
          </p:cNvPr>
          <p:cNvSpPr>
            <a:spLocks/>
          </p:cNvSpPr>
          <p:nvPr/>
        </p:nvSpPr>
        <p:spPr>
          <a:xfrm>
            <a:off x="3556995" y="4211752"/>
            <a:ext cx="360000" cy="360000"/>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126942" rtlCol="0" anchor="ctr">
            <a:noAutofit/>
          </a:bodyPr>
          <a:lstStyle/>
          <a:p>
            <a:pPr defTabSz="914054">
              <a:defRPr/>
            </a:pPr>
            <a:endParaRPr lang="ru-RU" sz="1234" b="1" dirty="0">
              <a:solidFill>
                <a:srgbClr val="7700FF"/>
              </a:solidFill>
              <a:latin typeface="Rostelecom Basis Medium"/>
            </a:endParaRPr>
          </a:p>
        </p:txBody>
      </p:sp>
      <p:pic>
        <p:nvPicPr>
          <p:cNvPr id="20" name="Рисунок 19"/>
          <p:cNvPicPr>
            <a:picLocks noChangeAspect="1"/>
          </p:cNvPicPr>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40390" y="4187610"/>
            <a:ext cx="362811" cy="362811"/>
          </a:xfrm>
          <a:prstGeom prst="rect">
            <a:avLst/>
          </a:prstGeom>
        </p:spPr>
      </p:pic>
      <p:pic>
        <p:nvPicPr>
          <p:cNvPr id="19" name="Рисунок 18"/>
          <p:cNvPicPr>
            <a:picLocks noChangeAspect="1"/>
          </p:cNvPicPr>
          <p:nvPr/>
        </p:nvPicPr>
        <p:blipFill>
          <a:blip r:embed="rId1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40390" y="5181792"/>
            <a:ext cx="378000" cy="378000"/>
          </a:xfrm>
          <a:prstGeom prst="rect">
            <a:avLst/>
          </a:prstGeom>
        </p:spPr>
      </p:pic>
      <p:grpSp>
        <p:nvGrpSpPr>
          <p:cNvPr id="247" name="Группа 246"/>
          <p:cNvGrpSpPr/>
          <p:nvPr/>
        </p:nvGrpSpPr>
        <p:grpSpPr>
          <a:xfrm>
            <a:off x="732690" y="4423506"/>
            <a:ext cx="264784" cy="336809"/>
            <a:chOff x="7140253" y="5410200"/>
            <a:chExt cx="157166" cy="300241"/>
          </a:xfrm>
        </p:grpSpPr>
        <p:cxnSp>
          <p:nvCxnSpPr>
            <p:cNvPr id="248" name="Прямая со стрелкой 247"/>
            <p:cNvCxnSpPr/>
            <p:nvPr/>
          </p:nvCxnSpPr>
          <p:spPr>
            <a:xfrm flipV="1">
              <a:off x="7140253" y="5558127"/>
              <a:ext cx="0" cy="152313"/>
            </a:xfrm>
            <a:prstGeom prst="straightConnector1">
              <a:avLst/>
            </a:prstGeom>
            <a:ln w="31750">
              <a:solidFill>
                <a:schemeClr val="accent1">
                  <a:lumMod val="75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249" name="Прямая со стрелкой 248"/>
            <p:cNvCxnSpPr/>
            <p:nvPr/>
          </p:nvCxnSpPr>
          <p:spPr>
            <a:xfrm flipV="1">
              <a:off x="7218836" y="5482039"/>
              <a:ext cx="0" cy="228401"/>
            </a:xfrm>
            <a:prstGeom prst="straightConnector1">
              <a:avLst/>
            </a:prstGeom>
            <a:ln w="31750">
              <a:solidFill>
                <a:schemeClr val="accent1">
                  <a:lumMod val="75000"/>
                </a:schemeClr>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250" name="Прямая со стрелкой 249"/>
            <p:cNvCxnSpPr/>
            <p:nvPr/>
          </p:nvCxnSpPr>
          <p:spPr>
            <a:xfrm flipV="1">
              <a:off x="7297419" y="5410200"/>
              <a:ext cx="0" cy="300241"/>
            </a:xfrm>
            <a:prstGeom prst="straightConnector1">
              <a:avLst/>
            </a:prstGeom>
            <a:ln w="31750">
              <a:solidFill>
                <a:schemeClr val="accent1">
                  <a:lumMod val="75000"/>
                </a:schemeClr>
              </a:solidFill>
              <a:tailEnd type="triangle" w="med" len="sm"/>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58327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ounded Rectangle"/>
          <p:cNvSpPr/>
          <p:nvPr/>
        </p:nvSpPr>
        <p:spPr>
          <a:xfrm>
            <a:off x="426000" y="3871872"/>
            <a:ext cx="2667152" cy="2077128"/>
          </a:xfrm>
          <a:prstGeom prst="roundRect">
            <a:avLst>
              <a:gd name="adj" fmla="val 8959"/>
            </a:avLst>
          </a:prstGeom>
          <a:solidFill>
            <a:schemeClr val="bg1">
              <a:lumMod val="50000"/>
              <a:alpha val="30000"/>
            </a:schemeClr>
          </a:solidFill>
          <a:ln w="12700" cap="flat">
            <a:noFill/>
            <a:miter lim="400000"/>
          </a:ln>
          <a:effectLst/>
        </p:spPr>
        <p:txBody>
          <a:bodyPr wrap="square" lIns="0" tIns="0" rIns="0" bIns="0" numCol="1" anchor="ctr">
            <a:noAutofit/>
          </a:bodyPr>
          <a:lstStyle/>
          <a:p>
            <a:pPr algn="ctr" defTabSz="412750" hangingPunct="0">
              <a:defRPr sz="3200" b="0">
                <a:solidFill>
                  <a:srgbClr val="479FF8"/>
                </a:solidFill>
                <a:latin typeface="+mn-lt"/>
                <a:ea typeface="+mn-ea"/>
                <a:cs typeface="+mn-cs"/>
                <a:sym typeface="Helvetica Neue Medium"/>
              </a:defRPr>
            </a:pPr>
            <a:endParaRPr sz="1600" kern="0">
              <a:solidFill>
                <a:srgbClr val="479FF8"/>
              </a:solidFill>
              <a:latin typeface="Helvetica Neue Medium"/>
              <a:ea typeface="Helvetica Neue Medium"/>
              <a:cs typeface="Helvetica Neue Medium"/>
              <a:sym typeface="Helvetica Neue Medium"/>
            </a:endParaRPr>
          </a:p>
        </p:txBody>
      </p:sp>
      <p:graphicFrame>
        <p:nvGraphicFramePr>
          <p:cNvPr id="5" name="Объект 4" hidden="1"/>
          <p:cNvGraphicFramePr>
            <a:graphicFrameLocks noChangeAspect="1"/>
          </p:cNvGraphicFramePr>
          <p:nvPr>
            <p:custDataLst>
              <p:tags r:id="rId2"/>
            </p:custDataLst>
            <p:extLst/>
          </p:nvPr>
        </p:nvGraphicFramePr>
        <p:xfrm>
          <a:off x="7275" y="4787"/>
          <a:ext cx="1586" cy="1586"/>
        </p:xfrm>
        <a:graphic>
          <a:graphicData uri="http://schemas.openxmlformats.org/presentationml/2006/ole">
            <mc:AlternateContent xmlns:mc="http://schemas.openxmlformats.org/markup-compatibility/2006">
              <mc:Choice xmlns:v="urn:schemas-microsoft-com:vml" Requires="v">
                <p:oleObj spid="_x0000_s21512" name="Слайд think-cell" r:id="rId5" imgW="473" imgH="473" progId="TCLayout.ActiveDocument.1">
                  <p:embed/>
                </p:oleObj>
              </mc:Choice>
              <mc:Fallback>
                <p:oleObj name="Слайд think-cell" r:id="rId5" imgW="473" imgH="473" progId="TCLayout.ActiveDocument.1">
                  <p:embed/>
                  <p:pic>
                    <p:nvPicPr>
                      <p:cNvPr id="5" name="Объект 4" hidden="1"/>
                      <p:cNvPicPr/>
                      <p:nvPr/>
                    </p:nvPicPr>
                    <p:blipFill>
                      <a:blip r:embed="rId6"/>
                      <a:stretch>
                        <a:fillRect/>
                      </a:stretch>
                    </p:blipFill>
                    <p:spPr>
                      <a:xfrm>
                        <a:off x="7275" y="4787"/>
                        <a:ext cx="1586" cy="1586"/>
                      </a:xfrm>
                      <a:prstGeom prst="rect">
                        <a:avLst/>
                      </a:prstGeom>
                    </p:spPr>
                  </p:pic>
                </p:oleObj>
              </mc:Fallback>
            </mc:AlternateContent>
          </a:graphicData>
        </a:graphic>
      </p:graphicFrame>
      <p:sp>
        <p:nvSpPr>
          <p:cNvPr id="168" name="TextBox 167"/>
          <p:cNvSpPr txBox="1">
            <a:spLocks/>
          </p:cNvSpPr>
          <p:nvPr/>
        </p:nvSpPr>
        <p:spPr>
          <a:xfrm>
            <a:off x="426000" y="1777952"/>
            <a:ext cx="2498277" cy="877163"/>
          </a:xfrm>
          <a:prstGeom prst="rect">
            <a:avLst/>
          </a:prstGeom>
          <a:noFill/>
        </p:spPr>
        <p:txBody>
          <a:bodyPr wrap="square" lIns="0" tIns="0" rIns="0" bIns="0" rtlCol="0">
            <a:spAutoFit/>
          </a:bodyPr>
          <a:lstStyle/>
          <a:p>
            <a:pPr lvl="0" algn="ctr" defTabSz="1036930">
              <a:defRPr/>
            </a:pPr>
            <a:r>
              <a:rPr lang="ru-RU" sz="1900" b="1" kern="0" dirty="0">
                <a:solidFill>
                  <a:srgbClr val="272F3D"/>
                </a:solidFill>
              </a:rPr>
              <a:t>Информационная </a:t>
            </a:r>
          </a:p>
          <a:p>
            <a:pPr lvl="0" algn="ctr" defTabSz="1036930">
              <a:defRPr/>
            </a:pPr>
            <a:r>
              <a:rPr lang="ru-RU" sz="1900" b="1" kern="0" dirty="0">
                <a:solidFill>
                  <a:srgbClr val="272F3D"/>
                </a:solidFill>
              </a:rPr>
              <a:t>безопасность</a:t>
            </a:r>
            <a:r>
              <a:rPr lang="ru-RU" sz="1900" b="1" dirty="0">
                <a:solidFill>
                  <a:srgbClr val="272F3D"/>
                </a:solidFill>
              </a:rPr>
              <a:t> </a:t>
            </a:r>
            <a:endParaRPr lang="ru-RU" sz="1900" b="1" dirty="0">
              <a:solidFill>
                <a:srgbClr val="7700FF"/>
              </a:solidFill>
            </a:endParaRPr>
          </a:p>
          <a:p>
            <a:pPr algn="ctr" defTabSz="914054"/>
            <a:r>
              <a:rPr lang="ru-RU" sz="1900" b="1" dirty="0" smtClean="0">
                <a:solidFill>
                  <a:srgbClr val="272F3D"/>
                </a:solidFill>
                <a:latin typeface="Rostelecom Basis"/>
              </a:rPr>
              <a:t> </a:t>
            </a:r>
            <a:endParaRPr lang="ru-RU" sz="1900" b="1" dirty="0">
              <a:solidFill>
                <a:srgbClr val="7700FF"/>
              </a:solidFill>
              <a:latin typeface="Rostelecom Basis"/>
            </a:endParaRPr>
          </a:p>
        </p:txBody>
      </p:sp>
      <p:sp>
        <p:nvSpPr>
          <p:cNvPr id="186" name="TextBox 185">
            <a:extLst>
              <a:ext uri="{FF2B5EF4-FFF2-40B4-BE49-F238E27FC236}">
                <a16:creationId xmlns:a16="http://schemas.microsoft.com/office/drawing/2014/main" id="{D6F1C5F8-4679-4190-9B68-D1E2526B9699}"/>
              </a:ext>
            </a:extLst>
          </p:cNvPr>
          <p:cNvSpPr txBox="1">
            <a:spLocks/>
          </p:cNvSpPr>
          <p:nvPr/>
        </p:nvSpPr>
        <p:spPr>
          <a:xfrm>
            <a:off x="1229808" y="4126170"/>
            <a:ext cx="1560069" cy="587084"/>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a:solidFill>
                  <a:srgbClr val="101828"/>
                </a:solidFill>
              </a:rPr>
              <a:t>Б</a:t>
            </a:r>
            <a:r>
              <a:rPr lang="ru-RU" sz="1400" dirty="0" smtClean="0">
                <a:solidFill>
                  <a:srgbClr val="101828"/>
                </a:solidFill>
              </a:rPr>
              <a:t>езопасность </a:t>
            </a:r>
            <a:r>
              <a:rPr lang="ru-RU" sz="1400" dirty="0">
                <a:solidFill>
                  <a:srgbClr val="101828"/>
                </a:solidFill>
              </a:rPr>
              <a:t>всех внутренних процессов</a:t>
            </a:r>
          </a:p>
        </p:txBody>
      </p:sp>
      <p:sp>
        <p:nvSpPr>
          <p:cNvPr id="229" name="TextBox 228">
            <a:extLst>
              <a:ext uri="{FF2B5EF4-FFF2-40B4-BE49-F238E27FC236}">
                <a16:creationId xmlns:a16="http://schemas.microsoft.com/office/drawing/2014/main" id="{69E508F1-9613-4272-9018-4D5C5117E242}"/>
              </a:ext>
            </a:extLst>
          </p:cNvPr>
          <p:cNvSpPr txBox="1">
            <a:spLocks/>
          </p:cNvSpPr>
          <p:nvPr/>
        </p:nvSpPr>
        <p:spPr>
          <a:xfrm>
            <a:off x="3400588" y="1775565"/>
            <a:ext cx="2342526" cy="292388"/>
          </a:xfrm>
          <a:prstGeom prst="rect">
            <a:avLst/>
          </a:prstGeom>
          <a:noFill/>
        </p:spPr>
        <p:txBody>
          <a:bodyPr wrap="square" lIns="0" tIns="0" rIns="0" bIns="0" rtlCol="0">
            <a:spAutoFit/>
          </a:bodyPr>
          <a:lstStyle/>
          <a:p>
            <a:pPr algn="ctr" defTabSz="1036930"/>
            <a:r>
              <a:rPr lang="en-US" sz="1900" b="1" kern="0" dirty="0" smtClean="0">
                <a:solidFill>
                  <a:srgbClr val="272F3D"/>
                </a:solidFill>
              </a:rPr>
              <a:t>IT</a:t>
            </a:r>
            <a:r>
              <a:rPr lang="ru-RU" sz="1900" b="1" kern="0" dirty="0" smtClean="0">
                <a:solidFill>
                  <a:srgbClr val="272F3D"/>
                </a:solidFill>
              </a:rPr>
              <a:t>-кадры</a:t>
            </a:r>
            <a:endParaRPr lang="ru-RU" sz="1900" b="1" kern="0" dirty="0">
              <a:solidFill>
                <a:srgbClr val="272F3D"/>
              </a:solidFill>
            </a:endParaRPr>
          </a:p>
        </p:txBody>
      </p:sp>
      <p:sp>
        <p:nvSpPr>
          <p:cNvPr id="230" name="TextBox 229">
            <a:extLst>
              <a:ext uri="{FF2B5EF4-FFF2-40B4-BE49-F238E27FC236}">
                <a16:creationId xmlns:a16="http://schemas.microsoft.com/office/drawing/2014/main" id="{619A3B95-5CD9-4012-91F9-3B9B63ED02BF}"/>
              </a:ext>
            </a:extLst>
          </p:cNvPr>
          <p:cNvSpPr txBox="1">
            <a:spLocks/>
          </p:cNvSpPr>
          <p:nvPr/>
        </p:nvSpPr>
        <p:spPr>
          <a:xfrm>
            <a:off x="6257180" y="1777952"/>
            <a:ext cx="2652277" cy="877163"/>
          </a:xfrm>
          <a:prstGeom prst="rect">
            <a:avLst/>
          </a:prstGeom>
          <a:noFill/>
        </p:spPr>
        <p:txBody>
          <a:bodyPr wrap="square" lIns="0" tIns="0" rIns="0" bIns="0" rtlCol="0">
            <a:spAutoFit/>
          </a:bodyPr>
          <a:lstStyle/>
          <a:p>
            <a:pPr algn="ctr" defTabSz="1036930"/>
            <a:r>
              <a:rPr lang="ru-RU" sz="1900" b="1" kern="0" dirty="0">
                <a:solidFill>
                  <a:srgbClr val="272F3D"/>
                </a:solidFill>
              </a:rPr>
              <a:t>Цифровая</a:t>
            </a:r>
          </a:p>
          <a:p>
            <a:pPr algn="ctr" defTabSz="1036930"/>
            <a:r>
              <a:rPr lang="ru-RU" sz="1900" b="1" kern="0" dirty="0">
                <a:solidFill>
                  <a:srgbClr val="272F3D"/>
                </a:solidFill>
              </a:rPr>
              <a:t>экономика</a:t>
            </a:r>
          </a:p>
          <a:p>
            <a:pPr algn="ctr" defTabSz="914054"/>
            <a:endParaRPr lang="ru-RU" sz="1900" b="1" kern="0" dirty="0">
              <a:solidFill>
                <a:srgbClr val="272F3D"/>
              </a:solidFill>
            </a:endParaRPr>
          </a:p>
        </p:txBody>
      </p:sp>
      <p:grpSp>
        <p:nvGrpSpPr>
          <p:cNvPr id="453" name="Group 452">
            <a:extLst>
              <a:ext uri="{FF2B5EF4-FFF2-40B4-BE49-F238E27FC236}">
                <a16:creationId xmlns:a16="http://schemas.microsoft.com/office/drawing/2014/main" id="{C64D8AB6-A780-4D87-88A8-081DA5DBADD1}"/>
              </a:ext>
            </a:extLst>
          </p:cNvPr>
          <p:cNvGrpSpPr/>
          <p:nvPr/>
        </p:nvGrpSpPr>
        <p:grpSpPr>
          <a:xfrm>
            <a:off x="714402" y="5204760"/>
            <a:ext cx="2075476" cy="415263"/>
            <a:chOff x="357281" y="6366771"/>
            <a:chExt cx="2354368" cy="471063"/>
          </a:xfrm>
        </p:grpSpPr>
        <p:sp>
          <p:nvSpPr>
            <p:cNvPr id="189" name="TextBox 188">
              <a:extLst>
                <a:ext uri="{FF2B5EF4-FFF2-40B4-BE49-F238E27FC236}">
                  <a16:creationId xmlns:a16="http://schemas.microsoft.com/office/drawing/2014/main" id="{D6F1C5F8-4679-4190-9B68-D1E2526B9699}"/>
                </a:ext>
              </a:extLst>
            </p:cNvPr>
            <p:cNvSpPr txBox="1">
              <a:spLocks/>
            </p:cNvSpPr>
            <p:nvPr/>
          </p:nvSpPr>
          <p:spPr>
            <a:xfrm>
              <a:off x="947145" y="6391816"/>
              <a:ext cx="1764504" cy="446018"/>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Защита внешнего контура</a:t>
              </a:r>
              <a:endParaRPr lang="ru-RU" sz="1400" dirty="0">
                <a:solidFill>
                  <a:srgbClr val="101828"/>
                </a:solidFill>
              </a:endParaRPr>
            </a:p>
          </p:txBody>
        </p:sp>
        <p:sp>
          <p:nvSpPr>
            <p:cNvPr id="440" name="Oval 126">
              <a:extLst>
                <a:ext uri="{FF2B5EF4-FFF2-40B4-BE49-F238E27FC236}">
                  <a16:creationId xmlns:a16="http://schemas.microsoft.com/office/drawing/2014/main" id="{C1FF1F03-704F-41C3-958E-83F5BAC87BD5}"/>
                </a:ext>
              </a:extLst>
            </p:cNvPr>
            <p:cNvSpPr>
              <a:spLocks/>
            </p:cNvSpPr>
            <p:nvPr/>
          </p:nvSpPr>
          <p:spPr>
            <a:xfrm>
              <a:off x="357281" y="6366771"/>
              <a:ext cx="408375" cy="408375"/>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0" rtlCol="0" anchor="ctr">
              <a:noAutofit/>
            </a:bodyPr>
            <a:lstStyle/>
            <a:p>
              <a:pPr defTabSz="914054">
                <a:defRPr/>
              </a:pPr>
              <a:endParaRPr lang="ru-RU" sz="1234" b="1" dirty="0">
                <a:solidFill>
                  <a:srgbClr val="7700FF"/>
                </a:solidFill>
                <a:latin typeface="Rostelecom Basis Medium"/>
              </a:endParaRPr>
            </a:p>
          </p:txBody>
        </p:sp>
      </p:grpSp>
      <p:sp>
        <p:nvSpPr>
          <p:cNvPr id="449" name="Oval 126">
            <a:extLst>
              <a:ext uri="{FF2B5EF4-FFF2-40B4-BE49-F238E27FC236}">
                <a16:creationId xmlns:a16="http://schemas.microsoft.com/office/drawing/2014/main" id="{42E653C5-0AB4-4CC7-9DEA-53F74D542272}"/>
              </a:ext>
            </a:extLst>
          </p:cNvPr>
          <p:cNvSpPr>
            <a:spLocks/>
          </p:cNvSpPr>
          <p:nvPr/>
        </p:nvSpPr>
        <p:spPr>
          <a:xfrm>
            <a:off x="714402" y="4211752"/>
            <a:ext cx="360000" cy="360000"/>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126942" rtlCol="0" anchor="ctr">
            <a:noAutofit/>
          </a:bodyPr>
          <a:lstStyle/>
          <a:p>
            <a:pPr defTabSz="914054">
              <a:defRPr/>
            </a:pPr>
            <a:endParaRPr lang="ru-RU" sz="1234" b="1" dirty="0">
              <a:solidFill>
                <a:srgbClr val="7700FF"/>
              </a:solidFill>
              <a:latin typeface="Rostelecom Basis Medium"/>
            </a:endParaRPr>
          </a:p>
        </p:txBody>
      </p:sp>
      <p:cxnSp>
        <p:nvCxnSpPr>
          <p:cNvPr id="443" name="Straight Connector 442">
            <a:extLst>
              <a:ext uri="{FF2B5EF4-FFF2-40B4-BE49-F238E27FC236}">
                <a16:creationId xmlns:a16="http://schemas.microsoft.com/office/drawing/2014/main" id="{5286F583-AA0E-45F3-A424-98BE975EF46A}"/>
              </a:ext>
            </a:extLst>
          </p:cNvPr>
          <p:cNvCxnSpPr/>
          <p:nvPr/>
        </p:nvCxnSpPr>
        <p:spPr>
          <a:xfrm>
            <a:off x="3233691" y="1849143"/>
            <a:ext cx="0" cy="4189858"/>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9D6923F1-6215-4CF5-804F-ECF23F7A44A6}"/>
              </a:ext>
            </a:extLst>
          </p:cNvPr>
          <p:cNvCxnSpPr/>
          <p:nvPr/>
        </p:nvCxnSpPr>
        <p:spPr>
          <a:xfrm>
            <a:off x="6238257" y="1849143"/>
            <a:ext cx="0" cy="4189858"/>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Прямая соединительная линия 231"/>
          <p:cNvCxnSpPr/>
          <p:nvPr/>
        </p:nvCxnSpPr>
        <p:spPr>
          <a:xfrm>
            <a:off x="514629" y="1009800"/>
            <a:ext cx="3002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233" name="Freeform: Shape 153">
            <a:extLst>
              <a:ext uri="{FF2B5EF4-FFF2-40B4-BE49-F238E27FC236}">
                <a16:creationId xmlns:a16="http://schemas.microsoft.com/office/drawing/2014/main" id="{4979B906-CF77-423D-8408-53383BA245F6}"/>
              </a:ext>
            </a:extLst>
          </p:cNvPr>
          <p:cNvSpPr/>
          <p:nvPr/>
        </p:nvSpPr>
        <p:spPr>
          <a:xfrm rot="16997148">
            <a:off x="4072407" y="2440496"/>
            <a:ext cx="1008000" cy="1008000"/>
          </a:xfrm>
          <a:custGeom>
            <a:avLst/>
            <a:gdLst>
              <a:gd name="connsiteX0" fmla="*/ 358317 w 358317"/>
              <a:gd name="connsiteY0" fmla="*/ 179159 h 358317"/>
              <a:gd name="connsiteX1" fmla="*/ 179159 w 358317"/>
              <a:gd name="connsiteY1" fmla="*/ 358317 h 358317"/>
              <a:gd name="connsiteX2" fmla="*/ 0 w 358317"/>
              <a:gd name="connsiteY2" fmla="*/ 179159 h 358317"/>
              <a:gd name="connsiteX3" fmla="*/ 179159 w 358317"/>
              <a:gd name="connsiteY3" fmla="*/ 0 h 358317"/>
              <a:gd name="connsiteX4" fmla="*/ 358317 w 358317"/>
              <a:gd name="connsiteY4" fmla="*/ 179159 h 35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17" h="358317">
                <a:moveTo>
                  <a:pt x="358317" y="179159"/>
                </a:moveTo>
                <a:cubicBezTo>
                  <a:pt x="358317" y="278105"/>
                  <a:pt x="278105" y="358317"/>
                  <a:pt x="179159" y="358317"/>
                </a:cubicBezTo>
                <a:cubicBezTo>
                  <a:pt x="80212" y="358317"/>
                  <a:pt x="0" y="278105"/>
                  <a:pt x="0" y="179159"/>
                </a:cubicBezTo>
                <a:cubicBezTo>
                  <a:pt x="0" y="80212"/>
                  <a:pt x="80212" y="0"/>
                  <a:pt x="179159" y="0"/>
                </a:cubicBezTo>
                <a:cubicBezTo>
                  <a:pt x="278105" y="0"/>
                  <a:pt x="358317" y="80212"/>
                  <a:pt x="358317" y="179159"/>
                </a:cubicBezTo>
                <a:close/>
              </a:path>
            </a:pathLst>
          </a:custGeom>
          <a:gradFill flip="none" rotWithShape="1">
            <a:gsLst>
              <a:gs pos="0">
                <a:schemeClr val="accent2"/>
              </a:gs>
              <a:gs pos="54000">
                <a:schemeClr val="accent2"/>
              </a:gs>
              <a:gs pos="100000">
                <a:schemeClr val="accent2">
                  <a:lumMod val="75000"/>
                </a:schemeClr>
              </a:gs>
            </a:gsLst>
            <a:lin ang="5400000" scaled="1"/>
            <a:tileRect/>
          </a:gradFill>
          <a:ln w="9525" cap="flat">
            <a:noFill/>
            <a:prstDash val="solid"/>
            <a:miter/>
          </a:ln>
        </p:spPr>
        <p:txBody>
          <a:bodyPr rtlCol="0" anchor="ctr"/>
          <a:lstStyle/>
          <a:p>
            <a:pPr defTabSz="914054"/>
            <a:endParaRPr lang="ru-RU" sz="1799" dirty="0">
              <a:solidFill>
                <a:srgbClr val="272F3D"/>
              </a:solidFill>
              <a:latin typeface="Rostelecom Basis"/>
            </a:endParaRPr>
          </a:p>
        </p:txBody>
      </p:sp>
      <p:sp>
        <p:nvSpPr>
          <p:cNvPr id="235" name="Freeform: Shape 153">
            <a:extLst>
              <a:ext uri="{FF2B5EF4-FFF2-40B4-BE49-F238E27FC236}">
                <a16:creationId xmlns:a16="http://schemas.microsoft.com/office/drawing/2014/main" id="{4979B906-CF77-423D-8408-53383BA245F6}"/>
              </a:ext>
            </a:extLst>
          </p:cNvPr>
          <p:cNvSpPr/>
          <p:nvPr/>
        </p:nvSpPr>
        <p:spPr>
          <a:xfrm rot="16997148">
            <a:off x="1149542" y="2454806"/>
            <a:ext cx="1008000" cy="1008000"/>
          </a:xfrm>
          <a:custGeom>
            <a:avLst/>
            <a:gdLst>
              <a:gd name="connsiteX0" fmla="*/ 358317 w 358317"/>
              <a:gd name="connsiteY0" fmla="*/ 179159 h 358317"/>
              <a:gd name="connsiteX1" fmla="*/ 179159 w 358317"/>
              <a:gd name="connsiteY1" fmla="*/ 358317 h 358317"/>
              <a:gd name="connsiteX2" fmla="*/ 0 w 358317"/>
              <a:gd name="connsiteY2" fmla="*/ 179159 h 358317"/>
              <a:gd name="connsiteX3" fmla="*/ 179159 w 358317"/>
              <a:gd name="connsiteY3" fmla="*/ 0 h 358317"/>
              <a:gd name="connsiteX4" fmla="*/ 358317 w 358317"/>
              <a:gd name="connsiteY4" fmla="*/ 179159 h 35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17" h="358317">
                <a:moveTo>
                  <a:pt x="358317" y="179159"/>
                </a:moveTo>
                <a:cubicBezTo>
                  <a:pt x="358317" y="278105"/>
                  <a:pt x="278105" y="358317"/>
                  <a:pt x="179159" y="358317"/>
                </a:cubicBezTo>
                <a:cubicBezTo>
                  <a:pt x="80212" y="358317"/>
                  <a:pt x="0" y="278105"/>
                  <a:pt x="0" y="179159"/>
                </a:cubicBezTo>
                <a:cubicBezTo>
                  <a:pt x="0" y="80212"/>
                  <a:pt x="80212" y="0"/>
                  <a:pt x="179159" y="0"/>
                </a:cubicBezTo>
                <a:cubicBezTo>
                  <a:pt x="278105" y="0"/>
                  <a:pt x="358317" y="80212"/>
                  <a:pt x="358317" y="179159"/>
                </a:cubicBezTo>
                <a:close/>
              </a:path>
            </a:pathLst>
          </a:custGeom>
          <a:gradFill flip="none" rotWithShape="1">
            <a:gsLst>
              <a:gs pos="0">
                <a:schemeClr val="accent2"/>
              </a:gs>
              <a:gs pos="54000">
                <a:schemeClr val="accent2"/>
              </a:gs>
              <a:gs pos="100000">
                <a:schemeClr val="accent2">
                  <a:lumMod val="75000"/>
                </a:schemeClr>
              </a:gs>
            </a:gsLst>
            <a:lin ang="5400000" scaled="1"/>
            <a:tileRect/>
          </a:gradFill>
          <a:ln w="9525" cap="flat">
            <a:noFill/>
            <a:prstDash val="solid"/>
            <a:miter/>
          </a:ln>
        </p:spPr>
        <p:txBody>
          <a:bodyPr rtlCol="0" anchor="ctr"/>
          <a:lstStyle/>
          <a:p>
            <a:pPr defTabSz="914054"/>
            <a:endParaRPr lang="ru-RU" sz="1799" dirty="0">
              <a:solidFill>
                <a:srgbClr val="272F3D"/>
              </a:solidFill>
              <a:latin typeface="Rostelecom Basis"/>
            </a:endParaRPr>
          </a:p>
        </p:txBody>
      </p:sp>
      <p:sp>
        <p:nvSpPr>
          <p:cNvPr id="242" name="Freeform: Shape 153">
            <a:extLst>
              <a:ext uri="{FF2B5EF4-FFF2-40B4-BE49-F238E27FC236}">
                <a16:creationId xmlns:a16="http://schemas.microsoft.com/office/drawing/2014/main" id="{4979B906-CF77-423D-8408-53383BA245F6}"/>
              </a:ext>
            </a:extLst>
          </p:cNvPr>
          <p:cNvSpPr/>
          <p:nvPr/>
        </p:nvSpPr>
        <p:spPr>
          <a:xfrm rot="16997148">
            <a:off x="7109400" y="2448240"/>
            <a:ext cx="1008000" cy="1008000"/>
          </a:xfrm>
          <a:custGeom>
            <a:avLst/>
            <a:gdLst>
              <a:gd name="connsiteX0" fmla="*/ 358317 w 358317"/>
              <a:gd name="connsiteY0" fmla="*/ 179159 h 358317"/>
              <a:gd name="connsiteX1" fmla="*/ 179159 w 358317"/>
              <a:gd name="connsiteY1" fmla="*/ 358317 h 358317"/>
              <a:gd name="connsiteX2" fmla="*/ 0 w 358317"/>
              <a:gd name="connsiteY2" fmla="*/ 179159 h 358317"/>
              <a:gd name="connsiteX3" fmla="*/ 179159 w 358317"/>
              <a:gd name="connsiteY3" fmla="*/ 0 h 358317"/>
              <a:gd name="connsiteX4" fmla="*/ 358317 w 358317"/>
              <a:gd name="connsiteY4" fmla="*/ 179159 h 358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17" h="358317">
                <a:moveTo>
                  <a:pt x="358317" y="179159"/>
                </a:moveTo>
                <a:cubicBezTo>
                  <a:pt x="358317" y="278105"/>
                  <a:pt x="278105" y="358317"/>
                  <a:pt x="179159" y="358317"/>
                </a:cubicBezTo>
                <a:cubicBezTo>
                  <a:pt x="80212" y="358317"/>
                  <a:pt x="0" y="278105"/>
                  <a:pt x="0" y="179159"/>
                </a:cubicBezTo>
                <a:cubicBezTo>
                  <a:pt x="0" y="80212"/>
                  <a:pt x="80212" y="0"/>
                  <a:pt x="179159" y="0"/>
                </a:cubicBezTo>
                <a:cubicBezTo>
                  <a:pt x="278105" y="0"/>
                  <a:pt x="358317" y="80212"/>
                  <a:pt x="358317" y="179159"/>
                </a:cubicBezTo>
                <a:close/>
              </a:path>
            </a:pathLst>
          </a:custGeom>
          <a:gradFill flip="none" rotWithShape="1">
            <a:gsLst>
              <a:gs pos="0">
                <a:schemeClr val="accent2"/>
              </a:gs>
              <a:gs pos="54000">
                <a:schemeClr val="accent2"/>
              </a:gs>
              <a:gs pos="100000">
                <a:schemeClr val="accent2">
                  <a:lumMod val="75000"/>
                </a:schemeClr>
              </a:gs>
            </a:gsLst>
            <a:lin ang="5400000" scaled="1"/>
            <a:tileRect/>
          </a:gradFill>
          <a:ln w="9525" cap="flat">
            <a:noFill/>
            <a:prstDash val="solid"/>
            <a:miter/>
          </a:ln>
        </p:spPr>
        <p:txBody>
          <a:bodyPr rtlCol="0" anchor="ctr"/>
          <a:lstStyle/>
          <a:p>
            <a:pPr defTabSz="914054"/>
            <a:endParaRPr lang="ru-RU" sz="1799" dirty="0">
              <a:solidFill>
                <a:srgbClr val="272F3D"/>
              </a:solidFill>
              <a:latin typeface="Rostelecom Basis"/>
            </a:endParaRPr>
          </a:p>
        </p:txBody>
      </p:sp>
      <p:sp>
        <p:nvSpPr>
          <p:cNvPr id="251" name="Заголовок 1"/>
          <p:cNvSpPr txBox="1">
            <a:spLocks/>
          </p:cNvSpPr>
          <p:nvPr/>
        </p:nvSpPr>
        <p:spPr>
          <a:xfrm>
            <a:off x="409676" y="421864"/>
            <a:ext cx="11366499" cy="1010308"/>
          </a:xfrm>
          <a:prstGeom prst="rect">
            <a:avLst/>
          </a:prstGeom>
        </p:spPr>
        <p:txBody>
          <a:bodyPr vert="horz"/>
          <a:lstStyle>
            <a:lvl1pPr algn="l" defTabSz="806024" rtl="0" eaLnBrk="1" latinLnBrk="0" hangingPunct="1">
              <a:lnSpc>
                <a:spcPct val="90000"/>
              </a:lnSpc>
              <a:spcBef>
                <a:spcPct val="0"/>
              </a:spcBef>
              <a:buNone/>
              <a:defRPr sz="3879" kern="1200">
                <a:solidFill>
                  <a:schemeClr val="tx1"/>
                </a:solidFill>
                <a:latin typeface="+mj-lt"/>
                <a:ea typeface="+mj-ea"/>
                <a:cs typeface="+mj-cs"/>
              </a:defRPr>
            </a:lvl1pPr>
          </a:lstStyle>
          <a:p>
            <a:r>
              <a:rPr lang="ru-RU" sz="2800" dirty="0" smtClean="0"/>
              <a:t>Ключевые тренды</a:t>
            </a:r>
            <a:endParaRPr lang="ru-RU" sz="2800" dirty="0"/>
          </a:p>
        </p:txBody>
      </p:sp>
      <p:pic>
        <p:nvPicPr>
          <p:cNvPr id="40" name="Рисунок 39"/>
          <p:cNvPicPr>
            <a:picLocks noChangeAspect="1"/>
          </p:cNvPicPr>
          <p:nvPr/>
        </p:nvPicPr>
        <p:blipFill>
          <a:blip r:embed="rId7"/>
          <a:stretch>
            <a:fillRect/>
          </a:stretch>
        </p:blipFill>
        <p:spPr>
          <a:xfrm>
            <a:off x="11428059" y="232067"/>
            <a:ext cx="497742" cy="577851"/>
          </a:xfrm>
          <a:prstGeom prst="rect">
            <a:avLst/>
          </a:prstGeom>
        </p:spPr>
      </p:pic>
      <p:sp>
        <p:nvSpPr>
          <p:cNvPr id="43" name="Rounded Rectangle"/>
          <p:cNvSpPr/>
          <p:nvPr/>
        </p:nvSpPr>
        <p:spPr>
          <a:xfrm>
            <a:off x="3383400" y="3871872"/>
            <a:ext cx="2667600" cy="2077128"/>
          </a:xfrm>
          <a:prstGeom prst="roundRect">
            <a:avLst>
              <a:gd name="adj" fmla="val 8959"/>
            </a:avLst>
          </a:prstGeom>
          <a:solidFill>
            <a:schemeClr val="bg1">
              <a:lumMod val="50000"/>
              <a:alpha val="30000"/>
            </a:schemeClr>
          </a:solidFill>
          <a:ln w="12700" cap="flat">
            <a:noFill/>
            <a:miter lim="400000"/>
          </a:ln>
          <a:effectLst/>
        </p:spPr>
        <p:txBody>
          <a:bodyPr wrap="square" lIns="0" tIns="0" rIns="0" bIns="0" numCol="1" anchor="ctr">
            <a:noAutofit/>
          </a:bodyPr>
          <a:lstStyle/>
          <a:p>
            <a:pPr algn="ctr" defTabSz="412750" hangingPunct="0">
              <a:defRPr sz="3200" b="0">
                <a:solidFill>
                  <a:srgbClr val="479FF8"/>
                </a:solidFill>
                <a:latin typeface="+mn-lt"/>
                <a:ea typeface="+mn-ea"/>
                <a:cs typeface="+mn-cs"/>
                <a:sym typeface="Helvetica Neue Medium"/>
              </a:defRPr>
            </a:pPr>
            <a:endParaRPr sz="1600" kern="0">
              <a:solidFill>
                <a:srgbClr val="479FF8"/>
              </a:solidFill>
              <a:latin typeface="Helvetica Neue Medium"/>
              <a:ea typeface="Helvetica Neue Medium"/>
              <a:cs typeface="Helvetica Neue Medium"/>
              <a:sym typeface="Helvetica Neue Medium"/>
            </a:endParaRPr>
          </a:p>
        </p:txBody>
      </p:sp>
      <p:sp>
        <p:nvSpPr>
          <p:cNvPr id="44" name="TextBox 43">
            <a:extLst>
              <a:ext uri="{FF2B5EF4-FFF2-40B4-BE49-F238E27FC236}">
                <a16:creationId xmlns:a16="http://schemas.microsoft.com/office/drawing/2014/main" id="{D6F1C5F8-4679-4190-9B68-D1E2526B9699}"/>
              </a:ext>
            </a:extLst>
          </p:cNvPr>
          <p:cNvSpPr txBox="1">
            <a:spLocks/>
          </p:cNvSpPr>
          <p:nvPr/>
        </p:nvSpPr>
        <p:spPr>
          <a:xfrm>
            <a:off x="4198050" y="4790885"/>
            <a:ext cx="1788665" cy="393185"/>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Социальная ответственность </a:t>
            </a:r>
            <a:endParaRPr lang="ru-RU" sz="1400" dirty="0">
              <a:solidFill>
                <a:srgbClr val="101828"/>
              </a:solidFill>
            </a:endParaRPr>
          </a:p>
        </p:txBody>
      </p:sp>
      <p:grpSp>
        <p:nvGrpSpPr>
          <p:cNvPr id="45" name="Group 452">
            <a:extLst>
              <a:ext uri="{FF2B5EF4-FFF2-40B4-BE49-F238E27FC236}">
                <a16:creationId xmlns:a16="http://schemas.microsoft.com/office/drawing/2014/main" id="{C64D8AB6-A780-4D87-88A8-081DA5DBADD1}"/>
              </a:ext>
            </a:extLst>
          </p:cNvPr>
          <p:cNvGrpSpPr/>
          <p:nvPr/>
        </p:nvGrpSpPr>
        <p:grpSpPr>
          <a:xfrm>
            <a:off x="3698236" y="5306032"/>
            <a:ext cx="2075476" cy="587084"/>
            <a:chOff x="357281" y="6237970"/>
            <a:chExt cx="2354368" cy="665972"/>
          </a:xfrm>
        </p:grpSpPr>
        <p:sp>
          <p:nvSpPr>
            <p:cNvPr id="46" name="TextBox 45">
              <a:extLst>
                <a:ext uri="{FF2B5EF4-FFF2-40B4-BE49-F238E27FC236}">
                  <a16:creationId xmlns:a16="http://schemas.microsoft.com/office/drawing/2014/main" id="{D6F1C5F8-4679-4190-9B68-D1E2526B9699}"/>
                </a:ext>
              </a:extLst>
            </p:cNvPr>
            <p:cNvSpPr txBox="1">
              <a:spLocks/>
            </p:cNvSpPr>
            <p:nvPr/>
          </p:nvSpPr>
          <p:spPr>
            <a:xfrm>
              <a:off x="947145" y="6237970"/>
              <a:ext cx="1764504" cy="66597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a:solidFill>
                    <a:srgbClr val="101828"/>
                  </a:solidFill>
                </a:rPr>
                <a:t>П</a:t>
              </a:r>
              <a:r>
                <a:rPr lang="ru-RU" sz="1400" dirty="0" smtClean="0">
                  <a:solidFill>
                    <a:srgbClr val="101828"/>
                  </a:solidFill>
                </a:rPr>
                <a:t>овышение </a:t>
              </a:r>
              <a:r>
                <a:rPr lang="ru-RU" sz="1400" dirty="0" smtClean="0">
                  <a:solidFill>
                    <a:srgbClr val="101828"/>
                  </a:solidFill>
                </a:rPr>
                <a:t>компетенций сотрудников </a:t>
              </a:r>
              <a:endParaRPr lang="ru-RU" sz="1400" dirty="0">
                <a:solidFill>
                  <a:srgbClr val="101828"/>
                </a:solidFill>
              </a:endParaRPr>
            </a:p>
          </p:txBody>
        </p:sp>
        <p:sp>
          <p:nvSpPr>
            <p:cNvPr id="47" name="Oval 126">
              <a:extLst>
                <a:ext uri="{FF2B5EF4-FFF2-40B4-BE49-F238E27FC236}">
                  <a16:creationId xmlns:a16="http://schemas.microsoft.com/office/drawing/2014/main" id="{C1FF1F03-704F-41C3-958E-83F5BAC87BD5}"/>
                </a:ext>
              </a:extLst>
            </p:cNvPr>
            <p:cNvSpPr>
              <a:spLocks/>
            </p:cNvSpPr>
            <p:nvPr/>
          </p:nvSpPr>
          <p:spPr>
            <a:xfrm>
              <a:off x="357281" y="6366771"/>
              <a:ext cx="408375" cy="408375"/>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0" rtlCol="0" anchor="ctr">
              <a:noAutofit/>
            </a:bodyPr>
            <a:lstStyle/>
            <a:p>
              <a:pPr defTabSz="914054">
                <a:defRPr/>
              </a:pPr>
              <a:endParaRPr lang="ru-RU" sz="1234" b="1" dirty="0">
                <a:solidFill>
                  <a:srgbClr val="7700FF"/>
                </a:solidFill>
                <a:latin typeface="Rostelecom Basis Medium"/>
              </a:endParaRPr>
            </a:p>
          </p:txBody>
        </p:sp>
      </p:grpSp>
      <p:sp>
        <p:nvSpPr>
          <p:cNvPr id="48" name="Oval 126">
            <a:extLst>
              <a:ext uri="{FF2B5EF4-FFF2-40B4-BE49-F238E27FC236}">
                <a16:creationId xmlns:a16="http://schemas.microsoft.com/office/drawing/2014/main" id="{42E653C5-0AB4-4CC7-9DEA-53F74D542272}"/>
              </a:ext>
            </a:extLst>
          </p:cNvPr>
          <p:cNvSpPr>
            <a:spLocks/>
          </p:cNvSpPr>
          <p:nvPr/>
        </p:nvSpPr>
        <p:spPr>
          <a:xfrm>
            <a:off x="3671803" y="4211752"/>
            <a:ext cx="360000" cy="360000"/>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126942" rtlCol="0" anchor="ctr">
            <a:noAutofit/>
          </a:bodyPr>
          <a:lstStyle/>
          <a:p>
            <a:pPr defTabSz="914054">
              <a:defRPr/>
            </a:pPr>
            <a:endParaRPr lang="ru-RU" sz="1234" b="1" dirty="0">
              <a:solidFill>
                <a:srgbClr val="7700FF"/>
              </a:solidFill>
              <a:latin typeface="Rostelecom Basis Medium"/>
            </a:endParaRPr>
          </a:p>
        </p:txBody>
      </p:sp>
      <p:sp>
        <p:nvSpPr>
          <p:cNvPr id="253" name="Freeform 13"/>
          <p:cNvSpPr>
            <a:spLocks noEditPoints="1"/>
          </p:cNvSpPr>
          <p:nvPr/>
        </p:nvSpPr>
        <p:spPr bwMode="auto">
          <a:xfrm>
            <a:off x="3551751" y="4126172"/>
            <a:ext cx="360000" cy="396000"/>
          </a:xfrm>
          <a:custGeom>
            <a:avLst/>
            <a:gdLst>
              <a:gd name="T0" fmla="*/ 60 w 159"/>
              <a:gd name="T1" fmla="*/ 190 h 190"/>
              <a:gd name="T2" fmla="*/ 60 w 159"/>
              <a:gd name="T3" fmla="*/ 177 h 190"/>
              <a:gd name="T4" fmla="*/ 107 w 159"/>
              <a:gd name="T5" fmla="*/ 166 h 190"/>
              <a:gd name="T6" fmla="*/ 54 w 159"/>
              <a:gd name="T7" fmla="*/ 166 h 190"/>
              <a:gd name="T8" fmla="*/ 100 w 159"/>
              <a:gd name="T9" fmla="*/ 173 h 190"/>
              <a:gd name="T10" fmla="*/ 78 w 159"/>
              <a:gd name="T11" fmla="*/ 94 h 190"/>
              <a:gd name="T12" fmla="*/ 80 w 159"/>
              <a:gd name="T13" fmla="*/ 156 h 190"/>
              <a:gd name="T14" fmla="*/ 80 w 159"/>
              <a:gd name="T15" fmla="*/ 156 h 190"/>
              <a:gd name="T16" fmla="*/ 86 w 159"/>
              <a:gd name="T17" fmla="*/ 94 h 190"/>
              <a:gd name="T18" fmla="*/ 58 w 159"/>
              <a:gd name="T19" fmla="*/ 88 h 190"/>
              <a:gd name="T20" fmla="*/ 58 w 159"/>
              <a:gd name="T21" fmla="*/ 69 h 190"/>
              <a:gd name="T22" fmla="*/ 93 w 159"/>
              <a:gd name="T23" fmla="*/ 78 h 190"/>
              <a:gd name="T24" fmla="*/ 112 w 159"/>
              <a:gd name="T25" fmla="*/ 78 h 190"/>
              <a:gd name="T26" fmla="*/ 28 w 159"/>
              <a:gd name="T27" fmla="*/ 61 h 190"/>
              <a:gd name="T28" fmla="*/ 55 w 159"/>
              <a:gd name="T29" fmla="*/ 149 h 190"/>
              <a:gd name="T30" fmla="*/ 68 w 159"/>
              <a:gd name="T31" fmla="*/ 94 h 190"/>
              <a:gd name="T32" fmla="*/ 42 w 159"/>
              <a:gd name="T33" fmla="*/ 78 h 190"/>
              <a:gd name="T34" fmla="*/ 74 w 159"/>
              <a:gd name="T35" fmla="*/ 78 h 190"/>
              <a:gd name="T36" fmla="*/ 78 w 159"/>
              <a:gd name="T37" fmla="*/ 88 h 190"/>
              <a:gd name="T38" fmla="*/ 86 w 159"/>
              <a:gd name="T39" fmla="*/ 78 h 190"/>
              <a:gd name="T40" fmla="*/ 113 w 159"/>
              <a:gd name="T41" fmla="*/ 67 h 190"/>
              <a:gd name="T42" fmla="*/ 102 w 159"/>
              <a:gd name="T43" fmla="*/ 94 h 190"/>
              <a:gd name="T44" fmla="*/ 96 w 159"/>
              <a:gd name="T45" fmla="*/ 156 h 190"/>
              <a:gd name="T46" fmla="*/ 127 w 159"/>
              <a:gd name="T47" fmla="*/ 98 h 190"/>
              <a:gd name="T48" fmla="*/ 80 w 159"/>
              <a:gd name="T49" fmla="*/ 0 h 190"/>
              <a:gd name="T50" fmla="*/ 74 w 159"/>
              <a:gd name="T51" fmla="*/ 17 h 190"/>
              <a:gd name="T52" fmla="*/ 86 w 159"/>
              <a:gd name="T53" fmla="*/ 17 h 190"/>
              <a:gd name="T54" fmla="*/ 116 w 159"/>
              <a:gd name="T55" fmla="*/ 8 h 190"/>
              <a:gd name="T56" fmla="*/ 103 w 159"/>
              <a:gd name="T57" fmla="*/ 20 h 190"/>
              <a:gd name="T58" fmla="*/ 113 w 159"/>
              <a:gd name="T59" fmla="*/ 25 h 190"/>
              <a:gd name="T60" fmla="*/ 142 w 159"/>
              <a:gd name="T61" fmla="*/ 26 h 190"/>
              <a:gd name="T62" fmla="*/ 126 w 159"/>
              <a:gd name="T63" fmla="*/ 33 h 190"/>
              <a:gd name="T64" fmla="*/ 133 w 159"/>
              <a:gd name="T65" fmla="*/ 41 h 190"/>
              <a:gd name="T66" fmla="*/ 159 w 159"/>
              <a:gd name="T67" fmla="*/ 56 h 190"/>
              <a:gd name="T68" fmla="*/ 141 w 159"/>
              <a:gd name="T69" fmla="*/ 53 h 190"/>
              <a:gd name="T70" fmla="*/ 143 w 159"/>
              <a:gd name="T71" fmla="*/ 64 h 190"/>
              <a:gd name="T72" fmla="*/ 158 w 159"/>
              <a:gd name="T73" fmla="*/ 89 h 190"/>
              <a:gd name="T74" fmla="*/ 143 w 159"/>
              <a:gd name="T75" fmla="*/ 80 h 190"/>
              <a:gd name="T76" fmla="*/ 141 w 159"/>
              <a:gd name="T77" fmla="*/ 91 h 190"/>
              <a:gd name="T78" fmla="*/ 55 w 159"/>
              <a:gd name="T79" fmla="*/ 27 h 190"/>
              <a:gd name="T80" fmla="*/ 52 w 159"/>
              <a:gd name="T81" fmla="*/ 10 h 190"/>
              <a:gd name="T82" fmla="*/ 42 w 159"/>
              <a:gd name="T83" fmla="*/ 16 h 190"/>
              <a:gd name="T84" fmla="*/ 34 w 159"/>
              <a:gd name="T85" fmla="*/ 41 h 190"/>
              <a:gd name="T86" fmla="*/ 26 w 159"/>
              <a:gd name="T87" fmla="*/ 26 h 190"/>
              <a:gd name="T88" fmla="*/ 18 w 159"/>
              <a:gd name="T89" fmla="*/ 34 h 190"/>
              <a:gd name="T90" fmla="*/ 23 w 159"/>
              <a:gd name="T91" fmla="*/ 60 h 190"/>
              <a:gd name="T92" fmla="*/ 8 w 159"/>
              <a:gd name="T93" fmla="*/ 51 h 190"/>
              <a:gd name="T94" fmla="*/ 6 w 159"/>
              <a:gd name="T95" fmla="*/ 63 h 190"/>
              <a:gd name="T96" fmla="*/ 23 w 159"/>
              <a:gd name="T97" fmla="*/ 84 h 190"/>
              <a:gd name="T98" fmla="*/ 6 w 159"/>
              <a:gd name="T99" fmla="*/ 82 h 190"/>
              <a:gd name="T100" fmla="*/ 8 w 159"/>
              <a:gd name="T101" fmla="*/ 9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9" h="190">
                <a:moveTo>
                  <a:pt x="107" y="183"/>
                </a:moveTo>
                <a:cubicBezTo>
                  <a:pt x="107" y="187"/>
                  <a:pt x="104" y="190"/>
                  <a:pt x="100" y="190"/>
                </a:cubicBezTo>
                <a:cubicBezTo>
                  <a:pt x="60" y="190"/>
                  <a:pt x="60" y="190"/>
                  <a:pt x="60" y="190"/>
                </a:cubicBezTo>
                <a:cubicBezTo>
                  <a:pt x="57" y="190"/>
                  <a:pt x="54" y="187"/>
                  <a:pt x="54" y="183"/>
                </a:cubicBezTo>
                <a:cubicBezTo>
                  <a:pt x="54" y="183"/>
                  <a:pt x="54" y="183"/>
                  <a:pt x="54" y="183"/>
                </a:cubicBezTo>
                <a:cubicBezTo>
                  <a:pt x="54" y="180"/>
                  <a:pt x="57" y="177"/>
                  <a:pt x="60" y="177"/>
                </a:cubicBezTo>
                <a:cubicBezTo>
                  <a:pt x="100" y="177"/>
                  <a:pt x="100" y="177"/>
                  <a:pt x="100" y="177"/>
                </a:cubicBezTo>
                <a:cubicBezTo>
                  <a:pt x="104" y="177"/>
                  <a:pt x="107" y="180"/>
                  <a:pt x="107" y="183"/>
                </a:cubicBezTo>
                <a:close/>
                <a:moveTo>
                  <a:pt x="107" y="166"/>
                </a:moveTo>
                <a:cubicBezTo>
                  <a:pt x="107" y="162"/>
                  <a:pt x="104" y="159"/>
                  <a:pt x="100" y="159"/>
                </a:cubicBezTo>
                <a:cubicBezTo>
                  <a:pt x="60" y="159"/>
                  <a:pt x="60" y="159"/>
                  <a:pt x="60" y="159"/>
                </a:cubicBezTo>
                <a:cubicBezTo>
                  <a:pt x="57" y="159"/>
                  <a:pt x="54" y="162"/>
                  <a:pt x="54" y="166"/>
                </a:cubicBezTo>
                <a:cubicBezTo>
                  <a:pt x="54" y="166"/>
                  <a:pt x="54" y="166"/>
                  <a:pt x="54" y="166"/>
                </a:cubicBezTo>
                <a:cubicBezTo>
                  <a:pt x="54" y="170"/>
                  <a:pt x="57" y="173"/>
                  <a:pt x="60" y="173"/>
                </a:cubicBezTo>
                <a:cubicBezTo>
                  <a:pt x="100" y="173"/>
                  <a:pt x="100" y="173"/>
                  <a:pt x="100" y="173"/>
                </a:cubicBezTo>
                <a:cubicBezTo>
                  <a:pt x="104" y="173"/>
                  <a:pt x="107" y="170"/>
                  <a:pt x="107" y="166"/>
                </a:cubicBezTo>
                <a:close/>
                <a:moveTo>
                  <a:pt x="86" y="94"/>
                </a:moveTo>
                <a:cubicBezTo>
                  <a:pt x="78" y="94"/>
                  <a:pt x="78" y="94"/>
                  <a:pt x="78" y="94"/>
                </a:cubicBezTo>
                <a:cubicBezTo>
                  <a:pt x="74" y="94"/>
                  <a:pt x="74" y="94"/>
                  <a:pt x="74" y="94"/>
                </a:cubicBezTo>
                <a:cubicBezTo>
                  <a:pt x="74" y="156"/>
                  <a:pt x="74" y="156"/>
                  <a:pt x="74" y="156"/>
                </a:cubicBezTo>
                <a:cubicBezTo>
                  <a:pt x="76" y="156"/>
                  <a:pt x="78" y="156"/>
                  <a:pt x="80" y="156"/>
                </a:cubicBezTo>
                <a:cubicBezTo>
                  <a:pt x="80" y="156"/>
                  <a:pt x="80" y="156"/>
                  <a:pt x="80" y="156"/>
                </a:cubicBezTo>
                <a:cubicBezTo>
                  <a:pt x="80" y="156"/>
                  <a:pt x="80" y="156"/>
                  <a:pt x="80" y="156"/>
                </a:cubicBezTo>
                <a:cubicBezTo>
                  <a:pt x="80" y="156"/>
                  <a:pt x="80" y="156"/>
                  <a:pt x="80" y="156"/>
                </a:cubicBezTo>
                <a:cubicBezTo>
                  <a:pt x="80" y="156"/>
                  <a:pt x="80" y="156"/>
                  <a:pt x="80" y="156"/>
                </a:cubicBezTo>
                <a:cubicBezTo>
                  <a:pt x="82" y="156"/>
                  <a:pt x="84" y="156"/>
                  <a:pt x="86" y="156"/>
                </a:cubicBezTo>
                <a:lnTo>
                  <a:pt x="86" y="94"/>
                </a:lnTo>
                <a:close/>
                <a:moveTo>
                  <a:pt x="58" y="69"/>
                </a:moveTo>
                <a:cubicBezTo>
                  <a:pt x="53" y="69"/>
                  <a:pt x="49" y="73"/>
                  <a:pt x="49" y="78"/>
                </a:cubicBezTo>
                <a:cubicBezTo>
                  <a:pt x="49" y="83"/>
                  <a:pt x="53" y="88"/>
                  <a:pt x="58" y="88"/>
                </a:cubicBezTo>
                <a:cubicBezTo>
                  <a:pt x="68" y="88"/>
                  <a:pt x="68" y="88"/>
                  <a:pt x="68" y="88"/>
                </a:cubicBezTo>
                <a:cubicBezTo>
                  <a:pt x="68" y="78"/>
                  <a:pt x="68" y="78"/>
                  <a:pt x="68" y="78"/>
                </a:cubicBezTo>
                <a:cubicBezTo>
                  <a:pt x="68" y="73"/>
                  <a:pt x="63" y="69"/>
                  <a:pt x="58" y="69"/>
                </a:cubicBezTo>
                <a:close/>
                <a:moveTo>
                  <a:pt x="112" y="78"/>
                </a:moveTo>
                <a:cubicBezTo>
                  <a:pt x="112" y="73"/>
                  <a:pt x="107" y="69"/>
                  <a:pt x="102" y="69"/>
                </a:cubicBezTo>
                <a:cubicBezTo>
                  <a:pt x="97" y="69"/>
                  <a:pt x="93" y="73"/>
                  <a:pt x="93" y="78"/>
                </a:cubicBezTo>
                <a:cubicBezTo>
                  <a:pt x="93" y="88"/>
                  <a:pt x="93" y="88"/>
                  <a:pt x="93" y="88"/>
                </a:cubicBezTo>
                <a:cubicBezTo>
                  <a:pt x="102" y="88"/>
                  <a:pt x="102" y="88"/>
                  <a:pt x="102" y="88"/>
                </a:cubicBezTo>
                <a:cubicBezTo>
                  <a:pt x="107" y="88"/>
                  <a:pt x="112" y="83"/>
                  <a:pt x="112" y="78"/>
                </a:cubicBezTo>
                <a:close/>
                <a:moveTo>
                  <a:pt x="133" y="61"/>
                </a:moveTo>
                <a:cubicBezTo>
                  <a:pt x="128" y="44"/>
                  <a:pt x="108" y="26"/>
                  <a:pt x="80" y="26"/>
                </a:cubicBezTo>
                <a:cubicBezTo>
                  <a:pt x="52" y="26"/>
                  <a:pt x="32" y="44"/>
                  <a:pt x="28" y="61"/>
                </a:cubicBezTo>
                <a:cubicBezTo>
                  <a:pt x="24" y="74"/>
                  <a:pt x="27" y="86"/>
                  <a:pt x="34" y="98"/>
                </a:cubicBezTo>
                <a:cubicBezTo>
                  <a:pt x="39" y="108"/>
                  <a:pt x="45" y="117"/>
                  <a:pt x="50" y="128"/>
                </a:cubicBezTo>
                <a:cubicBezTo>
                  <a:pt x="52" y="134"/>
                  <a:pt x="53" y="142"/>
                  <a:pt x="55" y="149"/>
                </a:cubicBezTo>
                <a:cubicBezTo>
                  <a:pt x="56" y="154"/>
                  <a:pt x="58" y="156"/>
                  <a:pt x="64" y="156"/>
                </a:cubicBezTo>
                <a:cubicBezTo>
                  <a:pt x="65" y="156"/>
                  <a:pt x="66" y="156"/>
                  <a:pt x="68" y="156"/>
                </a:cubicBezTo>
                <a:cubicBezTo>
                  <a:pt x="68" y="94"/>
                  <a:pt x="68" y="94"/>
                  <a:pt x="68" y="94"/>
                </a:cubicBezTo>
                <a:cubicBezTo>
                  <a:pt x="58" y="94"/>
                  <a:pt x="58" y="94"/>
                  <a:pt x="58" y="94"/>
                </a:cubicBezTo>
                <a:cubicBezTo>
                  <a:pt x="54" y="94"/>
                  <a:pt x="50" y="92"/>
                  <a:pt x="47" y="89"/>
                </a:cubicBezTo>
                <a:cubicBezTo>
                  <a:pt x="44" y="86"/>
                  <a:pt x="42" y="82"/>
                  <a:pt x="42" y="78"/>
                </a:cubicBezTo>
                <a:cubicBezTo>
                  <a:pt x="42" y="74"/>
                  <a:pt x="44" y="70"/>
                  <a:pt x="47" y="67"/>
                </a:cubicBezTo>
                <a:cubicBezTo>
                  <a:pt x="50" y="64"/>
                  <a:pt x="54" y="62"/>
                  <a:pt x="58" y="62"/>
                </a:cubicBezTo>
                <a:cubicBezTo>
                  <a:pt x="67" y="62"/>
                  <a:pt x="74" y="69"/>
                  <a:pt x="74" y="78"/>
                </a:cubicBezTo>
                <a:cubicBezTo>
                  <a:pt x="74" y="78"/>
                  <a:pt x="74" y="78"/>
                  <a:pt x="74" y="78"/>
                </a:cubicBezTo>
                <a:cubicBezTo>
                  <a:pt x="74" y="88"/>
                  <a:pt x="74" y="88"/>
                  <a:pt x="74" y="88"/>
                </a:cubicBezTo>
                <a:cubicBezTo>
                  <a:pt x="78" y="88"/>
                  <a:pt x="78" y="88"/>
                  <a:pt x="78" y="88"/>
                </a:cubicBezTo>
                <a:cubicBezTo>
                  <a:pt x="86" y="88"/>
                  <a:pt x="86" y="88"/>
                  <a:pt x="86" y="88"/>
                </a:cubicBezTo>
                <a:cubicBezTo>
                  <a:pt x="86" y="78"/>
                  <a:pt x="86" y="78"/>
                  <a:pt x="86" y="78"/>
                </a:cubicBezTo>
                <a:cubicBezTo>
                  <a:pt x="86" y="78"/>
                  <a:pt x="86" y="78"/>
                  <a:pt x="86" y="78"/>
                </a:cubicBezTo>
                <a:cubicBezTo>
                  <a:pt x="86" y="74"/>
                  <a:pt x="88" y="70"/>
                  <a:pt x="91" y="67"/>
                </a:cubicBezTo>
                <a:cubicBezTo>
                  <a:pt x="94" y="64"/>
                  <a:pt x="98" y="62"/>
                  <a:pt x="102" y="62"/>
                </a:cubicBezTo>
                <a:cubicBezTo>
                  <a:pt x="106" y="62"/>
                  <a:pt x="110" y="64"/>
                  <a:pt x="113" y="67"/>
                </a:cubicBezTo>
                <a:cubicBezTo>
                  <a:pt x="116" y="70"/>
                  <a:pt x="118" y="74"/>
                  <a:pt x="118" y="78"/>
                </a:cubicBezTo>
                <a:cubicBezTo>
                  <a:pt x="118" y="82"/>
                  <a:pt x="116" y="86"/>
                  <a:pt x="113" y="89"/>
                </a:cubicBezTo>
                <a:cubicBezTo>
                  <a:pt x="110" y="92"/>
                  <a:pt x="106" y="94"/>
                  <a:pt x="102" y="94"/>
                </a:cubicBezTo>
                <a:cubicBezTo>
                  <a:pt x="93" y="94"/>
                  <a:pt x="93" y="94"/>
                  <a:pt x="93" y="94"/>
                </a:cubicBezTo>
                <a:cubicBezTo>
                  <a:pt x="93" y="156"/>
                  <a:pt x="93" y="156"/>
                  <a:pt x="93" y="156"/>
                </a:cubicBezTo>
                <a:cubicBezTo>
                  <a:pt x="94" y="156"/>
                  <a:pt x="95" y="156"/>
                  <a:pt x="96" y="156"/>
                </a:cubicBezTo>
                <a:cubicBezTo>
                  <a:pt x="103" y="156"/>
                  <a:pt x="104" y="154"/>
                  <a:pt x="106" y="149"/>
                </a:cubicBezTo>
                <a:cubicBezTo>
                  <a:pt x="107" y="142"/>
                  <a:pt x="108" y="134"/>
                  <a:pt x="111" y="128"/>
                </a:cubicBezTo>
                <a:cubicBezTo>
                  <a:pt x="115" y="117"/>
                  <a:pt x="121" y="108"/>
                  <a:pt x="127" y="98"/>
                </a:cubicBezTo>
                <a:cubicBezTo>
                  <a:pt x="133" y="86"/>
                  <a:pt x="136" y="74"/>
                  <a:pt x="133" y="61"/>
                </a:cubicBezTo>
                <a:close/>
                <a:moveTo>
                  <a:pt x="86" y="6"/>
                </a:moveTo>
                <a:cubicBezTo>
                  <a:pt x="86" y="3"/>
                  <a:pt x="83" y="0"/>
                  <a:pt x="80" y="0"/>
                </a:cubicBezTo>
                <a:cubicBezTo>
                  <a:pt x="80" y="0"/>
                  <a:pt x="80" y="0"/>
                  <a:pt x="80" y="0"/>
                </a:cubicBezTo>
                <a:cubicBezTo>
                  <a:pt x="77" y="0"/>
                  <a:pt x="74" y="3"/>
                  <a:pt x="74" y="6"/>
                </a:cubicBezTo>
                <a:cubicBezTo>
                  <a:pt x="74" y="17"/>
                  <a:pt x="74" y="17"/>
                  <a:pt x="74" y="17"/>
                </a:cubicBezTo>
                <a:cubicBezTo>
                  <a:pt x="74" y="20"/>
                  <a:pt x="77" y="23"/>
                  <a:pt x="80" y="23"/>
                </a:cubicBezTo>
                <a:cubicBezTo>
                  <a:pt x="80" y="23"/>
                  <a:pt x="80" y="23"/>
                  <a:pt x="80" y="23"/>
                </a:cubicBezTo>
                <a:cubicBezTo>
                  <a:pt x="83" y="23"/>
                  <a:pt x="86" y="20"/>
                  <a:pt x="86" y="17"/>
                </a:cubicBezTo>
                <a:lnTo>
                  <a:pt x="86" y="6"/>
                </a:lnTo>
                <a:close/>
                <a:moveTo>
                  <a:pt x="118" y="16"/>
                </a:moveTo>
                <a:cubicBezTo>
                  <a:pt x="119" y="13"/>
                  <a:pt x="118" y="9"/>
                  <a:pt x="116" y="8"/>
                </a:cubicBezTo>
                <a:cubicBezTo>
                  <a:pt x="116" y="8"/>
                  <a:pt x="116" y="8"/>
                  <a:pt x="116" y="8"/>
                </a:cubicBezTo>
                <a:cubicBezTo>
                  <a:pt x="113" y="6"/>
                  <a:pt x="109" y="7"/>
                  <a:pt x="108" y="10"/>
                </a:cubicBezTo>
                <a:cubicBezTo>
                  <a:pt x="103" y="20"/>
                  <a:pt x="103" y="20"/>
                  <a:pt x="103" y="20"/>
                </a:cubicBezTo>
                <a:cubicBezTo>
                  <a:pt x="101" y="22"/>
                  <a:pt x="102" y="26"/>
                  <a:pt x="105" y="27"/>
                </a:cubicBezTo>
                <a:cubicBezTo>
                  <a:pt x="105" y="27"/>
                  <a:pt x="105" y="27"/>
                  <a:pt x="105" y="27"/>
                </a:cubicBezTo>
                <a:cubicBezTo>
                  <a:pt x="108" y="29"/>
                  <a:pt x="111" y="28"/>
                  <a:pt x="113" y="25"/>
                </a:cubicBezTo>
                <a:lnTo>
                  <a:pt x="118" y="16"/>
                </a:lnTo>
                <a:close/>
                <a:moveTo>
                  <a:pt x="141" y="34"/>
                </a:moveTo>
                <a:cubicBezTo>
                  <a:pt x="144" y="32"/>
                  <a:pt x="144" y="29"/>
                  <a:pt x="142" y="26"/>
                </a:cubicBezTo>
                <a:cubicBezTo>
                  <a:pt x="142" y="26"/>
                  <a:pt x="142" y="26"/>
                  <a:pt x="142" y="26"/>
                </a:cubicBezTo>
                <a:cubicBezTo>
                  <a:pt x="140" y="24"/>
                  <a:pt x="136" y="24"/>
                  <a:pt x="134" y="26"/>
                </a:cubicBezTo>
                <a:cubicBezTo>
                  <a:pt x="126" y="33"/>
                  <a:pt x="126" y="33"/>
                  <a:pt x="126" y="33"/>
                </a:cubicBezTo>
                <a:cubicBezTo>
                  <a:pt x="123" y="35"/>
                  <a:pt x="123" y="38"/>
                  <a:pt x="125" y="41"/>
                </a:cubicBezTo>
                <a:cubicBezTo>
                  <a:pt x="125" y="41"/>
                  <a:pt x="125" y="41"/>
                  <a:pt x="125" y="41"/>
                </a:cubicBezTo>
                <a:cubicBezTo>
                  <a:pt x="127" y="43"/>
                  <a:pt x="131" y="43"/>
                  <a:pt x="133" y="41"/>
                </a:cubicBezTo>
                <a:lnTo>
                  <a:pt x="141" y="34"/>
                </a:lnTo>
                <a:close/>
                <a:moveTo>
                  <a:pt x="154" y="63"/>
                </a:moveTo>
                <a:cubicBezTo>
                  <a:pt x="157" y="62"/>
                  <a:pt x="159" y="59"/>
                  <a:pt x="159" y="56"/>
                </a:cubicBezTo>
                <a:cubicBezTo>
                  <a:pt x="159" y="56"/>
                  <a:pt x="159" y="56"/>
                  <a:pt x="159" y="56"/>
                </a:cubicBezTo>
                <a:cubicBezTo>
                  <a:pt x="158" y="53"/>
                  <a:pt x="155" y="51"/>
                  <a:pt x="152" y="51"/>
                </a:cubicBezTo>
                <a:cubicBezTo>
                  <a:pt x="141" y="53"/>
                  <a:pt x="141" y="53"/>
                  <a:pt x="141" y="53"/>
                </a:cubicBezTo>
                <a:cubicBezTo>
                  <a:pt x="138" y="54"/>
                  <a:pt x="136" y="57"/>
                  <a:pt x="137" y="60"/>
                </a:cubicBezTo>
                <a:cubicBezTo>
                  <a:pt x="137" y="60"/>
                  <a:pt x="137" y="60"/>
                  <a:pt x="137" y="60"/>
                </a:cubicBezTo>
                <a:cubicBezTo>
                  <a:pt x="137" y="63"/>
                  <a:pt x="140" y="65"/>
                  <a:pt x="143" y="64"/>
                </a:cubicBezTo>
                <a:lnTo>
                  <a:pt x="154" y="63"/>
                </a:lnTo>
                <a:close/>
                <a:moveTo>
                  <a:pt x="151" y="93"/>
                </a:moveTo>
                <a:cubicBezTo>
                  <a:pt x="154" y="94"/>
                  <a:pt x="157" y="92"/>
                  <a:pt x="158" y="89"/>
                </a:cubicBezTo>
                <a:cubicBezTo>
                  <a:pt x="158" y="89"/>
                  <a:pt x="158" y="89"/>
                  <a:pt x="158" y="89"/>
                </a:cubicBezTo>
                <a:cubicBezTo>
                  <a:pt x="159" y="86"/>
                  <a:pt x="157" y="83"/>
                  <a:pt x="154" y="82"/>
                </a:cubicBezTo>
                <a:cubicBezTo>
                  <a:pt x="143" y="80"/>
                  <a:pt x="143" y="80"/>
                  <a:pt x="143" y="80"/>
                </a:cubicBezTo>
                <a:cubicBezTo>
                  <a:pt x="140" y="79"/>
                  <a:pt x="137" y="81"/>
                  <a:pt x="136" y="84"/>
                </a:cubicBezTo>
                <a:cubicBezTo>
                  <a:pt x="136" y="84"/>
                  <a:pt x="136" y="84"/>
                  <a:pt x="136" y="84"/>
                </a:cubicBezTo>
                <a:cubicBezTo>
                  <a:pt x="136" y="88"/>
                  <a:pt x="138" y="91"/>
                  <a:pt x="141" y="91"/>
                </a:cubicBezTo>
                <a:lnTo>
                  <a:pt x="151" y="93"/>
                </a:lnTo>
                <a:close/>
                <a:moveTo>
                  <a:pt x="47" y="25"/>
                </a:moveTo>
                <a:cubicBezTo>
                  <a:pt x="48" y="28"/>
                  <a:pt x="52" y="29"/>
                  <a:pt x="55" y="27"/>
                </a:cubicBezTo>
                <a:cubicBezTo>
                  <a:pt x="55" y="27"/>
                  <a:pt x="55" y="27"/>
                  <a:pt x="55" y="27"/>
                </a:cubicBezTo>
                <a:cubicBezTo>
                  <a:pt x="57" y="26"/>
                  <a:pt x="58" y="22"/>
                  <a:pt x="57" y="20"/>
                </a:cubicBezTo>
                <a:cubicBezTo>
                  <a:pt x="52" y="10"/>
                  <a:pt x="52" y="10"/>
                  <a:pt x="52" y="10"/>
                </a:cubicBezTo>
                <a:cubicBezTo>
                  <a:pt x="50" y="7"/>
                  <a:pt x="47" y="6"/>
                  <a:pt x="44" y="8"/>
                </a:cubicBezTo>
                <a:cubicBezTo>
                  <a:pt x="44" y="8"/>
                  <a:pt x="44" y="8"/>
                  <a:pt x="44" y="8"/>
                </a:cubicBezTo>
                <a:cubicBezTo>
                  <a:pt x="41" y="9"/>
                  <a:pt x="40" y="13"/>
                  <a:pt x="42" y="16"/>
                </a:cubicBezTo>
                <a:lnTo>
                  <a:pt x="47" y="25"/>
                </a:lnTo>
                <a:close/>
                <a:moveTo>
                  <a:pt x="26" y="41"/>
                </a:moveTo>
                <a:cubicBezTo>
                  <a:pt x="28" y="43"/>
                  <a:pt x="32" y="43"/>
                  <a:pt x="34" y="41"/>
                </a:cubicBezTo>
                <a:cubicBezTo>
                  <a:pt x="34" y="41"/>
                  <a:pt x="34" y="41"/>
                  <a:pt x="34" y="41"/>
                </a:cubicBezTo>
                <a:cubicBezTo>
                  <a:pt x="36" y="38"/>
                  <a:pt x="36" y="35"/>
                  <a:pt x="34" y="33"/>
                </a:cubicBezTo>
                <a:cubicBezTo>
                  <a:pt x="26" y="26"/>
                  <a:pt x="26" y="26"/>
                  <a:pt x="26" y="26"/>
                </a:cubicBezTo>
                <a:cubicBezTo>
                  <a:pt x="23" y="24"/>
                  <a:pt x="20" y="24"/>
                  <a:pt x="18" y="26"/>
                </a:cubicBezTo>
                <a:cubicBezTo>
                  <a:pt x="18" y="26"/>
                  <a:pt x="18" y="26"/>
                  <a:pt x="18" y="26"/>
                </a:cubicBezTo>
                <a:cubicBezTo>
                  <a:pt x="15" y="29"/>
                  <a:pt x="16" y="32"/>
                  <a:pt x="18" y="34"/>
                </a:cubicBezTo>
                <a:lnTo>
                  <a:pt x="26" y="41"/>
                </a:lnTo>
                <a:close/>
                <a:moveTo>
                  <a:pt x="16" y="64"/>
                </a:moveTo>
                <a:cubicBezTo>
                  <a:pt x="19" y="65"/>
                  <a:pt x="22" y="63"/>
                  <a:pt x="23" y="60"/>
                </a:cubicBezTo>
                <a:cubicBezTo>
                  <a:pt x="23" y="60"/>
                  <a:pt x="23" y="60"/>
                  <a:pt x="23" y="60"/>
                </a:cubicBezTo>
                <a:cubicBezTo>
                  <a:pt x="23" y="57"/>
                  <a:pt x="21" y="54"/>
                  <a:pt x="18" y="53"/>
                </a:cubicBezTo>
                <a:cubicBezTo>
                  <a:pt x="8" y="51"/>
                  <a:pt x="8" y="51"/>
                  <a:pt x="8" y="51"/>
                </a:cubicBezTo>
                <a:cubicBezTo>
                  <a:pt x="5" y="51"/>
                  <a:pt x="2" y="53"/>
                  <a:pt x="1" y="56"/>
                </a:cubicBezTo>
                <a:cubicBezTo>
                  <a:pt x="1" y="56"/>
                  <a:pt x="1" y="56"/>
                  <a:pt x="1" y="56"/>
                </a:cubicBezTo>
                <a:cubicBezTo>
                  <a:pt x="0" y="59"/>
                  <a:pt x="3" y="62"/>
                  <a:pt x="6" y="63"/>
                </a:cubicBezTo>
                <a:lnTo>
                  <a:pt x="16" y="64"/>
                </a:lnTo>
                <a:close/>
                <a:moveTo>
                  <a:pt x="19" y="91"/>
                </a:moveTo>
                <a:cubicBezTo>
                  <a:pt x="22" y="91"/>
                  <a:pt x="24" y="88"/>
                  <a:pt x="23" y="84"/>
                </a:cubicBezTo>
                <a:cubicBezTo>
                  <a:pt x="23" y="84"/>
                  <a:pt x="23" y="84"/>
                  <a:pt x="23" y="84"/>
                </a:cubicBezTo>
                <a:cubicBezTo>
                  <a:pt x="22" y="81"/>
                  <a:pt x="19" y="79"/>
                  <a:pt x="16" y="80"/>
                </a:cubicBezTo>
                <a:cubicBezTo>
                  <a:pt x="6" y="82"/>
                  <a:pt x="6" y="82"/>
                  <a:pt x="6" y="82"/>
                </a:cubicBezTo>
                <a:cubicBezTo>
                  <a:pt x="3" y="83"/>
                  <a:pt x="1" y="86"/>
                  <a:pt x="1" y="89"/>
                </a:cubicBezTo>
                <a:cubicBezTo>
                  <a:pt x="1" y="89"/>
                  <a:pt x="1" y="89"/>
                  <a:pt x="1" y="89"/>
                </a:cubicBezTo>
                <a:cubicBezTo>
                  <a:pt x="2" y="92"/>
                  <a:pt x="5" y="94"/>
                  <a:pt x="8" y="93"/>
                </a:cubicBezTo>
                <a:lnTo>
                  <a:pt x="19" y="91"/>
                </a:lnTo>
                <a:close/>
              </a:path>
            </a:pathLst>
          </a:custGeom>
          <a:solidFill>
            <a:srgbClr val="7700FF"/>
          </a:solidFill>
          <a:ln>
            <a:noFill/>
          </a:ln>
        </p:spPr>
        <p:txBody>
          <a:bodyPr vert="horz" wrap="square" lIns="68580" tIns="34290" rIns="68580" bIns="34290" numCol="1" anchor="t" anchorCtr="0" compatLnSpc="1">
            <a:prstTxWarp prst="textNoShape">
              <a:avLst/>
            </a:prstTxWarp>
          </a:bodyPr>
          <a:lstStyle/>
          <a:p>
            <a:endParaRPr lang="en-US" sz="1013" dirty="0">
              <a:latin typeface="Rostelecom Basis" panose="020B0503030604040103" pitchFamily="34" charset="0"/>
            </a:endParaRPr>
          </a:p>
        </p:txBody>
      </p:sp>
      <p:pic>
        <p:nvPicPr>
          <p:cNvPr id="18" name="Рисунок 17"/>
          <p:cNvPicPr>
            <a:picLocks noChangeAspect="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99143" y="5348923"/>
            <a:ext cx="371511" cy="371511"/>
          </a:xfrm>
          <a:prstGeom prst="rect">
            <a:avLst/>
          </a:prstGeom>
        </p:spPr>
      </p:pic>
      <p:sp>
        <p:nvSpPr>
          <p:cNvPr id="49" name="Rounded Rectangle"/>
          <p:cNvSpPr/>
          <p:nvPr/>
        </p:nvSpPr>
        <p:spPr>
          <a:xfrm>
            <a:off x="6425515" y="3869095"/>
            <a:ext cx="2667600" cy="2077128"/>
          </a:xfrm>
          <a:prstGeom prst="roundRect">
            <a:avLst>
              <a:gd name="adj" fmla="val 8959"/>
            </a:avLst>
          </a:prstGeom>
          <a:solidFill>
            <a:schemeClr val="bg1">
              <a:lumMod val="50000"/>
              <a:alpha val="30000"/>
            </a:schemeClr>
          </a:solidFill>
          <a:ln w="12700" cap="flat">
            <a:noFill/>
            <a:miter lim="400000"/>
          </a:ln>
          <a:effectLst/>
        </p:spPr>
        <p:txBody>
          <a:bodyPr wrap="square" lIns="0" tIns="0" rIns="0" bIns="0" numCol="1" anchor="ctr">
            <a:noAutofit/>
          </a:bodyPr>
          <a:lstStyle/>
          <a:p>
            <a:pPr algn="ctr" defTabSz="412750" hangingPunct="0">
              <a:defRPr sz="3200" b="0">
                <a:solidFill>
                  <a:srgbClr val="479FF8"/>
                </a:solidFill>
                <a:latin typeface="+mn-lt"/>
                <a:ea typeface="+mn-ea"/>
                <a:cs typeface="+mn-cs"/>
                <a:sym typeface="Helvetica Neue Medium"/>
              </a:defRPr>
            </a:pPr>
            <a:endParaRPr sz="1600" kern="0">
              <a:solidFill>
                <a:srgbClr val="479FF8"/>
              </a:solidFill>
              <a:latin typeface="Helvetica Neue Medium"/>
              <a:ea typeface="Helvetica Neue Medium"/>
              <a:cs typeface="Helvetica Neue Medium"/>
              <a:sym typeface="Helvetica Neue Medium"/>
            </a:endParaRPr>
          </a:p>
        </p:txBody>
      </p:sp>
      <p:sp>
        <p:nvSpPr>
          <p:cNvPr id="50" name="TextBox 49">
            <a:extLst>
              <a:ext uri="{FF2B5EF4-FFF2-40B4-BE49-F238E27FC236}">
                <a16:creationId xmlns:a16="http://schemas.microsoft.com/office/drawing/2014/main" id="{D6F1C5F8-4679-4190-9B68-D1E2526B9699}"/>
              </a:ext>
            </a:extLst>
          </p:cNvPr>
          <p:cNvSpPr txBox="1">
            <a:spLocks/>
          </p:cNvSpPr>
          <p:nvPr/>
        </p:nvSpPr>
        <p:spPr>
          <a:xfrm>
            <a:off x="7181025" y="4217455"/>
            <a:ext cx="1638791" cy="387798"/>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Государственное регулирование</a:t>
            </a:r>
            <a:endParaRPr lang="ru-RU" sz="1400" dirty="0">
              <a:solidFill>
                <a:srgbClr val="101828"/>
              </a:solidFill>
            </a:endParaRPr>
          </a:p>
        </p:txBody>
      </p:sp>
      <p:sp>
        <p:nvSpPr>
          <p:cNvPr id="54" name="Oval 126">
            <a:extLst>
              <a:ext uri="{FF2B5EF4-FFF2-40B4-BE49-F238E27FC236}">
                <a16:creationId xmlns:a16="http://schemas.microsoft.com/office/drawing/2014/main" id="{42E653C5-0AB4-4CC7-9DEA-53F74D542272}"/>
              </a:ext>
            </a:extLst>
          </p:cNvPr>
          <p:cNvSpPr>
            <a:spLocks/>
          </p:cNvSpPr>
          <p:nvPr/>
        </p:nvSpPr>
        <p:spPr>
          <a:xfrm>
            <a:off x="6681891" y="4195916"/>
            <a:ext cx="360000" cy="360000"/>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126942" rtlCol="0" anchor="ctr">
            <a:noAutofit/>
          </a:bodyPr>
          <a:lstStyle/>
          <a:p>
            <a:pPr defTabSz="914054">
              <a:defRPr/>
            </a:pPr>
            <a:endParaRPr lang="ru-RU" sz="1234" b="1" dirty="0">
              <a:solidFill>
                <a:srgbClr val="7700FF"/>
              </a:solidFill>
              <a:latin typeface="Rostelecom Basis Medium"/>
            </a:endParaRPr>
          </a:p>
        </p:txBody>
      </p:sp>
      <p:pic>
        <p:nvPicPr>
          <p:cNvPr id="19" name="Рисунок 18"/>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11541" y="4204148"/>
            <a:ext cx="378000" cy="378000"/>
          </a:xfrm>
          <a:prstGeom prst="rect">
            <a:avLst/>
          </a:prstGeom>
        </p:spPr>
      </p:pic>
      <p:pic>
        <p:nvPicPr>
          <p:cNvPr id="56" name="Рисунок 5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8534098" y="421864"/>
            <a:ext cx="3657307" cy="3657307"/>
          </a:xfrm>
          <a:prstGeom prst="rect">
            <a:avLst/>
          </a:prstGeom>
        </p:spPr>
      </p:pic>
      <p:pic>
        <p:nvPicPr>
          <p:cNvPr id="61" name="Рисунок 60"/>
          <p:cNvPicPr>
            <a:picLocks noChangeAspect="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49283" y="4183689"/>
            <a:ext cx="365863" cy="365863"/>
          </a:xfrm>
          <a:prstGeom prst="rect">
            <a:avLst/>
          </a:prstGeom>
        </p:spPr>
      </p:pic>
      <p:pic>
        <p:nvPicPr>
          <p:cNvPr id="62" name="Рисунок 61"/>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78529" y="5126010"/>
            <a:ext cx="473564" cy="473564"/>
          </a:xfrm>
          <a:prstGeom prst="rect">
            <a:avLst/>
          </a:prstGeom>
        </p:spPr>
      </p:pic>
      <p:pic>
        <p:nvPicPr>
          <p:cNvPr id="63" name="Рисунок 62"/>
          <p:cNvPicPr>
            <a:picLocks noChangeAspect="1"/>
          </p:cNvPicPr>
          <p:nvPr/>
        </p:nvPicPr>
        <p:blipFill>
          <a:blip r:embed="rId13" cstate="print">
            <a:extLst>
              <a:ext uri="{BEBA8EAE-BF5A-486C-A8C5-ECC9F3942E4B}">
                <a14:imgProps xmlns:a14="http://schemas.microsoft.com/office/drawing/2010/main">
                  <a14:imgLayer r:embed="rId14">
                    <a14:imgEffect>
                      <a14:artisticPhotocopy/>
                    </a14:imgEffect>
                    <a14:imgEffect>
                      <a14:sharpenSoften amount="25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281000" y="2586046"/>
            <a:ext cx="726319" cy="726319"/>
          </a:xfrm>
          <a:prstGeom prst="rect">
            <a:avLst/>
          </a:prstGeom>
        </p:spPr>
      </p:pic>
      <p:pic>
        <p:nvPicPr>
          <p:cNvPr id="64" name="Рисунок 63"/>
          <p:cNvPicPr>
            <a:picLocks noChangeAspect="1"/>
          </p:cNvPicPr>
          <p:nvPr/>
        </p:nvPicPr>
        <p:blipFill>
          <a:blip r:embed="rId15" cstate="print">
            <a:extLst>
              <a:ext uri="{BEBA8EAE-BF5A-486C-A8C5-ECC9F3942E4B}">
                <a14:imgProps xmlns:a14="http://schemas.microsoft.com/office/drawing/2010/main">
                  <a14:imgLayer r:embed="rId16">
                    <a14:imgEffect>
                      <a14:artisticPhotocopy/>
                    </a14:imgEffect>
                    <a14:imgEffect>
                      <a14:sharpenSoften amount="25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200984" y="2569639"/>
            <a:ext cx="742726" cy="742726"/>
          </a:xfrm>
          <a:prstGeom prst="rect">
            <a:avLst/>
          </a:prstGeom>
        </p:spPr>
      </p:pic>
      <p:pic>
        <p:nvPicPr>
          <p:cNvPr id="65" name="Рисунок 64"/>
          <p:cNvPicPr>
            <a:picLocks noChangeAspect="1"/>
          </p:cNvPicPr>
          <p:nvPr/>
        </p:nvPicPr>
        <p:blipFill>
          <a:blip r:embed="rId17" cstate="print">
            <a:extLst>
              <a:ext uri="{BEBA8EAE-BF5A-486C-A8C5-ECC9F3942E4B}">
                <a14:imgProps xmlns:a14="http://schemas.microsoft.com/office/drawing/2010/main">
                  <a14:imgLayer r:embed="rId18">
                    <a14:imgEffect>
                      <a14:artisticPhotocopy/>
                    </a14:imgEffect>
                    <a14:imgEffect>
                      <a14:sharpenSoften amount="25000"/>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7255209" y="2586047"/>
            <a:ext cx="691536" cy="691536"/>
          </a:xfrm>
          <a:prstGeom prst="rect">
            <a:avLst/>
          </a:prstGeom>
        </p:spPr>
      </p:pic>
      <p:grpSp>
        <p:nvGrpSpPr>
          <p:cNvPr id="39" name="Group 452">
            <a:extLst>
              <a:ext uri="{FF2B5EF4-FFF2-40B4-BE49-F238E27FC236}">
                <a16:creationId xmlns:a16="http://schemas.microsoft.com/office/drawing/2014/main" id="{C64D8AB6-A780-4D87-88A8-081DA5DBADD1}"/>
              </a:ext>
            </a:extLst>
          </p:cNvPr>
          <p:cNvGrpSpPr/>
          <p:nvPr/>
        </p:nvGrpSpPr>
        <p:grpSpPr>
          <a:xfrm>
            <a:off x="6702688" y="4987669"/>
            <a:ext cx="2075476" cy="587084"/>
            <a:chOff x="357281" y="6281839"/>
            <a:chExt cx="2354368" cy="665972"/>
          </a:xfrm>
        </p:grpSpPr>
        <p:sp>
          <p:nvSpPr>
            <p:cNvPr id="42" name="TextBox 41">
              <a:extLst>
                <a:ext uri="{FF2B5EF4-FFF2-40B4-BE49-F238E27FC236}">
                  <a16:creationId xmlns:a16="http://schemas.microsoft.com/office/drawing/2014/main" id="{D6F1C5F8-4679-4190-9B68-D1E2526B9699}"/>
                </a:ext>
              </a:extLst>
            </p:cNvPr>
            <p:cNvSpPr txBox="1">
              <a:spLocks/>
            </p:cNvSpPr>
            <p:nvPr/>
          </p:nvSpPr>
          <p:spPr>
            <a:xfrm>
              <a:off x="947145" y="6281839"/>
              <a:ext cx="1764504" cy="66597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Крупнейший интегратор решений</a:t>
              </a:r>
              <a:endParaRPr lang="ru-RU" sz="1400" dirty="0">
                <a:solidFill>
                  <a:srgbClr val="101828"/>
                </a:solidFill>
              </a:endParaRPr>
            </a:p>
          </p:txBody>
        </p:sp>
        <p:sp>
          <p:nvSpPr>
            <p:cNvPr id="51" name="Oval 126">
              <a:extLst>
                <a:ext uri="{FF2B5EF4-FFF2-40B4-BE49-F238E27FC236}">
                  <a16:creationId xmlns:a16="http://schemas.microsoft.com/office/drawing/2014/main" id="{C1FF1F03-704F-41C3-958E-83F5BAC87BD5}"/>
                </a:ext>
              </a:extLst>
            </p:cNvPr>
            <p:cNvSpPr>
              <a:spLocks/>
            </p:cNvSpPr>
            <p:nvPr/>
          </p:nvSpPr>
          <p:spPr>
            <a:xfrm>
              <a:off x="357281" y="6366771"/>
              <a:ext cx="408375" cy="408375"/>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0" rtlCol="0" anchor="ctr">
              <a:noAutofit/>
            </a:bodyPr>
            <a:lstStyle/>
            <a:p>
              <a:pPr defTabSz="914054">
                <a:defRPr/>
              </a:pPr>
              <a:endParaRPr lang="ru-RU" sz="1234" b="1" dirty="0">
                <a:solidFill>
                  <a:srgbClr val="7700FF"/>
                </a:solidFill>
                <a:latin typeface="Rostelecom Basis Medium"/>
              </a:endParaRPr>
            </a:p>
          </p:txBody>
        </p:sp>
      </p:grpSp>
      <p:pic>
        <p:nvPicPr>
          <p:cNvPr id="52" name="Рисунок 51"/>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566815" y="4983790"/>
            <a:ext cx="473564" cy="473564"/>
          </a:xfrm>
          <a:prstGeom prst="rect">
            <a:avLst/>
          </a:prstGeom>
        </p:spPr>
      </p:pic>
      <p:sp>
        <p:nvSpPr>
          <p:cNvPr id="53" name="TextBox 52">
            <a:extLst>
              <a:ext uri="{FF2B5EF4-FFF2-40B4-BE49-F238E27FC236}">
                <a16:creationId xmlns:a16="http://schemas.microsoft.com/office/drawing/2014/main" id="{D6F1C5F8-4679-4190-9B68-D1E2526B9699}"/>
              </a:ext>
            </a:extLst>
          </p:cNvPr>
          <p:cNvSpPr txBox="1">
            <a:spLocks/>
          </p:cNvSpPr>
          <p:nvPr/>
        </p:nvSpPr>
        <p:spPr>
          <a:xfrm>
            <a:off x="4184101" y="4054838"/>
            <a:ext cx="1788665" cy="587084"/>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chemeClr val="accent1">
                    <a:lumMod val="100000"/>
                  </a:schemeClr>
                </a:solidFill>
                <a:prstDash val="solid"/>
                <a:round/>
                <a:headEnd type="none" w="med" len="med"/>
                <a:tailEnd type="none" w="med" len="med"/>
              </a14:hiddenLine>
            </a:ext>
          </a:extLst>
        </p:spPr>
        <p:txBody>
          <a:bodyPr wrap="square" lIns="0" tIns="0" rIns="0" bIns="0" rtlCol="0" anchor="ctr">
            <a:spAutoFit/>
          </a:bodyPr>
          <a:lstStyle>
            <a:defPPr>
              <a:defRPr lang="ru-RU"/>
            </a:defPPr>
            <a:lvl1pPr marL="285750" indent="-285750">
              <a:spcAft>
                <a:spcPts val="600"/>
              </a:spcAft>
              <a:buFont typeface="Arial" panose="020B0604020202020204" pitchFamily="34" charset="0"/>
              <a:buChar char="•"/>
              <a:defRPr sz="1200">
                <a:solidFill>
                  <a:srgbClr val="272F3D"/>
                </a:solidFill>
              </a:defRPr>
            </a:lvl1pPr>
          </a:lstStyle>
          <a:p>
            <a:pPr marL="0" indent="0" defTabSz="914054">
              <a:lnSpc>
                <a:spcPct val="90000"/>
              </a:lnSpc>
              <a:spcAft>
                <a:spcPts val="0"/>
              </a:spcAft>
              <a:buNone/>
            </a:pPr>
            <a:r>
              <a:rPr lang="ru-RU" sz="1400" dirty="0" smtClean="0">
                <a:solidFill>
                  <a:srgbClr val="101828"/>
                </a:solidFill>
              </a:rPr>
              <a:t>Создание платформ распределенных команд</a:t>
            </a:r>
            <a:endParaRPr lang="ru-RU" sz="1400" dirty="0">
              <a:solidFill>
                <a:srgbClr val="101828"/>
              </a:solidFill>
            </a:endParaRPr>
          </a:p>
        </p:txBody>
      </p:sp>
      <p:sp>
        <p:nvSpPr>
          <p:cNvPr id="55" name="Oval 126">
            <a:extLst>
              <a:ext uri="{FF2B5EF4-FFF2-40B4-BE49-F238E27FC236}">
                <a16:creationId xmlns:a16="http://schemas.microsoft.com/office/drawing/2014/main" id="{42E653C5-0AB4-4CC7-9DEA-53F74D542272}"/>
              </a:ext>
            </a:extLst>
          </p:cNvPr>
          <p:cNvSpPr>
            <a:spLocks/>
          </p:cNvSpPr>
          <p:nvPr/>
        </p:nvSpPr>
        <p:spPr>
          <a:xfrm>
            <a:off x="3688342" y="4773597"/>
            <a:ext cx="360000" cy="360000"/>
          </a:xfrm>
          <a:prstGeom prst="ellipse">
            <a:avLst/>
          </a:prstGeom>
          <a:solidFill>
            <a:srgbClr val="CB9BFF">
              <a:alpha val="62000"/>
            </a:srgbClr>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431597" bIns="126942" rtlCol="0" anchor="ctr">
            <a:noAutofit/>
          </a:bodyPr>
          <a:lstStyle/>
          <a:p>
            <a:pPr defTabSz="914054">
              <a:defRPr/>
            </a:pPr>
            <a:endParaRPr lang="ru-RU" sz="1234" b="1" dirty="0">
              <a:solidFill>
                <a:srgbClr val="7700FF"/>
              </a:solidFill>
              <a:latin typeface="Rostelecom Basis Medium"/>
            </a:endParaRPr>
          </a:p>
        </p:txBody>
      </p:sp>
      <p:pic>
        <p:nvPicPr>
          <p:cNvPr id="57" name="Рисунок 56"/>
          <p:cNvPicPr>
            <a:picLocks noChangeAspect="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69506" y="4746581"/>
            <a:ext cx="378000" cy="378000"/>
          </a:xfrm>
          <a:prstGeom prst="rect">
            <a:avLst/>
          </a:prstGeom>
        </p:spPr>
      </p:pic>
    </p:spTree>
    <p:extLst>
      <p:ext uri="{BB962C8B-B14F-4D97-AF65-F5344CB8AC3E}">
        <p14:creationId xmlns:p14="http://schemas.microsoft.com/office/powerpoint/2010/main" val="2920492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вал 1"/>
          <p:cNvSpPr/>
          <p:nvPr/>
        </p:nvSpPr>
        <p:spPr>
          <a:xfrm>
            <a:off x="1833975" y="2202545"/>
            <a:ext cx="2160000" cy="2160000"/>
          </a:xfrm>
          <a:prstGeom prst="ellipse">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noFill/>
            </a:endParaRPr>
          </a:p>
        </p:txBody>
      </p:sp>
      <p:sp>
        <p:nvSpPr>
          <p:cNvPr id="7" name="Заголовок 6"/>
          <p:cNvSpPr>
            <a:spLocks noGrp="1"/>
          </p:cNvSpPr>
          <p:nvPr>
            <p:ph type="title"/>
          </p:nvPr>
        </p:nvSpPr>
        <p:spPr>
          <a:xfrm>
            <a:off x="416081" y="333073"/>
            <a:ext cx="10515600" cy="644671"/>
          </a:xfrm>
        </p:spPr>
        <p:txBody>
          <a:bodyPr>
            <a:normAutofit/>
          </a:bodyPr>
          <a:lstStyle/>
          <a:p>
            <a:pPr lvl="0">
              <a:lnSpc>
                <a:spcPct val="100000"/>
              </a:lnSpc>
              <a:spcBef>
                <a:spcPts val="0"/>
              </a:spcBef>
            </a:pPr>
            <a:r>
              <a:rPr lang="ru-RU" sz="2400" dirty="0" smtClean="0">
                <a:latin typeface="Rostelecom Basis Medium"/>
                <a:ea typeface="+mn-ea"/>
                <a:cs typeface="+mn-cs"/>
              </a:rPr>
              <a:t>Краткий обзор решений от ГК Ростелеком в реестре </a:t>
            </a:r>
            <a:r>
              <a:rPr lang="ru-RU" sz="2400" dirty="0" err="1" smtClean="0">
                <a:latin typeface="Rostelecom Basis Medium"/>
                <a:ea typeface="+mn-ea"/>
                <a:cs typeface="+mn-cs"/>
              </a:rPr>
              <a:t>Минцифры</a:t>
            </a:r>
            <a:endParaRPr lang="ru-RU" dirty="0"/>
          </a:p>
        </p:txBody>
      </p:sp>
      <p:sp>
        <p:nvSpPr>
          <p:cNvPr id="10" name="TextBox 9">
            <a:extLst>
              <a:ext uri="{FF2B5EF4-FFF2-40B4-BE49-F238E27FC236}">
                <a16:creationId xmlns:a16="http://schemas.microsoft.com/office/drawing/2014/main" id="{DCDE7CB7-649E-5148-9CAE-944982969AD9}"/>
              </a:ext>
            </a:extLst>
          </p:cNvPr>
          <p:cNvSpPr txBox="1"/>
          <p:nvPr/>
        </p:nvSpPr>
        <p:spPr>
          <a:xfrm>
            <a:off x="5768940" y="1275294"/>
            <a:ext cx="5745600" cy="6986528"/>
          </a:xfrm>
          <a:prstGeom prst="rect">
            <a:avLst/>
          </a:prstGeom>
          <a:noFill/>
        </p:spPr>
        <p:txBody>
          <a:bodyPr wrap="square" rtlCol="0">
            <a:spAutoFit/>
          </a:bodyPr>
          <a:lstStyle/>
          <a:p>
            <a:pPr marL="0" marR="0" lvl="0" indent="0" defTabSz="914400" rtl="0" eaLnBrk="1" fontAlgn="auto" latinLnBrk="0" hangingPunct="1">
              <a:spcBef>
                <a:spcPts val="0"/>
              </a:spcBef>
              <a:spcAft>
                <a:spcPts val="0"/>
              </a:spcAft>
              <a:buClrTx/>
              <a:buSzTx/>
              <a:buFontTx/>
              <a:buNone/>
              <a:tabLst/>
              <a:defRPr/>
            </a:pPr>
            <a:r>
              <a:rPr kumimoji="0" lang="ru-RU" sz="2000" b="0" i="0" u="none" strike="noStrike" kern="1200" cap="none" spc="0" normalizeH="0" baseline="0" noProof="0" dirty="0" smtClean="0">
                <a:ln>
                  <a:noFill/>
                </a:ln>
                <a:solidFill>
                  <a:srgbClr val="FF4F12"/>
                </a:solidFill>
                <a:effectLst/>
                <a:uLnTx/>
                <a:uFillTx/>
                <a:latin typeface="Rostelecom Basis Medium" panose="020B0603030604040103" pitchFamily="34" charset="0"/>
                <a:ea typeface="+mn-ea"/>
                <a:cs typeface="Calibri Light" panose="020F0302020204030204" pitchFamily="34" charset="0"/>
              </a:rPr>
              <a:t>10%</a:t>
            </a:r>
            <a:endParaRPr kumimoji="0" lang="ru-RU" sz="2000" b="0" i="0" u="none" strike="noStrike" kern="1200" cap="none" spc="0" normalizeH="0" baseline="0" noProof="0" dirty="0">
              <a:ln>
                <a:noFill/>
              </a:ln>
              <a:solidFill>
                <a:srgbClr val="FF4F12"/>
              </a:solidFill>
              <a:effectLst/>
              <a:uLnTx/>
              <a:uFillTx/>
              <a:latin typeface="Rostelecom Basis Medium" panose="020B06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r>
              <a:rPr kumimoji="0" lang="ru-RU" sz="1600" b="1" i="0" u="none" strike="noStrike" kern="1200" cap="none" spc="0" normalizeH="0" baseline="0" noProof="0" dirty="0" smtClean="0">
                <a:ln>
                  <a:noFill/>
                </a:ln>
                <a:solidFill>
                  <a:srgbClr val="000000"/>
                </a:solidFill>
                <a:effectLst/>
                <a:uLnTx/>
                <a:uFillTx/>
                <a:latin typeface="Rostelecom Basis Light" panose="020B0303030604040103" pitchFamily="34" charset="0"/>
                <a:cs typeface="Calibri Light" panose="020F0302020204030204" pitchFamily="34" charset="0"/>
              </a:rPr>
              <a:t>Средства обеспечения </a:t>
            </a:r>
            <a:r>
              <a:rPr kumimoji="0" lang="ru-RU" sz="1600" b="1" i="0" u="none" strike="noStrike" kern="1200" cap="none" spc="0" normalizeH="0" baseline="0" noProof="0" dirty="0" err="1" smtClean="0">
                <a:ln>
                  <a:noFill/>
                </a:ln>
                <a:solidFill>
                  <a:srgbClr val="000000"/>
                </a:solidFill>
                <a:effectLst/>
                <a:uLnTx/>
                <a:uFillTx/>
                <a:latin typeface="Rostelecom Basis Light" panose="020B0303030604040103" pitchFamily="34" charset="0"/>
                <a:cs typeface="Calibri Light" panose="020F0302020204030204" pitchFamily="34" charset="0"/>
              </a:rPr>
              <a:t>инфобезопасности</a:t>
            </a:r>
            <a:endParaRPr kumimoji="0" lang="ru-RU" sz="1600" b="1" i="0" u="none" strike="noStrike" kern="1200" cap="none" spc="0" normalizeH="0" baseline="0" noProof="0" dirty="0" smtClean="0">
              <a:ln>
                <a:noFill/>
              </a:ln>
              <a:solidFill>
                <a:srgbClr val="000000"/>
              </a:solidFill>
              <a:effectLst/>
              <a:uLnTx/>
              <a:uFillTx/>
              <a:latin typeface="Rostelecom Basis Light" panose="020B0303030604040103" pitchFamily="34" charset="0"/>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smtClean="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lvl="0" defTabSz="914400">
              <a:defRPr/>
            </a:pPr>
            <a:r>
              <a:rPr lang="ru-RU" sz="2000" dirty="0" smtClean="0">
                <a:solidFill>
                  <a:srgbClr val="FFC000"/>
                </a:solidFill>
                <a:latin typeface="Rostelecom Basis Medium" panose="020B0603030604040103" pitchFamily="34" charset="0"/>
                <a:cs typeface="Calibri Light" panose="020F0302020204030204" pitchFamily="34" charset="0"/>
              </a:rPr>
              <a:t>25%</a:t>
            </a:r>
            <a:endParaRPr lang="ru-RU" sz="2000" dirty="0">
              <a:solidFill>
                <a:srgbClr val="FFC000"/>
              </a:solidFill>
              <a:latin typeface="Rostelecom Basis Medium" panose="020B0603030604040103" pitchFamily="34" charset="0"/>
              <a:cs typeface="Calibri Light" panose="020F0302020204030204" pitchFamily="34" charset="0"/>
            </a:endParaRPr>
          </a:p>
          <a:p>
            <a:pPr lvl="0" defTabSz="914400">
              <a:defRPr/>
            </a:pPr>
            <a:r>
              <a:rPr lang="ru-RU" sz="1600" b="1" dirty="0" smtClean="0">
                <a:solidFill>
                  <a:srgbClr val="000000"/>
                </a:solidFill>
                <a:latin typeface="Rostelecom Basis Light" panose="020B0303030604040103" pitchFamily="34" charset="0"/>
                <a:cs typeface="Calibri Light" panose="020F0302020204030204" pitchFamily="34" charset="0"/>
              </a:rPr>
              <a:t>ИС для решения специфических отраслевых задач</a:t>
            </a:r>
            <a:endParaRPr lang="ru-RU" sz="1600" b="1" dirty="0">
              <a:solidFill>
                <a:srgbClr val="000000"/>
              </a:solidFill>
              <a:latin typeface="Rostelecom Basis Light" panose="020B0303030604040103" pitchFamily="34" charset="0"/>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smtClean="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smtClean="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lvl="0" defTabSz="914400">
              <a:defRPr/>
            </a:pPr>
            <a:r>
              <a:rPr lang="ru-RU" sz="2000" dirty="0">
                <a:solidFill>
                  <a:srgbClr val="65B8DF"/>
                </a:solidFill>
                <a:latin typeface="Rostelecom Basis Medium" panose="020B0603030604040103" pitchFamily="34" charset="0"/>
                <a:cs typeface="Calibri Light" panose="020F0302020204030204" pitchFamily="34" charset="0"/>
              </a:rPr>
              <a:t>23%</a:t>
            </a:r>
          </a:p>
          <a:p>
            <a:pPr lvl="0" defTabSz="914400">
              <a:defRPr/>
            </a:pPr>
            <a:r>
              <a:rPr lang="ru-RU" sz="1600" b="1" dirty="0" smtClean="0">
                <a:latin typeface="Rostelecom Basis Light" panose="020B0303030604040103" pitchFamily="34" charset="0"/>
                <a:cs typeface="Calibri Light" panose="020F0302020204030204" pitchFamily="34" charset="0"/>
              </a:rPr>
              <a:t>Системы мониторинга и управления</a:t>
            </a:r>
            <a:endParaRPr lang="ru-RU" sz="1600" b="1" dirty="0">
              <a:latin typeface="Rostelecom Basis Light" panose="020B0303030604040103" pitchFamily="34" charset="0"/>
              <a:cs typeface="Calibri Light" panose="020F0302020204030204" pitchFamily="34" charset="0"/>
            </a:endParaRPr>
          </a:p>
          <a:p>
            <a:pPr lvl="0" defTabSz="914400">
              <a:defRPr/>
            </a:pPr>
            <a:r>
              <a:rPr lang="ru-RU" sz="1400" dirty="0" err="1" smtClean="0">
                <a:latin typeface="Rostelecom Basis Light" panose="020B0303030604040103" pitchFamily="34" charset="0"/>
                <a:cs typeface="Calibri Light" panose="020F0302020204030204" pitchFamily="34" charset="0"/>
              </a:rPr>
              <a:t>Спецмониторинг</a:t>
            </a:r>
            <a:r>
              <a:rPr lang="ru-RU" sz="1400" dirty="0" smtClean="0">
                <a:latin typeface="Rostelecom Basis Light" panose="020B0303030604040103" pitchFamily="34" charset="0"/>
                <a:cs typeface="Calibri Light" panose="020F0302020204030204" pitchFamily="34" charset="0"/>
              </a:rPr>
              <a:t> и мониторинг </a:t>
            </a:r>
            <a:r>
              <a:rPr lang="ru-RU" sz="1400" dirty="0" err="1" smtClean="0">
                <a:latin typeface="Rostelecom Basis Light" panose="020B0303030604040103" pitchFamily="34" charset="0"/>
                <a:cs typeface="Calibri Light" panose="020F0302020204030204" pitchFamily="34" charset="0"/>
              </a:rPr>
              <a:t>инфобезопасности</a:t>
            </a:r>
            <a:endParaRPr lang="ru-RU" sz="1400" dirty="0">
              <a:latin typeface="Rostelecom Basis Light" panose="020B0303030604040103" pitchFamily="34" charset="0"/>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lvl="0" defTabSz="914400">
              <a:defRPr/>
            </a:pPr>
            <a:r>
              <a:rPr lang="ru-RU" sz="2000" dirty="0">
                <a:solidFill>
                  <a:srgbClr val="364256"/>
                </a:solidFill>
                <a:latin typeface="Rostelecom Basis Medium" panose="020B0603030604040103" pitchFamily="34" charset="0"/>
                <a:cs typeface="Calibri Light" panose="020F0302020204030204" pitchFamily="34" charset="0"/>
              </a:rPr>
              <a:t>34%</a:t>
            </a:r>
          </a:p>
          <a:p>
            <a:pPr lvl="0" defTabSz="914400">
              <a:defRPr/>
            </a:pPr>
            <a:r>
              <a:rPr lang="ru-RU" sz="1600" b="1" dirty="0" smtClean="0">
                <a:latin typeface="Rostelecom Basis Light" panose="020B0303030604040103" pitchFamily="34" charset="0"/>
                <a:cs typeface="Calibri Light" panose="020F0302020204030204" pitchFamily="34" charset="0"/>
              </a:rPr>
              <a:t>ПО операционной деятельности</a:t>
            </a:r>
            <a:endParaRPr lang="ru-RU" sz="1600" b="1" dirty="0">
              <a:latin typeface="Rostelecom Basis Light" panose="020B0303030604040103" pitchFamily="34" charset="0"/>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7700FF"/>
              </a:solidFill>
              <a:effectLst/>
              <a:uLnTx/>
              <a:uFillTx/>
              <a:latin typeface="Rostelecom Basis Light" panose="020B0303030604040103" pitchFamily="34" charset="0"/>
              <a:ea typeface="+mn-ea"/>
              <a:cs typeface="Calibri Light" panose="020F0302020204030204" pitchFamily="34" charset="0"/>
            </a:endParaRPr>
          </a:p>
          <a:p>
            <a:pPr lvl="0" defTabSz="914400">
              <a:defRPr/>
            </a:pPr>
            <a:r>
              <a:rPr lang="ru-RU" sz="2000" dirty="0">
                <a:solidFill>
                  <a:srgbClr val="7700FF"/>
                </a:solidFill>
                <a:latin typeface="Rostelecom Basis Medium" panose="020B0603030604040103" pitchFamily="34" charset="0"/>
                <a:cs typeface="Calibri Light" panose="020F0302020204030204" pitchFamily="34" charset="0"/>
              </a:rPr>
              <a:t>8</a:t>
            </a:r>
            <a:r>
              <a:rPr lang="ru-RU" sz="2000" dirty="0" smtClean="0">
                <a:solidFill>
                  <a:srgbClr val="7700FF"/>
                </a:solidFill>
                <a:latin typeface="Rostelecom Basis Medium" panose="020B0603030604040103" pitchFamily="34" charset="0"/>
                <a:cs typeface="Calibri Light" panose="020F0302020204030204" pitchFamily="34" charset="0"/>
              </a:rPr>
              <a:t>%</a:t>
            </a:r>
            <a:endParaRPr lang="ru-RU" sz="2000" dirty="0">
              <a:solidFill>
                <a:srgbClr val="7700FF"/>
              </a:solidFill>
              <a:latin typeface="Rostelecom Basis Medium" panose="020B0603030604040103" pitchFamily="34" charset="0"/>
              <a:cs typeface="Calibri Light" panose="020F0302020204030204" pitchFamily="34" charset="0"/>
            </a:endParaRPr>
          </a:p>
          <a:p>
            <a:pPr lvl="0" defTabSz="914400">
              <a:defRPr/>
            </a:pPr>
            <a:r>
              <a:rPr lang="ru-RU" sz="1600" b="1" dirty="0" smtClean="0">
                <a:solidFill>
                  <a:srgbClr val="000000"/>
                </a:solidFill>
                <a:latin typeface="Rostelecom Basis Light" panose="020B0303030604040103" pitchFamily="34" charset="0"/>
                <a:cs typeface="Calibri Light" panose="020F0302020204030204" pitchFamily="34" charset="0"/>
              </a:rPr>
              <a:t>Системы сбора, хранения, обработки, анализа, моделирования и визуализации массивов данных </a:t>
            </a:r>
          </a:p>
          <a:p>
            <a:pPr lvl="0" defTabSz="914400">
              <a:defRPr/>
            </a:pPr>
            <a:r>
              <a:rPr lang="ru-RU" sz="1400" dirty="0">
                <a:latin typeface="Rostelecom Basis Light" panose="020B0303030604040103" pitchFamily="34" charset="0"/>
                <a:cs typeface="Calibri Light" panose="020F0302020204030204" pitchFamily="34" charset="0"/>
              </a:rPr>
              <a:t>Платформа управления данными</a:t>
            </a: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smtClean="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a:p>
            <a:pPr marL="0" marR="0" lvl="0" indent="0" algn="l" defTabSz="914400" rtl="0" eaLnBrk="1" fontAlgn="auto" latinLnBrk="0" hangingPunct="1">
              <a:spcBef>
                <a:spcPts val="0"/>
              </a:spcBef>
              <a:spcAft>
                <a:spcPts val="0"/>
              </a:spcAft>
              <a:buClrTx/>
              <a:buSzTx/>
              <a:buFontTx/>
              <a:buNone/>
              <a:tabLst/>
              <a:defRPr/>
            </a:pPr>
            <a:endParaRPr kumimoji="0" lang="ru-RU" sz="1600" b="0" i="0" u="none" strike="noStrike" kern="1200" cap="none" spc="0" normalizeH="0" baseline="0" noProof="0" dirty="0">
              <a:ln>
                <a:noFill/>
              </a:ln>
              <a:solidFill>
                <a:srgbClr val="000000"/>
              </a:solidFill>
              <a:effectLst/>
              <a:uLnTx/>
              <a:uFillTx/>
              <a:latin typeface="Rostelecom Basis Light" panose="020B0303030604040103" pitchFamily="34" charset="0"/>
              <a:ea typeface="+mn-ea"/>
              <a:cs typeface="Calibri Light" panose="020F0302020204030204" pitchFamily="34" charset="0"/>
            </a:endParaRPr>
          </a:p>
        </p:txBody>
      </p:sp>
      <p:pic>
        <p:nvPicPr>
          <p:cNvPr id="21" name="Рисунок 20"/>
          <p:cNvPicPr>
            <a:picLocks noChangeAspect="1"/>
          </p:cNvPicPr>
          <p:nvPr/>
        </p:nvPicPr>
        <p:blipFill>
          <a:blip r:embed="rId2"/>
          <a:stretch>
            <a:fillRect/>
          </a:stretch>
        </p:blipFill>
        <p:spPr>
          <a:xfrm>
            <a:off x="11428059" y="232067"/>
            <a:ext cx="497742" cy="577851"/>
          </a:xfrm>
          <a:prstGeom prst="rect">
            <a:avLst/>
          </a:prstGeom>
        </p:spPr>
      </p:pic>
      <p:sp>
        <p:nvSpPr>
          <p:cNvPr id="24" name="Овал 2">
            <a:extLst>
              <a:ext uri="{FF2B5EF4-FFF2-40B4-BE49-F238E27FC236}">
                <a16:creationId xmlns:a16="http://schemas.microsoft.com/office/drawing/2014/main" id="{87A3D949-2145-FC40-980C-EA8EA0D1F30E}"/>
              </a:ext>
            </a:extLst>
          </p:cNvPr>
          <p:cNvSpPr/>
          <p:nvPr/>
        </p:nvSpPr>
        <p:spPr>
          <a:xfrm>
            <a:off x="1323014" y="2536696"/>
            <a:ext cx="900000" cy="900000"/>
          </a:xfrm>
          <a:prstGeom prst="ellipse">
            <a:avLst/>
          </a:prstGeom>
          <a:gradFill flip="none" rotWithShape="1">
            <a:gsLst>
              <a:gs pos="0">
                <a:srgbClr val="7700FF"/>
              </a:gs>
              <a:gs pos="54000">
                <a:srgbClr val="7700FF"/>
              </a:gs>
              <a:gs pos="99000">
                <a:srgbClr val="3A007A"/>
              </a:gs>
            </a:gsLst>
            <a:lin ang="5400000" scaled="1"/>
            <a:tileRect/>
          </a:gradFill>
          <a:ln w="10478" cap="flat">
            <a:noFill/>
            <a:prstDash val="solid"/>
            <a:miter/>
          </a:ln>
        </p:spPr>
        <p:txBody>
          <a:bodyPr rtlCol="0" anchor="ctr"/>
          <a:lstStyle/>
          <a:p>
            <a:endParaRPr lang="ru-RU" sz="1801">
              <a:solidFill>
                <a:srgbClr val="272F3D"/>
              </a:solidFill>
              <a:latin typeface="Rostelecom Basis"/>
            </a:endParaRPr>
          </a:p>
        </p:txBody>
      </p:sp>
      <p:sp>
        <p:nvSpPr>
          <p:cNvPr id="25" name="Овал 4">
            <a:extLst>
              <a:ext uri="{FF2B5EF4-FFF2-40B4-BE49-F238E27FC236}">
                <a16:creationId xmlns:a16="http://schemas.microsoft.com/office/drawing/2014/main" id="{7697DF89-9350-484A-BEFB-064E6AD05A30}"/>
              </a:ext>
            </a:extLst>
          </p:cNvPr>
          <p:cNvSpPr/>
          <p:nvPr/>
        </p:nvSpPr>
        <p:spPr>
          <a:xfrm>
            <a:off x="2463975" y="1624220"/>
            <a:ext cx="900000" cy="900000"/>
          </a:xfrm>
          <a:prstGeom prst="ellipse">
            <a:avLst/>
          </a:prstGeom>
          <a:gradFill flip="none" rotWithShape="1">
            <a:gsLst>
              <a:gs pos="0">
                <a:srgbClr val="FF4F12"/>
              </a:gs>
              <a:gs pos="54000">
                <a:srgbClr val="FF4F12">
                  <a:alpha val="93000"/>
                </a:srgbClr>
              </a:gs>
              <a:gs pos="99000">
                <a:srgbClr val="CD3500"/>
              </a:gs>
            </a:gsLst>
            <a:lin ang="5400000" scaled="1"/>
            <a:tileRect/>
          </a:gradFill>
          <a:ln w="10478" cap="flat">
            <a:noFill/>
            <a:prstDash val="solid"/>
            <a:miter/>
          </a:ln>
        </p:spPr>
        <p:txBody>
          <a:bodyPr rtlCol="0" anchor="ctr"/>
          <a:lstStyle/>
          <a:p>
            <a:endParaRPr lang="ru-RU" sz="1801">
              <a:solidFill>
                <a:srgbClr val="272F3D"/>
              </a:solidFill>
              <a:latin typeface="Rostelecom Basis"/>
            </a:endParaRPr>
          </a:p>
        </p:txBody>
      </p:sp>
      <p:sp>
        <p:nvSpPr>
          <p:cNvPr id="26" name="Овал 6">
            <a:extLst>
              <a:ext uri="{FF2B5EF4-FFF2-40B4-BE49-F238E27FC236}">
                <a16:creationId xmlns:a16="http://schemas.microsoft.com/office/drawing/2014/main" id="{C81CD05B-F6C9-2846-9DBD-7141DB7BC8C5}"/>
              </a:ext>
            </a:extLst>
          </p:cNvPr>
          <p:cNvSpPr/>
          <p:nvPr/>
        </p:nvSpPr>
        <p:spPr>
          <a:xfrm>
            <a:off x="3270510" y="3868558"/>
            <a:ext cx="900000" cy="900000"/>
          </a:xfrm>
          <a:prstGeom prst="ellipse">
            <a:avLst/>
          </a:prstGeom>
          <a:gradFill flip="none" rotWithShape="1">
            <a:gsLst>
              <a:gs pos="0">
                <a:srgbClr val="65B8DF"/>
              </a:gs>
              <a:gs pos="54000">
                <a:srgbClr val="65B8DF"/>
              </a:gs>
              <a:gs pos="99000">
                <a:srgbClr val="207398"/>
              </a:gs>
            </a:gsLst>
            <a:lin ang="5400000" scaled="1"/>
            <a:tileRect/>
          </a:gradFill>
          <a:ln w="10478" cap="flat">
            <a:noFill/>
            <a:prstDash val="solid"/>
            <a:miter/>
          </a:ln>
        </p:spPr>
        <p:txBody>
          <a:bodyPr rtlCol="0" anchor="ctr"/>
          <a:lstStyle/>
          <a:p>
            <a:endParaRPr lang="ru-RU" sz="1801">
              <a:solidFill>
                <a:srgbClr val="272F3D"/>
              </a:solidFill>
              <a:latin typeface="Rostelecom Basis"/>
            </a:endParaRPr>
          </a:p>
        </p:txBody>
      </p:sp>
      <p:sp>
        <p:nvSpPr>
          <p:cNvPr id="27" name="Овал 8">
            <a:extLst>
              <a:ext uri="{FF2B5EF4-FFF2-40B4-BE49-F238E27FC236}">
                <a16:creationId xmlns:a16="http://schemas.microsoft.com/office/drawing/2014/main" id="{057B6C7C-3AB1-704F-9E6D-2F3E0DA66D1F}"/>
              </a:ext>
            </a:extLst>
          </p:cNvPr>
          <p:cNvSpPr/>
          <p:nvPr/>
        </p:nvSpPr>
        <p:spPr>
          <a:xfrm>
            <a:off x="1699011" y="3868558"/>
            <a:ext cx="900000" cy="900000"/>
          </a:xfrm>
          <a:prstGeom prst="ellipse">
            <a:avLst/>
          </a:prstGeom>
          <a:gradFill flip="none" rotWithShape="1">
            <a:gsLst>
              <a:gs pos="0">
                <a:srgbClr val="364256"/>
              </a:gs>
              <a:gs pos="54000">
                <a:srgbClr val="364256"/>
              </a:gs>
              <a:gs pos="99000">
                <a:srgbClr val="191F29"/>
              </a:gs>
            </a:gsLst>
            <a:lin ang="5400000" scaled="1"/>
            <a:tileRect/>
          </a:gradFill>
          <a:ln w="10478" cap="flat">
            <a:noFill/>
            <a:prstDash val="solid"/>
            <a:miter/>
          </a:ln>
        </p:spPr>
        <p:txBody>
          <a:bodyPr rtlCol="0" anchor="ctr"/>
          <a:lstStyle/>
          <a:p>
            <a:endParaRPr lang="ru-RU" sz="1801">
              <a:solidFill>
                <a:srgbClr val="272F3D"/>
              </a:solidFill>
              <a:latin typeface="Rostelecom Basis"/>
            </a:endParaRPr>
          </a:p>
        </p:txBody>
      </p:sp>
      <p:sp>
        <p:nvSpPr>
          <p:cNvPr id="28" name="Овал 9">
            <a:extLst>
              <a:ext uri="{FF2B5EF4-FFF2-40B4-BE49-F238E27FC236}">
                <a16:creationId xmlns:a16="http://schemas.microsoft.com/office/drawing/2014/main" id="{D338DE7C-E13F-4847-9CE8-CB238BF5FF8A}"/>
              </a:ext>
            </a:extLst>
          </p:cNvPr>
          <p:cNvSpPr/>
          <p:nvPr/>
        </p:nvSpPr>
        <p:spPr>
          <a:xfrm>
            <a:off x="3627215" y="2507976"/>
            <a:ext cx="900000" cy="900000"/>
          </a:xfrm>
          <a:prstGeom prst="ellipse">
            <a:avLst/>
          </a:prstGeom>
          <a:gradFill flip="none" rotWithShape="1">
            <a:gsLst>
              <a:gs pos="0">
                <a:srgbClr val="FFC000"/>
              </a:gs>
              <a:gs pos="54000">
                <a:srgbClr val="FFC000"/>
              </a:gs>
              <a:gs pos="99000">
                <a:srgbClr val="D89D28"/>
              </a:gs>
            </a:gsLst>
            <a:lin ang="5400000" scaled="1"/>
            <a:tileRect/>
          </a:gradFill>
          <a:ln w="10478" cap="flat">
            <a:noFill/>
            <a:prstDash val="solid"/>
            <a:miter/>
          </a:ln>
        </p:spPr>
        <p:txBody>
          <a:bodyPr rtlCol="0" anchor="ctr"/>
          <a:lstStyle/>
          <a:p>
            <a:endParaRPr lang="ru-RU" sz="1801" dirty="0">
              <a:solidFill>
                <a:srgbClr val="272F3D"/>
              </a:solidFill>
              <a:latin typeface="Rostelecom Basis"/>
            </a:endParaRPr>
          </a:p>
        </p:txBody>
      </p:sp>
      <p:grpSp>
        <p:nvGrpSpPr>
          <p:cNvPr id="29" name="Group 131"/>
          <p:cNvGrpSpPr/>
          <p:nvPr/>
        </p:nvGrpSpPr>
        <p:grpSpPr>
          <a:xfrm>
            <a:off x="2759178" y="1875731"/>
            <a:ext cx="309593" cy="396978"/>
            <a:chOff x="2639219" y="3510757"/>
            <a:chExt cx="348456" cy="465138"/>
          </a:xfrm>
          <a:solidFill>
            <a:schemeClr val="bg1"/>
          </a:solidFill>
        </p:grpSpPr>
        <p:sp>
          <p:nvSpPr>
            <p:cNvPr id="30" name="AutoShape 115"/>
            <p:cNvSpPr>
              <a:spLocks/>
            </p:cNvSpPr>
            <p:nvPr/>
          </p:nvSpPr>
          <p:spPr bwMode="auto">
            <a:xfrm>
              <a:off x="2639219" y="3510757"/>
              <a:ext cx="348456" cy="46513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800" y="12825"/>
                  </a:moveTo>
                  <a:lnTo>
                    <a:pt x="19800" y="13500"/>
                  </a:lnTo>
                  <a:lnTo>
                    <a:pt x="19800" y="14850"/>
                  </a:lnTo>
                  <a:lnTo>
                    <a:pt x="19800" y="15525"/>
                  </a:lnTo>
                  <a:cubicBezTo>
                    <a:pt x="19800" y="18129"/>
                    <a:pt x="16972" y="20249"/>
                    <a:pt x="13499" y="20249"/>
                  </a:cubicBezTo>
                  <a:lnTo>
                    <a:pt x="8099" y="20249"/>
                  </a:lnTo>
                  <a:cubicBezTo>
                    <a:pt x="4627" y="20249"/>
                    <a:pt x="1800" y="18129"/>
                    <a:pt x="1800" y="15525"/>
                  </a:cubicBezTo>
                  <a:lnTo>
                    <a:pt x="1800" y="14850"/>
                  </a:lnTo>
                  <a:lnTo>
                    <a:pt x="1800" y="13500"/>
                  </a:lnTo>
                  <a:lnTo>
                    <a:pt x="1800" y="12825"/>
                  </a:lnTo>
                  <a:lnTo>
                    <a:pt x="1800" y="10800"/>
                  </a:lnTo>
                  <a:cubicBezTo>
                    <a:pt x="1800" y="10427"/>
                    <a:pt x="2203" y="10124"/>
                    <a:pt x="2699" y="10124"/>
                  </a:cubicBezTo>
                  <a:lnTo>
                    <a:pt x="4499" y="10124"/>
                  </a:lnTo>
                  <a:lnTo>
                    <a:pt x="17100" y="10124"/>
                  </a:lnTo>
                  <a:lnTo>
                    <a:pt x="18899" y="10124"/>
                  </a:lnTo>
                  <a:cubicBezTo>
                    <a:pt x="19396" y="10124"/>
                    <a:pt x="19800" y="10427"/>
                    <a:pt x="19800" y="10800"/>
                  </a:cubicBezTo>
                  <a:cubicBezTo>
                    <a:pt x="19800" y="10800"/>
                    <a:pt x="19800" y="12825"/>
                    <a:pt x="19800" y="12825"/>
                  </a:cubicBezTo>
                  <a:close/>
                  <a:moveTo>
                    <a:pt x="14400" y="6075"/>
                  </a:moveTo>
                  <a:lnTo>
                    <a:pt x="14400" y="6076"/>
                  </a:lnTo>
                  <a:lnTo>
                    <a:pt x="14400" y="8774"/>
                  </a:lnTo>
                  <a:lnTo>
                    <a:pt x="7200" y="8774"/>
                  </a:lnTo>
                  <a:lnTo>
                    <a:pt x="7200" y="6076"/>
                  </a:lnTo>
                  <a:lnTo>
                    <a:pt x="7200" y="6075"/>
                  </a:lnTo>
                  <a:cubicBezTo>
                    <a:pt x="7200" y="4583"/>
                    <a:pt x="8811" y="3375"/>
                    <a:pt x="10800" y="3375"/>
                  </a:cubicBezTo>
                  <a:cubicBezTo>
                    <a:pt x="12788" y="3375"/>
                    <a:pt x="14400" y="4583"/>
                    <a:pt x="14400" y="6075"/>
                  </a:cubicBezTo>
                  <a:moveTo>
                    <a:pt x="4499" y="6075"/>
                  </a:moveTo>
                  <a:cubicBezTo>
                    <a:pt x="4499" y="3465"/>
                    <a:pt x="7320" y="1350"/>
                    <a:pt x="10800" y="1350"/>
                  </a:cubicBezTo>
                  <a:cubicBezTo>
                    <a:pt x="14279" y="1350"/>
                    <a:pt x="17100" y="3465"/>
                    <a:pt x="17100" y="6075"/>
                  </a:cubicBezTo>
                  <a:lnTo>
                    <a:pt x="17100" y="8774"/>
                  </a:lnTo>
                  <a:lnTo>
                    <a:pt x="15299" y="8774"/>
                  </a:lnTo>
                  <a:lnTo>
                    <a:pt x="15299" y="6076"/>
                  </a:lnTo>
                  <a:cubicBezTo>
                    <a:pt x="15299" y="4212"/>
                    <a:pt x="13285" y="2701"/>
                    <a:pt x="10800" y="2701"/>
                  </a:cubicBezTo>
                  <a:cubicBezTo>
                    <a:pt x="8314" y="2701"/>
                    <a:pt x="6299" y="4212"/>
                    <a:pt x="6299" y="6076"/>
                  </a:cubicBezTo>
                  <a:lnTo>
                    <a:pt x="6299" y="8774"/>
                  </a:lnTo>
                  <a:lnTo>
                    <a:pt x="4499" y="8774"/>
                  </a:lnTo>
                  <a:cubicBezTo>
                    <a:pt x="4499" y="8774"/>
                    <a:pt x="4499" y="6075"/>
                    <a:pt x="4499" y="6075"/>
                  </a:cubicBezTo>
                  <a:close/>
                  <a:moveTo>
                    <a:pt x="18899" y="8774"/>
                  </a:moveTo>
                  <a:lnTo>
                    <a:pt x="18899" y="6075"/>
                  </a:lnTo>
                  <a:cubicBezTo>
                    <a:pt x="18899" y="2719"/>
                    <a:pt x="15274" y="0"/>
                    <a:pt x="10800" y="0"/>
                  </a:cubicBezTo>
                  <a:cubicBezTo>
                    <a:pt x="6325" y="0"/>
                    <a:pt x="2699" y="2719"/>
                    <a:pt x="2699" y="6075"/>
                  </a:cubicBezTo>
                  <a:lnTo>
                    <a:pt x="2699" y="8774"/>
                  </a:lnTo>
                  <a:cubicBezTo>
                    <a:pt x="1208" y="8774"/>
                    <a:pt x="0" y="9681"/>
                    <a:pt x="0" y="10800"/>
                  </a:cubicBezTo>
                  <a:lnTo>
                    <a:pt x="0" y="12825"/>
                  </a:lnTo>
                  <a:lnTo>
                    <a:pt x="0" y="13500"/>
                  </a:lnTo>
                  <a:lnTo>
                    <a:pt x="0" y="14850"/>
                  </a:lnTo>
                  <a:lnTo>
                    <a:pt x="0" y="15525"/>
                  </a:lnTo>
                  <a:cubicBezTo>
                    <a:pt x="0" y="18880"/>
                    <a:pt x="3625" y="21599"/>
                    <a:pt x="8099" y="21599"/>
                  </a:cubicBezTo>
                  <a:lnTo>
                    <a:pt x="13499" y="21599"/>
                  </a:lnTo>
                  <a:cubicBezTo>
                    <a:pt x="17974" y="21599"/>
                    <a:pt x="21600" y="18880"/>
                    <a:pt x="21600" y="15525"/>
                  </a:cubicBezTo>
                  <a:lnTo>
                    <a:pt x="21600" y="14850"/>
                  </a:lnTo>
                  <a:lnTo>
                    <a:pt x="21600" y="13500"/>
                  </a:lnTo>
                  <a:lnTo>
                    <a:pt x="21600" y="12825"/>
                  </a:lnTo>
                  <a:lnTo>
                    <a:pt x="21600" y="10800"/>
                  </a:lnTo>
                  <a:cubicBezTo>
                    <a:pt x="21600" y="9681"/>
                    <a:pt x="20391" y="8774"/>
                    <a:pt x="18899" y="8774"/>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4288" tIns="14288" rIns="14288" bIns="14288" anchor="ctr"/>
            <a:lstStyle/>
            <a:p>
              <a:pPr algn="ctr" defTabSz="171450" fontAlgn="base">
                <a:spcBef>
                  <a:spcPct val="0"/>
                </a:spcBef>
                <a:spcAft>
                  <a:spcPct val="0"/>
                </a:spcAft>
              </a:pPr>
              <a:endParaRPr lang="en-US" sz="1125" dirty="0">
                <a:solidFill>
                  <a:srgbClr val="FFFFFF"/>
                </a:solidFill>
                <a:effectLst>
                  <a:outerShdw blurRad="38100" dist="38100" dir="2700000" algn="tl">
                    <a:srgbClr val="000000"/>
                  </a:outerShdw>
                </a:effectLst>
                <a:latin typeface="Rostelecom Basis" panose="020B0503030604040103" pitchFamily="34" charset="0"/>
                <a:sym typeface="Gill Sans" charset="0"/>
              </a:endParaRPr>
            </a:p>
          </p:txBody>
        </p:sp>
        <p:sp>
          <p:nvSpPr>
            <p:cNvPr id="31" name="AutoShape 116"/>
            <p:cNvSpPr>
              <a:spLocks/>
            </p:cNvSpPr>
            <p:nvPr/>
          </p:nvSpPr>
          <p:spPr bwMode="auto">
            <a:xfrm>
              <a:off x="2784475" y="3786982"/>
              <a:ext cx="57944" cy="8731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38" y="0"/>
                    <a:pt x="0" y="3226"/>
                    <a:pt x="0" y="7201"/>
                  </a:cubicBezTo>
                  <a:cubicBezTo>
                    <a:pt x="0" y="9390"/>
                    <a:pt x="1798" y="13537"/>
                    <a:pt x="3601" y="16821"/>
                  </a:cubicBezTo>
                  <a:cubicBezTo>
                    <a:pt x="5070" y="19493"/>
                    <a:pt x="6916" y="21600"/>
                    <a:pt x="10800" y="21600"/>
                  </a:cubicBezTo>
                  <a:cubicBezTo>
                    <a:pt x="15016" y="21600"/>
                    <a:pt x="16529" y="19514"/>
                    <a:pt x="18003" y="16858"/>
                  </a:cubicBezTo>
                  <a:cubicBezTo>
                    <a:pt x="19828" y="13567"/>
                    <a:pt x="21600" y="9397"/>
                    <a:pt x="21600" y="7201"/>
                  </a:cubicBezTo>
                  <a:cubicBezTo>
                    <a:pt x="21600" y="3226"/>
                    <a:pt x="16761" y="0"/>
                    <a:pt x="10800" y="0"/>
                  </a:cubicBezTo>
                </a:path>
              </a:pathLst>
            </a:custGeom>
            <a:grp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4288" tIns="14288" rIns="14288" bIns="14288" anchor="ctr"/>
            <a:lstStyle/>
            <a:p>
              <a:pPr algn="ctr" defTabSz="171450" fontAlgn="base">
                <a:spcBef>
                  <a:spcPct val="0"/>
                </a:spcBef>
                <a:spcAft>
                  <a:spcPct val="0"/>
                </a:spcAft>
              </a:pPr>
              <a:endParaRPr lang="en-US" sz="1125" dirty="0">
                <a:solidFill>
                  <a:srgbClr val="FFFFFF"/>
                </a:solidFill>
                <a:effectLst>
                  <a:outerShdw blurRad="38100" dist="38100" dir="2700000" algn="tl">
                    <a:srgbClr val="000000"/>
                  </a:outerShdw>
                </a:effectLst>
                <a:latin typeface="Rostelecom Basis" panose="020B0503030604040103" pitchFamily="34" charset="0"/>
                <a:sym typeface="Gill Sans" charset="0"/>
              </a:endParaRPr>
            </a:p>
          </p:txBody>
        </p:sp>
      </p:grpSp>
      <p:sp>
        <p:nvSpPr>
          <p:cNvPr id="32" name="AutoShape 139"/>
          <p:cNvSpPr>
            <a:spLocks/>
          </p:cNvSpPr>
          <p:nvPr/>
        </p:nvSpPr>
        <p:spPr bwMode="auto">
          <a:xfrm>
            <a:off x="3845733" y="2705301"/>
            <a:ext cx="462964" cy="451636"/>
          </a:xfrm>
          <a:custGeom>
            <a:avLst/>
            <a:gdLst>
              <a:gd name="T0" fmla="+- 0 10800 104"/>
              <a:gd name="T1" fmla="*/ T0 w 21392"/>
              <a:gd name="T2" fmla="*/ 10800 h 21600"/>
              <a:gd name="T3" fmla="+- 0 10800 104"/>
              <a:gd name="T4" fmla="*/ T3 w 21392"/>
              <a:gd name="T5" fmla="*/ 10800 h 21600"/>
              <a:gd name="T6" fmla="+- 0 10800 104"/>
              <a:gd name="T7" fmla="*/ T6 w 21392"/>
              <a:gd name="T8" fmla="*/ 10800 h 21600"/>
              <a:gd name="T9" fmla="+- 0 10800 104"/>
              <a:gd name="T10" fmla="*/ T9 w 21392"/>
              <a:gd name="T11" fmla="*/ 10800 h 21600"/>
            </a:gdLst>
            <a:ahLst/>
            <a:cxnLst>
              <a:cxn ang="0">
                <a:pos x="T1" y="T2"/>
              </a:cxn>
              <a:cxn ang="0">
                <a:pos x="T4" y="T5"/>
              </a:cxn>
              <a:cxn ang="0">
                <a:pos x="T7" y="T8"/>
              </a:cxn>
              <a:cxn ang="0">
                <a:pos x="T10" y="T11"/>
              </a:cxn>
            </a:cxnLst>
            <a:rect l="0" t="0" r="r" b="b"/>
            <a:pathLst>
              <a:path w="21392" h="21600">
                <a:moveTo>
                  <a:pt x="15768" y="12794"/>
                </a:moveTo>
                <a:cubicBezTo>
                  <a:pt x="15426" y="13150"/>
                  <a:pt x="15271" y="13651"/>
                  <a:pt x="15350" y="14142"/>
                </a:cubicBezTo>
                <a:lnTo>
                  <a:pt x="16296" y="20031"/>
                </a:lnTo>
                <a:lnTo>
                  <a:pt x="11443" y="17309"/>
                </a:lnTo>
                <a:cubicBezTo>
                  <a:pt x="11210" y="17178"/>
                  <a:pt x="10953" y="17112"/>
                  <a:pt x="10696" y="17112"/>
                </a:cubicBezTo>
                <a:cubicBezTo>
                  <a:pt x="10439" y="17112"/>
                  <a:pt x="10182" y="17178"/>
                  <a:pt x="9949" y="17309"/>
                </a:cubicBezTo>
                <a:lnTo>
                  <a:pt x="5095" y="20031"/>
                </a:lnTo>
                <a:lnTo>
                  <a:pt x="6042" y="14142"/>
                </a:lnTo>
                <a:cubicBezTo>
                  <a:pt x="6121" y="13651"/>
                  <a:pt x="5966" y="13150"/>
                  <a:pt x="5624" y="12794"/>
                </a:cubicBezTo>
                <a:lnTo>
                  <a:pt x="1545" y="8550"/>
                </a:lnTo>
                <a:lnTo>
                  <a:pt x="7111" y="7685"/>
                </a:lnTo>
                <a:cubicBezTo>
                  <a:pt x="7619" y="7607"/>
                  <a:pt x="8057" y="7275"/>
                  <a:pt x="8276" y="6802"/>
                </a:cubicBezTo>
                <a:lnTo>
                  <a:pt x="10696" y="1568"/>
                </a:lnTo>
                <a:lnTo>
                  <a:pt x="13116" y="6802"/>
                </a:lnTo>
                <a:cubicBezTo>
                  <a:pt x="13334" y="7275"/>
                  <a:pt x="13772" y="7607"/>
                  <a:pt x="14280" y="7685"/>
                </a:cubicBezTo>
                <a:lnTo>
                  <a:pt x="19847" y="8550"/>
                </a:lnTo>
                <a:cubicBezTo>
                  <a:pt x="19847" y="8550"/>
                  <a:pt x="15768" y="12794"/>
                  <a:pt x="15768" y="12794"/>
                </a:cubicBezTo>
                <a:close/>
                <a:moveTo>
                  <a:pt x="21312" y="8051"/>
                </a:moveTo>
                <a:cubicBezTo>
                  <a:pt x="21127" y="7495"/>
                  <a:pt x="20652" y="7088"/>
                  <a:pt x="20080" y="6999"/>
                </a:cubicBezTo>
                <a:lnTo>
                  <a:pt x="14514" y="6136"/>
                </a:lnTo>
                <a:lnTo>
                  <a:pt x="12094" y="901"/>
                </a:lnTo>
                <a:cubicBezTo>
                  <a:pt x="11840" y="351"/>
                  <a:pt x="11295" y="0"/>
                  <a:pt x="10696" y="0"/>
                </a:cubicBezTo>
                <a:cubicBezTo>
                  <a:pt x="10097" y="0"/>
                  <a:pt x="9552" y="351"/>
                  <a:pt x="9297" y="901"/>
                </a:cubicBezTo>
                <a:lnTo>
                  <a:pt x="6878" y="6136"/>
                </a:lnTo>
                <a:lnTo>
                  <a:pt x="1311" y="6999"/>
                </a:lnTo>
                <a:cubicBezTo>
                  <a:pt x="739" y="7088"/>
                  <a:pt x="264" y="7495"/>
                  <a:pt x="80" y="8051"/>
                </a:cubicBezTo>
                <a:cubicBezTo>
                  <a:pt x="-104" y="8609"/>
                  <a:pt x="35" y="9224"/>
                  <a:pt x="439" y="9644"/>
                </a:cubicBezTo>
                <a:lnTo>
                  <a:pt x="4518" y="13889"/>
                </a:lnTo>
                <a:lnTo>
                  <a:pt x="3572" y="19777"/>
                </a:lnTo>
                <a:cubicBezTo>
                  <a:pt x="3476" y="20370"/>
                  <a:pt x="3722" y="20966"/>
                  <a:pt x="4206" y="21313"/>
                </a:cubicBezTo>
                <a:cubicBezTo>
                  <a:pt x="4471" y="21503"/>
                  <a:pt x="4783" y="21600"/>
                  <a:pt x="5095" y="21600"/>
                </a:cubicBezTo>
                <a:cubicBezTo>
                  <a:pt x="5352" y="21600"/>
                  <a:pt x="5609" y="21534"/>
                  <a:pt x="5843" y="21404"/>
                </a:cubicBezTo>
                <a:lnTo>
                  <a:pt x="10696" y="18681"/>
                </a:lnTo>
                <a:lnTo>
                  <a:pt x="15549" y="21404"/>
                </a:lnTo>
                <a:cubicBezTo>
                  <a:pt x="15782" y="21534"/>
                  <a:pt x="16040" y="21600"/>
                  <a:pt x="16296" y="21600"/>
                </a:cubicBezTo>
                <a:cubicBezTo>
                  <a:pt x="16608" y="21600"/>
                  <a:pt x="16920" y="21503"/>
                  <a:pt x="17186" y="21313"/>
                </a:cubicBezTo>
                <a:cubicBezTo>
                  <a:pt x="17669" y="20966"/>
                  <a:pt x="17915" y="20370"/>
                  <a:pt x="17820" y="19777"/>
                </a:cubicBezTo>
                <a:lnTo>
                  <a:pt x="16873" y="13889"/>
                </a:lnTo>
                <a:lnTo>
                  <a:pt x="20953" y="9644"/>
                </a:lnTo>
                <a:cubicBezTo>
                  <a:pt x="21357" y="9224"/>
                  <a:pt x="21496" y="8609"/>
                  <a:pt x="21312" y="8051"/>
                </a:cubicBezTo>
              </a:path>
            </a:pathLst>
          </a:custGeom>
          <a:solidFill>
            <a:schemeClr val="bg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4288" tIns="14288" rIns="14288" bIns="14288" anchor="ctr"/>
          <a:lstStyle/>
          <a:p>
            <a:pPr algn="ctr" defTabSz="171450" fontAlgn="base">
              <a:spcBef>
                <a:spcPct val="0"/>
              </a:spcBef>
              <a:spcAft>
                <a:spcPct val="0"/>
              </a:spcAft>
            </a:pPr>
            <a:endParaRPr lang="en-US" sz="1125" dirty="0">
              <a:solidFill>
                <a:srgbClr val="FFFFFF"/>
              </a:solidFill>
              <a:effectLst>
                <a:outerShdw blurRad="38100" dist="38100" dir="2700000" algn="tl">
                  <a:srgbClr val="000000"/>
                </a:outerShdw>
              </a:effectLst>
              <a:latin typeface="Rostelecom Basis" panose="020B0503030604040103" pitchFamily="34" charset="0"/>
              <a:sym typeface="Gill Sans" charset="0"/>
            </a:endParaRPr>
          </a:p>
        </p:txBody>
      </p:sp>
      <p:sp>
        <p:nvSpPr>
          <p:cNvPr id="34" name="Freeform 143"/>
          <p:cNvSpPr>
            <a:spLocks noChangeArrowheads="1"/>
          </p:cNvSpPr>
          <p:nvPr/>
        </p:nvSpPr>
        <p:spPr bwMode="auto">
          <a:xfrm>
            <a:off x="1969805" y="4070428"/>
            <a:ext cx="342000" cy="507967"/>
          </a:xfrm>
          <a:custGeom>
            <a:avLst/>
            <a:gdLst>
              <a:gd name="T0" fmla="*/ 132018 w 442"/>
              <a:gd name="T1" fmla="*/ 0 h 634"/>
              <a:gd name="T2" fmla="*/ 132018 w 442"/>
              <a:gd name="T3" fmla="*/ 0 h 634"/>
              <a:gd name="T4" fmla="*/ 26188 w 442"/>
              <a:gd name="T5" fmla="*/ 0 h 634"/>
              <a:gd name="T6" fmla="*/ 0 w 442"/>
              <a:gd name="T7" fmla="*/ 26830 h 634"/>
              <a:gd name="T8" fmla="*/ 0 w 442"/>
              <a:gd name="T9" fmla="*/ 197602 h 634"/>
              <a:gd name="T10" fmla="*/ 26188 w 442"/>
              <a:gd name="T11" fmla="*/ 229508 h 634"/>
              <a:gd name="T12" fmla="*/ 132018 w 442"/>
              <a:gd name="T13" fmla="*/ 229508 h 634"/>
              <a:gd name="T14" fmla="*/ 158206 w 442"/>
              <a:gd name="T15" fmla="*/ 197602 h 634"/>
              <a:gd name="T16" fmla="*/ 158206 w 442"/>
              <a:gd name="T17" fmla="*/ 26830 h 634"/>
              <a:gd name="T18" fmla="*/ 132018 w 442"/>
              <a:gd name="T19" fmla="*/ 0 h 634"/>
              <a:gd name="T20" fmla="*/ 147803 w 442"/>
              <a:gd name="T21" fmla="*/ 197602 h 634"/>
              <a:gd name="T22" fmla="*/ 147803 w 442"/>
              <a:gd name="T23" fmla="*/ 197602 h 634"/>
              <a:gd name="T24" fmla="*/ 132018 w 442"/>
              <a:gd name="T25" fmla="*/ 213555 h 634"/>
              <a:gd name="T26" fmla="*/ 26188 w 442"/>
              <a:gd name="T27" fmla="*/ 213555 h 634"/>
              <a:gd name="T28" fmla="*/ 10404 w 442"/>
              <a:gd name="T29" fmla="*/ 197602 h 634"/>
              <a:gd name="T30" fmla="*/ 10404 w 442"/>
              <a:gd name="T31" fmla="*/ 176210 h 634"/>
              <a:gd name="T32" fmla="*/ 147803 w 442"/>
              <a:gd name="T33" fmla="*/ 176210 h 634"/>
              <a:gd name="T34" fmla="*/ 147803 w 442"/>
              <a:gd name="T35" fmla="*/ 197602 h 634"/>
              <a:gd name="T36" fmla="*/ 147803 w 442"/>
              <a:gd name="T37" fmla="*/ 165696 h 634"/>
              <a:gd name="T38" fmla="*/ 147803 w 442"/>
              <a:gd name="T39" fmla="*/ 165696 h 634"/>
              <a:gd name="T40" fmla="*/ 10404 w 442"/>
              <a:gd name="T41" fmla="*/ 165696 h 634"/>
              <a:gd name="T42" fmla="*/ 10404 w 442"/>
              <a:gd name="T43" fmla="*/ 48222 h 634"/>
              <a:gd name="T44" fmla="*/ 147803 w 442"/>
              <a:gd name="T45" fmla="*/ 48222 h 634"/>
              <a:gd name="T46" fmla="*/ 147803 w 442"/>
              <a:gd name="T47" fmla="*/ 165696 h 634"/>
              <a:gd name="T48" fmla="*/ 147803 w 442"/>
              <a:gd name="T49" fmla="*/ 37345 h 634"/>
              <a:gd name="T50" fmla="*/ 147803 w 442"/>
              <a:gd name="T51" fmla="*/ 37345 h 634"/>
              <a:gd name="T52" fmla="*/ 10404 w 442"/>
              <a:gd name="T53" fmla="*/ 37345 h 634"/>
              <a:gd name="T54" fmla="*/ 10404 w 442"/>
              <a:gd name="T55" fmla="*/ 26830 h 634"/>
              <a:gd name="T56" fmla="*/ 26188 w 442"/>
              <a:gd name="T57" fmla="*/ 15953 h 634"/>
              <a:gd name="T58" fmla="*/ 132018 w 442"/>
              <a:gd name="T59" fmla="*/ 15953 h 634"/>
              <a:gd name="T60" fmla="*/ 147803 w 442"/>
              <a:gd name="T61" fmla="*/ 26830 h 634"/>
              <a:gd name="T62" fmla="*/ 147803 w 442"/>
              <a:gd name="T63" fmla="*/ 37345 h 634"/>
              <a:gd name="T64" fmla="*/ 79283 w 442"/>
              <a:gd name="T65" fmla="*/ 208117 h 634"/>
              <a:gd name="T66" fmla="*/ 79283 w 442"/>
              <a:gd name="T67" fmla="*/ 208117 h 634"/>
              <a:gd name="T68" fmla="*/ 89686 w 442"/>
              <a:gd name="T69" fmla="*/ 197602 h 634"/>
              <a:gd name="T70" fmla="*/ 79283 w 442"/>
              <a:gd name="T71" fmla="*/ 187087 h 634"/>
              <a:gd name="T72" fmla="*/ 68520 w 442"/>
              <a:gd name="T73" fmla="*/ 197602 h 634"/>
              <a:gd name="T74" fmla="*/ 79283 w 442"/>
              <a:gd name="T75" fmla="*/ 208117 h 6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42" h="634">
                <a:moveTo>
                  <a:pt x="368" y="0"/>
                </a:moveTo>
                <a:lnTo>
                  <a:pt x="368" y="0"/>
                </a:lnTo>
                <a:cubicBezTo>
                  <a:pt x="73" y="0"/>
                  <a:pt x="73" y="0"/>
                  <a:pt x="73" y="0"/>
                </a:cubicBezTo>
                <a:cubicBezTo>
                  <a:pt x="29" y="0"/>
                  <a:pt x="0" y="30"/>
                  <a:pt x="0" y="74"/>
                </a:cubicBezTo>
                <a:cubicBezTo>
                  <a:pt x="0" y="545"/>
                  <a:pt x="0" y="545"/>
                  <a:pt x="0" y="545"/>
                </a:cubicBezTo>
                <a:cubicBezTo>
                  <a:pt x="0" y="589"/>
                  <a:pt x="29" y="633"/>
                  <a:pt x="73" y="633"/>
                </a:cubicBezTo>
                <a:cubicBezTo>
                  <a:pt x="368" y="633"/>
                  <a:pt x="368" y="633"/>
                  <a:pt x="368" y="633"/>
                </a:cubicBezTo>
                <a:cubicBezTo>
                  <a:pt x="412" y="633"/>
                  <a:pt x="441" y="589"/>
                  <a:pt x="441" y="545"/>
                </a:cubicBezTo>
                <a:cubicBezTo>
                  <a:pt x="441" y="74"/>
                  <a:pt x="441" y="74"/>
                  <a:pt x="441" y="74"/>
                </a:cubicBezTo>
                <a:cubicBezTo>
                  <a:pt x="441" y="30"/>
                  <a:pt x="412" y="0"/>
                  <a:pt x="368" y="0"/>
                </a:cubicBezTo>
                <a:close/>
                <a:moveTo>
                  <a:pt x="412" y="545"/>
                </a:moveTo>
                <a:lnTo>
                  <a:pt x="412" y="545"/>
                </a:lnTo>
                <a:cubicBezTo>
                  <a:pt x="412" y="574"/>
                  <a:pt x="382" y="589"/>
                  <a:pt x="368" y="589"/>
                </a:cubicBezTo>
                <a:cubicBezTo>
                  <a:pt x="73" y="589"/>
                  <a:pt x="73" y="589"/>
                  <a:pt x="73" y="589"/>
                </a:cubicBezTo>
                <a:cubicBezTo>
                  <a:pt x="59" y="589"/>
                  <a:pt x="29" y="574"/>
                  <a:pt x="29" y="545"/>
                </a:cubicBezTo>
                <a:cubicBezTo>
                  <a:pt x="29" y="486"/>
                  <a:pt x="29" y="486"/>
                  <a:pt x="29" y="486"/>
                </a:cubicBezTo>
                <a:cubicBezTo>
                  <a:pt x="412" y="486"/>
                  <a:pt x="412" y="486"/>
                  <a:pt x="412" y="486"/>
                </a:cubicBezTo>
                <a:lnTo>
                  <a:pt x="412" y="545"/>
                </a:lnTo>
                <a:close/>
                <a:moveTo>
                  <a:pt x="412" y="457"/>
                </a:moveTo>
                <a:lnTo>
                  <a:pt x="412" y="457"/>
                </a:lnTo>
                <a:cubicBezTo>
                  <a:pt x="29" y="457"/>
                  <a:pt x="29" y="457"/>
                  <a:pt x="29" y="457"/>
                </a:cubicBezTo>
                <a:cubicBezTo>
                  <a:pt x="29" y="133"/>
                  <a:pt x="29" y="133"/>
                  <a:pt x="29" y="133"/>
                </a:cubicBezTo>
                <a:cubicBezTo>
                  <a:pt x="412" y="133"/>
                  <a:pt x="412" y="133"/>
                  <a:pt x="412" y="133"/>
                </a:cubicBezTo>
                <a:lnTo>
                  <a:pt x="412" y="457"/>
                </a:lnTo>
                <a:close/>
                <a:moveTo>
                  <a:pt x="412" y="103"/>
                </a:moveTo>
                <a:lnTo>
                  <a:pt x="412" y="103"/>
                </a:lnTo>
                <a:cubicBezTo>
                  <a:pt x="29" y="103"/>
                  <a:pt x="29" y="103"/>
                  <a:pt x="29" y="103"/>
                </a:cubicBezTo>
                <a:cubicBezTo>
                  <a:pt x="29" y="74"/>
                  <a:pt x="29" y="74"/>
                  <a:pt x="29" y="74"/>
                </a:cubicBezTo>
                <a:cubicBezTo>
                  <a:pt x="29" y="59"/>
                  <a:pt x="59" y="44"/>
                  <a:pt x="73" y="44"/>
                </a:cubicBezTo>
                <a:cubicBezTo>
                  <a:pt x="368" y="44"/>
                  <a:pt x="368" y="44"/>
                  <a:pt x="368" y="44"/>
                </a:cubicBezTo>
                <a:cubicBezTo>
                  <a:pt x="382" y="44"/>
                  <a:pt x="412" y="59"/>
                  <a:pt x="412" y="74"/>
                </a:cubicBezTo>
                <a:lnTo>
                  <a:pt x="412" y="103"/>
                </a:lnTo>
                <a:close/>
                <a:moveTo>
                  <a:pt x="221" y="574"/>
                </a:moveTo>
                <a:lnTo>
                  <a:pt x="221" y="574"/>
                </a:lnTo>
                <a:cubicBezTo>
                  <a:pt x="235" y="574"/>
                  <a:pt x="250" y="560"/>
                  <a:pt x="250" y="545"/>
                </a:cubicBezTo>
                <a:cubicBezTo>
                  <a:pt x="250" y="530"/>
                  <a:pt x="235" y="516"/>
                  <a:pt x="221" y="516"/>
                </a:cubicBezTo>
                <a:cubicBezTo>
                  <a:pt x="206" y="516"/>
                  <a:pt x="191" y="530"/>
                  <a:pt x="191" y="545"/>
                </a:cubicBezTo>
                <a:cubicBezTo>
                  <a:pt x="191" y="560"/>
                  <a:pt x="206" y="574"/>
                  <a:pt x="221" y="574"/>
                </a:cubicBezTo>
                <a:close/>
              </a:path>
            </a:pathLst>
          </a:custGeom>
          <a:solidFill>
            <a:schemeClr val="bg1"/>
          </a:solidFill>
          <a:ln>
            <a:solidFill>
              <a:schemeClr val="bg1"/>
            </a:solid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anchor="ctr"/>
          <a:lstStyle/>
          <a:p>
            <a:endParaRPr lang="en-US" sz="1013" b="1" dirty="0">
              <a:latin typeface="Rostelecom Basis" panose="020B0503030604040103" pitchFamily="34" charset="0"/>
            </a:endParaRPr>
          </a:p>
        </p:txBody>
      </p:sp>
      <p:sp>
        <p:nvSpPr>
          <p:cNvPr id="35" name="AutoShape 112"/>
          <p:cNvSpPr>
            <a:spLocks/>
          </p:cNvSpPr>
          <p:nvPr/>
        </p:nvSpPr>
        <p:spPr bwMode="auto">
          <a:xfrm>
            <a:off x="1523704" y="2734021"/>
            <a:ext cx="498620" cy="469106"/>
          </a:xfrm>
          <a:custGeom>
            <a:avLst/>
            <a:gdLst>
              <a:gd name="T0" fmla="*/ 10510 w 21020"/>
              <a:gd name="T1" fmla="*/ 10800 h 21600"/>
              <a:gd name="T2" fmla="*/ 10510 w 21020"/>
              <a:gd name="T3" fmla="*/ 10800 h 21600"/>
              <a:gd name="T4" fmla="*/ 10510 w 21020"/>
              <a:gd name="T5" fmla="*/ 10800 h 21600"/>
              <a:gd name="T6" fmla="*/ 10510 w 21020"/>
              <a:gd name="T7" fmla="*/ 10800 h 21600"/>
            </a:gdLst>
            <a:ahLst/>
            <a:cxnLst>
              <a:cxn ang="0">
                <a:pos x="T0" y="T1"/>
              </a:cxn>
              <a:cxn ang="0">
                <a:pos x="T2" y="T3"/>
              </a:cxn>
              <a:cxn ang="0">
                <a:pos x="T4" y="T5"/>
              </a:cxn>
              <a:cxn ang="0">
                <a:pos x="T6" y="T7"/>
              </a:cxn>
            </a:cxnLst>
            <a:rect l="0" t="0" r="r" b="b"/>
            <a:pathLst>
              <a:path w="21020" h="21600">
                <a:moveTo>
                  <a:pt x="18846" y="7946"/>
                </a:moveTo>
                <a:lnTo>
                  <a:pt x="17740" y="9091"/>
                </a:lnTo>
                <a:cubicBezTo>
                  <a:pt x="17740" y="8939"/>
                  <a:pt x="17758" y="8792"/>
                  <a:pt x="17744" y="8636"/>
                </a:cubicBezTo>
                <a:cubicBezTo>
                  <a:pt x="17629" y="7331"/>
                  <a:pt x="17036" y="6068"/>
                  <a:pt x="16074" y="5080"/>
                </a:cubicBezTo>
                <a:cubicBezTo>
                  <a:pt x="15004" y="3980"/>
                  <a:pt x="13585" y="3348"/>
                  <a:pt x="12180" y="3345"/>
                </a:cubicBezTo>
                <a:lnTo>
                  <a:pt x="13268" y="2218"/>
                </a:lnTo>
                <a:cubicBezTo>
                  <a:pt x="13812" y="1659"/>
                  <a:pt x="14572" y="1350"/>
                  <a:pt x="15403" y="1350"/>
                </a:cubicBezTo>
                <a:cubicBezTo>
                  <a:pt x="16460" y="1350"/>
                  <a:pt x="17546" y="1840"/>
                  <a:pt x="18381" y="2696"/>
                </a:cubicBezTo>
                <a:cubicBezTo>
                  <a:pt x="19165" y="3500"/>
                  <a:pt x="19631" y="4499"/>
                  <a:pt x="19698" y="5510"/>
                </a:cubicBezTo>
                <a:cubicBezTo>
                  <a:pt x="19760" y="6453"/>
                  <a:pt x="19457" y="7317"/>
                  <a:pt x="18846" y="7946"/>
                </a:cubicBezTo>
                <a:moveTo>
                  <a:pt x="5828" y="19329"/>
                </a:moveTo>
                <a:cubicBezTo>
                  <a:pt x="5813" y="18424"/>
                  <a:pt x="5454" y="17481"/>
                  <a:pt x="4730" y="16739"/>
                </a:cubicBezTo>
                <a:cubicBezTo>
                  <a:pt x="4046" y="16034"/>
                  <a:pt x="3150" y="15628"/>
                  <a:pt x="2257" y="15592"/>
                </a:cubicBezTo>
                <a:lnTo>
                  <a:pt x="2911" y="13157"/>
                </a:lnTo>
                <a:cubicBezTo>
                  <a:pt x="2959" y="12995"/>
                  <a:pt x="3052" y="12835"/>
                  <a:pt x="3168" y="12695"/>
                </a:cubicBezTo>
                <a:cubicBezTo>
                  <a:pt x="4485" y="11726"/>
                  <a:pt x="6512" y="12012"/>
                  <a:pt x="7920" y="13460"/>
                </a:cubicBezTo>
                <a:cubicBezTo>
                  <a:pt x="9409" y="14990"/>
                  <a:pt x="9639" y="17230"/>
                  <a:pt x="8492" y="18568"/>
                </a:cubicBezTo>
                <a:cubicBezTo>
                  <a:pt x="8416" y="18609"/>
                  <a:pt x="8339" y="18648"/>
                  <a:pt x="8256" y="18675"/>
                </a:cubicBezTo>
                <a:cubicBezTo>
                  <a:pt x="8256" y="18675"/>
                  <a:pt x="5828" y="19329"/>
                  <a:pt x="5828" y="19329"/>
                </a:cubicBezTo>
                <a:close/>
                <a:moveTo>
                  <a:pt x="2737" y="20164"/>
                </a:moveTo>
                <a:cubicBezTo>
                  <a:pt x="2665" y="20181"/>
                  <a:pt x="2443" y="20239"/>
                  <a:pt x="2291" y="20249"/>
                </a:cubicBezTo>
                <a:cubicBezTo>
                  <a:pt x="1751" y="20244"/>
                  <a:pt x="1313" y="19792"/>
                  <a:pt x="1313" y="19237"/>
                </a:cubicBezTo>
                <a:cubicBezTo>
                  <a:pt x="1321" y="19124"/>
                  <a:pt x="1365" y="18929"/>
                  <a:pt x="1380" y="18857"/>
                </a:cubicBezTo>
                <a:lnTo>
                  <a:pt x="2071" y="16283"/>
                </a:lnTo>
                <a:cubicBezTo>
                  <a:pt x="2822" y="16261"/>
                  <a:pt x="3630" y="16562"/>
                  <a:pt x="4265" y="17215"/>
                </a:cubicBezTo>
                <a:cubicBezTo>
                  <a:pt x="4911" y="17878"/>
                  <a:pt x="5214" y="18725"/>
                  <a:pt x="5181" y="19504"/>
                </a:cubicBezTo>
                <a:cubicBezTo>
                  <a:pt x="5181" y="19504"/>
                  <a:pt x="2737" y="20164"/>
                  <a:pt x="2737" y="20164"/>
                </a:cubicBezTo>
                <a:close/>
                <a:moveTo>
                  <a:pt x="6888" y="11179"/>
                </a:moveTo>
                <a:cubicBezTo>
                  <a:pt x="6280" y="10927"/>
                  <a:pt x="5642" y="10783"/>
                  <a:pt x="5004" y="10774"/>
                </a:cubicBezTo>
                <a:lnTo>
                  <a:pt x="10063" y="5536"/>
                </a:lnTo>
                <a:cubicBezTo>
                  <a:pt x="10838" y="4759"/>
                  <a:pt x="11966" y="4536"/>
                  <a:pt x="13077" y="4819"/>
                </a:cubicBezTo>
                <a:cubicBezTo>
                  <a:pt x="13077" y="4819"/>
                  <a:pt x="6888" y="11179"/>
                  <a:pt x="6888" y="11179"/>
                </a:cubicBezTo>
                <a:close/>
                <a:moveTo>
                  <a:pt x="9717" y="13672"/>
                </a:moveTo>
                <a:cubicBezTo>
                  <a:pt x="9473" y="13258"/>
                  <a:pt x="9194" y="12859"/>
                  <a:pt x="8848" y="12505"/>
                </a:cubicBezTo>
                <a:cubicBezTo>
                  <a:pt x="8447" y="12093"/>
                  <a:pt x="7986" y="11770"/>
                  <a:pt x="7507" y="11498"/>
                </a:cubicBezTo>
                <a:lnTo>
                  <a:pt x="13767" y="5064"/>
                </a:lnTo>
                <a:cubicBezTo>
                  <a:pt x="14259" y="5288"/>
                  <a:pt x="14729" y="5607"/>
                  <a:pt x="15145" y="6035"/>
                </a:cubicBezTo>
                <a:cubicBezTo>
                  <a:pt x="15500" y="6398"/>
                  <a:pt x="15775" y="6806"/>
                  <a:pt x="15987" y="7229"/>
                </a:cubicBezTo>
                <a:cubicBezTo>
                  <a:pt x="15987" y="7229"/>
                  <a:pt x="9717" y="13672"/>
                  <a:pt x="9717" y="13672"/>
                </a:cubicBezTo>
                <a:close/>
                <a:moveTo>
                  <a:pt x="10519" y="16061"/>
                </a:moveTo>
                <a:cubicBezTo>
                  <a:pt x="10465" y="15452"/>
                  <a:pt x="10298" y="14854"/>
                  <a:pt x="10047" y="14288"/>
                </a:cubicBezTo>
                <a:lnTo>
                  <a:pt x="16257" y="7906"/>
                </a:lnTo>
                <a:cubicBezTo>
                  <a:pt x="16637" y="9140"/>
                  <a:pt x="16442" y="10429"/>
                  <a:pt x="15610" y="11284"/>
                </a:cubicBezTo>
                <a:cubicBezTo>
                  <a:pt x="15604" y="11290"/>
                  <a:pt x="15598" y="11293"/>
                  <a:pt x="15593" y="11298"/>
                </a:cubicBezTo>
                <a:lnTo>
                  <a:pt x="15602" y="11306"/>
                </a:lnTo>
                <a:lnTo>
                  <a:pt x="10525" y="16565"/>
                </a:lnTo>
                <a:cubicBezTo>
                  <a:pt x="10527" y="16397"/>
                  <a:pt x="10534" y="16232"/>
                  <a:pt x="10519" y="16061"/>
                </a:cubicBezTo>
                <a:moveTo>
                  <a:pt x="19308" y="1741"/>
                </a:moveTo>
                <a:cubicBezTo>
                  <a:pt x="18228" y="632"/>
                  <a:pt x="16805" y="0"/>
                  <a:pt x="15403" y="0"/>
                </a:cubicBezTo>
                <a:cubicBezTo>
                  <a:pt x="14220" y="0"/>
                  <a:pt x="13131" y="450"/>
                  <a:pt x="12335" y="1266"/>
                </a:cubicBezTo>
                <a:lnTo>
                  <a:pt x="9138" y="4577"/>
                </a:lnTo>
                <a:cubicBezTo>
                  <a:pt x="9129" y="4585"/>
                  <a:pt x="9118" y="4592"/>
                  <a:pt x="9108" y="4602"/>
                </a:cubicBezTo>
                <a:cubicBezTo>
                  <a:pt x="9103" y="4608"/>
                  <a:pt x="9100" y="4614"/>
                  <a:pt x="9095" y="4620"/>
                </a:cubicBezTo>
                <a:lnTo>
                  <a:pt x="9096" y="4621"/>
                </a:lnTo>
                <a:lnTo>
                  <a:pt x="2310" y="11647"/>
                </a:lnTo>
                <a:cubicBezTo>
                  <a:pt x="1998" y="11966"/>
                  <a:pt x="1771" y="12364"/>
                  <a:pt x="1645" y="12797"/>
                </a:cubicBezTo>
                <a:lnTo>
                  <a:pt x="102" y="18541"/>
                </a:lnTo>
                <a:cubicBezTo>
                  <a:pt x="100" y="18557"/>
                  <a:pt x="0" y="19008"/>
                  <a:pt x="0" y="19237"/>
                </a:cubicBezTo>
                <a:cubicBezTo>
                  <a:pt x="0" y="20541"/>
                  <a:pt x="1030" y="21599"/>
                  <a:pt x="2302" y="21599"/>
                </a:cubicBezTo>
                <a:cubicBezTo>
                  <a:pt x="2554" y="21599"/>
                  <a:pt x="3044" y="21475"/>
                  <a:pt x="3062" y="21473"/>
                </a:cubicBezTo>
                <a:lnTo>
                  <a:pt x="8630" y="19969"/>
                </a:lnTo>
                <a:cubicBezTo>
                  <a:pt x="9054" y="19839"/>
                  <a:pt x="9439" y="19604"/>
                  <a:pt x="9750" y="19283"/>
                </a:cubicBezTo>
                <a:lnTo>
                  <a:pt x="19776" y="8899"/>
                </a:lnTo>
                <a:cubicBezTo>
                  <a:pt x="21600" y="7023"/>
                  <a:pt x="21394" y="3881"/>
                  <a:pt x="19308" y="1741"/>
                </a:cubicBezTo>
              </a:path>
            </a:pathLst>
          </a:custGeom>
          <a:solidFill>
            <a:schemeClr val="bg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4288" tIns="14288" rIns="14288" bIns="14288" anchor="ctr"/>
          <a:lstStyle/>
          <a:p>
            <a:pPr algn="ctr" defTabSz="171450" fontAlgn="base">
              <a:spcBef>
                <a:spcPct val="0"/>
              </a:spcBef>
              <a:spcAft>
                <a:spcPct val="0"/>
              </a:spcAft>
            </a:pPr>
            <a:endParaRPr lang="en-US" sz="1125" dirty="0">
              <a:solidFill>
                <a:srgbClr val="FFFFFF"/>
              </a:solidFill>
              <a:effectLst>
                <a:outerShdw blurRad="38100" dist="38100" dir="2700000" algn="tl">
                  <a:srgbClr val="000000"/>
                </a:outerShdw>
              </a:effectLst>
              <a:latin typeface="Rostelecom Basis" panose="020B0503030604040103" pitchFamily="34" charset="0"/>
              <a:sym typeface="Gill Sans" charset="0"/>
            </a:endParaRPr>
          </a:p>
        </p:txBody>
      </p:sp>
      <p:sp>
        <p:nvSpPr>
          <p:cNvPr id="3" name="TextBox 2"/>
          <p:cNvSpPr txBox="1"/>
          <p:nvPr/>
        </p:nvSpPr>
        <p:spPr>
          <a:xfrm>
            <a:off x="2367215" y="3000526"/>
            <a:ext cx="1164101" cy="707886"/>
          </a:xfrm>
          <a:prstGeom prst="rect">
            <a:avLst/>
          </a:prstGeom>
          <a:noFill/>
        </p:spPr>
        <p:txBody>
          <a:bodyPr wrap="none" rtlCol="0">
            <a:spAutoFit/>
          </a:bodyPr>
          <a:lstStyle/>
          <a:p>
            <a:pPr algn="ctr"/>
            <a:r>
              <a:rPr lang="ru-RU" dirty="0" smtClean="0"/>
              <a:t>  ͠   </a:t>
            </a:r>
            <a:r>
              <a:rPr lang="ru-RU" sz="2400" b="1" dirty="0" smtClean="0">
                <a:latin typeface="Rostelecom Basis Medium" panose="020B0603030604040103" pitchFamily="34" charset="0"/>
              </a:rPr>
              <a:t>140</a:t>
            </a:r>
            <a:r>
              <a:rPr lang="ru-RU" dirty="0" smtClean="0"/>
              <a:t> </a:t>
            </a:r>
            <a:br>
              <a:rPr lang="ru-RU" dirty="0" smtClean="0"/>
            </a:br>
            <a:r>
              <a:rPr lang="ru-RU" sz="1600" dirty="0" smtClean="0">
                <a:latin typeface="Rostelecom Basis Light" panose="020B0303030604040103" pitchFamily="34" charset="0"/>
              </a:rPr>
              <a:t>продуктов</a:t>
            </a:r>
            <a:endParaRPr lang="ru-RU" sz="1600" dirty="0">
              <a:latin typeface="Rostelecom Basis Light" panose="020B0303030604040103" pitchFamily="34" charset="0"/>
            </a:endParaRPr>
          </a:p>
        </p:txBody>
      </p:sp>
      <p:pic>
        <p:nvPicPr>
          <p:cNvPr id="6" name="Рисунок 5"/>
          <p:cNvPicPr>
            <a:picLocks noChangeAspect="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tretch>
            <a:fillRect/>
          </a:stretch>
        </p:blipFill>
        <p:spPr>
          <a:xfrm>
            <a:off x="3459180" y="4004348"/>
            <a:ext cx="516520" cy="521583"/>
          </a:xfrm>
          <a:prstGeom prst="rect">
            <a:avLst/>
          </a:prstGeom>
        </p:spPr>
      </p:pic>
      <p:cxnSp>
        <p:nvCxnSpPr>
          <p:cNvPr id="22" name="Прямая соединительная линия 21"/>
          <p:cNvCxnSpPr/>
          <p:nvPr/>
        </p:nvCxnSpPr>
        <p:spPr>
          <a:xfrm>
            <a:off x="468505" y="1009800"/>
            <a:ext cx="30026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Рисунок 3"/>
          <p:cNvPicPr>
            <a:picLocks noChangeAspect="1"/>
          </p:cNvPicPr>
          <p:nvPr/>
        </p:nvPicPr>
        <p:blipFill rotWithShape="1">
          <a:blip r:embed="rId5">
            <a:extLst>
              <a:ext uri="{28A0092B-C50C-407E-A947-70E740481C1C}">
                <a14:useLocalDpi xmlns:a14="http://schemas.microsoft.com/office/drawing/2010/main" val="0"/>
              </a:ext>
            </a:extLst>
          </a:blip>
          <a:srcRect b="42180"/>
          <a:stretch/>
        </p:blipFill>
        <p:spPr>
          <a:xfrm>
            <a:off x="668197" y="5419123"/>
            <a:ext cx="855507" cy="675000"/>
          </a:xfrm>
          <a:prstGeom prst="rect">
            <a:avLst/>
          </a:prstGeom>
        </p:spPr>
      </p:pic>
      <p:sp>
        <p:nvSpPr>
          <p:cNvPr id="8" name="TextBox 7"/>
          <p:cNvSpPr txBox="1"/>
          <p:nvPr/>
        </p:nvSpPr>
        <p:spPr>
          <a:xfrm>
            <a:off x="1516466" y="5587346"/>
            <a:ext cx="4277987" cy="338554"/>
          </a:xfrm>
          <a:prstGeom prst="rect">
            <a:avLst/>
          </a:prstGeom>
          <a:noFill/>
        </p:spPr>
        <p:txBody>
          <a:bodyPr wrap="square" rtlCol="0">
            <a:spAutoFit/>
          </a:bodyPr>
          <a:lstStyle/>
          <a:p>
            <a:r>
              <a:rPr lang="ru-RU" sz="1600" b="1" dirty="0" smtClean="0">
                <a:solidFill>
                  <a:srgbClr val="000000"/>
                </a:solidFill>
                <a:latin typeface="Rostelecom Basis Light" panose="020B0303030604040103" pitchFamily="34" charset="0"/>
                <a:cs typeface="Calibri Light" panose="020F0302020204030204" pitchFamily="34" charset="0"/>
              </a:rPr>
              <a:t>Операционная система «Аврора»</a:t>
            </a:r>
            <a:endParaRPr lang="ru-RU" sz="1600" b="1" dirty="0">
              <a:solidFill>
                <a:srgbClr val="000000"/>
              </a:solidFill>
              <a:latin typeface="Rostelecom Basis Light" panose="020B0303030604040103" pitchFamily="34" charset="0"/>
              <a:cs typeface="Calibri Light" panose="020F0302020204030204" pitchFamily="34" charset="0"/>
            </a:endParaRPr>
          </a:p>
        </p:txBody>
      </p:sp>
    </p:spTree>
    <p:extLst>
      <p:ext uri="{BB962C8B-B14F-4D97-AF65-F5344CB8AC3E}">
        <p14:creationId xmlns:p14="http://schemas.microsoft.com/office/powerpoint/2010/main" val="2339555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34AC572-7B0E-5241-BCEA-5D58868C0632}"/>
              </a:ext>
            </a:extLst>
          </p:cNvPr>
          <p:cNvSpPr>
            <a:spLocks noGrp="1"/>
          </p:cNvSpPr>
          <p:nvPr>
            <p:ph type="title"/>
          </p:nvPr>
        </p:nvSpPr>
        <p:spPr>
          <a:xfrm>
            <a:off x="580852" y="1719000"/>
            <a:ext cx="7833016" cy="2382319"/>
          </a:xfrm>
        </p:spPr>
        <p:txBody>
          <a:bodyPr/>
          <a:lstStyle/>
          <a:p>
            <a:r>
              <a:rPr lang="ru-RU" sz="4800" dirty="0" smtClean="0">
                <a:effectLst>
                  <a:outerShdw blurRad="38100" dist="38100" dir="2700000" algn="tl">
                    <a:srgbClr val="000000">
                      <a:alpha val="43137"/>
                    </a:srgbClr>
                  </a:outerShdw>
                </a:effectLst>
              </a:rPr>
              <a:t>Спасибо за внимание</a:t>
            </a:r>
            <a:r>
              <a:rPr lang="ru-RU" sz="4800" dirty="0">
                <a:effectLst>
                  <a:outerShdw blurRad="38100" dist="38100" dir="2700000" algn="tl">
                    <a:srgbClr val="000000">
                      <a:alpha val="43137"/>
                    </a:srgbClr>
                  </a:outerShdw>
                </a:effectLst>
              </a:rPr>
              <a:t>!</a:t>
            </a:r>
            <a:r>
              <a:rPr lang="ru-RU" sz="6000" dirty="0"/>
              <a:t/>
            </a:r>
            <a:br>
              <a:rPr lang="ru-RU" sz="6000" dirty="0"/>
            </a:br>
            <a:r>
              <a:rPr lang="ru-RU" dirty="0">
                <a:effectLst>
                  <a:outerShdw blurRad="38100" dist="38100" dir="2700000" algn="tl">
                    <a:srgbClr val="000000">
                      <a:alpha val="43137"/>
                    </a:srgbClr>
                  </a:outerShdw>
                </a:effectLst>
              </a:rPr>
              <a:t/>
            </a:r>
            <a:br>
              <a:rPr lang="ru-RU" dirty="0">
                <a:effectLst>
                  <a:outerShdw blurRad="38100" dist="38100" dir="2700000" algn="tl">
                    <a:srgbClr val="000000">
                      <a:alpha val="43137"/>
                    </a:srgbClr>
                  </a:outerShdw>
                </a:effectLst>
              </a:rPr>
            </a:br>
            <a:endParaRPr lang="ru-RU" dirty="0">
              <a:effectLst>
                <a:outerShdw blurRad="38100" dist="38100" dir="2700000" algn="tl">
                  <a:srgbClr val="000000">
                    <a:alpha val="43137"/>
                  </a:srgbClr>
                </a:outerShdw>
              </a:effectLst>
            </a:endParaRPr>
          </a:p>
        </p:txBody>
      </p:sp>
      <p:sp>
        <p:nvSpPr>
          <p:cNvPr id="4" name="Text Placeholder 3">
            <a:extLst>
              <a:ext uri="{FF2B5EF4-FFF2-40B4-BE49-F238E27FC236}">
                <a16:creationId xmlns:a16="http://schemas.microsoft.com/office/drawing/2014/main" id="{83754B19-6864-B346-917B-6A2CF5ADE8B0}"/>
              </a:ext>
            </a:extLst>
          </p:cNvPr>
          <p:cNvSpPr>
            <a:spLocks noGrp="1"/>
          </p:cNvSpPr>
          <p:nvPr>
            <p:ph type="body" sz="quarter" idx="12"/>
          </p:nvPr>
        </p:nvSpPr>
        <p:spPr>
          <a:xfrm>
            <a:off x="580852" y="4784619"/>
            <a:ext cx="5829300" cy="713317"/>
          </a:xfrm>
        </p:spPr>
        <p:txBody>
          <a:bodyPr/>
          <a:lstStyle/>
          <a:p>
            <a:pPr lvl="0" defTabSz="806044" rtl="0">
              <a:lnSpc>
                <a:spcPct val="90000"/>
              </a:lnSpc>
              <a:spcBef>
                <a:spcPts val="0"/>
              </a:spcBef>
              <a:buSzTx/>
            </a:pPr>
            <a:r>
              <a:rPr lang="ru-RU" sz="1800" kern="1200" dirty="0">
                <a:effectLst>
                  <a:outerShdw blurRad="38100" dist="38100" dir="2700000" algn="tl">
                    <a:srgbClr val="000000">
                      <a:alpha val="43137"/>
                    </a:srgbClr>
                  </a:outerShdw>
                </a:effectLst>
                <a:ea typeface="+mn-ea"/>
                <a:cs typeface="+mn-cs"/>
              </a:rPr>
              <a:t>Бондарович Юлия Михайловна</a:t>
            </a:r>
          </a:p>
          <a:p>
            <a:pPr lvl="0" defTabSz="806044" rtl="0">
              <a:lnSpc>
                <a:spcPct val="90000"/>
              </a:lnSpc>
              <a:spcBef>
                <a:spcPts val="0"/>
              </a:spcBef>
              <a:buSzTx/>
            </a:pPr>
            <a:endParaRPr lang="ru-RU" sz="1587" kern="1200" dirty="0">
              <a:ea typeface="+mn-ea"/>
              <a:cs typeface="+mn-cs"/>
            </a:endParaRPr>
          </a:p>
          <a:p>
            <a:pPr lvl="0" defTabSz="806044" rtl="0">
              <a:lnSpc>
                <a:spcPct val="90000"/>
              </a:lnSpc>
              <a:spcBef>
                <a:spcPts val="0"/>
              </a:spcBef>
              <a:buSzTx/>
            </a:pPr>
            <a:r>
              <a:rPr lang="ru-RU" sz="1100" kern="1200" dirty="0"/>
              <a:t>Заместитель директора филиала </a:t>
            </a:r>
            <a:r>
              <a:rPr lang="ru-RU" sz="1100" kern="1200" dirty="0" smtClean="0"/>
              <a:t>– </a:t>
            </a:r>
            <a:r>
              <a:rPr lang="en-US" sz="1100" kern="1200" dirty="0" smtClean="0"/>
              <a:t/>
            </a:r>
            <a:br>
              <a:rPr lang="en-US" sz="1100" kern="1200" dirty="0" smtClean="0"/>
            </a:br>
            <a:r>
              <a:rPr lang="ru-RU" sz="1100" kern="1200" dirty="0" smtClean="0"/>
              <a:t>Директор </a:t>
            </a:r>
            <a:r>
              <a:rPr lang="ru-RU" sz="1100" kern="1200" dirty="0"/>
              <a:t>по работе с корпоративным и государственным </a:t>
            </a:r>
            <a:r>
              <a:rPr lang="ru-RU" sz="1100" kern="1200" dirty="0" smtClean="0"/>
              <a:t>сегментами</a:t>
            </a:r>
            <a:endParaRPr lang="en-US" sz="1100" kern="1200" dirty="0" smtClean="0"/>
          </a:p>
          <a:p>
            <a:pPr lvl="0" defTabSz="806044" rtl="0">
              <a:lnSpc>
                <a:spcPct val="90000"/>
              </a:lnSpc>
              <a:spcBef>
                <a:spcPts val="0"/>
              </a:spcBef>
              <a:buSzTx/>
            </a:pPr>
            <a:endParaRPr lang="en-US" sz="1100" dirty="0"/>
          </a:p>
          <a:p>
            <a:r>
              <a:rPr lang="ru-RU" sz="1100" dirty="0"/>
              <a:t>+7(960)-027-3333, +</a:t>
            </a:r>
            <a:r>
              <a:rPr lang="ru-RU" sz="1100" dirty="0" smtClean="0"/>
              <a:t>7(8152)485-816</a:t>
            </a:r>
            <a:r>
              <a:rPr lang="en-US" sz="1100" dirty="0" smtClean="0"/>
              <a:t/>
            </a:r>
            <a:br>
              <a:rPr lang="en-US" sz="1100" dirty="0" smtClean="0"/>
            </a:br>
            <a:r>
              <a:rPr lang="en-US" sz="1100" dirty="0" smtClean="0"/>
              <a:t>Yuliya.Bondarovich@nw.rt.ru</a:t>
            </a:r>
            <a:endParaRPr lang="ru-RU" sz="1100" dirty="0"/>
          </a:p>
          <a:p>
            <a:pPr lvl="0" defTabSz="806044" rtl="0">
              <a:lnSpc>
                <a:spcPct val="90000"/>
              </a:lnSpc>
              <a:spcBef>
                <a:spcPts val="0"/>
              </a:spcBef>
              <a:buSzTx/>
            </a:pPr>
            <a:endParaRPr lang="ru-RU" sz="1587" kern="1200" dirty="0">
              <a:ea typeface="+mn-ea"/>
              <a:cs typeface="+mn-cs"/>
            </a:endParaRPr>
          </a:p>
          <a:p>
            <a:endParaRPr lang="ru-RU" dirty="0"/>
          </a:p>
        </p:txBody>
      </p:sp>
      <p:sp>
        <p:nvSpPr>
          <p:cNvPr id="10" name="TextBox 9">
            <a:extLst>
              <a:ext uri="{FF2B5EF4-FFF2-40B4-BE49-F238E27FC236}">
                <a16:creationId xmlns:a16="http://schemas.microsoft.com/office/drawing/2014/main" id="{04A2D717-5874-8146-B56C-EA237025DE46}"/>
              </a:ext>
            </a:extLst>
          </p:cNvPr>
          <p:cNvSpPr txBox="1"/>
          <p:nvPr/>
        </p:nvSpPr>
        <p:spPr>
          <a:xfrm>
            <a:off x="3025701" y="8078101"/>
            <a:ext cx="102657"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ru-RU" sz="3000" b="1" i="0" u="none" strike="noStrike" kern="0" cap="none" spc="0" normalizeH="0" baseline="0" noProof="0" dirty="0">
              <a:ln>
                <a:noFill/>
              </a:ln>
              <a:solidFill>
                <a:srgbClr val="000000"/>
              </a:solidFill>
              <a:effectLst/>
              <a:uLnTx/>
              <a:uFillTx/>
              <a:latin typeface="Helvetica Neue"/>
              <a:ea typeface="Helvetica Neue"/>
              <a:cs typeface="Helvetica Neue"/>
              <a:sym typeface="Helvetica Neue"/>
            </a:endParaRPr>
          </a:p>
        </p:txBody>
      </p:sp>
      <p:pic>
        <p:nvPicPr>
          <p:cNvPr id="17" name="Рисунок 16"/>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7363" r="7363"/>
          <a:stretch>
            <a:fillRect/>
          </a:stretch>
        </p:blipFill>
        <p:spPr/>
      </p:pic>
      <p:pic>
        <p:nvPicPr>
          <p:cNvPr id="18" name="Рисунок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0852" y="2593102"/>
            <a:ext cx="1886074" cy="1886074"/>
          </a:xfrm>
          <a:prstGeom prst="rect">
            <a:avLst/>
          </a:prstGeom>
          <a:effectLst/>
        </p:spPr>
      </p:pic>
    </p:spTree>
    <p:extLst>
      <p:ext uri="{BB962C8B-B14F-4D97-AF65-F5344CB8AC3E}">
        <p14:creationId xmlns:p14="http://schemas.microsoft.com/office/powerpoint/2010/main" val="1514211849"/>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FtLzNTN__.Cc_ywpSgY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kWmze23_VZ4KGZQCkDi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kWmze23_VZ4KGZQCkDiZ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FtLzNTN__.Cc_ywpSgY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Общие">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Обложки / заголовки">
  <a:themeElements>
    <a:clrScheme name="RT b2b">
      <a:dk1>
        <a:srgbClr val="272F3D"/>
      </a:dk1>
      <a:lt1>
        <a:srgbClr val="FFFFFF"/>
      </a:lt1>
      <a:dk2>
        <a:srgbClr val="7B939B"/>
      </a:dk2>
      <a:lt2>
        <a:srgbClr val="F1F3F5"/>
      </a:lt2>
      <a:accent1>
        <a:srgbClr val="7700FF"/>
      </a:accent1>
      <a:accent2>
        <a:srgbClr val="BC104B"/>
      </a:accent2>
      <a:accent3>
        <a:srgbClr val="FF4F12"/>
      </a:accent3>
      <a:accent4>
        <a:srgbClr val="FFBE08"/>
      </a:accent4>
      <a:accent5>
        <a:srgbClr val="57D9B7"/>
      </a:accent5>
      <a:accent6>
        <a:srgbClr val="273A64"/>
      </a:accent6>
      <a:hlink>
        <a:srgbClr val="FF4F12"/>
      </a:hlink>
      <a:folHlink>
        <a:srgbClr val="65BB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2020-11-09_RT_b2b_guide_template_light" id="{A2678058-0ED1-4744-B3E0-616D34FDE7BB}" vid="{734EC249-8328-4BB5-B15F-202F3ECE7B2B}"/>
    </a:ext>
  </a:extLst>
</a:theme>
</file>

<file path=ppt/theme/theme4.xml><?xml version="1.0" encoding="utf-8"?>
<a:theme xmlns:a="http://schemas.openxmlformats.org/drawingml/2006/main" name="Обложки / разделители">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Обложки / разделители">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Общие">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Обложки презентаций">
  <a:themeElements>
    <a:clrScheme name="RTC">
      <a:dk1>
        <a:srgbClr val="000000"/>
      </a:dk1>
      <a:lt1>
        <a:srgbClr val="FFFFFF"/>
      </a:lt1>
      <a:dk2>
        <a:srgbClr val="97989A"/>
      </a:dk2>
      <a:lt2>
        <a:srgbClr val="E3E9EC"/>
      </a:lt2>
      <a:accent1>
        <a:srgbClr val="7800FF"/>
      </a:accent1>
      <a:accent2>
        <a:srgbClr val="BC104B"/>
      </a:accent2>
      <a:accent3>
        <a:srgbClr val="273A64"/>
      </a:accent3>
      <a:accent4>
        <a:srgbClr val="FFBE08"/>
      </a:accent4>
      <a:accent5>
        <a:srgbClr val="65B8DF"/>
      </a:accent5>
      <a:accent6>
        <a:srgbClr val="FFBFC3"/>
      </a:accent6>
      <a:hlink>
        <a:srgbClr val="57D9B7"/>
      </a:hlink>
      <a:folHlink>
        <a:srgbClr val="F05223"/>
      </a:folHlink>
    </a:clrScheme>
    <a:fontScheme name="RTC-fonts">
      <a:majorFont>
        <a:latin typeface="Basis Grotesque Pro Medium"/>
        <a:ea typeface=""/>
        <a:cs typeface=""/>
      </a:majorFont>
      <a:minorFont>
        <a:latin typeface="Basis Grotesque Pro Medium"/>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Шаблон_Rostelecom_Basis_v2" id="{3ABAAE0A-AA54-DA47-8ADC-0B0C00A28317}" vid="{C6936AD9-51ED-4A4E-8D12-F7C79208C0D9}"/>
    </a:ext>
  </a:extLst>
</a:theme>
</file>

<file path=ppt/theme/theme8.xml><?xml version="1.0" encoding="utf-8"?>
<a:theme xmlns:a="http://schemas.openxmlformats.org/drawingml/2006/main" name="Темы и обложки разделов">
  <a:themeElements>
    <a:clrScheme name="RTC">
      <a:dk1>
        <a:srgbClr val="000000"/>
      </a:dk1>
      <a:lt1>
        <a:srgbClr val="FFFFFF"/>
      </a:lt1>
      <a:dk2>
        <a:srgbClr val="97989A"/>
      </a:dk2>
      <a:lt2>
        <a:srgbClr val="E3E9EC"/>
      </a:lt2>
      <a:accent1>
        <a:srgbClr val="7800FF"/>
      </a:accent1>
      <a:accent2>
        <a:srgbClr val="BC104B"/>
      </a:accent2>
      <a:accent3>
        <a:srgbClr val="273A64"/>
      </a:accent3>
      <a:accent4>
        <a:srgbClr val="FFBE08"/>
      </a:accent4>
      <a:accent5>
        <a:srgbClr val="65B8DF"/>
      </a:accent5>
      <a:accent6>
        <a:srgbClr val="FFBFC3"/>
      </a:accent6>
      <a:hlink>
        <a:srgbClr val="57D9B7"/>
      </a:hlink>
      <a:folHlink>
        <a:srgbClr val="F05223"/>
      </a:folHlink>
    </a:clrScheme>
    <a:fontScheme name="RTC-fonts">
      <a:majorFont>
        <a:latin typeface="Basis Grotesque Pro Medium"/>
        <a:ea typeface=""/>
        <a:cs typeface=""/>
      </a:majorFont>
      <a:minorFont>
        <a:latin typeface="Basis Grotesque Pro Medium"/>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_Rostelecom_Basis_v2" id="{3ABAAE0A-AA54-DA47-8ADC-0B0C00A28317}" vid="{0A2291A5-A08F-1844-B0B6-733AA79061C7}"/>
    </a:ext>
  </a:extLst>
</a:theme>
</file>

<file path=ppt/theme/theme9.xml><?xml version="1.0" encoding="utf-8"?>
<a:theme xmlns:a="http://schemas.openxmlformats.org/drawingml/2006/main" name="2_Обложки / разделители">
  <a:themeElements>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lstStyle>
        <a:defPPr algn="l">
          <a:defRPr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t b2c">
    <a:dk1>
      <a:srgbClr val="272F3D"/>
    </a:dk1>
    <a:lt1>
      <a:srgbClr val="FFFFFF"/>
    </a:lt1>
    <a:dk2>
      <a:srgbClr val="273A64"/>
    </a:dk2>
    <a:lt2>
      <a:srgbClr val="E3E8EC"/>
    </a:lt2>
    <a:accent1>
      <a:srgbClr val="7700FF"/>
    </a:accent1>
    <a:accent2>
      <a:srgbClr val="FF4F12"/>
    </a:accent2>
    <a:accent3>
      <a:srgbClr val="273A64"/>
    </a:accent3>
    <a:accent4>
      <a:srgbClr val="BC104B"/>
    </a:accent4>
    <a:accent5>
      <a:srgbClr val="FFBE08"/>
    </a:accent5>
    <a:accent6>
      <a:srgbClr val="65BBDF"/>
    </a:accent6>
    <a:hlink>
      <a:srgbClr val="7700FF"/>
    </a:hlink>
    <a:folHlink>
      <a:srgbClr val="65B8DF"/>
    </a:folHlink>
  </a:clrScheme>
  <a:fontScheme name="RT">
    <a:majorFont>
      <a:latin typeface="Rostelecom Basis Medium"/>
      <a:ea typeface=""/>
      <a:cs typeface=""/>
    </a:majorFont>
    <a:minorFont>
      <a:latin typeface="Rostelecom Basi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518</TotalTime>
  <Words>254</Words>
  <Application>Microsoft Office PowerPoint</Application>
  <PresentationFormat>Широкоэкранный</PresentationFormat>
  <Paragraphs>94</Paragraphs>
  <Slides>7</Slides>
  <Notes>2</Notes>
  <HiddenSlides>0</HiddenSlides>
  <MMClips>0</MMClips>
  <ScaleCrop>false</ScaleCrop>
  <HeadingPairs>
    <vt:vector size="8" baseType="variant">
      <vt:variant>
        <vt:lpstr>Использованные шрифты</vt:lpstr>
      </vt:variant>
      <vt:variant>
        <vt:i4>12</vt:i4>
      </vt:variant>
      <vt:variant>
        <vt:lpstr>Тема</vt:lpstr>
      </vt:variant>
      <vt:variant>
        <vt:i4>9</vt:i4>
      </vt:variant>
      <vt:variant>
        <vt:lpstr>Внедренные серверы OLE</vt:lpstr>
      </vt:variant>
      <vt:variant>
        <vt:i4>1</vt:i4>
      </vt:variant>
      <vt:variant>
        <vt:lpstr>Заголовки слайдов</vt:lpstr>
      </vt:variant>
      <vt:variant>
        <vt:i4>7</vt:i4>
      </vt:variant>
    </vt:vector>
  </HeadingPairs>
  <TitlesOfParts>
    <vt:vector size="29" baseType="lpstr">
      <vt:lpstr>Arial</vt:lpstr>
      <vt:lpstr>Basis Grotesque Pro Medium</vt:lpstr>
      <vt:lpstr>Calibri</vt:lpstr>
      <vt:lpstr>Calibri Light</vt:lpstr>
      <vt:lpstr>Chevin Pro Medium</vt:lpstr>
      <vt:lpstr>Gill Sans</vt:lpstr>
      <vt:lpstr>Helvetica Neue</vt:lpstr>
      <vt:lpstr>Helvetica Neue Medium</vt:lpstr>
      <vt:lpstr>Rostelecom Basis</vt:lpstr>
      <vt:lpstr>Rostelecom Basis Light</vt:lpstr>
      <vt:lpstr>Rostelecom Basis Medium</vt:lpstr>
      <vt:lpstr>Segoe UI Semibold</vt:lpstr>
      <vt:lpstr>Тема Office</vt:lpstr>
      <vt:lpstr>1_Общие</vt:lpstr>
      <vt:lpstr>Обложки / заголовки</vt:lpstr>
      <vt:lpstr>Обложки / разделители</vt:lpstr>
      <vt:lpstr>1_Обложки / разделители</vt:lpstr>
      <vt:lpstr>2_Общие</vt:lpstr>
      <vt:lpstr>Обложки презентаций</vt:lpstr>
      <vt:lpstr>Темы и обложки разделов</vt:lpstr>
      <vt:lpstr>2_Обложки / разделители</vt:lpstr>
      <vt:lpstr>Слайд think-cell</vt:lpstr>
      <vt:lpstr>Технологические тренды </vt:lpstr>
      <vt:lpstr>Презентация PowerPoint</vt:lpstr>
      <vt:lpstr>Презентация PowerPoint</vt:lpstr>
      <vt:lpstr>Презентация PowerPoint</vt:lpstr>
      <vt:lpstr>Презентация PowerPoint</vt:lpstr>
      <vt:lpstr>Краткий обзор решений от ГК Ростелеком в реестре Минцифры</vt:lpstr>
      <vt:lpstr>Спасибо за внимание!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иньковская Анастасия Михайловна</dc:creator>
  <cp:lastModifiedBy>Миронова Мария Валерьевна</cp:lastModifiedBy>
  <cp:revision>214</cp:revision>
  <dcterms:created xsi:type="dcterms:W3CDTF">2022-11-17T05:49:18Z</dcterms:created>
  <dcterms:modified xsi:type="dcterms:W3CDTF">2022-11-28T11:23:16Z</dcterms:modified>
</cp:coreProperties>
</file>